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9" r:id="rId1"/>
  </p:sldMasterIdLst>
  <p:notesMasterIdLst>
    <p:notesMasterId r:id="rId31"/>
  </p:notesMasterIdLst>
  <p:handoutMasterIdLst>
    <p:handoutMasterId r:id="rId32"/>
  </p:handoutMasterIdLst>
  <p:sldIdLst>
    <p:sldId id="733" r:id="rId2"/>
    <p:sldId id="701" r:id="rId3"/>
    <p:sldId id="702" r:id="rId4"/>
    <p:sldId id="703" r:id="rId5"/>
    <p:sldId id="704" r:id="rId6"/>
    <p:sldId id="705" r:id="rId7"/>
    <p:sldId id="706" r:id="rId8"/>
    <p:sldId id="707" r:id="rId9"/>
    <p:sldId id="708" r:id="rId10"/>
    <p:sldId id="709" r:id="rId11"/>
    <p:sldId id="728" r:id="rId12"/>
    <p:sldId id="729" r:id="rId13"/>
    <p:sldId id="712" r:id="rId14"/>
    <p:sldId id="713" r:id="rId15"/>
    <p:sldId id="714" r:id="rId16"/>
    <p:sldId id="715" r:id="rId17"/>
    <p:sldId id="716" r:id="rId18"/>
    <p:sldId id="717" r:id="rId19"/>
    <p:sldId id="730" r:id="rId20"/>
    <p:sldId id="719" r:id="rId21"/>
    <p:sldId id="720" r:id="rId22"/>
    <p:sldId id="721" r:id="rId23"/>
    <p:sldId id="731" r:id="rId24"/>
    <p:sldId id="723" r:id="rId25"/>
    <p:sldId id="724" r:id="rId26"/>
    <p:sldId id="732" r:id="rId27"/>
    <p:sldId id="726" r:id="rId28"/>
    <p:sldId id="727" r:id="rId29"/>
    <p:sldId id="694" r:id="rId30"/>
  </p:sldIdLst>
  <p:sldSz cx="12984163" cy="7315200"/>
  <p:notesSz cx="7010400" cy="9296400"/>
  <p:defaultTextStyle>
    <a:defPPr>
      <a:defRPr lang="en-US"/>
    </a:defPPr>
    <a:lvl1pPr algn="l" rtl="0" fontAlgn="base">
      <a:spcBef>
        <a:spcPct val="0"/>
      </a:spcBef>
      <a:spcAft>
        <a:spcPct val="0"/>
      </a:spcAft>
      <a:defRPr sz="1600" b="1" kern="1200">
        <a:solidFill>
          <a:schemeClr val="tx1"/>
        </a:solidFill>
        <a:latin typeface="Arial" charset="0"/>
        <a:ea typeface="宋体" pitchFamily="2" charset="-122"/>
        <a:cs typeface="+mn-cs"/>
      </a:defRPr>
    </a:lvl1pPr>
    <a:lvl2pPr marL="457200" algn="l" rtl="0" fontAlgn="base">
      <a:spcBef>
        <a:spcPct val="0"/>
      </a:spcBef>
      <a:spcAft>
        <a:spcPct val="0"/>
      </a:spcAft>
      <a:defRPr sz="1600" b="1" kern="1200">
        <a:solidFill>
          <a:schemeClr val="tx1"/>
        </a:solidFill>
        <a:latin typeface="Arial" charset="0"/>
        <a:ea typeface="宋体" pitchFamily="2" charset="-122"/>
        <a:cs typeface="+mn-cs"/>
      </a:defRPr>
    </a:lvl2pPr>
    <a:lvl3pPr marL="914400" algn="l" rtl="0" fontAlgn="base">
      <a:spcBef>
        <a:spcPct val="0"/>
      </a:spcBef>
      <a:spcAft>
        <a:spcPct val="0"/>
      </a:spcAft>
      <a:defRPr sz="1600" b="1" kern="1200">
        <a:solidFill>
          <a:schemeClr val="tx1"/>
        </a:solidFill>
        <a:latin typeface="Arial" charset="0"/>
        <a:ea typeface="宋体" pitchFamily="2" charset="-122"/>
        <a:cs typeface="+mn-cs"/>
      </a:defRPr>
    </a:lvl3pPr>
    <a:lvl4pPr marL="1371600" algn="l" rtl="0" fontAlgn="base">
      <a:spcBef>
        <a:spcPct val="0"/>
      </a:spcBef>
      <a:spcAft>
        <a:spcPct val="0"/>
      </a:spcAft>
      <a:defRPr sz="1600" b="1" kern="1200">
        <a:solidFill>
          <a:schemeClr val="tx1"/>
        </a:solidFill>
        <a:latin typeface="Arial" charset="0"/>
        <a:ea typeface="宋体" pitchFamily="2" charset="-122"/>
        <a:cs typeface="+mn-cs"/>
      </a:defRPr>
    </a:lvl4pPr>
    <a:lvl5pPr marL="1828800" algn="l" rtl="0" fontAlgn="base">
      <a:spcBef>
        <a:spcPct val="0"/>
      </a:spcBef>
      <a:spcAft>
        <a:spcPct val="0"/>
      </a:spcAft>
      <a:defRPr sz="1600" b="1" kern="1200">
        <a:solidFill>
          <a:schemeClr val="tx1"/>
        </a:solidFill>
        <a:latin typeface="Arial" charset="0"/>
        <a:ea typeface="宋体" pitchFamily="2" charset="-122"/>
        <a:cs typeface="+mn-cs"/>
      </a:defRPr>
    </a:lvl5pPr>
    <a:lvl6pPr marL="2286000" algn="l" defTabSz="914400" rtl="0" eaLnBrk="1" latinLnBrk="0" hangingPunct="1">
      <a:defRPr sz="1600" b="1" kern="1200">
        <a:solidFill>
          <a:schemeClr val="tx1"/>
        </a:solidFill>
        <a:latin typeface="Arial" charset="0"/>
        <a:ea typeface="宋体" pitchFamily="2" charset="-122"/>
        <a:cs typeface="+mn-cs"/>
      </a:defRPr>
    </a:lvl6pPr>
    <a:lvl7pPr marL="2743200" algn="l" defTabSz="914400" rtl="0" eaLnBrk="1" latinLnBrk="0" hangingPunct="1">
      <a:defRPr sz="1600" b="1" kern="1200">
        <a:solidFill>
          <a:schemeClr val="tx1"/>
        </a:solidFill>
        <a:latin typeface="Arial" charset="0"/>
        <a:ea typeface="宋体" pitchFamily="2" charset="-122"/>
        <a:cs typeface="+mn-cs"/>
      </a:defRPr>
    </a:lvl7pPr>
    <a:lvl8pPr marL="3200400" algn="l" defTabSz="914400" rtl="0" eaLnBrk="1" latinLnBrk="0" hangingPunct="1">
      <a:defRPr sz="1600" b="1" kern="1200">
        <a:solidFill>
          <a:schemeClr val="tx1"/>
        </a:solidFill>
        <a:latin typeface="Arial" charset="0"/>
        <a:ea typeface="宋体" pitchFamily="2" charset="-122"/>
        <a:cs typeface="+mn-cs"/>
      </a:defRPr>
    </a:lvl8pPr>
    <a:lvl9pPr marL="3657600" algn="l" defTabSz="914400" rtl="0" eaLnBrk="1" latinLnBrk="0" hangingPunct="1">
      <a:defRPr sz="1600" b="1" kern="1200">
        <a:solidFill>
          <a:schemeClr val="tx1"/>
        </a:solidFill>
        <a:latin typeface="Arial" charset="0"/>
        <a:ea typeface="宋体" pitchFamily="2" charset="-122"/>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F8F8F8"/>
    <a:srgbClr val="F0F0F0"/>
    <a:srgbClr val="C4C8D9"/>
    <a:srgbClr val="D0D0D0"/>
    <a:srgbClr val="A7C147"/>
    <a:srgbClr val="3A3A3C"/>
    <a:srgbClr val="B1C18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60" d="100"/>
          <a:sy n="60" d="100"/>
        </p:scale>
        <p:origin x="-924" y="-186"/>
      </p:cViewPr>
      <p:guideLst>
        <p:guide orient="horz" pos="144"/>
        <p:guide pos="120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5" d="100"/>
          <a:sy n="55" d="100"/>
        </p:scale>
        <p:origin x="-2880" y="-90"/>
      </p:cViewPr>
      <p:guideLst>
        <p:guide orient="horz" pos="2928"/>
        <p:guide pos="220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0" y="0"/>
            <a:ext cx="3038475" cy="465138"/>
          </a:xfrm>
          <a:prstGeom prst="rect">
            <a:avLst/>
          </a:prstGeom>
          <a:noFill/>
          <a:ln w="9525">
            <a:noFill/>
            <a:miter lim="800000"/>
            <a:headEnd/>
            <a:tailEnd/>
          </a:ln>
          <a:effectLst/>
        </p:spPr>
        <p:txBody>
          <a:bodyPr vert="horz" wrap="square" lIns="93177" tIns="46589" rIns="93177" bIns="46589" numCol="1" anchor="t" anchorCtr="0" compatLnSpc="1">
            <a:prstTxWarp prst="textNoShape">
              <a:avLst/>
            </a:prstTxWarp>
          </a:bodyPr>
          <a:lstStyle>
            <a:lvl1pPr defTabSz="931863">
              <a:defRPr sz="1200" b="0">
                <a:latin typeface="Arial" charset="0"/>
                <a:ea typeface="宋体" pitchFamily="1" charset="-122"/>
                <a:cs typeface="Arial" charset="0"/>
              </a:defRPr>
            </a:lvl1pPr>
          </a:lstStyle>
          <a:p>
            <a:pPr>
              <a:defRPr/>
            </a:pPr>
            <a:endParaRPr lang="en-US" altLang="zh-CN"/>
          </a:p>
        </p:txBody>
      </p:sp>
      <p:sp>
        <p:nvSpPr>
          <p:cNvPr id="5123" name="Rectangle 3"/>
          <p:cNvSpPr>
            <a:spLocks noGrp="1" noChangeArrowheads="1"/>
          </p:cNvSpPr>
          <p:nvPr>
            <p:ph type="dt" sz="quarter" idx="1"/>
          </p:nvPr>
        </p:nvSpPr>
        <p:spPr bwMode="auto">
          <a:xfrm>
            <a:off x="3970338" y="0"/>
            <a:ext cx="3038475" cy="465138"/>
          </a:xfrm>
          <a:prstGeom prst="rect">
            <a:avLst/>
          </a:prstGeom>
          <a:noFill/>
          <a:ln w="9525">
            <a:noFill/>
            <a:miter lim="800000"/>
            <a:headEnd/>
            <a:tailEnd/>
          </a:ln>
          <a:effectLst/>
        </p:spPr>
        <p:txBody>
          <a:bodyPr vert="horz" wrap="square" lIns="93177" tIns="46589" rIns="93177" bIns="46589" numCol="1" anchor="t" anchorCtr="0" compatLnSpc="1">
            <a:prstTxWarp prst="textNoShape">
              <a:avLst/>
            </a:prstTxWarp>
          </a:bodyPr>
          <a:lstStyle>
            <a:lvl1pPr algn="r" defTabSz="931863">
              <a:defRPr sz="1200" b="0" smtClean="0">
                <a:latin typeface="Arial" pitchFamily="34" charset="0"/>
              </a:defRPr>
            </a:lvl1pPr>
          </a:lstStyle>
          <a:p>
            <a:pPr>
              <a:defRPr/>
            </a:pPr>
            <a:fld id="{21C2FED7-7F46-4D31-9E36-1B2F36389074}" type="datetime1">
              <a:rPr lang="en-US" altLang="zh-CN"/>
              <a:pPr>
                <a:defRPr/>
              </a:pPr>
              <a:t>8/12/2014</a:t>
            </a:fld>
            <a:endParaRPr lang="en-US" altLang="zh-CN"/>
          </a:p>
        </p:txBody>
      </p:sp>
      <p:sp>
        <p:nvSpPr>
          <p:cNvPr id="5124" name="Rectangle 4"/>
          <p:cNvSpPr>
            <a:spLocks noGrp="1" noChangeArrowheads="1"/>
          </p:cNvSpPr>
          <p:nvPr>
            <p:ph type="ftr" sz="quarter" idx="2"/>
          </p:nvPr>
        </p:nvSpPr>
        <p:spPr bwMode="auto">
          <a:xfrm>
            <a:off x="0" y="8829675"/>
            <a:ext cx="3316288" cy="465138"/>
          </a:xfrm>
          <a:prstGeom prst="rect">
            <a:avLst/>
          </a:prstGeom>
          <a:noFill/>
          <a:ln w="9525">
            <a:noFill/>
            <a:miter lim="800000"/>
            <a:headEnd/>
            <a:tailEnd/>
          </a:ln>
          <a:effectLst/>
        </p:spPr>
        <p:txBody>
          <a:bodyPr vert="horz" wrap="square" lIns="93177" tIns="46589" rIns="93177" bIns="46589" numCol="1" anchor="b" anchorCtr="0" compatLnSpc="1">
            <a:prstTxWarp prst="textNoShape">
              <a:avLst/>
            </a:prstTxWarp>
          </a:bodyPr>
          <a:lstStyle>
            <a:lvl1pPr algn="l" defTabSz="931863">
              <a:defRPr sz="1200" b="0">
                <a:latin typeface="Arial" charset="0"/>
                <a:ea typeface="+mn-ea"/>
                <a:cs typeface="Arial" charset="0"/>
              </a:defRPr>
            </a:lvl1pPr>
          </a:lstStyle>
          <a:p>
            <a:pPr>
              <a:defRPr/>
            </a:pPr>
            <a:r>
              <a:rPr lang="en-US"/>
              <a:t>Confidential | Copyright 2012 Trend Micro Inc.</a:t>
            </a:r>
          </a:p>
        </p:txBody>
      </p:sp>
      <p:sp>
        <p:nvSpPr>
          <p:cNvPr id="5125" name="Rectangle 5"/>
          <p:cNvSpPr>
            <a:spLocks noGrp="1" noChangeArrowheads="1"/>
          </p:cNvSpPr>
          <p:nvPr>
            <p:ph type="sldNum" sz="quarter" idx="3"/>
          </p:nvPr>
        </p:nvSpPr>
        <p:spPr bwMode="auto">
          <a:xfrm>
            <a:off x="3970338" y="8829675"/>
            <a:ext cx="3038475" cy="465138"/>
          </a:xfrm>
          <a:prstGeom prst="rect">
            <a:avLst/>
          </a:prstGeom>
          <a:noFill/>
          <a:ln w="9525">
            <a:noFill/>
            <a:miter lim="800000"/>
            <a:headEnd/>
            <a:tailEnd/>
          </a:ln>
          <a:effectLst/>
        </p:spPr>
        <p:txBody>
          <a:bodyPr vert="horz" wrap="square" lIns="93177" tIns="46589" rIns="93177" bIns="46589" numCol="1" anchor="b" anchorCtr="0" compatLnSpc="1">
            <a:prstTxWarp prst="textNoShape">
              <a:avLst/>
            </a:prstTxWarp>
          </a:bodyPr>
          <a:lstStyle>
            <a:lvl1pPr algn="r" defTabSz="931863">
              <a:defRPr sz="1200" b="0" smtClean="0">
                <a:latin typeface="Arial" pitchFamily="34" charset="0"/>
              </a:defRPr>
            </a:lvl1pPr>
          </a:lstStyle>
          <a:p>
            <a:pPr>
              <a:defRPr/>
            </a:pPr>
            <a:fld id="{9AC6BBBA-B104-4438-8F7D-BF682D738F1F}" type="slidenum">
              <a:rPr lang="en-US" altLang="zh-CN"/>
              <a:pPr>
                <a:defRPr/>
              </a:pPr>
              <a:t>‹#›</a:t>
            </a:fld>
            <a:endParaRPr lang="en-US" altLang="zh-CN"/>
          </a:p>
        </p:txBody>
      </p:sp>
    </p:spTree>
    <p:extLst>
      <p:ext uri="{BB962C8B-B14F-4D97-AF65-F5344CB8AC3E}">
        <p14:creationId xmlns:p14="http://schemas.microsoft.com/office/powerpoint/2010/main" val="2261163352"/>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0" y="0"/>
            <a:ext cx="3038475" cy="465138"/>
          </a:xfrm>
          <a:prstGeom prst="rect">
            <a:avLst/>
          </a:prstGeom>
          <a:noFill/>
          <a:ln w="9525">
            <a:noFill/>
            <a:miter lim="800000"/>
            <a:headEnd/>
            <a:tailEnd/>
          </a:ln>
          <a:effectLst/>
        </p:spPr>
        <p:txBody>
          <a:bodyPr vert="horz" wrap="square" lIns="93177" tIns="46589" rIns="93177" bIns="46589" numCol="1" anchor="t" anchorCtr="0" compatLnSpc="1">
            <a:prstTxWarp prst="textNoShape">
              <a:avLst/>
            </a:prstTxWarp>
          </a:bodyPr>
          <a:lstStyle>
            <a:lvl1pPr defTabSz="931863">
              <a:defRPr sz="1200" b="0">
                <a:latin typeface="Arial" charset="0"/>
                <a:ea typeface="宋体" pitchFamily="1" charset="-122"/>
                <a:cs typeface="Arial" charset="0"/>
              </a:defRPr>
            </a:lvl1pPr>
          </a:lstStyle>
          <a:p>
            <a:pPr>
              <a:defRPr/>
            </a:pPr>
            <a:endParaRPr lang="en-US" altLang="zh-CN"/>
          </a:p>
        </p:txBody>
      </p:sp>
      <p:sp>
        <p:nvSpPr>
          <p:cNvPr id="7171" name="Rectangle 3"/>
          <p:cNvSpPr>
            <a:spLocks noGrp="1" noChangeArrowheads="1"/>
          </p:cNvSpPr>
          <p:nvPr>
            <p:ph type="dt" idx="1"/>
          </p:nvPr>
        </p:nvSpPr>
        <p:spPr bwMode="auto">
          <a:xfrm>
            <a:off x="3970338" y="0"/>
            <a:ext cx="3038475" cy="465138"/>
          </a:xfrm>
          <a:prstGeom prst="rect">
            <a:avLst/>
          </a:prstGeom>
          <a:noFill/>
          <a:ln w="9525">
            <a:noFill/>
            <a:miter lim="800000"/>
            <a:headEnd/>
            <a:tailEnd/>
          </a:ln>
          <a:effectLst/>
        </p:spPr>
        <p:txBody>
          <a:bodyPr vert="horz" wrap="square" lIns="93177" tIns="46589" rIns="93177" bIns="46589" numCol="1" anchor="t" anchorCtr="0" compatLnSpc="1">
            <a:prstTxWarp prst="textNoShape">
              <a:avLst/>
            </a:prstTxWarp>
          </a:bodyPr>
          <a:lstStyle>
            <a:lvl1pPr algn="r" defTabSz="931863">
              <a:defRPr sz="1200" b="0" smtClean="0">
                <a:latin typeface="Arial" pitchFamily="34" charset="0"/>
              </a:defRPr>
            </a:lvl1pPr>
          </a:lstStyle>
          <a:p>
            <a:pPr>
              <a:defRPr/>
            </a:pPr>
            <a:fld id="{9FF0CDD0-B437-4549-A93E-4B6FB31A46ED}" type="datetime1">
              <a:rPr lang="en-US" altLang="zh-CN"/>
              <a:pPr>
                <a:defRPr/>
              </a:pPr>
              <a:t>8/12/2014</a:t>
            </a:fld>
            <a:endParaRPr lang="en-US" altLang="zh-CN"/>
          </a:p>
        </p:txBody>
      </p:sp>
      <p:sp>
        <p:nvSpPr>
          <p:cNvPr id="8196" name="Rectangle 4"/>
          <p:cNvSpPr>
            <a:spLocks noGrp="1" noRot="1" noChangeAspect="1" noChangeArrowheads="1" noTextEdit="1"/>
          </p:cNvSpPr>
          <p:nvPr>
            <p:ph type="sldImg" idx="2"/>
          </p:nvPr>
        </p:nvSpPr>
        <p:spPr bwMode="auto">
          <a:xfrm>
            <a:off x="412750" y="696913"/>
            <a:ext cx="6184900" cy="34861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73" name="Rectangle 5"/>
          <p:cNvSpPr>
            <a:spLocks noGrp="1" noChangeArrowheads="1"/>
          </p:cNvSpPr>
          <p:nvPr>
            <p:ph type="body" sz="quarter" idx="3"/>
          </p:nvPr>
        </p:nvSpPr>
        <p:spPr bwMode="auto">
          <a:xfrm>
            <a:off x="701675" y="4416425"/>
            <a:ext cx="5607050" cy="4183063"/>
          </a:xfrm>
          <a:prstGeom prst="rect">
            <a:avLst/>
          </a:prstGeom>
          <a:noFill/>
          <a:ln w="9525">
            <a:noFill/>
            <a:miter lim="800000"/>
            <a:headEnd/>
            <a:tailEnd/>
          </a:ln>
          <a:effectLst/>
        </p:spPr>
        <p:txBody>
          <a:bodyPr vert="horz" wrap="square" lIns="93177" tIns="46589" rIns="93177" bIns="46589"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6"/>
          <p:cNvSpPr>
            <a:spLocks noGrp="1" noChangeArrowheads="1"/>
          </p:cNvSpPr>
          <p:nvPr>
            <p:ph type="ftr" sz="quarter" idx="4"/>
          </p:nvPr>
        </p:nvSpPr>
        <p:spPr bwMode="auto">
          <a:xfrm>
            <a:off x="0" y="8829675"/>
            <a:ext cx="3505200" cy="465138"/>
          </a:xfrm>
          <a:prstGeom prst="rect">
            <a:avLst/>
          </a:prstGeom>
          <a:noFill/>
          <a:ln w="9525">
            <a:noFill/>
            <a:miter lim="800000"/>
            <a:headEnd/>
            <a:tailEnd/>
          </a:ln>
          <a:effectLst/>
        </p:spPr>
        <p:txBody>
          <a:bodyPr vert="horz" wrap="square" lIns="93177" tIns="46589" rIns="93177" bIns="46589" numCol="1" anchor="b" anchorCtr="0" compatLnSpc="1">
            <a:prstTxWarp prst="textNoShape">
              <a:avLst/>
            </a:prstTxWarp>
          </a:bodyPr>
          <a:lstStyle>
            <a:lvl1pPr algn="l" defTabSz="931863">
              <a:defRPr sz="1200" b="0">
                <a:latin typeface="Arial" charset="0"/>
                <a:ea typeface="+mn-ea"/>
                <a:cs typeface="Arial" charset="0"/>
              </a:defRPr>
            </a:lvl1pPr>
          </a:lstStyle>
          <a:p>
            <a:pPr>
              <a:defRPr/>
            </a:pPr>
            <a:r>
              <a:rPr lang="en-US"/>
              <a:t>Confidential | Copyright 2012 Trend Micro Inc.</a:t>
            </a:r>
          </a:p>
        </p:txBody>
      </p:sp>
      <p:sp>
        <p:nvSpPr>
          <p:cNvPr id="7175" name="Rectangle 7"/>
          <p:cNvSpPr>
            <a:spLocks noGrp="1" noChangeArrowheads="1"/>
          </p:cNvSpPr>
          <p:nvPr>
            <p:ph type="sldNum" sz="quarter" idx="5"/>
          </p:nvPr>
        </p:nvSpPr>
        <p:spPr bwMode="auto">
          <a:xfrm>
            <a:off x="3970338" y="8829675"/>
            <a:ext cx="3038475" cy="465138"/>
          </a:xfrm>
          <a:prstGeom prst="rect">
            <a:avLst/>
          </a:prstGeom>
          <a:noFill/>
          <a:ln w="9525">
            <a:noFill/>
            <a:miter lim="800000"/>
            <a:headEnd/>
            <a:tailEnd/>
          </a:ln>
          <a:effectLst/>
        </p:spPr>
        <p:txBody>
          <a:bodyPr vert="horz" wrap="square" lIns="93177" tIns="46589" rIns="93177" bIns="46589" numCol="1" anchor="b" anchorCtr="0" compatLnSpc="1">
            <a:prstTxWarp prst="textNoShape">
              <a:avLst/>
            </a:prstTxWarp>
          </a:bodyPr>
          <a:lstStyle>
            <a:lvl1pPr algn="r" defTabSz="931863">
              <a:defRPr sz="1200" b="0" smtClean="0">
                <a:latin typeface="Arial" pitchFamily="34" charset="0"/>
              </a:defRPr>
            </a:lvl1pPr>
          </a:lstStyle>
          <a:p>
            <a:pPr>
              <a:defRPr/>
            </a:pPr>
            <a:fld id="{8B05DCF1-4372-4825-9759-D1379782B66E}" type="slidenum">
              <a:rPr lang="en-US" altLang="zh-CN"/>
              <a:pPr>
                <a:defRPr/>
              </a:pPr>
              <a:t>‹#›</a:t>
            </a:fld>
            <a:endParaRPr lang="en-US" altLang="zh-CN"/>
          </a:p>
        </p:txBody>
      </p:sp>
    </p:spTree>
    <p:extLst>
      <p:ext uri="{BB962C8B-B14F-4D97-AF65-F5344CB8AC3E}">
        <p14:creationId xmlns:p14="http://schemas.microsoft.com/office/powerpoint/2010/main" val="1063341213"/>
      </p:ext>
    </p:extLst>
  </p:cSld>
  <p:clrMap bg1="lt1" tx1="dk1" bg2="lt2" tx2="dk2" accent1="accent1" accent2="accent2" accent3="accent3" accent4="accent4" accent5="accent5" accent6="accent6" hlink="hlink" folHlink="folHlink"/>
  <p:hf hdr="0"/>
  <p:notesStyle>
    <a:lvl1pPr algn="l" rtl="0" eaLnBrk="0" fontAlgn="base" hangingPunct="0">
      <a:spcBef>
        <a:spcPct val="30000"/>
      </a:spcBef>
      <a:spcAft>
        <a:spcPct val="0"/>
      </a:spcAft>
      <a:defRPr kumimoji="1" sz="1200" kern="1200">
        <a:solidFill>
          <a:schemeClr val="tx1"/>
        </a:solidFill>
        <a:latin typeface="Arial" charset="0"/>
        <a:ea typeface="宋体" charset="0"/>
        <a:cs typeface="Arial" charset="0"/>
      </a:defRPr>
    </a:lvl1pPr>
    <a:lvl2pPr marL="457200" algn="l" rtl="0" eaLnBrk="0" fontAlgn="base" hangingPunct="0">
      <a:spcBef>
        <a:spcPct val="30000"/>
      </a:spcBef>
      <a:spcAft>
        <a:spcPct val="0"/>
      </a:spcAft>
      <a:defRPr kumimoji="1" sz="1200" kern="1200">
        <a:solidFill>
          <a:schemeClr val="tx1"/>
        </a:solidFill>
        <a:latin typeface="Arial" charset="0"/>
        <a:ea typeface="Arial" charset="0"/>
        <a:cs typeface="Arial" charset="0"/>
      </a:defRPr>
    </a:lvl2pPr>
    <a:lvl3pPr marL="914400" algn="l" rtl="0" eaLnBrk="0" fontAlgn="base" hangingPunct="0">
      <a:spcBef>
        <a:spcPct val="30000"/>
      </a:spcBef>
      <a:spcAft>
        <a:spcPct val="0"/>
      </a:spcAft>
      <a:defRPr kumimoji="1" sz="1200" kern="1200">
        <a:solidFill>
          <a:schemeClr val="tx1"/>
        </a:solidFill>
        <a:latin typeface="Arial" charset="0"/>
        <a:ea typeface="Arial" charset="0"/>
        <a:cs typeface="Arial" charset="0"/>
      </a:defRPr>
    </a:lvl3pPr>
    <a:lvl4pPr marL="1371600" algn="l" rtl="0" eaLnBrk="0" fontAlgn="base" hangingPunct="0">
      <a:spcBef>
        <a:spcPct val="30000"/>
      </a:spcBef>
      <a:spcAft>
        <a:spcPct val="0"/>
      </a:spcAft>
      <a:defRPr kumimoji="1" sz="1200" kern="1200">
        <a:solidFill>
          <a:schemeClr val="tx1"/>
        </a:solidFill>
        <a:latin typeface="Arial" charset="0"/>
        <a:ea typeface="Arial" charset="0"/>
        <a:cs typeface="Arial" charset="0"/>
      </a:defRPr>
    </a:lvl4pPr>
    <a:lvl5pPr marL="1828800" algn="l" rtl="0" eaLnBrk="0" fontAlgn="base" hangingPunct="0">
      <a:spcBef>
        <a:spcPct val="30000"/>
      </a:spcBef>
      <a:spcAft>
        <a:spcPct val="0"/>
      </a:spcAft>
      <a:defRPr kumimoji="1" sz="1200" kern="1200">
        <a:solidFill>
          <a:schemeClr val="tx1"/>
        </a:solidFill>
        <a:latin typeface="Arial" charset="0"/>
        <a:ea typeface="Arial" charset="0"/>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50355">
              <a:spcAft>
                <a:spcPts val="419"/>
              </a:spcAft>
              <a:buSzPct val="100000"/>
            </a:pPr>
            <a:r>
              <a:rPr lang="en-US" b="0" dirty="0" smtClean="0"/>
              <a:t/>
            </a:r>
            <a:br>
              <a:rPr lang="en-US" b="0" dirty="0" smtClean="0"/>
            </a:br>
            <a:r>
              <a:rPr lang="en-US" b="0" dirty="0" smtClean="0"/>
              <a:t>“If you </a:t>
            </a:r>
            <a:r>
              <a:rPr lang="en-US" dirty="0" smtClean="0"/>
              <a:t>know the enemy and know yourself, </a:t>
            </a:r>
            <a:r>
              <a:rPr lang="en-US" b="0" dirty="0" smtClean="0"/>
              <a:t>you need not fear the result of a hundred battles.” </a:t>
            </a:r>
          </a:p>
          <a:p>
            <a:pPr defTabSz="450355">
              <a:spcAft>
                <a:spcPts val="419"/>
              </a:spcAft>
              <a:buSzPct val="100000"/>
            </a:pPr>
            <a:endParaRPr lang="en-US" b="0" dirty="0" smtClean="0"/>
          </a:p>
          <a:p>
            <a:pPr defTabSz="450355">
              <a:spcAft>
                <a:spcPts val="419"/>
              </a:spcAft>
              <a:buSzPct val="100000"/>
            </a:pPr>
            <a:r>
              <a:rPr lang="en-US" b="0" dirty="0" smtClean="0"/>
              <a:t>Very wise words …and as we will see, very relevant today.</a:t>
            </a:r>
          </a:p>
          <a:p>
            <a:pPr defTabSz="450355">
              <a:spcAft>
                <a:spcPts val="419"/>
              </a:spcAft>
              <a:buSzPct val="100000"/>
            </a:pPr>
            <a:endParaRPr lang="en-US" b="0" dirty="0" smtClean="0"/>
          </a:p>
          <a:p>
            <a:pPr defTabSz="450355">
              <a:spcAft>
                <a:spcPts val="419"/>
              </a:spcAft>
              <a:buSzPct val="100000"/>
            </a:pPr>
            <a:r>
              <a:rPr lang="en-US" b="0" dirty="0" smtClean="0"/>
              <a:t>So let’s jump in - what is this New Reality?</a:t>
            </a:r>
            <a:endParaRPr lang="en-US" dirty="0" smtClean="0"/>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latin typeface="Calibri"/>
              </a:rPr>
              <a:pPr/>
              <a:t>6</a:t>
            </a:fld>
            <a:endParaRPr lang="en-GB" dirty="0">
              <a:solidFill>
                <a:prstClr val="black"/>
              </a:solidFill>
              <a:latin typeface="Calibri"/>
            </a:endParaRPr>
          </a:p>
        </p:txBody>
      </p:sp>
    </p:spTree>
    <p:extLst>
      <p:ext uri="{BB962C8B-B14F-4D97-AF65-F5344CB8AC3E}">
        <p14:creationId xmlns:p14="http://schemas.microsoft.com/office/powerpoint/2010/main" val="37898155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200000"/>
              </a:lnSpc>
            </a:pPr>
            <a:endParaRPr lang="en-US" baseline="0" dirty="0" smtClean="0">
              <a:solidFill>
                <a:srgbClr val="000000"/>
              </a:solidFill>
            </a:endParaRPr>
          </a:p>
          <a:p>
            <a:pPr>
              <a:lnSpc>
                <a:spcPct val="200000"/>
              </a:lnSpc>
            </a:pPr>
            <a:endParaRPr lang="en-US" baseline="0" dirty="0" smtClean="0">
              <a:solidFill>
                <a:srgbClr val="000000"/>
              </a:solidFill>
            </a:endParaRPr>
          </a:p>
        </p:txBody>
      </p:sp>
      <p:sp>
        <p:nvSpPr>
          <p:cNvPr id="4" name="Slide Number Placeholder 3"/>
          <p:cNvSpPr>
            <a:spLocks noGrp="1"/>
          </p:cNvSpPr>
          <p:nvPr>
            <p:ph type="sldNum" sz="quarter" idx="10"/>
          </p:nvPr>
        </p:nvSpPr>
        <p:spPr/>
        <p:txBody>
          <a:bodyPr/>
          <a:lstStyle/>
          <a:p>
            <a:fld id="{22A853E8-D85F-5D49-95D2-E1D96ABFE2B9}" type="slidenum">
              <a:rPr lang="en-GB" smtClean="0"/>
              <a:pPr/>
              <a:t>17</a:t>
            </a:fld>
            <a:endParaRPr lang="en-GB" dirty="0"/>
          </a:p>
        </p:txBody>
      </p:sp>
    </p:spTree>
    <p:extLst>
      <p:ext uri="{BB962C8B-B14F-4D97-AF65-F5344CB8AC3E}">
        <p14:creationId xmlns:p14="http://schemas.microsoft.com/office/powerpoint/2010/main" val="25503585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65887" eaLnBrk="1" fontAlgn="auto" hangingPunct="1">
              <a:spcBef>
                <a:spcPts val="0"/>
              </a:spcBef>
              <a:spcAft>
                <a:spcPts val="0"/>
              </a:spcAft>
              <a:defRPr/>
            </a:pPr>
            <a:r>
              <a:rPr lang="en-US" b="1" dirty="0">
                <a:solidFill>
                  <a:schemeClr val="tx2"/>
                </a:solidFill>
              </a:rPr>
              <a:t>Industry leading security intelligence with weekly </a:t>
            </a:r>
            <a:r>
              <a:rPr lang="en-US" b="1" dirty="0" err="1">
                <a:solidFill>
                  <a:schemeClr val="tx2"/>
                </a:solidFill>
              </a:rPr>
              <a:t>DVLabs</a:t>
            </a:r>
            <a:r>
              <a:rPr lang="en-US" b="1" dirty="0">
                <a:solidFill>
                  <a:schemeClr val="tx2"/>
                </a:solidFill>
              </a:rPr>
              <a:t> updates</a:t>
            </a:r>
            <a:endParaRPr lang="en-US" b="1" dirty="0">
              <a:solidFill>
                <a:schemeClr val="tx2"/>
              </a:solidFill>
              <a:latin typeface="HP Simplified"/>
              <a:cs typeface="HP Simplified"/>
            </a:endParaRPr>
          </a:p>
          <a:p>
            <a:pPr defTabSz="465887" eaLnBrk="1" fontAlgn="auto" hangingPunct="1">
              <a:spcBef>
                <a:spcPts val="0"/>
              </a:spcBef>
              <a:spcAft>
                <a:spcPts val="0"/>
              </a:spcAft>
              <a:defRPr/>
            </a:pPr>
            <a:r>
              <a:rPr lang="en-US" b="1" dirty="0">
                <a:solidFill>
                  <a:schemeClr val="bg1"/>
                </a:solidFill>
              </a:rPr>
              <a:t>Easy to use, configure and install with centralized management</a:t>
            </a:r>
            <a:endParaRPr lang="en-US" b="1" dirty="0">
              <a:solidFill>
                <a:schemeClr val="bg1"/>
              </a:solidFill>
              <a:latin typeface="HP Simplified"/>
              <a:cs typeface="HP Simplified"/>
            </a:endParaRPr>
          </a:p>
          <a:p>
            <a:pPr defTabSz="465887" eaLnBrk="1" fontAlgn="auto" hangingPunct="1">
              <a:spcBef>
                <a:spcPts val="0"/>
              </a:spcBef>
              <a:spcAft>
                <a:spcPts val="0"/>
              </a:spcAft>
              <a:defRPr/>
            </a:pPr>
            <a:r>
              <a:rPr lang="en-US" b="1" dirty="0">
                <a:solidFill>
                  <a:schemeClr val="tx2"/>
                </a:solidFill>
              </a:rPr>
              <a:t>NGFW built on 99.99999% network uptime track record</a:t>
            </a:r>
            <a:endParaRPr lang="en-US" b="1" dirty="0">
              <a:solidFill>
                <a:schemeClr val="tx2"/>
              </a:solidFill>
              <a:latin typeface="HP Simplified"/>
              <a:cs typeface="HP Simplified"/>
            </a:endParaRPr>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8</a:t>
            </a:fld>
            <a:endParaRPr lang="en-GB" dirty="0"/>
          </a:p>
        </p:txBody>
      </p:sp>
    </p:spTree>
    <p:extLst>
      <p:ext uri="{BB962C8B-B14F-4D97-AF65-F5344CB8AC3E}">
        <p14:creationId xmlns:p14="http://schemas.microsoft.com/office/powerpoint/2010/main" val="16824590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200000"/>
              </a:lnSpc>
            </a:pPr>
            <a:endParaRPr lang="en-US" baseline="0" dirty="0" smtClean="0">
              <a:solidFill>
                <a:srgbClr val="000000"/>
              </a:solidFill>
            </a:endParaRPr>
          </a:p>
          <a:p>
            <a:pPr>
              <a:lnSpc>
                <a:spcPct val="200000"/>
              </a:lnSpc>
            </a:pPr>
            <a:endParaRPr lang="en-US" baseline="0" dirty="0" smtClean="0">
              <a:solidFill>
                <a:srgbClr val="000000"/>
              </a:solidFill>
            </a:endParaRPr>
          </a:p>
        </p:txBody>
      </p:sp>
      <p:sp>
        <p:nvSpPr>
          <p:cNvPr id="4" name="Slide Number Placeholder 3"/>
          <p:cNvSpPr>
            <a:spLocks noGrp="1"/>
          </p:cNvSpPr>
          <p:nvPr>
            <p:ph type="sldNum" sz="quarter" idx="10"/>
          </p:nvPr>
        </p:nvSpPr>
        <p:spPr/>
        <p:txBody>
          <a:bodyPr/>
          <a:lstStyle/>
          <a:p>
            <a:fld id="{22A853E8-D85F-5D49-95D2-E1D96ABFE2B9}" type="slidenum">
              <a:rPr lang="en-GB" smtClean="0"/>
              <a:pPr/>
              <a:t>20</a:t>
            </a:fld>
            <a:endParaRPr lang="en-GB" dirty="0"/>
          </a:p>
        </p:txBody>
      </p:sp>
    </p:spTree>
    <p:extLst>
      <p:ext uri="{BB962C8B-B14F-4D97-AF65-F5344CB8AC3E}">
        <p14:creationId xmlns:p14="http://schemas.microsoft.com/office/powerpoint/2010/main" val="2659646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65887" eaLnBrk="1" fontAlgn="auto" hangingPunct="1">
              <a:spcBef>
                <a:spcPts val="0"/>
              </a:spcBef>
              <a:spcAft>
                <a:spcPts val="0"/>
              </a:spcAft>
              <a:defRPr/>
            </a:pPr>
            <a:r>
              <a:rPr lang="en-US" b="1" dirty="0">
                <a:solidFill>
                  <a:schemeClr val="tx2"/>
                </a:solidFill>
              </a:rPr>
              <a:t>Industry leading security intelligence with weekly </a:t>
            </a:r>
            <a:r>
              <a:rPr lang="en-US" b="1" dirty="0" err="1">
                <a:solidFill>
                  <a:schemeClr val="tx2"/>
                </a:solidFill>
              </a:rPr>
              <a:t>DVLabs</a:t>
            </a:r>
            <a:r>
              <a:rPr lang="en-US" b="1" dirty="0">
                <a:solidFill>
                  <a:schemeClr val="tx2"/>
                </a:solidFill>
              </a:rPr>
              <a:t> updates</a:t>
            </a:r>
            <a:endParaRPr lang="en-US" b="1" dirty="0">
              <a:solidFill>
                <a:schemeClr val="tx2"/>
              </a:solidFill>
              <a:latin typeface="HP Simplified"/>
              <a:cs typeface="HP Simplified"/>
            </a:endParaRPr>
          </a:p>
          <a:p>
            <a:pPr defTabSz="465887" eaLnBrk="1" fontAlgn="auto" hangingPunct="1">
              <a:spcBef>
                <a:spcPts val="0"/>
              </a:spcBef>
              <a:spcAft>
                <a:spcPts val="0"/>
              </a:spcAft>
              <a:defRPr/>
            </a:pPr>
            <a:r>
              <a:rPr lang="en-US" b="1" dirty="0">
                <a:solidFill>
                  <a:schemeClr val="bg1"/>
                </a:solidFill>
              </a:rPr>
              <a:t>Easy to use, configure and install with centralized management</a:t>
            </a:r>
            <a:endParaRPr lang="en-US" b="1" dirty="0">
              <a:solidFill>
                <a:schemeClr val="bg1"/>
              </a:solidFill>
              <a:latin typeface="HP Simplified"/>
              <a:cs typeface="HP Simplified"/>
            </a:endParaRPr>
          </a:p>
          <a:p>
            <a:pPr defTabSz="465887" eaLnBrk="1" fontAlgn="auto" hangingPunct="1">
              <a:spcBef>
                <a:spcPts val="0"/>
              </a:spcBef>
              <a:spcAft>
                <a:spcPts val="0"/>
              </a:spcAft>
              <a:defRPr/>
            </a:pPr>
            <a:r>
              <a:rPr lang="en-US" b="1" dirty="0">
                <a:solidFill>
                  <a:schemeClr val="tx2"/>
                </a:solidFill>
              </a:rPr>
              <a:t>NGFW built on 99.99999% network uptime track record</a:t>
            </a:r>
            <a:endParaRPr lang="en-US" b="1" dirty="0">
              <a:solidFill>
                <a:schemeClr val="tx2"/>
              </a:solidFill>
              <a:latin typeface="HP Simplified"/>
              <a:cs typeface="HP Simplified"/>
            </a:endParaRPr>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21</a:t>
            </a:fld>
            <a:endParaRPr lang="en-GB" dirty="0"/>
          </a:p>
        </p:txBody>
      </p:sp>
    </p:spTree>
    <p:extLst>
      <p:ext uri="{BB962C8B-B14F-4D97-AF65-F5344CB8AC3E}">
        <p14:creationId xmlns:p14="http://schemas.microsoft.com/office/powerpoint/2010/main" val="7067581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200000"/>
              </a:lnSpc>
            </a:pPr>
            <a:endParaRPr lang="en-US" baseline="0" dirty="0" smtClean="0">
              <a:solidFill>
                <a:srgbClr val="000000"/>
              </a:solidFill>
            </a:endParaRPr>
          </a:p>
          <a:p>
            <a:pPr>
              <a:lnSpc>
                <a:spcPct val="200000"/>
              </a:lnSpc>
            </a:pPr>
            <a:endParaRPr lang="en-US" baseline="0" dirty="0" smtClean="0">
              <a:solidFill>
                <a:srgbClr val="000000"/>
              </a:solidFill>
            </a:endParaRPr>
          </a:p>
        </p:txBody>
      </p:sp>
      <p:sp>
        <p:nvSpPr>
          <p:cNvPr id="4" name="Slide Number Placeholder 3"/>
          <p:cNvSpPr>
            <a:spLocks noGrp="1"/>
          </p:cNvSpPr>
          <p:nvPr>
            <p:ph type="sldNum" sz="quarter" idx="10"/>
          </p:nvPr>
        </p:nvSpPr>
        <p:spPr/>
        <p:txBody>
          <a:bodyPr/>
          <a:lstStyle/>
          <a:p>
            <a:fld id="{22A853E8-D85F-5D49-95D2-E1D96ABFE2B9}" type="slidenum">
              <a:rPr lang="en-GB" smtClean="0"/>
              <a:pPr/>
              <a:t>22</a:t>
            </a:fld>
            <a:endParaRPr lang="en-GB" dirty="0"/>
          </a:p>
        </p:txBody>
      </p:sp>
    </p:spTree>
    <p:extLst>
      <p:ext uri="{BB962C8B-B14F-4D97-AF65-F5344CB8AC3E}">
        <p14:creationId xmlns:p14="http://schemas.microsoft.com/office/powerpoint/2010/main" val="5863634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200000"/>
              </a:lnSpc>
            </a:pPr>
            <a:endParaRPr lang="en-US" baseline="0" dirty="0" smtClean="0">
              <a:solidFill>
                <a:srgbClr val="000000"/>
              </a:solidFill>
            </a:endParaRPr>
          </a:p>
          <a:p>
            <a:pPr>
              <a:lnSpc>
                <a:spcPct val="200000"/>
              </a:lnSpc>
            </a:pPr>
            <a:endParaRPr lang="en-US" baseline="0" dirty="0" smtClean="0">
              <a:solidFill>
                <a:srgbClr val="000000"/>
              </a:solidFill>
            </a:endParaRPr>
          </a:p>
        </p:txBody>
      </p:sp>
      <p:sp>
        <p:nvSpPr>
          <p:cNvPr id="4" name="Slide Number Placeholder 3"/>
          <p:cNvSpPr>
            <a:spLocks noGrp="1"/>
          </p:cNvSpPr>
          <p:nvPr>
            <p:ph type="sldNum" sz="quarter" idx="10"/>
          </p:nvPr>
        </p:nvSpPr>
        <p:spPr/>
        <p:txBody>
          <a:bodyPr/>
          <a:lstStyle/>
          <a:p>
            <a:fld id="{22A853E8-D85F-5D49-95D2-E1D96ABFE2B9}" type="slidenum">
              <a:rPr lang="en-GB" smtClean="0"/>
              <a:pPr/>
              <a:t>24</a:t>
            </a:fld>
            <a:endParaRPr lang="en-GB" dirty="0"/>
          </a:p>
        </p:txBody>
      </p:sp>
    </p:spTree>
    <p:extLst>
      <p:ext uri="{BB962C8B-B14F-4D97-AF65-F5344CB8AC3E}">
        <p14:creationId xmlns:p14="http://schemas.microsoft.com/office/powerpoint/2010/main" val="4641166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50355">
              <a:spcAft>
                <a:spcPts val="419"/>
              </a:spcAft>
              <a:buSzPct val="100000"/>
            </a:pPr>
            <a:r>
              <a:rPr lang="en-US" b="0" dirty="0" smtClean="0"/>
              <a:t/>
            </a:r>
            <a:br>
              <a:rPr lang="en-US" b="0" dirty="0" smtClean="0"/>
            </a:br>
            <a:r>
              <a:rPr lang="en-US" b="0" dirty="0" smtClean="0"/>
              <a:t>Security is no longer about keeping them out – it’s about keeping them from taking what matters most to you.</a:t>
            </a:r>
          </a:p>
          <a:p>
            <a:pPr defTabSz="450355">
              <a:spcAft>
                <a:spcPts val="419"/>
              </a:spcAft>
              <a:buSzPct val="100000"/>
            </a:pPr>
            <a:endParaRPr lang="en-US" b="0" dirty="0" smtClean="0"/>
          </a:p>
          <a:p>
            <a:pPr defTabSz="465887" eaLnBrk="1" fontAlgn="auto" hangingPunct="1">
              <a:spcBef>
                <a:spcPts val="0"/>
              </a:spcBef>
              <a:spcAft>
                <a:spcPts val="0"/>
              </a:spcAft>
              <a:defRPr/>
            </a:pPr>
            <a:r>
              <a:rPr lang="en-US" b="1" dirty="0">
                <a:latin typeface="HP Simplified"/>
                <a:ea typeface="+mn-ea"/>
                <a:cs typeface="HP Simplified"/>
              </a:rPr>
              <a:t>Today, effective end to end security requires a new approach and a new way of thinking about our enemies</a:t>
            </a:r>
            <a:r>
              <a:rPr lang="en-US" dirty="0">
                <a:latin typeface="HP Simplified"/>
                <a:ea typeface="+mn-ea"/>
                <a:cs typeface="HP Simplified"/>
              </a:rPr>
              <a:t>. </a:t>
            </a:r>
          </a:p>
          <a:p>
            <a:pPr defTabSz="465887" eaLnBrk="1" fontAlgn="auto" hangingPunct="1">
              <a:spcBef>
                <a:spcPts val="0"/>
              </a:spcBef>
              <a:spcAft>
                <a:spcPts val="0"/>
              </a:spcAft>
              <a:defRPr/>
            </a:pPr>
            <a:endParaRPr lang="en-US" dirty="0">
              <a:latin typeface="HP Simplified"/>
              <a:ea typeface="+mn-ea"/>
              <a:cs typeface="HP Simplified"/>
            </a:endParaRPr>
          </a:p>
          <a:p>
            <a:pPr defTabSz="465887" eaLnBrk="1" fontAlgn="auto" hangingPunct="1">
              <a:spcBef>
                <a:spcPts val="0"/>
              </a:spcBef>
              <a:spcAft>
                <a:spcPts val="0"/>
              </a:spcAft>
              <a:defRPr/>
            </a:pPr>
            <a:r>
              <a:rPr lang="en-US" dirty="0">
                <a:latin typeface="HP Simplified"/>
                <a:ea typeface="+mn-ea"/>
                <a:cs typeface="HP Simplified"/>
              </a:rPr>
              <a:t>As Sun Tzu once instructed us to Know your enemy and know yourself, he also said [click]</a:t>
            </a:r>
          </a:p>
          <a:p>
            <a:pPr defTabSz="465887" eaLnBrk="1" fontAlgn="auto" hangingPunct="1">
              <a:spcBef>
                <a:spcPts val="0"/>
              </a:spcBef>
              <a:spcAft>
                <a:spcPts val="0"/>
              </a:spcAft>
              <a:defRPr/>
            </a:pPr>
            <a:endParaRPr lang="en-US" dirty="0">
              <a:latin typeface="HP Simplified"/>
              <a:ea typeface="+mn-ea"/>
              <a:cs typeface="HP Simplified" pitchFamily="34" charset="0"/>
            </a:endParaRPr>
          </a:p>
          <a:p>
            <a:pPr defTabSz="465887" eaLnBrk="1" fontAlgn="auto" hangingPunct="1">
              <a:spcBef>
                <a:spcPts val="0"/>
              </a:spcBef>
              <a:spcAft>
                <a:spcPts val="0"/>
              </a:spcAft>
              <a:defRPr/>
            </a:pPr>
            <a:r>
              <a:rPr lang="en-US" b="1" dirty="0">
                <a:solidFill>
                  <a:srgbClr val="FFFFFF"/>
                </a:solidFill>
                <a:cs typeface="HP Simplified" pitchFamily="34" charset="0"/>
              </a:rPr>
              <a:t>The opportunity to secure ourselves against defeat lies in our own hands.  </a:t>
            </a:r>
          </a:p>
          <a:p>
            <a:pPr defTabSz="465887" eaLnBrk="1" fontAlgn="auto" hangingPunct="1">
              <a:spcBef>
                <a:spcPts val="0"/>
              </a:spcBef>
              <a:spcAft>
                <a:spcPts val="0"/>
              </a:spcAft>
              <a:defRPr/>
            </a:pPr>
            <a:endParaRPr lang="en-US" b="1" dirty="0">
              <a:solidFill>
                <a:srgbClr val="FFFFFF"/>
              </a:solidFill>
              <a:latin typeface="HP Simplified"/>
              <a:ea typeface="+mn-ea"/>
              <a:cs typeface="HP Simplified"/>
            </a:endParaRPr>
          </a:p>
          <a:p>
            <a:pPr defTabSz="465887" eaLnBrk="1" fontAlgn="auto" hangingPunct="1">
              <a:spcBef>
                <a:spcPts val="0"/>
              </a:spcBef>
              <a:spcAft>
                <a:spcPts val="0"/>
              </a:spcAft>
              <a:defRPr/>
            </a:pPr>
            <a:r>
              <a:rPr lang="en-US" b="1" dirty="0">
                <a:solidFill>
                  <a:srgbClr val="FFFFFF"/>
                </a:solidFill>
                <a:latin typeface="HP Simplified"/>
                <a:ea typeface="+mn-ea"/>
                <a:cs typeface="HP Simplified"/>
              </a:rPr>
              <a:t>Ancient wisdom vs. a modern foe. </a:t>
            </a:r>
            <a:r>
              <a:rPr lang="en-US" b="1" dirty="0">
                <a:latin typeface="HP Simplified"/>
                <a:ea typeface="+mn-ea"/>
                <a:cs typeface="HP Simplified"/>
              </a:rPr>
              <a:t>This is Security for the New Reality.</a:t>
            </a:r>
            <a:endParaRPr lang="en-US" b="1" dirty="0" smtClean="0">
              <a:solidFill>
                <a:srgbClr val="000000"/>
              </a:solidFill>
            </a:endParaRPr>
          </a:p>
          <a:p>
            <a:pPr defTabSz="450355">
              <a:spcAft>
                <a:spcPts val="419"/>
              </a:spcAft>
              <a:buSzPct val="100000"/>
            </a:pP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latin typeface="Calibri"/>
              </a:rPr>
              <a:pPr/>
              <a:t>27</a:t>
            </a:fld>
            <a:endParaRPr lang="en-GB" dirty="0">
              <a:solidFill>
                <a:prstClr val="black"/>
              </a:solidFill>
              <a:latin typeface="Calibri"/>
            </a:endParaRPr>
          </a:p>
        </p:txBody>
      </p:sp>
    </p:spTree>
    <p:extLst>
      <p:ext uri="{BB962C8B-B14F-4D97-AF65-F5344CB8AC3E}">
        <p14:creationId xmlns:p14="http://schemas.microsoft.com/office/powerpoint/2010/main" val="11070463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lide Image Placeholder 1"/>
          <p:cNvSpPr>
            <a:spLocks noGrp="1" noRot="1" noChangeAspect="1" noTextEdit="1"/>
          </p:cNvSpPr>
          <p:nvPr>
            <p:ph type="sldImg"/>
          </p:nvPr>
        </p:nvSpPr>
        <p:spPr>
          <a:ln/>
        </p:spPr>
      </p:sp>
      <p:sp>
        <p:nvSpPr>
          <p:cNvPr id="1024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kumimoji="0" lang="en-US" altLang="zh-CN" smtClean="0">
              <a:ea typeface="宋体" pitchFamily="2" charset="-122"/>
            </a:endParaRPr>
          </a:p>
        </p:txBody>
      </p:sp>
      <p:sp>
        <p:nvSpPr>
          <p:cNvPr id="10244" name="Date Placeholder 3"/>
          <p:cNvSpPr>
            <a:spLocks noGrp="1"/>
          </p:cNvSpPr>
          <p:nvPr>
            <p:ph type="dt" sz="quarter"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863" eaLnBrk="0" hangingPunct="0">
              <a:defRPr sz="1600" b="1">
                <a:solidFill>
                  <a:schemeClr val="tx1"/>
                </a:solidFill>
                <a:latin typeface="Arial" charset="0"/>
                <a:ea typeface="宋体" pitchFamily="2" charset="-122"/>
              </a:defRPr>
            </a:lvl1pPr>
            <a:lvl2pPr marL="742950" indent="-285750" defTabSz="931863" eaLnBrk="0" hangingPunct="0">
              <a:defRPr sz="1600" b="1">
                <a:solidFill>
                  <a:schemeClr val="tx1"/>
                </a:solidFill>
                <a:latin typeface="Arial" charset="0"/>
                <a:ea typeface="宋体" pitchFamily="2" charset="-122"/>
              </a:defRPr>
            </a:lvl2pPr>
            <a:lvl3pPr marL="1143000" indent="-228600" defTabSz="931863" eaLnBrk="0" hangingPunct="0">
              <a:defRPr sz="1600" b="1">
                <a:solidFill>
                  <a:schemeClr val="tx1"/>
                </a:solidFill>
                <a:latin typeface="Arial" charset="0"/>
                <a:ea typeface="宋体" pitchFamily="2" charset="-122"/>
              </a:defRPr>
            </a:lvl3pPr>
            <a:lvl4pPr marL="1600200" indent="-228600" defTabSz="931863" eaLnBrk="0" hangingPunct="0">
              <a:defRPr sz="1600" b="1">
                <a:solidFill>
                  <a:schemeClr val="tx1"/>
                </a:solidFill>
                <a:latin typeface="Arial" charset="0"/>
                <a:ea typeface="宋体" pitchFamily="2" charset="-122"/>
              </a:defRPr>
            </a:lvl4pPr>
            <a:lvl5pPr marL="2057400" indent="-228600" defTabSz="931863" eaLnBrk="0" hangingPunct="0">
              <a:defRPr sz="1600" b="1">
                <a:solidFill>
                  <a:schemeClr val="tx1"/>
                </a:solidFill>
                <a:latin typeface="Arial" charset="0"/>
                <a:ea typeface="宋体" pitchFamily="2" charset="-122"/>
              </a:defRPr>
            </a:lvl5pPr>
            <a:lvl6pPr marL="2514600" indent="-228600" defTabSz="931863" eaLnBrk="0" fontAlgn="base" hangingPunct="0">
              <a:spcBef>
                <a:spcPct val="0"/>
              </a:spcBef>
              <a:spcAft>
                <a:spcPct val="0"/>
              </a:spcAft>
              <a:defRPr sz="1600" b="1">
                <a:solidFill>
                  <a:schemeClr val="tx1"/>
                </a:solidFill>
                <a:latin typeface="Arial" charset="0"/>
                <a:ea typeface="宋体" pitchFamily="2" charset="-122"/>
              </a:defRPr>
            </a:lvl6pPr>
            <a:lvl7pPr marL="2971800" indent="-228600" defTabSz="931863" eaLnBrk="0" fontAlgn="base" hangingPunct="0">
              <a:spcBef>
                <a:spcPct val="0"/>
              </a:spcBef>
              <a:spcAft>
                <a:spcPct val="0"/>
              </a:spcAft>
              <a:defRPr sz="1600" b="1">
                <a:solidFill>
                  <a:schemeClr val="tx1"/>
                </a:solidFill>
                <a:latin typeface="Arial" charset="0"/>
                <a:ea typeface="宋体" pitchFamily="2" charset="-122"/>
              </a:defRPr>
            </a:lvl7pPr>
            <a:lvl8pPr marL="3429000" indent="-228600" defTabSz="931863" eaLnBrk="0" fontAlgn="base" hangingPunct="0">
              <a:spcBef>
                <a:spcPct val="0"/>
              </a:spcBef>
              <a:spcAft>
                <a:spcPct val="0"/>
              </a:spcAft>
              <a:defRPr sz="1600" b="1">
                <a:solidFill>
                  <a:schemeClr val="tx1"/>
                </a:solidFill>
                <a:latin typeface="Arial" charset="0"/>
                <a:ea typeface="宋体" pitchFamily="2" charset="-122"/>
              </a:defRPr>
            </a:lvl8pPr>
            <a:lvl9pPr marL="3886200" indent="-228600" defTabSz="931863" eaLnBrk="0" fontAlgn="base" hangingPunct="0">
              <a:spcBef>
                <a:spcPct val="0"/>
              </a:spcBef>
              <a:spcAft>
                <a:spcPct val="0"/>
              </a:spcAft>
              <a:defRPr sz="1600" b="1">
                <a:solidFill>
                  <a:schemeClr val="tx1"/>
                </a:solidFill>
                <a:latin typeface="Arial" charset="0"/>
                <a:ea typeface="宋体" pitchFamily="2" charset="-122"/>
              </a:defRPr>
            </a:lvl9pPr>
          </a:lstStyle>
          <a:p>
            <a:pPr eaLnBrk="1" hangingPunct="1"/>
            <a:fld id="{A4B42C29-3908-4CA9-AC73-622E81915B2A}" type="datetime1">
              <a:rPr lang="en-US" altLang="zh-CN" sz="1200" b="0"/>
              <a:pPr eaLnBrk="1" hangingPunct="1"/>
              <a:t>8/12/2014</a:t>
            </a:fld>
            <a:endParaRPr lang="en-US" altLang="zh-CN" sz="1200" b="0"/>
          </a:p>
        </p:txBody>
      </p:sp>
      <p:sp>
        <p:nvSpPr>
          <p:cNvPr id="32773" name="Footer Placeholder 4"/>
          <p:cNvSpPr>
            <a:spLocks noGrp="1"/>
          </p:cNvSpPr>
          <p:nvPr>
            <p:ph type="ftr" sz="quarter" idx="4"/>
          </p:nvPr>
        </p:nvSpPr>
        <p:spPr/>
        <p:txBody>
          <a:bodyPr/>
          <a:lstStyle/>
          <a:p>
            <a:pPr>
              <a:defRPr/>
            </a:pPr>
            <a:r>
              <a:rPr lang="en-US" altLang="zh-CN" dirty="0" smtClean="0"/>
              <a:t>Confidential | Copyright 2012 Trend Micro Inc.</a:t>
            </a:r>
          </a:p>
        </p:txBody>
      </p:sp>
      <p:sp>
        <p:nvSpPr>
          <p:cNvPr id="10246" name="Slide Number Placeholder 5"/>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863" eaLnBrk="0" hangingPunct="0">
              <a:defRPr sz="1600" b="1">
                <a:solidFill>
                  <a:schemeClr val="tx1"/>
                </a:solidFill>
                <a:latin typeface="Arial" charset="0"/>
                <a:ea typeface="宋体" pitchFamily="2" charset="-122"/>
              </a:defRPr>
            </a:lvl1pPr>
            <a:lvl2pPr marL="742950" indent="-285750" defTabSz="931863" eaLnBrk="0" hangingPunct="0">
              <a:defRPr sz="1600" b="1">
                <a:solidFill>
                  <a:schemeClr val="tx1"/>
                </a:solidFill>
                <a:latin typeface="Arial" charset="0"/>
                <a:ea typeface="宋体" pitchFamily="2" charset="-122"/>
              </a:defRPr>
            </a:lvl2pPr>
            <a:lvl3pPr marL="1143000" indent="-228600" defTabSz="931863" eaLnBrk="0" hangingPunct="0">
              <a:defRPr sz="1600" b="1">
                <a:solidFill>
                  <a:schemeClr val="tx1"/>
                </a:solidFill>
                <a:latin typeface="Arial" charset="0"/>
                <a:ea typeface="宋体" pitchFamily="2" charset="-122"/>
              </a:defRPr>
            </a:lvl3pPr>
            <a:lvl4pPr marL="1600200" indent="-228600" defTabSz="931863" eaLnBrk="0" hangingPunct="0">
              <a:defRPr sz="1600" b="1">
                <a:solidFill>
                  <a:schemeClr val="tx1"/>
                </a:solidFill>
                <a:latin typeface="Arial" charset="0"/>
                <a:ea typeface="宋体" pitchFamily="2" charset="-122"/>
              </a:defRPr>
            </a:lvl4pPr>
            <a:lvl5pPr marL="2057400" indent="-228600" defTabSz="931863" eaLnBrk="0" hangingPunct="0">
              <a:defRPr sz="1600" b="1">
                <a:solidFill>
                  <a:schemeClr val="tx1"/>
                </a:solidFill>
                <a:latin typeface="Arial" charset="0"/>
                <a:ea typeface="宋体" pitchFamily="2" charset="-122"/>
              </a:defRPr>
            </a:lvl5pPr>
            <a:lvl6pPr marL="2514600" indent="-228600" defTabSz="931863" eaLnBrk="0" fontAlgn="base" hangingPunct="0">
              <a:spcBef>
                <a:spcPct val="0"/>
              </a:spcBef>
              <a:spcAft>
                <a:spcPct val="0"/>
              </a:spcAft>
              <a:defRPr sz="1600" b="1">
                <a:solidFill>
                  <a:schemeClr val="tx1"/>
                </a:solidFill>
                <a:latin typeface="Arial" charset="0"/>
                <a:ea typeface="宋体" pitchFamily="2" charset="-122"/>
              </a:defRPr>
            </a:lvl6pPr>
            <a:lvl7pPr marL="2971800" indent="-228600" defTabSz="931863" eaLnBrk="0" fontAlgn="base" hangingPunct="0">
              <a:spcBef>
                <a:spcPct val="0"/>
              </a:spcBef>
              <a:spcAft>
                <a:spcPct val="0"/>
              </a:spcAft>
              <a:defRPr sz="1600" b="1">
                <a:solidFill>
                  <a:schemeClr val="tx1"/>
                </a:solidFill>
                <a:latin typeface="Arial" charset="0"/>
                <a:ea typeface="宋体" pitchFamily="2" charset="-122"/>
              </a:defRPr>
            </a:lvl7pPr>
            <a:lvl8pPr marL="3429000" indent="-228600" defTabSz="931863" eaLnBrk="0" fontAlgn="base" hangingPunct="0">
              <a:spcBef>
                <a:spcPct val="0"/>
              </a:spcBef>
              <a:spcAft>
                <a:spcPct val="0"/>
              </a:spcAft>
              <a:defRPr sz="1600" b="1">
                <a:solidFill>
                  <a:schemeClr val="tx1"/>
                </a:solidFill>
                <a:latin typeface="Arial" charset="0"/>
                <a:ea typeface="宋体" pitchFamily="2" charset="-122"/>
              </a:defRPr>
            </a:lvl8pPr>
            <a:lvl9pPr marL="3886200" indent="-228600" defTabSz="931863" eaLnBrk="0" fontAlgn="base" hangingPunct="0">
              <a:spcBef>
                <a:spcPct val="0"/>
              </a:spcBef>
              <a:spcAft>
                <a:spcPct val="0"/>
              </a:spcAft>
              <a:defRPr sz="1600" b="1">
                <a:solidFill>
                  <a:schemeClr val="tx1"/>
                </a:solidFill>
                <a:latin typeface="Arial" charset="0"/>
                <a:ea typeface="宋体" pitchFamily="2" charset="-122"/>
              </a:defRPr>
            </a:lvl9pPr>
          </a:lstStyle>
          <a:p>
            <a:pPr eaLnBrk="1" hangingPunct="1"/>
            <a:fld id="{2F5922AB-66F9-4831-AC17-00DC4A6BFE13}" type="slidenum">
              <a:rPr lang="en-US" altLang="zh-CN" sz="1200" b="0"/>
              <a:pPr eaLnBrk="1" hangingPunct="1"/>
              <a:t>29</a:t>
            </a:fld>
            <a:endParaRPr lang="en-US" altLang="zh-CN" sz="1200" b="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65887" eaLnBrk="1" fontAlgn="auto" hangingPunct="1">
              <a:spcBef>
                <a:spcPts val="0"/>
              </a:spcBef>
              <a:spcAft>
                <a:spcPts val="0"/>
              </a:spcAft>
              <a:defRPr/>
            </a:pPr>
            <a:r>
              <a:rPr lang="en-US" dirty="0">
                <a:latin typeface="HP Simplified"/>
                <a:ea typeface="+mn-ea"/>
                <a:cs typeface="HP Simplified"/>
              </a:rPr>
              <a:t>And although my talk today will focus mainly on this new breed of hackers and cyber criminals - let’s not forget about the our trusted employees, contractors, partners – people who already have access to your network. [click] Firewalls and point solutions that detect APTs won’t stop them if they’re the ones trying to steal your data.  </a:t>
            </a:r>
          </a:p>
          <a:p>
            <a:pPr defTabSz="465887" eaLnBrk="1" fontAlgn="auto" hangingPunct="1">
              <a:spcBef>
                <a:spcPts val="0"/>
              </a:spcBef>
              <a:spcAft>
                <a:spcPts val="0"/>
              </a:spcAft>
              <a:defRPr/>
            </a:pPr>
            <a:endParaRPr lang="en-US" dirty="0">
              <a:latin typeface="HP Simplified"/>
              <a:ea typeface="+mn-ea"/>
              <a:cs typeface="HP Simplified"/>
            </a:endParaRPr>
          </a:p>
          <a:p>
            <a:pPr defTabSz="465887" eaLnBrk="1" fontAlgn="auto" hangingPunct="1">
              <a:spcBef>
                <a:spcPts val="0"/>
              </a:spcBef>
              <a:spcAft>
                <a:spcPts val="0"/>
              </a:spcAft>
              <a:defRPr/>
            </a:pPr>
            <a:r>
              <a:rPr lang="en-US" dirty="0">
                <a:latin typeface="HP Simplified"/>
                <a:ea typeface="+mn-ea"/>
                <a:cs typeface="HP Simplified"/>
              </a:rPr>
              <a:t>[T] A 2013 study done by…</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latin typeface="Calibri"/>
              </a:rPr>
              <a:pPr/>
              <a:t>7</a:t>
            </a:fld>
            <a:endParaRPr lang="en-GB" dirty="0">
              <a:solidFill>
                <a:prstClr val="black"/>
              </a:solidFill>
              <a:latin typeface="Calibri"/>
            </a:endParaRPr>
          </a:p>
        </p:txBody>
      </p:sp>
    </p:spTree>
    <p:extLst>
      <p:ext uri="{BB962C8B-B14F-4D97-AF65-F5344CB8AC3E}">
        <p14:creationId xmlns:p14="http://schemas.microsoft.com/office/powerpoint/2010/main" val="18392304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99128" indent="-299128">
              <a:buFont typeface="Arial" panose="020B0604020202020204" pitchFamily="34" charset="0"/>
              <a:buChar char="•"/>
            </a:pPr>
            <a:endParaRPr lang="en-US" dirty="0" smtClean="0"/>
          </a:p>
          <a:p>
            <a:pPr defTabSz="478606" eaLnBrk="1" fontAlgn="auto" hangingPunct="1">
              <a:spcBef>
                <a:spcPts val="0"/>
              </a:spcBef>
              <a:spcAft>
                <a:spcPts val="0"/>
              </a:spcAft>
              <a:defRPr/>
            </a:pPr>
            <a:r>
              <a:rPr lang="en-US" dirty="0" smtClean="0"/>
              <a:t>That egg – that egg in the middle</a:t>
            </a:r>
            <a:r>
              <a:rPr lang="en-US" baseline="0" dirty="0" smtClean="0"/>
              <a:t> is us. Today’s CIO’s and security leaders are under enormous pressure from this New Style of IT, </a:t>
            </a:r>
            <a:r>
              <a:rPr lang="en-US" dirty="0" smtClean="0"/>
              <a:t>regulations &amp; compliance, and a competitive business environment moving at the speed</a:t>
            </a:r>
            <a:r>
              <a:rPr lang="en-US" baseline="0" dirty="0" smtClean="0"/>
              <a:t> of </a:t>
            </a:r>
            <a:r>
              <a:rPr lang="en-US" dirty="0" smtClean="0"/>
              <a:t>light. On top of that, we also need to be seen as more than a gatekeeper, but rather an enabler of business. We need to ensure our workers stay productive while at the same time, we are fighting this war against the adversary. </a:t>
            </a:r>
          </a:p>
          <a:p>
            <a:pPr defTabSz="478606" eaLnBrk="1" fontAlgn="auto" hangingPunct="1">
              <a:spcBef>
                <a:spcPts val="0"/>
              </a:spcBef>
              <a:spcAft>
                <a:spcPts val="0"/>
              </a:spcAft>
              <a:defRPr/>
            </a:pPr>
            <a:endParaRPr lang="en-US" dirty="0" smtClean="0"/>
          </a:p>
          <a:p>
            <a:pPr defTabSz="478606" eaLnBrk="1" fontAlgn="auto" hangingPunct="1">
              <a:spcBef>
                <a:spcPts val="0"/>
              </a:spcBef>
              <a:spcAft>
                <a:spcPts val="0"/>
              </a:spcAft>
              <a:defRPr/>
            </a:pPr>
            <a:r>
              <a:rPr lang="en-US" dirty="0" smtClean="0"/>
              <a:t>And while we are working to protect our environments,</a:t>
            </a:r>
            <a:r>
              <a:rPr lang="en-US" baseline="0" dirty="0" smtClean="0"/>
              <a:t> we need to ensure we are covering all the bases – we have to make the all right moves, every time – [pause] but </a:t>
            </a:r>
            <a:r>
              <a:rPr lang="en-US" b="1" baseline="0" dirty="0" smtClean="0"/>
              <a:t>our adversary only has to be right once to be successful against us. [pause]</a:t>
            </a:r>
            <a:r>
              <a:rPr lang="en-US" baseline="0" dirty="0" smtClean="0"/>
              <a:t> </a:t>
            </a:r>
            <a:endParaRPr lang="en-US" dirty="0" smtClean="0"/>
          </a:p>
          <a:p>
            <a:pPr defTabSz="478606" eaLnBrk="1" fontAlgn="auto" hangingPunct="1">
              <a:spcBef>
                <a:spcPts val="0"/>
              </a:spcBef>
              <a:spcAft>
                <a:spcPts val="0"/>
              </a:spcAft>
              <a:defRPr/>
            </a:pPr>
            <a:endParaRPr lang="en-US" b="1" dirty="0" smtClean="0"/>
          </a:p>
          <a:p>
            <a:pPr defTabSz="478606" eaLnBrk="1" fontAlgn="auto" hangingPunct="1">
              <a:spcBef>
                <a:spcPts val="0"/>
              </a:spcBef>
              <a:spcAft>
                <a:spcPts val="0"/>
              </a:spcAft>
              <a:defRPr/>
            </a:pPr>
            <a:r>
              <a:rPr lang="en-US" b="0" baseline="0" dirty="0" smtClean="0"/>
              <a:t>So we have a picture of our enemy, the Adversary. And we know about Ourselves and the challenges we have to keep our environments secure while we our businesses continue to innovate. </a:t>
            </a:r>
          </a:p>
          <a:p>
            <a:pPr defTabSz="478606" eaLnBrk="1" fontAlgn="auto" hangingPunct="1">
              <a:spcBef>
                <a:spcPts val="0"/>
              </a:spcBef>
              <a:spcAft>
                <a:spcPts val="0"/>
              </a:spcAft>
              <a:defRPr/>
            </a:pPr>
            <a:endParaRPr lang="en-US" b="0" baseline="0" dirty="0" smtClean="0"/>
          </a:p>
          <a:p>
            <a:pPr defTabSz="478606" eaLnBrk="1" fontAlgn="auto" hangingPunct="1">
              <a:spcBef>
                <a:spcPts val="0"/>
              </a:spcBef>
              <a:spcAft>
                <a:spcPts val="0"/>
              </a:spcAft>
              <a:defRPr/>
            </a:pPr>
            <a:r>
              <a:rPr lang="en-US" b="0" baseline="0" dirty="0" smtClean="0"/>
              <a:t>[T] So what else do we know about the Adversary and how they work to defeat our security?</a:t>
            </a:r>
            <a:endParaRPr lang="en-US" b="0" dirty="0"/>
          </a:p>
          <a:p>
            <a:pPr algn="ctr"/>
            <a:endParaRPr lang="en-US" dirty="0" smtClean="0"/>
          </a:p>
          <a:p>
            <a:pPr algn="ctr"/>
            <a:endParaRPr lang="en-US" dirty="0" smtClean="0">
              <a:solidFill>
                <a:srgbClr val="FF0000"/>
              </a:solidFill>
            </a:endParaRPr>
          </a:p>
          <a:p>
            <a:pPr marL="299128" indent="-299128">
              <a:buFont typeface="Arial" panose="020B0604020202020204" pitchFamily="34" charset="0"/>
              <a:buChar char="•"/>
            </a:pPr>
            <a:endParaRPr lang="en-US" dirty="0" smtClean="0"/>
          </a:p>
          <a:p>
            <a:pPr>
              <a:lnSpc>
                <a:spcPct val="200000"/>
              </a:lnSpc>
            </a:pPr>
            <a:endParaRPr lang="en-US" baseline="0" dirty="0" smtClean="0">
              <a:solidFill>
                <a:srgbClr val="000000"/>
              </a:solidFill>
            </a:endParaRPr>
          </a:p>
        </p:txBody>
      </p:sp>
      <p:sp>
        <p:nvSpPr>
          <p:cNvPr id="4" name="Slide Number Placeholder 3"/>
          <p:cNvSpPr>
            <a:spLocks noGrp="1"/>
          </p:cNvSpPr>
          <p:nvPr>
            <p:ph type="sldNum" sz="quarter" idx="10"/>
          </p:nvPr>
        </p:nvSpPr>
        <p:spPr/>
        <p:txBody>
          <a:bodyPr/>
          <a:lstStyle/>
          <a:p>
            <a:fld id="{22A853E8-D85F-5D49-95D2-E1D96ABFE2B9}" type="slidenum">
              <a:rPr lang="en-GB" smtClean="0"/>
              <a:pPr/>
              <a:t>8</a:t>
            </a:fld>
            <a:endParaRPr lang="en-GB" dirty="0"/>
          </a:p>
        </p:txBody>
      </p:sp>
    </p:spTree>
    <p:extLst>
      <p:ext uri="{BB962C8B-B14F-4D97-AF65-F5344CB8AC3E}">
        <p14:creationId xmlns:p14="http://schemas.microsoft.com/office/powerpoint/2010/main" val="15991981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HP Simplified"/>
                <a:ea typeface="+mn-ea"/>
                <a:cs typeface="HP Simplified"/>
              </a:rPr>
              <a:t>A new style of IT is emerging, promising simplicity, greater agility, speed, and lower cost. People’s desire for anytime, anywhere access is driving the move towards </a:t>
            </a:r>
            <a:r>
              <a:rPr lang="en-US" b="1" dirty="0">
                <a:latin typeface="HP Simplified"/>
                <a:ea typeface="+mn-ea"/>
                <a:cs typeface="HP Simplified"/>
              </a:rPr>
              <a:t>mobile</a:t>
            </a:r>
            <a:r>
              <a:rPr lang="en-US" dirty="0">
                <a:latin typeface="HP Simplified"/>
                <a:ea typeface="+mn-ea"/>
                <a:cs typeface="HP Simplified"/>
              </a:rPr>
              <a:t>, which is being enabled by the </a:t>
            </a:r>
            <a:r>
              <a:rPr lang="en-US" b="1" dirty="0">
                <a:latin typeface="HP Simplified"/>
                <a:ea typeface="+mn-ea"/>
                <a:cs typeface="HP Simplified"/>
              </a:rPr>
              <a:t>cloud</a:t>
            </a:r>
            <a:r>
              <a:rPr lang="en-US" dirty="0">
                <a:latin typeface="HP Simplified"/>
                <a:ea typeface="+mn-ea"/>
                <a:cs typeface="HP Simplified"/>
              </a:rPr>
              <a:t>. The combination of these two is creating new and exciting ways for people to communicate and collaborate, this creates an added facet to the security situation that companies are facing. Then there’s </a:t>
            </a:r>
            <a:r>
              <a:rPr lang="en-US" dirty="0" smtClean="0"/>
              <a:t>Big </a:t>
            </a:r>
            <a:r>
              <a:rPr lang="en-US" dirty="0"/>
              <a:t>Data – Making better use of the data you have, so you can run your business better</a:t>
            </a:r>
            <a:r>
              <a:rPr lang="en-US" dirty="0" smtClean="0"/>
              <a:t>. Big </a:t>
            </a:r>
            <a:r>
              <a:rPr lang="en-US" dirty="0"/>
              <a:t>data is about being able to analyze the data in your environment so that you can find the big insights that will help your organization do what it does better. </a:t>
            </a:r>
            <a:r>
              <a:rPr lang="en-US" dirty="0" smtClean="0"/>
              <a:t>What </a:t>
            </a:r>
            <a:r>
              <a:rPr lang="en-US" dirty="0"/>
              <a:t>are the risks?  We are </a:t>
            </a:r>
            <a:r>
              <a:rPr lang="en-US" dirty="0" smtClean="0"/>
              <a:t>creating </a:t>
            </a:r>
            <a:r>
              <a:rPr lang="en-US" dirty="0"/>
              <a:t>mountains of structured and unstructured data, and in particular that unstructured data is difficult to manage and protect.  And data in the wrong hands can lead to lost Intellectual Property or customer data.  </a:t>
            </a:r>
            <a:endParaRPr lang="en-US" dirty="0">
              <a:latin typeface="HP Simplified"/>
              <a:ea typeface="+mn-ea"/>
              <a:cs typeface="HP Simplified"/>
            </a:endParaRPr>
          </a:p>
          <a:p>
            <a:r>
              <a:rPr lang="en-US" dirty="0">
                <a:latin typeface="HP Simplified"/>
                <a:ea typeface="+mn-ea"/>
                <a:cs typeface="HP Simplified"/>
              </a:rPr>
              <a:t> </a:t>
            </a:r>
          </a:p>
          <a:p>
            <a:r>
              <a:rPr lang="en-US" dirty="0">
                <a:latin typeface="HP Simplified"/>
                <a:ea typeface="+mn-ea"/>
                <a:cs typeface="HP Simplified"/>
              </a:rPr>
              <a:t>The reality is that we as IT professionals are constantly innovating so that we can compete more effectively and taking offerings to market faster.  And, inadvertently, we are creating more vulnerabilities in our IT infrastructure for these criminals to exploit. </a:t>
            </a:r>
          </a:p>
          <a:p>
            <a:r>
              <a:rPr lang="en-US" dirty="0">
                <a:latin typeface="HP Simplified"/>
                <a:ea typeface="+mn-ea"/>
                <a:cs typeface="HP Simplified"/>
              </a:rPr>
              <a:t>  </a:t>
            </a:r>
          </a:p>
          <a:p>
            <a:r>
              <a:rPr lang="en-US" dirty="0">
                <a:latin typeface="HP Simplified"/>
                <a:ea typeface="+mn-ea"/>
                <a:cs typeface="HP Simplified"/>
              </a:rPr>
              <a:t>So we have this </a:t>
            </a:r>
            <a:r>
              <a:rPr lang="en-US" b="1" dirty="0">
                <a:latin typeface="HP Simplified"/>
                <a:ea typeface="+mn-ea"/>
                <a:cs typeface="HP Simplified"/>
              </a:rPr>
              <a:t>New style of IT </a:t>
            </a:r>
            <a:r>
              <a:rPr lang="en-US" dirty="0">
                <a:latin typeface="HP Simplified"/>
                <a:ea typeface="+mn-ea"/>
                <a:cs typeface="HP Simplified"/>
              </a:rPr>
              <a:t>that’s transforming enterprises at light speed and security is barely keeping up - and our Adversaries know this…. </a:t>
            </a:r>
          </a:p>
          <a:p>
            <a:pPr defTabSz="465887" eaLnBrk="1" fontAlgn="auto" hangingPunct="1">
              <a:spcBef>
                <a:spcPts val="0"/>
              </a:spcBef>
              <a:spcAft>
                <a:spcPts val="0"/>
              </a:spcAft>
              <a:defRPr/>
            </a:pPr>
            <a:endParaRPr lang="en-US" dirty="0" smtClean="0"/>
          </a:p>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9</a:t>
            </a:fld>
            <a:endParaRPr lang="en-GB" dirty="0"/>
          </a:p>
        </p:txBody>
      </p:sp>
    </p:spTree>
    <p:extLst>
      <p:ext uri="{BB962C8B-B14F-4D97-AF65-F5344CB8AC3E}">
        <p14:creationId xmlns:p14="http://schemas.microsoft.com/office/powerpoint/2010/main" val="1530901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HP Simplified"/>
                <a:ea typeface="+mn-ea"/>
                <a:cs typeface="HP Simplified"/>
              </a:rPr>
              <a:t>So we are dealing with an entire economy of adversaries in a black market.</a:t>
            </a:r>
          </a:p>
          <a:p>
            <a:r>
              <a:rPr lang="en-US" dirty="0">
                <a:latin typeface="HP Simplified"/>
                <a:ea typeface="+mn-ea"/>
                <a:cs typeface="HP Simplified"/>
              </a:rPr>
              <a:t>Where millions of dollars are changing hands</a:t>
            </a:r>
          </a:p>
          <a:p>
            <a:r>
              <a:rPr lang="en-US" dirty="0">
                <a:latin typeface="HP Simplified"/>
                <a:ea typeface="+mn-ea"/>
                <a:cs typeface="HP Simplified"/>
              </a:rPr>
              <a:t>Where individuals specialize in what they do and specialize in how they can hurt our customers </a:t>
            </a:r>
          </a:p>
          <a:p>
            <a:r>
              <a:rPr lang="en-US" b="1" dirty="0">
                <a:latin typeface="HP Simplified"/>
                <a:ea typeface="+mn-ea"/>
                <a:cs typeface="HP Simplified"/>
              </a:rPr>
              <a:t>We need to organize our capability to disrupt this market</a:t>
            </a:r>
            <a:r>
              <a:rPr lang="en-US" dirty="0">
                <a:latin typeface="HP Simplified"/>
                <a:ea typeface="+mn-ea"/>
                <a:cs typeface="HP Simplified"/>
              </a:rPr>
              <a:t> – but first we need to understand how this market operates. </a:t>
            </a:r>
          </a:p>
          <a:p>
            <a:r>
              <a:rPr lang="en-US" dirty="0">
                <a:latin typeface="HP Simplified"/>
                <a:ea typeface="+mn-ea"/>
                <a:cs typeface="HP Simplified"/>
              </a:rPr>
              <a:t> </a:t>
            </a:r>
          </a:p>
          <a:p>
            <a:r>
              <a:rPr lang="en-US" b="1" dirty="0">
                <a:latin typeface="HP Simplified"/>
                <a:ea typeface="+mn-ea"/>
                <a:cs typeface="HP Simplified"/>
              </a:rPr>
              <a:t>[Kill Chain</a:t>
            </a:r>
            <a:r>
              <a:rPr lang="en-US" dirty="0">
                <a:latin typeface="HP Simplified"/>
                <a:ea typeface="+mn-ea"/>
                <a:cs typeface="HP Simplified"/>
              </a:rPr>
              <a:t>] The First type of specialist in this market is an expert at research</a:t>
            </a:r>
          </a:p>
          <a:p>
            <a:r>
              <a:rPr lang="en-US" dirty="0">
                <a:latin typeface="HP Simplified"/>
                <a:ea typeface="+mn-ea"/>
                <a:cs typeface="HP Simplified"/>
              </a:rPr>
              <a:t>These actors use all of the information that we create on the internet…Facebook, twitter, linked-in, public directories, blogs…and they figure out who are the top executives of the target company…and perhaps the finance and network administrators…and they craft phishing emails with malware designed to steal their credentials and ultimately they gain usernames and passwords to gain entry to their systems…once done, they hold up their hands in this market and say “I’ve got 20 sets of legitimate credentials for Company X, who wants to buy them?”</a:t>
            </a:r>
          </a:p>
          <a:p>
            <a:r>
              <a:rPr lang="en-US" dirty="0">
                <a:latin typeface="HP Simplified"/>
                <a:ea typeface="+mn-ea"/>
                <a:cs typeface="HP Simplified"/>
              </a:rPr>
              <a:t> </a:t>
            </a:r>
          </a:p>
          <a:p>
            <a:r>
              <a:rPr lang="en-US" dirty="0">
                <a:latin typeface="HP Simplified"/>
                <a:ea typeface="+mn-ea"/>
                <a:cs typeface="HP Simplified"/>
              </a:rPr>
              <a:t>[Click]</a:t>
            </a:r>
          </a:p>
          <a:p>
            <a:r>
              <a:rPr lang="en-US" dirty="0">
                <a:latin typeface="HP Simplified"/>
                <a:ea typeface="+mn-ea"/>
                <a:cs typeface="HP Simplified"/>
              </a:rPr>
              <a:t>Usually an individual or team that specializes in infiltrating - in breaking into anything, any technology, hardware, software, even into machines or buildings - They buy that research. Once they break-in, they typically go back to the marketplace and hold up their hands and say “I’ve got 20 access points into Company X, who wants to buy them?” </a:t>
            </a:r>
            <a:r>
              <a:rPr lang="en-US" b="1" dirty="0">
                <a:latin typeface="HP Simplified"/>
                <a:ea typeface="+mn-ea"/>
                <a:cs typeface="HP Simplified"/>
              </a:rPr>
              <a:t>They make a lot of money selling those access points to the next type of specialist, who is an expert in discovery</a:t>
            </a:r>
            <a:endParaRPr lang="en-US" dirty="0">
              <a:latin typeface="HP Simplified"/>
              <a:ea typeface="+mn-ea"/>
              <a:cs typeface="HP Simplified"/>
            </a:endParaRPr>
          </a:p>
          <a:p>
            <a:r>
              <a:rPr lang="en-US" dirty="0">
                <a:latin typeface="HP Simplified"/>
                <a:ea typeface="+mn-ea"/>
                <a:cs typeface="HP Simplified"/>
              </a:rPr>
              <a:t>  </a:t>
            </a:r>
          </a:p>
          <a:p>
            <a:r>
              <a:rPr lang="en-US" dirty="0">
                <a:latin typeface="HP Simplified"/>
                <a:ea typeface="+mn-ea"/>
                <a:cs typeface="HP Simplified"/>
              </a:rPr>
              <a:t>[click]</a:t>
            </a:r>
          </a:p>
          <a:p>
            <a:r>
              <a:rPr lang="en-US" dirty="0">
                <a:latin typeface="HP Simplified"/>
                <a:ea typeface="+mn-ea"/>
                <a:cs typeface="HP Simplified"/>
              </a:rPr>
              <a:t>These individuals are really good at </a:t>
            </a:r>
            <a:r>
              <a:rPr lang="en-US" b="1" dirty="0">
                <a:latin typeface="HP Simplified"/>
                <a:ea typeface="+mn-ea"/>
                <a:cs typeface="HP Simplified"/>
              </a:rPr>
              <a:t>staying invisible and can stay persistent for years</a:t>
            </a:r>
            <a:r>
              <a:rPr lang="en-US" dirty="0">
                <a:latin typeface="HP Simplified"/>
                <a:ea typeface="+mn-ea"/>
                <a:cs typeface="HP Simplified"/>
              </a:rPr>
              <a:t> inside a customer’s environment mapping the network, typically looking for key systems that house sensitive data and IP. After they build the maps of the victim’s network showing the location of key systems and data, they will hold their hands up in this new marketplace and sell that information…. </a:t>
            </a:r>
          </a:p>
          <a:p>
            <a:r>
              <a:rPr lang="en-US" dirty="0">
                <a:latin typeface="HP Simplified"/>
                <a:ea typeface="+mn-ea"/>
                <a:cs typeface="HP Simplified"/>
              </a:rPr>
              <a:t> </a:t>
            </a:r>
          </a:p>
          <a:p>
            <a:r>
              <a:rPr lang="en-US" dirty="0">
                <a:latin typeface="HP Simplified"/>
                <a:ea typeface="+mn-ea"/>
                <a:cs typeface="HP Simplified"/>
              </a:rPr>
              <a:t>[click]</a:t>
            </a:r>
          </a:p>
          <a:p>
            <a:r>
              <a:rPr lang="en-US" dirty="0">
                <a:latin typeface="HP Simplified"/>
                <a:ea typeface="+mn-ea"/>
                <a:cs typeface="HP Simplified"/>
              </a:rPr>
              <a:t>They sell it to individuals who are specialists at capturing and removing the data, sometimes huge amounts of data, without being detected. These experts create a plan using the roadmaps, and steal credit card, IP or whatever sensitive data might be worth a lot of money on the black market </a:t>
            </a:r>
          </a:p>
          <a:p>
            <a:r>
              <a:rPr lang="en-US" dirty="0">
                <a:latin typeface="HP Simplified"/>
                <a:ea typeface="+mn-ea"/>
                <a:cs typeface="HP Simplified"/>
              </a:rPr>
              <a:t>[click]</a:t>
            </a:r>
          </a:p>
          <a:p>
            <a:r>
              <a:rPr lang="en-US" dirty="0">
                <a:latin typeface="HP Simplified"/>
                <a:ea typeface="+mn-ea"/>
                <a:cs typeface="HP Simplified"/>
              </a:rPr>
              <a:t>Then in the final step, they wait for the right moment and remove the targeted assets and work as brokers with criminals to sell those assets back into the market</a:t>
            </a:r>
          </a:p>
          <a:p>
            <a:pPr>
              <a:lnSpc>
                <a:spcPct val="200000"/>
              </a:lnSpc>
            </a:pPr>
            <a:r>
              <a:rPr lang="en-US" baseline="0" dirty="0" smtClean="0">
                <a:solidFill>
                  <a:srgbClr val="000000"/>
                </a:solidFill>
              </a:rPr>
              <a:t>{APT1 Story]</a:t>
            </a:r>
          </a:p>
          <a:p>
            <a:r>
              <a:rPr lang="en-US" baseline="0" dirty="0" smtClean="0">
                <a:solidFill>
                  <a:srgbClr val="000000"/>
                </a:solidFill>
              </a:rPr>
              <a:t>Transition - So we were in compliance, we had invested in security with Firewalls, AV, logging…yet we were still breached. Recent studies by HP Security, Mandiant and others reveal that my experience was not unique…</a:t>
            </a:r>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latin typeface="Calibri"/>
              </a:rPr>
              <a:pPr/>
              <a:t>10</a:t>
            </a:fld>
            <a:endParaRPr lang="en-GB" dirty="0">
              <a:solidFill>
                <a:prstClr val="black"/>
              </a:solidFill>
              <a:latin typeface="Calibri"/>
            </a:endParaRPr>
          </a:p>
        </p:txBody>
      </p:sp>
    </p:spTree>
    <p:extLst>
      <p:ext uri="{BB962C8B-B14F-4D97-AF65-F5344CB8AC3E}">
        <p14:creationId xmlns:p14="http://schemas.microsoft.com/office/powerpoint/2010/main" val="36101726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65887" eaLnBrk="1" fontAlgn="auto" hangingPunct="1">
              <a:spcBef>
                <a:spcPts val="0"/>
              </a:spcBef>
              <a:spcAft>
                <a:spcPts val="0"/>
              </a:spcAft>
              <a:defRPr/>
            </a:pPr>
            <a:r>
              <a:rPr lang="en-US" dirty="0" smtClean="0"/>
              <a:t>If we are to win against this new Adversary – in this new reality…we need to think differently about this…[read slide] </a:t>
            </a:r>
          </a:p>
          <a:p>
            <a:pPr defTabSz="465887" eaLnBrk="1" fontAlgn="auto" hangingPunct="1">
              <a:spcBef>
                <a:spcPts val="0"/>
              </a:spcBef>
              <a:spcAft>
                <a:spcPts val="0"/>
              </a:spcAft>
              <a:defRPr/>
            </a:pPr>
            <a:endParaRPr lang="en-US" dirty="0" smtClean="0"/>
          </a:p>
          <a:p>
            <a:pPr defTabSz="465887" eaLnBrk="1" fontAlgn="auto" hangingPunct="1">
              <a:spcBef>
                <a:spcPts val="0"/>
              </a:spcBef>
              <a:spcAft>
                <a:spcPts val="0"/>
              </a:spcAft>
              <a:defRPr/>
            </a:pPr>
            <a:r>
              <a:rPr lang="en-US" dirty="0" smtClean="0"/>
              <a:t>Successful</a:t>
            </a:r>
            <a:r>
              <a:rPr lang="en-US" baseline="0" dirty="0" smtClean="0"/>
              <a:t> security leaders have evolved beyond defending the perimeter. They understand this new adversary is already in our network and it’s really a matter of us stopping them before they reach their objective.</a:t>
            </a:r>
            <a:endParaRPr lang="en-US" dirty="0">
              <a:latin typeface="HP Simplified"/>
              <a:ea typeface="+mn-ea"/>
              <a:cs typeface="HP Simplified"/>
            </a:endParaRPr>
          </a:p>
          <a:p>
            <a:pPr defTabSz="465887" eaLnBrk="1" fontAlgn="auto" hangingPunct="1">
              <a:spcBef>
                <a:spcPts val="0"/>
              </a:spcBef>
              <a:spcAft>
                <a:spcPts val="0"/>
              </a:spcAft>
              <a:defRPr/>
            </a:pPr>
            <a:endParaRPr lang="en-US" dirty="0">
              <a:latin typeface="HP Simplified"/>
              <a:ea typeface="+mn-ea"/>
              <a:cs typeface="HP Simplified"/>
            </a:endParaRPr>
          </a:p>
          <a:p>
            <a:pPr defTabSz="465887" eaLnBrk="1" fontAlgn="auto" hangingPunct="1">
              <a:spcBef>
                <a:spcPts val="0"/>
              </a:spcBef>
              <a:spcAft>
                <a:spcPts val="0"/>
              </a:spcAft>
              <a:defRPr/>
            </a:pPr>
            <a:r>
              <a:rPr lang="en-US" dirty="0">
                <a:latin typeface="HP Simplified"/>
                <a:ea typeface="+mn-ea"/>
                <a:cs typeface="HP Simplified"/>
              </a:rPr>
              <a:t>What they’ve learned is that relying primarily on perimeter defenses is no longer effective as mobile, cloud and VPNs can circumvent the firewall. And traditional endpoint protection only detects known malware threats. Today you must have </a:t>
            </a:r>
            <a:r>
              <a:rPr lang="en-US" b="1" dirty="0">
                <a:latin typeface="HP Simplified"/>
                <a:ea typeface="+mn-ea"/>
                <a:cs typeface="HP Simplified"/>
              </a:rPr>
              <a:t>intelligent security systems</a:t>
            </a:r>
            <a:r>
              <a:rPr lang="en-US" dirty="0">
                <a:latin typeface="HP Simplified"/>
                <a:ea typeface="+mn-ea"/>
                <a:cs typeface="HP Simplified"/>
              </a:rPr>
              <a:t> - the most current security and threat intelligence baked into a true defense in depth strategy - which should include SIEM, NGIPS and Application monitoring, preferably with built in workflows and automated incident response capability. </a:t>
            </a:r>
          </a:p>
          <a:p>
            <a:pPr defTabSz="465887" eaLnBrk="1" fontAlgn="auto" hangingPunct="1">
              <a:spcBef>
                <a:spcPts val="0"/>
              </a:spcBef>
              <a:spcAft>
                <a:spcPts val="0"/>
              </a:spcAft>
              <a:defRPr/>
            </a:pPr>
            <a:endParaRPr lang="en-US" dirty="0">
              <a:latin typeface="HP Simplified"/>
              <a:ea typeface="+mn-ea"/>
            </a:endParaRPr>
          </a:p>
          <a:p>
            <a:pPr defTabSz="465887" eaLnBrk="1" fontAlgn="auto" hangingPunct="1">
              <a:spcBef>
                <a:spcPts val="0"/>
              </a:spcBef>
              <a:spcAft>
                <a:spcPts val="0"/>
              </a:spcAft>
              <a:defRPr/>
            </a:pPr>
            <a:r>
              <a:rPr lang="en-US" dirty="0">
                <a:latin typeface="HP Simplified"/>
                <a:ea typeface="+mn-ea"/>
              </a:rPr>
              <a:t>How do we do this? Can we afford all this?</a:t>
            </a:r>
            <a:endParaRPr lang="en-US" dirty="0" smtClean="0"/>
          </a:p>
          <a:p>
            <a:pPr defTabSz="465887" eaLnBrk="1" fontAlgn="auto" hangingPunct="1">
              <a:spcBef>
                <a:spcPts val="0"/>
              </a:spcBef>
              <a:spcAft>
                <a:spcPts val="0"/>
              </a:spcAft>
              <a:defRPr/>
            </a:pPr>
            <a:endParaRPr lang="en-US" dirty="0" smtClean="0"/>
          </a:p>
          <a:p>
            <a:pPr defTabSz="465887" eaLnBrk="1" fontAlgn="auto" hangingPunct="1">
              <a:spcBef>
                <a:spcPts val="0"/>
              </a:spcBef>
              <a:spcAft>
                <a:spcPts val="0"/>
              </a:spcAft>
              <a:defRPr/>
            </a:pPr>
            <a:endParaRPr lang="en-US" dirty="0" smtClean="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latin typeface="Calibri"/>
              </a:rPr>
              <a:pPr/>
              <a:t>13</a:t>
            </a:fld>
            <a:endParaRPr lang="en-GB" dirty="0">
              <a:solidFill>
                <a:prstClr val="black"/>
              </a:solidFill>
              <a:latin typeface="Calibri"/>
            </a:endParaRPr>
          </a:p>
        </p:txBody>
      </p:sp>
    </p:spTree>
    <p:extLst>
      <p:ext uri="{BB962C8B-B14F-4D97-AF65-F5344CB8AC3E}">
        <p14:creationId xmlns:p14="http://schemas.microsoft.com/office/powerpoint/2010/main" val="40019513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200000"/>
              </a:lnSpc>
            </a:pPr>
            <a:endParaRPr lang="en-US" baseline="0" dirty="0" smtClean="0">
              <a:solidFill>
                <a:srgbClr val="000000"/>
              </a:solidFill>
            </a:endParaRPr>
          </a:p>
          <a:p>
            <a:pPr>
              <a:lnSpc>
                <a:spcPct val="200000"/>
              </a:lnSpc>
            </a:pPr>
            <a:endParaRPr lang="en-US" baseline="0" dirty="0" smtClean="0">
              <a:solidFill>
                <a:srgbClr val="000000"/>
              </a:solidFill>
            </a:endParaRPr>
          </a:p>
        </p:txBody>
      </p:sp>
      <p:sp>
        <p:nvSpPr>
          <p:cNvPr id="4" name="Slide Number Placeholder 3"/>
          <p:cNvSpPr>
            <a:spLocks noGrp="1"/>
          </p:cNvSpPr>
          <p:nvPr>
            <p:ph type="sldNum" sz="quarter" idx="10"/>
          </p:nvPr>
        </p:nvSpPr>
        <p:spPr/>
        <p:txBody>
          <a:bodyPr/>
          <a:lstStyle/>
          <a:p>
            <a:fld id="{22A853E8-D85F-5D49-95D2-E1D96ABFE2B9}" type="slidenum">
              <a:rPr lang="en-GB" smtClean="0"/>
              <a:pPr/>
              <a:t>14</a:t>
            </a:fld>
            <a:endParaRPr lang="en-GB" dirty="0"/>
          </a:p>
        </p:txBody>
      </p:sp>
    </p:spTree>
    <p:extLst>
      <p:ext uri="{BB962C8B-B14F-4D97-AF65-F5344CB8AC3E}">
        <p14:creationId xmlns:p14="http://schemas.microsoft.com/office/powerpoint/2010/main" val="14076999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200000"/>
              </a:lnSpc>
            </a:pPr>
            <a:endParaRPr lang="en-US" baseline="0" dirty="0" smtClean="0">
              <a:solidFill>
                <a:srgbClr val="000000"/>
              </a:solidFill>
            </a:endParaRPr>
          </a:p>
          <a:p>
            <a:pPr>
              <a:lnSpc>
                <a:spcPct val="200000"/>
              </a:lnSpc>
            </a:pPr>
            <a:endParaRPr lang="en-US" baseline="0" dirty="0" smtClean="0">
              <a:solidFill>
                <a:srgbClr val="000000"/>
              </a:solidFill>
            </a:endParaRPr>
          </a:p>
        </p:txBody>
      </p:sp>
      <p:sp>
        <p:nvSpPr>
          <p:cNvPr id="4" name="Slide Number Placeholder 3"/>
          <p:cNvSpPr>
            <a:spLocks noGrp="1"/>
          </p:cNvSpPr>
          <p:nvPr>
            <p:ph type="sldNum" sz="quarter" idx="10"/>
          </p:nvPr>
        </p:nvSpPr>
        <p:spPr/>
        <p:txBody>
          <a:bodyPr/>
          <a:lstStyle/>
          <a:p>
            <a:fld id="{22A853E8-D85F-5D49-95D2-E1D96ABFE2B9}" type="slidenum">
              <a:rPr lang="en-GB" smtClean="0"/>
              <a:pPr/>
              <a:t>15</a:t>
            </a:fld>
            <a:endParaRPr lang="en-GB" dirty="0"/>
          </a:p>
        </p:txBody>
      </p:sp>
    </p:spTree>
    <p:extLst>
      <p:ext uri="{BB962C8B-B14F-4D97-AF65-F5344CB8AC3E}">
        <p14:creationId xmlns:p14="http://schemas.microsoft.com/office/powerpoint/2010/main" val="20989387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65887" eaLnBrk="1" hangingPunct="1">
              <a:spcBef>
                <a:spcPct val="20000"/>
              </a:spcBef>
              <a:buClr>
                <a:schemeClr val="tx1"/>
              </a:buClr>
              <a:defRPr/>
            </a:pPr>
            <a:r>
              <a:rPr lang="en-US" dirty="0"/>
              <a:t>Innovative Research</a:t>
            </a:r>
          </a:p>
          <a:p>
            <a:pPr defTabSz="465887" eaLnBrk="1" hangingPunct="1">
              <a:spcBef>
                <a:spcPct val="20000"/>
              </a:spcBef>
              <a:buClr>
                <a:schemeClr val="tx1"/>
              </a:buClr>
              <a:defRPr/>
            </a:pPr>
            <a:r>
              <a:rPr kumimoji="0" lang="en-US" b="1" kern="0" dirty="0">
                <a:latin typeface="HP Simplified" pitchFamily="34" charset="0"/>
              </a:rPr>
              <a:t>Driving ESP Security Strategy</a:t>
            </a:r>
          </a:p>
          <a:p>
            <a:pPr marL="176326" indent="-176326">
              <a:spcBef>
                <a:spcPct val="20000"/>
              </a:spcBef>
              <a:buClr>
                <a:schemeClr val="tx1"/>
              </a:buClr>
              <a:buFont typeface="Arial" pitchFamily="34" charset="0"/>
              <a:buChar char="•"/>
              <a:defRPr/>
            </a:pPr>
            <a:r>
              <a:rPr lang="en-US" dirty="0"/>
              <a:t>Experts in vulnerability, malware, threat actor, and software security research</a:t>
            </a:r>
          </a:p>
          <a:p>
            <a:pPr marL="176326" indent="-176326">
              <a:spcBef>
                <a:spcPct val="20000"/>
              </a:spcBef>
              <a:buClr>
                <a:schemeClr val="tx1"/>
              </a:buClr>
              <a:buFont typeface="Arial" pitchFamily="34" charset="0"/>
              <a:buChar char="•"/>
              <a:defRPr/>
            </a:pPr>
            <a:r>
              <a:rPr lang="en-US" dirty="0"/>
              <a:t>ZDI and other communities</a:t>
            </a:r>
          </a:p>
          <a:p>
            <a:pPr marL="176326" indent="-176326">
              <a:spcBef>
                <a:spcPct val="20000"/>
              </a:spcBef>
              <a:buClr>
                <a:schemeClr val="tx1"/>
              </a:buClr>
              <a:buFont typeface="Arial" pitchFamily="34" charset="0"/>
              <a:buChar char="•"/>
              <a:defRPr/>
            </a:pPr>
            <a:r>
              <a:rPr lang="en-US" dirty="0"/>
              <a:t>Globally-distributed team from top universities</a:t>
            </a:r>
          </a:p>
          <a:p>
            <a:pPr defTabSz="465887" eaLnBrk="1" fontAlgn="auto" hangingPunct="1">
              <a:spcBef>
                <a:spcPts val="0"/>
              </a:spcBef>
              <a:spcAft>
                <a:spcPts val="0"/>
              </a:spcAft>
              <a:defRPr/>
            </a:pPr>
            <a:r>
              <a:rPr lang="en-US" dirty="0"/>
              <a:t>Actionable Security Intelligence</a:t>
            </a:r>
          </a:p>
          <a:p>
            <a:pPr marL="176326" indent="-176326">
              <a:spcBef>
                <a:spcPct val="20000"/>
              </a:spcBef>
              <a:buClr>
                <a:schemeClr val="tx1"/>
              </a:buClr>
              <a:buFont typeface="Arial" pitchFamily="34" charset="0"/>
              <a:buChar char="•"/>
              <a:defRPr/>
            </a:pPr>
            <a:r>
              <a:rPr lang="en-US" dirty="0"/>
              <a:t>C</a:t>
            </a:r>
            <a:r>
              <a:rPr lang="en-US" dirty="0">
                <a:latin typeface="HP Simplified"/>
                <a:ea typeface="+mn-ea"/>
                <a:cs typeface="HP Simplified"/>
              </a:rPr>
              <a:t>ontent powers ArcSight, Fortify, and TippingPoint </a:t>
            </a:r>
          </a:p>
          <a:p>
            <a:pPr marL="176326" indent="-176326">
              <a:spcBef>
                <a:spcPct val="20000"/>
              </a:spcBef>
              <a:buClr>
                <a:schemeClr val="tx1"/>
              </a:buClr>
              <a:buFont typeface="Arial" pitchFamily="34" charset="0"/>
              <a:buChar char="•"/>
              <a:defRPr/>
            </a:pPr>
            <a:r>
              <a:rPr lang="en-US" dirty="0">
                <a:latin typeface="HP Simplified"/>
                <a:ea typeface="+mn-ea"/>
                <a:cs typeface="HP Simplified"/>
              </a:rPr>
              <a:t>Intelligence delivered direct to end-users and the public</a:t>
            </a:r>
          </a:p>
          <a:p>
            <a:pPr marL="176326" indent="-176326">
              <a:spcBef>
                <a:spcPct val="20000"/>
              </a:spcBef>
              <a:buClr>
                <a:schemeClr val="tx1"/>
              </a:buClr>
              <a:buFont typeface="Arial" pitchFamily="34" charset="0"/>
              <a:buChar char="•"/>
              <a:defRPr/>
            </a:pPr>
            <a:r>
              <a:rPr lang="en-US" dirty="0"/>
              <a:t>Regular threat briefings on the Web and iTunes</a:t>
            </a:r>
          </a:p>
          <a:p>
            <a:pPr defTabSz="465887" eaLnBrk="1" fontAlgn="auto" hangingPunct="1">
              <a:spcBef>
                <a:spcPct val="20000"/>
              </a:spcBef>
              <a:spcAft>
                <a:spcPts val="0"/>
              </a:spcAft>
              <a:buClr>
                <a:schemeClr val="tx1"/>
              </a:buClr>
              <a:defRPr/>
            </a:pPr>
            <a:r>
              <a:rPr lang="en-US" dirty="0"/>
              <a:t>Thought Leadership </a:t>
            </a:r>
            <a:r>
              <a:rPr lang="en-US" b="1" kern="0" dirty="0">
                <a:latin typeface="HP Simplified" pitchFamily="34" charset="0"/>
              </a:rPr>
              <a:t>On Critical Topics Today</a:t>
            </a:r>
          </a:p>
          <a:p>
            <a:pPr marL="176326" indent="-176326">
              <a:spcBef>
                <a:spcPct val="20000"/>
              </a:spcBef>
              <a:buClr>
                <a:schemeClr val="tx1"/>
              </a:buClr>
              <a:buFont typeface="Arial" pitchFamily="34" charset="0"/>
              <a:buChar char="•"/>
              <a:defRPr/>
            </a:pPr>
            <a:r>
              <a:rPr lang="en-US" dirty="0">
                <a:latin typeface="HP Simplified"/>
                <a:ea typeface="+mn-ea"/>
                <a:cs typeface="HP Simplified"/>
              </a:rPr>
              <a:t>Publications on </a:t>
            </a:r>
            <a:r>
              <a:rPr lang="en-US" dirty="0"/>
              <a:t>research spanning the ESP portfolio</a:t>
            </a:r>
            <a:endParaRPr lang="en-US" dirty="0">
              <a:latin typeface="HP Simplified"/>
              <a:ea typeface="+mn-ea"/>
              <a:cs typeface="HP Simplified"/>
            </a:endParaRPr>
          </a:p>
          <a:p>
            <a:pPr marL="176326" indent="-176326">
              <a:spcBef>
                <a:spcPct val="20000"/>
              </a:spcBef>
              <a:buClr>
                <a:schemeClr val="tx1"/>
              </a:buClr>
              <a:buFont typeface="Arial" pitchFamily="34" charset="0"/>
              <a:buChar char="•"/>
              <a:defRPr/>
            </a:pPr>
            <a:r>
              <a:rPr lang="en-US" dirty="0"/>
              <a:t>Speaking at top security conferences / tradeshows</a:t>
            </a:r>
          </a:p>
          <a:p>
            <a:pPr marL="176326" indent="-176326">
              <a:spcBef>
                <a:spcPct val="20000"/>
              </a:spcBef>
              <a:buClr>
                <a:schemeClr val="tx1"/>
              </a:buClr>
              <a:buFont typeface="Arial" pitchFamily="34" charset="0"/>
              <a:buChar char="•"/>
              <a:defRPr/>
            </a:pPr>
            <a:r>
              <a:rPr lang="en-US" dirty="0"/>
              <a:t>Trusted-source partner </a:t>
            </a:r>
            <a:br>
              <a:rPr lang="en-US" dirty="0"/>
            </a:br>
            <a:r>
              <a:rPr lang="en-US" dirty="0"/>
              <a:t>on enterprise security</a:t>
            </a:r>
          </a:p>
          <a:p>
            <a:pPr defTabSz="465887" eaLnBrk="1" fontAlgn="auto" hangingPunct="1">
              <a:spcBef>
                <a:spcPct val="20000"/>
              </a:spcBef>
              <a:spcAft>
                <a:spcPts val="0"/>
              </a:spcAft>
              <a:buClr>
                <a:schemeClr val="tx1"/>
              </a:buClr>
              <a:defRPr/>
            </a:pPr>
            <a:endParaRPr kumimoji="0" lang="en-US" b="1" kern="0" dirty="0">
              <a:latin typeface="HP Simplified" pitchFamily="34" charset="0"/>
            </a:endParaRPr>
          </a:p>
          <a:p>
            <a:pPr defTabSz="465887" eaLnBrk="1" fontAlgn="auto" hangingPunct="1">
              <a:spcBef>
                <a:spcPct val="20000"/>
              </a:spcBef>
              <a:spcAft>
                <a:spcPts val="0"/>
              </a:spcAft>
              <a:buClr>
                <a:schemeClr val="tx1"/>
              </a:buClr>
              <a:defRPr/>
            </a:pPr>
            <a:endParaRPr lang="en-US" dirty="0"/>
          </a:p>
          <a:p>
            <a:pPr marL="176326" indent="-176326">
              <a:spcBef>
                <a:spcPct val="20000"/>
              </a:spcBef>
              <a:buClr>
                <a:schemeClr val="tx1"/>
              </a:buClr>
              <a:buFont typeface="Arial" pitchFamily="34" charset="0"/>
              <a:buChar char="•"/>
              <a:defRPr/>
            </a:pPr>
            <a:endParaRPr lang="en-US" dirty="0">
              <a:latin typeface="HP Simplified"/>
              <a:ea typeface="+mn-ea"/>
              <a:cs typeface="HP Simplified"/>
            </a:endParaRPr>
          </a:p>
          <a:p>
            <a:pPr defTabSz="465887" eaLnBrk="1" fontAlgn="auto" hangingPunct="1">
              <a:spcBef>
                <a:spcPts val="0"/>
              </a:spcBef>
              <a:spcAft>
                <a:spcPts val="0"/>
              </a:spcAft>
              <a:defRPr/>
            </a:pPr>
            <a:endParaRPr lang="en-US" dirty="0"/>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6</a:t>
            </a:fld>
            <a:endParaRPr lang="en-GB" dirty="0"/>
          </a:p>
        </p:txBody>
      </p:sp>
    </p:spTree>
    <p:extLst>
      <p:ext uri="{BB962C8B-B14F-4D97-AF65-F5344CB8AC3E}">
        <p14:creationId xmlns:p14="http://schemas.microsoft.com/office/powerpoint/2010/main" val="28955207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F8F8F8">
            <a:alpha val="30196"/>
          </a:srgbClr>
        </a:solidFill>
        <a:effectLst/>
      </p:bgPr>
    </p:bg>
    <p:spTree>
      <p:nvGrpSpPr>
        <p:cNvPr id="1" name=""/>
        <p:cNvGrpSpPr/>
        <p:nvPr/>
      </p:nvGrpSpPr>
      <p:grpSpPr>
        <a:xfrm>
          <a:off x="0" y="0"/>
          <a:ext cx="0" cy="0"/>
          <a:chOff x="0" y="0"/>
          <a:chExt cx="0" cy="0"/>
        </a:xfrm>
      </p:grpSpPr>
      <p:pic>
        <p:nvPicPr>
          <p:cNvPr id="4" name="图片 6" descr="未标题-1.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984163" cy="731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7" descr="Logo"/>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647363" y="393700"/>
            <a:ext cx="1811337"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468" name="Rectangle 3748"/>
          <p:cNvSpPr>
            <a:spLocks noGrp="1" noChangeArrowheads="1"/>
          </p:cNvSpPr>
          <p:nvPr>
            <p:ph type="subTitle" sz="quarter" idx="1"/>
          </p:nvPr>
        </p:nvSpPr>
        <p:spPr>
          <a:xfrm>
            <a:off x="680114" y="2554800"/>
            <a:ext cx="4972838" cy="838200"/>
          </a:xfrm>
          <a:ln/>
        </p:spPr>
        <p:txBody>
          <a:bodyPr/>
          <a:lstStyle>
            <a:lvl1pPr marL="0" indent="0">
              <a:lnSpc>
                <a:spcPct val="80000"/>
              </a:lnSpc>
              <a:buFontTx/>
              <a:buNone/>
              <a:defRPr sz="2000">
                <a:solidFill>
                  <a:srgbClr val="C00000"/>
                </a:solidFill>
                <a:latin typeface="微软雅黑" pitchFamily="34" charset="-122"/>
                <a:ea typeface="微软雅黑" pitchFamily="34" charset="-122"/>
              </a:defRPr>
            </a:lvl1pPr>
          </a:lstStyle>
          <a:p>
            <a:r>
              <a:rPr lang="en-US" altLang="zh-CN" smtClean="0"/>
              <a:t>Click to edit Master subtitle style</a:t>
            </a:r>
            <a:endParaRPr lang="en-US" dirty="0"/>
          </a:p>
        </p:txBody>
      </p:sp>
      <p:sp>
        <p:nvSpPr>
          <p:cNvPr id="34466" name="Rectangle 3746"/>
          <p:cNvSpPr>
            <a:spLocks noGrp="1" noChangeArrowheads="1"/>
          </p:cNvSpPr>
          <p:nvPr>
            <p:ph type="ctrTitle" sz="quarter"/>
          </p:nvPr>
        </p:nvSpPr>
        <p:spPr>
          <a:xfrm>
            <a:off x="679475" y="1716074"/>
            <a:ext cx="8341695" cy="511175"/>
          </a:xfrm>
          <a:ln/>
        </p:spPr>
        <p:txBody>
          <a:bodyPr anchor="b"/>
          <a:lstStyle>
            <a:lvl1pPr>
              <a:defRPr sz="3600" b="0">
                <a:solidFill>
                  <a:srgbClr val="C00000"/>
                </a:solidFill>
                <a:latin typeface="微软雅黑" pitchFamily="34" charset="-122"/>
                <a:ea typeface="微软雅黑" pitchFamily="34" charset="-122"/>
              </a:defRPr>
            </a:lvl1pPr>
          </a:lstStyle>
          <a:p>
            <a:r>
              <a:rPr lang="en-US" altLang="zh-CN" smtClean="0"/>
              <a:t>Click to edit Master title style</a:t>
            </a:r>
            <a:endParaRPr lang="en-US" dirty="0"/>
          </a:p>
        </p:txBody>
      </p:sp>
      <p:sp>
        <p:nvSpPr>
          <p:cNvPr id="7" name="Rectangle 3768"/>
          <p:cNvSpPr>
            <a:spLocks noGrp="1" noChangeArrowheads="1"/>
          </p:cNvSpPr>
          <p:nvPr>
            <p:ph type="sldNum" sz="quarter" idx="10"/>
          </p:nvPr>
        </p:nvSpPr>
        <p:spPr bwMode="auto">
          <a:xfrm>
            <a:off x="6227763" y="6905625"/>
            <a:ext cx="528637" cy="293688"/>
          </a:xfrm>
          <a:prstGeom prst="rect">
            <a:avLst/>
          </a:prstGeom>
          <a:ln>
            <a:miter lim="800000"/>
            <a:headEnd/>
            <a:tailEnd/>
          </a:ln>
        </p:spPr>
        <p:txBody>
          <a:bodyPr vert="horz" wrap="square" lIns="115992" tIns="57996" rIns="115992" bIns="57996" numCol="1" anchor="t" anchorCtr="0" compatLnSpc="1">
            <a:prstTxWarp prst="textNoShape">
              <a:avLst/>
            </a:prstTxWarp>
          </a:bodyPr>
          <a:lstStyle>
            <a:lvl1pPr algn="ctr">
              <a:defRPr sz="1500" smtClean="0">
                <a:solidFill>
                  <a:schemeClr val="bg1"/>
                </a:solidFill>
                <a:latin typeface="Arial" pitchFamily="34" charset="0"/>
              </a:defRPr>
            </a:lvl1pPr>
          </a:lstStyle>
          <a:p>
            <a:pPr>
              <a:defRPr/>
            </a:pPr>
            <a:fld id="{A77F6BED-8795-4863-9764-6FF82747110C}" type="slidenum">
              <a:rPr lang="en-US" altLang="zh-CN"/>
              <a:pPr>
                <a:defRPr/>
              </a:pPr>
              <a:t>‹#›</a:t>
            </a:fld>
            <a:endParaRPr lang="en-US" altLang="zh-CN"/>
          </a:p>
        </p:txBody>
      </p:sp>
      <p:sp>
        <p:nvSpPr>
          <p:cNvPr id="8" name="Rectangle 3755"/>
          <p:cNvSpPr>
            <a:spLocks noGrp="1" noChangeArrowheads="1"/>
          </p:cNvSpPr>
          <p:nvPr>
            <p:ph type="dt" sz="quarter" idx="11"/>
          </p:nvPr>
        </p:nvSpPr>
        <p:spPr bwMode="auto">
          <a:xfrm>
            <a:off x="90488" y="6983413"/>
            <a:ext cx="1546225" cy="233362"/>
          </a:xfrm>
          <a:prstGeom prst="rect">
            <a:avLst/>
          </a:prstGeom>
          <a:ln>
            <a:miter lim="800000"/>
            <a:headEnd/>
            <a:tailEnd/>
          </a:ln>
        </p:spPr>
        <p:txBody>
          <a:bodyPr vert="horz" wrap="square" lIns="115992" tIns="57996" rIns="115992" bIns="57996" numCol="1" anchor="t" anchorCtr="0" compatLnSpc="1">
            <a:prstTxWarp prst="textNoShape">
              <a:avLst/>
            </a:prstTxWarp>
          </a:bodyPr>
          <a:lstStyle>
            <a:lvl1pPr>
              <a:defRPr sz="1100" b="0" smtClean="0">
                <a:solidFill>
                  <a:schemeClr val="bg1"/>
                </a:solidFill>
                <a:latin typeface="Arial" pitchFamily="34" charset="0"/>
              </a:defRPr>
            </a:lvl1pPr>
          </a:lstStyle>
          <a:p>
            <a:pPr>
              <a:defRPr/>
            </a:pPr>
            <a:fld id="{BD7E97DA-289F-4728-A137-A1051F3EB15D}" type="datetime1">
              <a:rPr lang="en-US" altLang="zh-CN"/>
              <a:pPr>
                <a:defRPr/>
              </a:pPr>
              <a:t>8/12/2014</a:t>
            </a:fld>
            <a:endParaRPr lang="en-US" altLang="zh-CN"/>
          </a:p>
        </p:txBody>
      </p:sp>
      <p:sp>
        <p:nvSpPr>
          <p:cNvPr id="9" name="Footer Placeholder 17"/>
          <p:cNvSpPr>
            <a:spLocks noGrp="1"/>
          </p:cNvSpPr>
          <p:nvPr>
            <p:ph type="ftr" sz="quarter" idx="12"/>
          </p:nvPr>
        </p:nvSpPr>
        <p:spPr>
          <a:xfrm>
            <a:off x="1508125" y="6983413"/>
            <a:ext cx="4111625" cy="193675"/>
          </a:xfrm>
        </p:spPr>
        <p:txBody>
          <a:bodyPr/>
          <a:lstStyle>
            <a:lvl1pPr algn="l">
              <a:defRPr>
                <a:solidFill>
                  <a:schemeClr val="bg1"/>
                </a:solidFill>
              </a:defRPr>
            </a:lvl1pPr>
          </a:lstStyle>
          <a:p>
            <a:pPr>
              <a:defRPr/>
            </a:pPr>
            <a:r>
              <a:rPr lang="en-US" altLang="zh-CN"/>
              <a:t>Confidential | Copyright 2013 Trend Micro Inc.</a:t>
            </a:r>
          </a:p>
        </p:txBody>
      </p:sp>
      <p:pic>
        <p:nvPicPr>
          <p:cNvPr id="10" name="图片 9" descr="slogan.png"/>
          <p:cNvPicPr>
            <a:picLocks noChangeAspect="1"/>
          </p:cNvPicPr>
          <p:nvPr userDrawn="1"/>
        </p:nvPicPr>
        <p:blipFill>
          <a:blip r:embed="rId4"/>
          <a:stretch>
            <a:fillRect/>
          </a:stretch>
        </p:blipFill>
        <p:spPr>
          <a:xfrm>
            <a:off x="408533" y="393700"/>
            <a:ext cx="1956292" cy="519484"/>
          </a:xfrm>
          <a:prstGeom prst="rect">
            <a:avLst/>
          </a:prstGeom>
        </p:spPr>
      </p:pic>
    </p:spTree>
    <p:extLst>
      <p:ext uri="{BB962C8B-B14F-4D97-AF65-F5344CB8AC3E}">
        <p14:creationId xmlns:p14="http://schemas.microsoft.com/office/powerpoint/2010/main" val="1709606576"/>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 Line with Subtitl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470675" y="1068644"/>
            <a:ext cx="12013056" cy="517234"/>
          </a:xfrm>
          <a:prstGeom prst="rect">
            <a:avLst/>
          </a:prstGeom>
        </p:spPr>
        <p:txBody>
          <a:bodyPr wrap="square" anchor="t">
            <a:spAutoFit/>
          </a:bodyPr>
          <a:lstStyle>
            <a:lvl1pPr marL="0" indent="0" algn="l">
              <a:lnSpc>
                <a:spcPct val="100000"/>
              </a:lnSpc>
              <a:buNone/>
              <a:defRPr sz="2600" b="0" i="0">
                <a:solidFill>
                  <a:srgbClr val="000000"/>
                </a:solidFill>
                <a:latin typeface="+mj-lt"/>
                <a:cs typeface="Arial"/>
              </a:defRPr>
            </a:lvl1pPr>
            <a:lvl2pPr marL="649544" indent="0" algn="ctr">
              <a:buNone/>
              <a:defRPr>
                <a:solidFill>
                  <a:schemeClr val="tx1">
                    <a:tint val="75000"/>
                  </a:schemeClr>
                </a:solidFill>
              </a:defRPr>
            </a:lvl2pPr>
            <a:lvl3pPr marL="1299088" indent="0" algn="ctr">
              <a:buNone/>
              <a:defRPr>
                <a:solidFill>
                  <a:schemeClr val="tx1">
                    <a:tint val="75000"/>
                  </a:schemeClr>
                </a:solidFill>
              </a:defRPr>
            </a:lvl3pPr>
            <a:lvl4pPr marL="1948632" indent="0" algn="ctr">
              <a:buNone/>
              <a:defRPr>
                <a:solidFill>
                  <a:schemeClr val="tx1">
                    <a:tint val="75000"/>
                  </a:schemeClr>
                </a:solidFill>
              </a:defRPr>
            </a:lvl4pPr>
            <a:lvl5pPr marL="2598176" indent="0" algn="ctr">
              <a:buNone/>
              <a:defRPr>
                <a:solidFill>
                  <a:schemeClr val="tx1">
                    <a:tint val="75000"/>
                  </a:schemeClr>
                </a:solidFill>
              </a:defRPr>
            </a:lvl5pPr>
            <a:lvl6pPr marL="3247720" indent="0" algn="ctr">
              <a:buNone/>
              <a:defRPr>
                <a:solidFill>
                  <a:schemeClr val="tx1">
                    <a:tint val="75000"/>
                  </a:schemeClr>
                </a:solidFill>
              </a:defRPr>
            </a:lvl6pPr>
            <a:lvl7pPr marL="3897264" indent="0" algn="ctr">
              <a:buNone/>
              <a:defRPr>
                <a:solidFill>
                  <a:schemeClr val="tx1">
                    <a:tint val="75000"/>
                  </a:schemeClr>
                </a:solidFill>
              </a:defRPr>
            </a:lvl7pPr>
            <a:lvl8pPr marL="4546808" indent="0" algn="ctr">
              <a:buNone/>
              <a:defRPr>
                <a:solidFill>
                  <a:schemeClr val="tx1">
                    <a:tint val="75000"/>
                  </a:schemeClr>
                </a:solidFill>
              </a:defRPr>
            </a:lvl8pPr>
            <a:lvl9pPr marL="5196352"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470675" y="334312"/>
            <a:ext cx="12013056" cy="587284"/>
          </a:xfrm>
        </p:spPr>
        <p:txBody>
          <a:body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105892589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1_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470676" y="1068644"/>
            <a:ext cx="11526151" cy="393954"/>
          </a:xfrm>
          <a:prstGeom prst="rect">
            <a:avLst/>
          </a:prstGeom>
        </p:spPr>
        <p:txBody>
          <a:bodyPr wrap="square" anchor="t">
            <a:noAutofit/>
          </a:bodyPr>
          <a:lstStyle>
            <a:lvl1pPr marL="0" indent="0" algn="l">
              <a:lnSpc>
                <a:spcPct val="100000"/>
              </a:lnSpc>
              <a:buNone/>
              <a:defRPr sz="2600" b="0" i="0">
                <a:solidFill>
                  <a:srgbClr val="000000"/>
                </a:solidFill>
                <a:latin typeface="HP Simplified" pitchFamily="34" charset="0"/>
                <a:cs typeface="HP Simplified" pitchFamily="34" charset="0"/>
              </a:defRPr>
            </a:lvl1pPr>
            <a:lvl2pPr marL="649544" indent="0" algn="ctr">
              <a:buNone/>
              <a:defRPr>
                <a:solidFill>
                  <a:schemeClr val="tx1">
                    <a:tint val="75000"/>
                  </a:schemeClr>
                </a:solidFill>
              </a:defRPr>
            </a:lvl2pPr>
            <a:lvl3pPr marL="1299088" indent="0" algn="ctr">
              <a:buNone/>
              <a:defRPr>
                <a:solidFill>
                  <a:schemeClr val="tx1">
                    <a:tint val="75000"/>
                  </a:schemeClr>
                </a:solidFill>
              </a:defRPr>
            </a:lvl3pPr>
            <a:lvl4pPr marL="1948632" indent="0" algn="ctr">
              <a:buNone/>
              <a:defRPr>
                <a:solidFill>
                  <a:schemeClr val="tx1">
                    <a:tint val="75000"/>
                  </a:schemeClr>
                </a:solidFill>
              </a:defRPr>
            </a:lvl4pPr>
            <a:lvl5pPr marL="2598176" indent="0" algn="ctr">
              <a:buNone/>
              <a:defRPr>
                <a:solidFill>
                  <a:schemeClr val="tx1">
                    <a:tint val="75000"/>
                  </a:schemeClr>
                </a:solidFill>
              </a:defRPr>
            </a:lvl5pPr>
            <a:lvl6pPr marL="3247720" indent="0" algn="ctr">
              <a:buNone/>
              <a:defRPr>
                <a:solidFill>
                  <a:schemeClr val="tx1">
                    <a:tint val="75000"/>
                  </a:schemeClr>
                </a:solidFill>
              </a:defRPr>
            </a:lvl6pPr>
            <a:lvl7pPr marL="3897264" indent="0" algn="ctr">
              <a:buNone/>
              <a:defRPr>
                <a:solidFill>
                  <a:schemeClr val="tx1">
                    <a:tint val="75000"/>
                  </a:schemeClr>
                </a:solidFill>
              </a:defRPr>
            </a:lvl7pPr>
            <a:lvl8pPr marL="4546808" indent="0" algn="ctr">
              <a:buNone/>
              <a:defRPr>
                <a:solidFill>
                  <a:schemeClr val="tx1">
                    <a:tint val="75000"/>
                  </a:schemeClr>
                </a:solidFill>
              </a:defRPr>
            </a:lvl8pPr>
            <a:lvl9pPr marL="5196352"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470676" y="334314"/>
            <a:ext cx="11526151" cy="61281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467430" y="1690626"/>
            <a:ext cx="11529937" cy="4592320"/>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3971924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1_Title and Content">
    <p:bg>
      <p:bgPr>
        <a:solidFill>
          <a:schemeClr val="bg1">
            <a:lumMod val="95000"/>
            <a:alpha val="6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93192" y="221788"/>
            <a:ext cx="8375904" cy="645196"/>
          </a:xfrm>
        </p:spPr>
        <p:txBody>
          <a:bodyPr>
            <a:normAutofit/>
          </a:bodyPr>
          <a:lstStyle>
            <a:lvl1pPr algn="l">
              <a:defRPr sz="3600">
                <a:solidFill>
                  <a:srgbClr val="C00000"/>
                </a:solidFill>
                <a:latin typeface="微软雅黑" pitchFamily="34" charset="-122"/>
                <a:ea typeface="微软雅黑" pitchFamily="34" charset="-122"/>
              </a:defRPr>
            </a:lvl1pPr>
          </a:lstStyle>
          <a:p>
            <a:r>
              <a:rPr lang="en-US" altLang="zh-CN" smtClean="0"/>
              <a:t>Click to edit Master title style</a:t>
            </a:r>
            <a:endParaRPr lang="en-US" dirty="0"/>
          </a:p>
        </p:txBody>
      </p:sp>
      <p:sp>
        <p:nvSpPr>
          <p:cNvPr id="3" name="Content Placeholder 2"/>
          <p:cNvSpPr>
            <a:spLocks noGrp="1"/>
          </p:cNvSpPr>
          <p:nvPr>
            <p:ph idx="1"/>
          </p:nvPr>
        </p:nvSpPr>
        <p:spPr>
          <a:xfrm>
            <a:off x="415984" y="1195799"/>
            <a:ext cx="8366760" cy="4978559"/>
          </a:xfrm>
        </p:spPr>
        <p:txBody>
          <a:bodyPr/>
          <a:lstStyle>
            <a:lvl1pPr>
              <a:defRPr sz="2400">
                <a:solidFill>
                  <a:srgbClr val="000000"/>
                </a:solidFill>
                <a:latin typeface="微软雅黑" pitchFamily="34" charset="-122"/>
                <a:ea typeface="微软雅黑" pitchFamily="34" charset="-122"/>
              </a:defRPr>
            </a:lvl1pPr>
            <a:lvl2pPr>
              <a:defRPr sz="2000">
                <a:solidFill>
                  <a:srgbClr val="000000"/>
                </a:solidFill>
                <a:latin typeface="微软雅黑" pitchFamily="34" charset="-122"/>
                <a:ea typeface="微软雅黑" pitchFamily="34" charset="-122"/>
              </a:defRPr>
            </a:lvl2pPr>
            <a:lvl3pPr>
              <a:defRPr sz="1800">
                <a:solidFill>
                  <a:srgbClr val="000000"/>
                </a:solidFill>
                <a:latin typeface="微软雅黑" pitchFamily="34" charset="-122"/>
                <a:ea typeface="微软雅黑" pitchFamily="34" charset="-122"/>
              </a:defRPr>
            </a:lvl3pPr>
            <a:lvl4pPr>
              <a:defRPr sz="1600">
                <a:solidFill>
                  <a:srgbClr val="000000"/>
                </a:solidFill>
                <a:latin typeface="微软雅黑" pitchFamily="34" charset="-122"/>
                <a:ea typeface="微软雅黑" pitchFamily="34" charset="-122"/>
              </a:defRPr>
            </a:lvl4pPr>
            <a:lvl5pPr>
              <a:defRPr sz="1400">
                <a:solidFill>
                  <a:srgbClr val="000000"/>
                </a:solidFill>
                <a:latin typeface="微软雅黑" pitchFamily="34" charset="-122"/>
                <a:ea typeface="微软雅黑" pitchFamily="34" charset="-122"/>
              </a:defRPr>
            </a:lvl5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en-US" dirty="0"/>
          </a:p>
        </p:txBody>
      </p:sp>
      <p:sp>
        <p:nvSpPr>
          <p:cNvPr id="6" name="Footer Placeholder 17"/>
          <p:cNvSpPr>
            <a:spLocks noGrp="1"/>
          </p:cNvSpPr>
          <p:nvPr>
            <p:ph type="ftr" sz="quarter" idx="10"/>
          </p:nvPr>
        </p:nvSpPr>
        <p:spPr/>
        <p:txBody>
          <a:bodyPr/>
          <a:lstStyle>
            <a:lvl1pPr>
              <a:defRPr/>
            </a:lvl1pPr>
          </a:lstStyle>
          <a:p>
            <a:pPr>
              <a:defRPr/>
            </a:pPr>
            <a:r>
              <a:rPr lang="en-US" altLang="zh-CN" dirty="0" smtClean="0"/>
              <a:t>Confidential | Copyright 2014 Trend Micro Inc.</a:t>
            </a:r>
            <a:endParaRPr lang="en-US" altLang="zh-CN" dirty="0"/>
          </a:p>
        </p:txBody>
      </p:sp>
      <p:pic>
        <p:nvPicPr>
          <p:cNvPr id="9" name="Picture 10" descr="Log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89186" y="6663995"/>
            <a:ext cx="1201738" cy="473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2186746" y="6733088"/>
            <a:ext cx="481156" cy="404735"/>
          </a:xfrm>
          <a:prstGeom prst="rect">
            <a:avLst/>
          </a:prstGeom>
        </p:spPr>
      </p:pic>
    </p:spTree>
    <p:extLst>
      <p:ext uri="{BB962C8B-B14F-4D97-AF65-F5344CB8AC3E}">
        <p14:creationId xmlns:p14="http://schemas.microsoft.com/office/powerpoint/2010/main" val="22404046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solidFill>
                  <a:srgbClr val="C00000"/>
                </a:solidFill>
                <a:latin typeface="微软雅黑" pitchFamily="34" charset="-122"/>
                <a:ea typeface="微软雅黑" pitchFamily="34" charset="-122"/>
              </a:defRPr>
            </a:lvl1pPr>
          </a:lstStyle>
          <a:p>
            <a:r>
              <a:rPr lang="en-US" altLang="zh-CN" smtClean="0"/>
              <a:t>Click to edit Master title style</a:t>
            </a:r>
            <a:endParaRPr lang="zh-CN" altLang="en-US" dirty="0"/>
          </a:p>
        </p:txBody>
      </p:sp>
      <p:sp>
        <p:nvSpPr>
          <p:cNvPr id="3" name="页脚占位符 2"/>
          <p:cNvSpPr>
            <a:spLocks noGrp="1"/>
          </p:cNvSpPr>
          <p:nvPr>
            <p:ph type="ftr" sz="quarter" idx="10"/>
          </p:nvPr>
        </p:nvSpPr>
        <p:spPr/>
        <p:txBody>
          <a:bodyPr/>
          <a:lstStyle/>
          <a:p>
            <a:pPr>
              <a:defRPr/>
            </a:pPr>
            <a:r>
              <a:rPr lang="en-US" altLang="zh-CN" smtClean="0"/>
              <a:t>Confidential | Copyright 2014 Trend Micro Inc.</a:t>
            </a:r>
            <a:endParaRPr lang="en-US" altLang="zh-CN"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Only" preserve="1">
  <p:cSld name="Title Only">
    <p:bg>
      <p:bgPr>
        <a:solidFill>
          <a:schemeClr val="bg1"/>
        </a:solidFill>
        <a:effectLst/>
      </p:bgPr>
    </p:bg>
    <p:spTree>
      <p:nvGrpSpPr>
        <p:cNvPr id="1" name=""/>
        <p:cNvGrpSpPr/>
        <p:nvPr/>
      </p:nvGrpSpPr>
      <p:grpSpPr>
        <a:xfrm>
          <a:off x="0" y="0"/>
          <a:ext cx="0" cy="0"/>
          <a:chOff x="0" y="0"/>
          <a:chExt cx="0" cy="0"/>
        </a:xfrm>
      </p:grpSpPr>
      <p:pic>
        <p:nvPicPr>
          <p:cNvPr id="3" name="Picture 10" descr="Untitled-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928813" y="2682875"/>
            <a:ext cx="11055350" cy="463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12" descr="Logo"/>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723563" y="393700"/>
            <a:ext cx="1811337"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defRPr>
                <a:solidFill>
                  <a:srgbClr val="C00000"/>
                </a:solidFill>
                <a:latin typeface="微软雅黑" pitchFamily="34" charset="-122"/>
                <a:ea typeface="微软雅黑" pitchFamily="34" charset="-122"/>
              </a:defRPr>
            </a:lvl1pPr>
          </a:lstStyle>
          <a:p>
            <a:r>
              <a:rPr lang="en-US" altLang="zh-CN" smtClean="0"/>
              <a:t>Click to edit Master title style</a:t>
            </a:r>
            <a:endParaRPr lang="en-US" dirty="0"/>
          </a:p>
        </p:txBody>
      </p:sp>
      <p:sp>
        <p:nvSpPr>
          <p:cNvPr id="5" name="Rectangle 3755"/>
          <p:cNvSpPr>
            <a:spLocks noGrp="1" noChangeArrowheads="1"/>
          </p:cNvSpPr>
          <p:nvPr>
            <p:ph type="dt" sz="quarter" idx="10"/>
          </p:nvPr>
        </p:nvSpPr>
        <p:spPr bwMode="auto">
          <a:xfrm>
            <a:off x="90488" y="6983413"/>
            <a:ext cx="1546225" cy="233362"/>
          </a:xfrm>
          <a:prstGeom prst="rect">
            <a:avLst/>
          </a:prstGeom>
          <a:ln>
            <a:miter lim="800000"/>
            <a:headEnd/>
            <a:tailEnd/>
          </a:ln>
        </p:spPr>
        <p:txBody>
          <a:bodyPr vert="horz" wrap="square" lIns="115992" tIns="57996" rIns="115992" bIns="57996" numCol="1" anchor="t" anchorCtr="0" compatLnSpc="1">
            <a:prstTxWarp prst="textNoShape">
              <a:avLst/>
            </a:prstTxWarp>
          </a:bodyPr>
          <a:lstStyle>
            <a:lvl1pPr>
              <a:defRPr sz="1100" b="0" smtClean="0">
                <a:solidFill>
                  <a:schemeClr val="bg2"/>
                </a:solidFill>
                <a:latin typeface="Arial" pitchFamily="34" charset="0"/>
              </a:defRPr>
            </a:lvl1pPr>
          </a:lstStyle>
          <a:p>
            <a:pPr>
              <a:defRPr/>
            </a:pPr>
            <a:fld id="{2252B988-8368-40F5-9830-7FE9C0074FB1}" type="datetime1">
              <a:rPr lang="en-US" altLang="zh-CN"/>
              <a:pPr>
                <a:defRPr/>
              </a:pPr>
              <a:t>8/12/2014</a:t>
            </a:fld>
            <a:endParaRPr lang="en-US" altLang="zh-CN"/>
          </a:p>
        </p:txBody>
      </p:sp>
      <p:sp>
        <p:nvSpPr>
          <p:cNvPr id="6" name="Rectangle 3768"/>
          <p:cNvSpPr>
            <a:spLocks noGrp="1" noChangeArrowheads="1"/>
          </p:cNvSpPr>
          <p:nvPr>
            <p:ph type="sldNum" sz="quarter" idx="11"/>
          </p:nvPr>
        </p:nvSpPr>
        <p:spPr bwMode="auto">
          <a:xfrm>
            <a:off x="6227763" y="6905625"/>
            <a:ext cx="528637" cy="293688"/>
          </a:xfrm>
          <a:prstGeom prst="rect">
            <a:avLst/>
          </a:prstGeom>
          <a:ln>
            <a:miter lim="800000"/>
            <a:headEnd/>
            <a:tailEnd/>
          </a:ln>
        </p:spPr>
        <p:txBody>
          <a:bodyPr vert="horz" wrap="square" lIns="115992" tIns="57996" rIns="115992" bIns="57996" numCol="1" anchor="t" anchorCtr="0" compatLnSpc="1">
            <a:prstTxWarp prst="textNoShape">
              <a:avLst/>
            </a:prstTxWarp>
          </a:bodyPr>
          <a:lstStyle>
            <a:lvl1pPr algn="ctr">
              <a:defRPr sz="1500" smtClean="0">
                <a:solidFill>
                  <a:schemeClr val="bg2"/>
                </a:solidFill>
                <a:latin typeface="Arial" pitchFamily="34" charset="0"/>
              </a:defRPr>
            </a:lvl1pPr>
          </a:lstStyle>
          <a:p>
            <a:pPr>
              <a:defRPr/>
            </a:pPr>
            <a:fld id="{9222C081-E760-47BC-9D0F-B0FEB080C408}" type="slidenum">
              <a:rPr lang="en-US" altLang="zh-CN"/>
              <a:pPr>
                <a:defRPr/>
              </a:pPr>
              <a:t>‹#›</a:t>
            </a:fld>
            <a:endParaRPr lang="en-US" altLang="zh-CN"/>
          </a:p>
        </p:txBody>
      </p:sp>
      <p:sp>
        <p:nvSpPr>
          <p:cNvPr id="7" name="Footer Placeholder 17"/>
          <p:cNvSpPr>
            <a:spLocks noGrp="1"/>
          </p:cNvSpPr>
          <p:nvPr>
            <p:ph type="ftr" sz="quarter" idx="12"/>
          </p:nvPr>
        </p:nvSpPr>
        <p:spPr>
          <a:xfrm>
            <a:off x="1508125" y="6983413"/>
            <a:ext cx="4111625" cy="193675"/>
          </a:xfrm>
        </p:spPr>
        <p:txBody>
          <a:bodyPr/>
          <a:lstStyle>
            <a:lvl1pPr algn="l">
              <a:defRPr/>
            </a:lvl1pPr>
          </a:lstStyle>
          <a:p>
            <a:pPr>
              <a:defRPr/>
            </a:pPr>
            <a:r>
              <a:rPr lang="en-US" altLang="zh-CN" dirty="0" smtClean="0"/>
              <a:t>Confidential | Copyright 2014 Trend Micro Inc.</a:t>
            </a:r>
            <a:endParaRPr lang="en-US" altLang="zh-CN" dirty="0"/>
          </a:p>
        </p:txBody>
      </p:sp>
    </p:spTree>
    <p:extLst>
      <p:ext uri="{BB962C8B-B14F-4D97-AF65-F5344CB8AC3E}">
        <p14:creationId xmlns:p14="http://schemas.microsoft.com/office/powerpoint/2010/main" val="21994381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Blue title slide ">
    <p:bg>
      <p:bgPr>
        <a:solidFill>
          <a:schemeClr val="accent1"/>
        </a:solid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467430" y="2896811"/>
            <a:ext cx="9738122" cy="1715888"/>
          </a:xfrm>
        </p:spPr>
        <p:txBody>
          <a:bodyPr anchor="b"/>
          <a:lstStyle>
            <a:lvl1pPr>
              <a:lnSpc>
                <a:spcPct val="90000"/>
              </a:lnSpc>
              <a:defRPr sz="6500" spc="-142">
                <a:solidFill>
                  <a:schemeClr val="bg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nvPr>
        </p:nvSpPr>
        <p:spPr bwMode="black">
          <a:xfrm>
            <a:off x="467430" y="4716982"/>
            <a:ext cx="9738122" cy="1300480"/>
          </a:xfrm>
        </p:spPr>
        <p:txBody>
          <a:bodyPr/>
          <a:lstStyle>
            <a:lvl1pPr marL="0" indent="0" algn="l">
              <a:buNone/>
              <a:defRPr b="0">
                <a:solidFill>
                  <a:schemeClr val="bg1"/>
                </a:solidFill>
              </a:defRPr>
            </a:lvl1pPr>
            <a:lvl2pPr marL="649544" indent="0" algn="ctr">
              <a:buNone/>
              <a:defRPr>
                <a:solidFill>
                  <a:schemeClr val="tx1">
                    <a:tint val="75000"/>
                  </a:schemeClr>
                </a:solidFill>
              </a:defRPr>
            </a:lvl2pPr>
            <a:lvl3pPr marL="1299088" indent="0" algn="ctr">
              <a:buNone/>
              <a:defRPr>
                <a:solidFill>
                  <a:schemeClr val="tx1">
                    <a:tint val="75000"/>
                  </a:schemeClr>
                </a:solidFill>
              </a:defRPr>
            </a:lvl3pPr>
            <a:lvl4pPr marL="1948632" indent="0" algn="ctr">
              <a:buNone/>
              <a:defRPr>
                <a:solidFill>
                  <a:schemeClr val="tx1">
                    <a:tint val="75000"/>
                  </a:schemeClr>
                </a:solidFill>
              </a:defRPr>
            </a:lvl4pPr>
            <a:lvl5pPr marL="2598176" indent="0" algn="ctr">
              <a:buNone/>
              <a:defRPr>
                <a:solidFill>
                  <a:schemeClr val="tx1">
                    <a:tint val="75000"/>
                  </a:schemeClr>
                </a:solidFill>
              </a:defRPr>
            </a:lvl5pPr>
            <a:lvl6pPr marL="3247720" indent="0" algn="ctr">
              <a:buNone/>
              <a:defRPr>
                <a:solidFill>
                  <a:schemeClr val="tx1">
                    <a:tint val="75000"/>
                  </a:schemeClr>
                </a:solidFill>
              </a:defRPr>
            </a:lvl6pPr>
            <a:lvl7pPr marL="3897264" indent="0" algn="ctr">
              <a:buNone/>
              <a:defRPr>
                <a:solidFill>
                  <a:schemeClr val="tx1">
                    <a:tint val="75000"/>
                  </a:schemeClr>
                </a:solidFill>
              </a:defRPr>
            </a:lvl7pPr>
            <a:lvl8pPr marL="4546808" indent="0" algn="ctr">
              <a:buNone/>
              <a:defRPr>
                <a:solidFill>
                  <a:schemeClr val="tx1">
                    <a:tint val="75000"/>
                  </a:schemeClr>
                </a:solidFill>
              </a:defRPr>
            </a:lvl8pPr>
            <a:lvl9pPr marL="5196352"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White_RGB_150_LG.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867964" y="520192"/>
            <a:ext cx="2674738" cy="2678989"/>
          </a:xfrm>
          <a:prstGeom prst="rect">
            <a:avLst/>
          </a:prstGeom>
        </p:spPr>
      </p:pic>
      <p:sp>
        <p:nvSpPr>
          <p:cNvPr id="6" name="TextBox 5"/>
          <p:cNvSpPr txBox="1"/>
          <p:nvPr userDrawn="1"/>
        </p:nvSpPr>
        <p:spPr>
          <a:xfrm>
            <a:off x="467431" y="6768075"/>
            <a:ext cx="11377536" cy="325120"/>
          </a:xfrm>
          <a:prstGeom prst="rect">
            <a:avLst/>
          </a:prstGeom>
          <a:noFill/>
        </p:spPr>
        <p:txBody>
          <a:bodyPr wrap="square" lIns="0" tIns="64954" rIns="129909" bIns="64954" rtlCol="0">
            <a:noAutofit/>
          </a:bodyPr>
          <a:lstStyle/>
          <a:p>
            <a:pPr defTabSz="649544">
              <a:defRPr/>
            </a:pPr>
            <a:r>
              <a:rPr lang="en-US" sz="1000" dirty="0" smtClean="0">
                <a:solidFill>
                  <a:prstClr val="white"/>
                </a:solidFill>
                <a:cs typeface="HP Simplified"/>
              </a:rPr>
              <a:t>© Copyright 2012 Hewlett-Packard Development Company, L.P.  The information contained herein is subject to change without notice.</a:t>
            </a:r>
          </a:p>
        </p:txBody>
      </p:sp>
    </p:spTree>
    <p:extLst>
      <p:ext uri="{BB962C8B-B14F-4D97-AF65-F5344CB8AC3E}">
        <p14:creationId xmlns:p14="http://schemas.microsoft.com/office/powerpoint/2010/main" val="96949966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Blue quote slide with subtitl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467430" y="342641"/>
            <a:ext cx="10255489" cy="2853978"/>
          </a:xfrm>
          <a:prstGeom prst="rect">
            <a:avLst/>
          </a:prstGeom>
        </p:spPr>
        <p:txBody>
          <a:bodyPr wrap="square" lIns="0" tIns="0" rIns="0" bIns="0" anchor="t" anchorCtr="0">
            <a:noAutofit/>
          </a:bodyPr>
          <a:lstStyle>
            <a:lvl1pPr algn="l" defTabSz="649544" rtl="0" eaLnBrk="1" latinLnBrk="0" hangingPunct="1">
              <a:lnSpc>
                <a:spcPct val="90000"/>
              </a:lnSpc>
              <a:spcBef>
                <a:spcPct val="0"/>
              </a:spcBef>
              <a:spcAft>
                <a:spcPts val="0"/>
              </a:spcAft>
              <a:buNone/>
              <a:defRPr lang="en-US" sz="5700" b="1" i="0" kern="1200" spc="-142" noProof="0" dirty="0">
                <a:solidFill>
                  <a:schemeClr val="bg1"/>
                </a:solidFill>
                <a:latin typeface="HP Simplified" pitchFamily="34" charset="0"/>
                <a:ea typeface="+mj-ea"/>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077109" y="6450381"/>
            <a:ext cx="519332" cy="520158"/>
          </a:xfrm>
          <a:prstGeom prst="rect">
            <a:avLst/>
          </a:prstGeom>
        </p:spPr>
      </p:pic>
      <p:sp>
        <p:nvSpPr>
          <p:cNvPr id="6" name="TextBox 5"/>
          <p:cNvSpPr txBox="1"/>
          <p:nvPr userDrawn="1"/>
        </p:nvSpPr>
        <p:spPr>
          <a:xfrm>
            <a:off x="467431" y="6768075"/>
            <a:ext cx="11377536" cy="325120"/>
          </a:xfrm>
          <a:prstGeom prst="rect">
            <a:avLst/>
          </a:prstGeom>
          <a:noFill/>
        </p:spPr>
        <p:txBody>
          <a:bodyPr wrap="square" lIns="0" tIns="64954" rIns="129909" bIns="64954" rtlCol="0">
            <a:noAutofit/>
          </a:bodyPr>
          <a:lstStyle/>
          <a:p>
            <a:pPr defTabSz="649544">
              <a:defRPr/>
            </a:pPr>
            <a:r>
              <a:rPr lang="en-US" sz="1000" dirty="0" smtClean="0">
                <a:solidFill>
                  <a:prstClr val="white"/>
                </a:solidFill>
                <a:cs typeface="HP Simplified"/>
              </a:rPr>
              <a:t>© Copyright 2012 Hewlett-Packard Development Company, L.P.  The information contained herein is subject to change without notice.</a:t>
            </a:r>
          </a:p>
        </p:txBody>
      </p:sp>
      <p:sp>
        <p:nvSpPr>
          <p:cNvPr id="5" name="Subtitle 2"/>
          <p:cNvSpPr>
            <a:spLocks noGrp="1"/>
          </p:cNvSpPr>
          <p:nvPr>
            <p:ph type="subTitle" idx="1" hasCustomPrompt="1"/>
          </p:nvPr>
        </p:nvSpPr>
        <p:spPr>
          <a:xfrm>
            <a:off x="461871" y="4700958"/>
            <a:ext cx="7310084" cy="923341"/>
          </a:xfrm>
          <a:prstGeom prst="rect">
            <a:avLst/>
          </a:prstGeom>
        </p:spPr>
        <p:txBody>
          <a:bodyPr>
            <a:noAutofit/>
          </a:bodyPr>
          <a:lstStyle>
            <a:lvl1pPr marL="0" indent="0" algn="l">
              <a:lnSpc>
                <a:spcPct val="100000"/>
              </a:lnSpc>
              <a:spcBef>
                <a:spcPts val="0"/>
              </a:spcBef>
              <a:buNone/>
              <a:defRPr sz="2600" b="0">
                <a:solidFill>
                  <a:srgbClr val="FFFFFF"/>
                </a:solidFill>
                <a:latin typeface="+mn-lt"/>
                <a:cs typeface="Arial"/>
              </a:defRPr>
            </a:lvl1pPr>
            <a:lvl2pPr marL="649544" indent="0" algn="ctr">
              <a:buNone/>
              <a:defRPr>
                <a:solidFill>
                  <a:schemeClr val="tx1">
                    <a:tint val="75000"/>
                  </a:schemeClr>
                </a:solidFill>
              </a:defRPr>
            </a:lvl2pPr>
            <a:lvl3pPr marL="1299088" indent="0" algn="ctr">
              <a:buNone/>
              <a:defRPr>
                <a:solidFill>
                  <a:schemeClr val="tx1">
                    <a:tint val="75000"/>
                  </a:schemeClr>
                </a:solidFill>
              </a:defRPr>
            </a:lvl3pPr>
            <a:lvl4pPr marL="1948632" indent="0" algn="ctr">
              <a:buNone/>
              <a:defRPr>
                <a:solidFill>
                  <a:schemeClr val="tx1">
                    <a:tint val="75000"/>
                  </a:schemeClr>
                </a:solidFill>
              </a:defRPr>
            </a:lvl4pPr>
            <a:lvl5pPr marL="2598176" indent="0" algn="ctr">
              <a:buNone/>
              <a:defRPr>
                <a:solidFill>
                  <a:schemeClr val="tx1">
                    <a:tint val="75000"/>
                  </a:schemeClr>
                </a:solidFill>
              </a:defRPr>
            </a:lvl5pPr>
            <a:lvl6pPr marL="3247720" indent="0" algn="ctr">
              <a:buNone/>
              <a:defRPr>
                <a:solidFill>
                  <a:schemeClr val="tx1">
                    <a:tint val="75000"/>
                  </a:schemeClr>
                </a:solidFill>
              </a:defRPr>
            </a:lvl6pPr>
            <a:lvl7pPr marL="3897264" indent="0" algn="ctr">
              <a:buNone/>
              <a:defRPr>
                <a:solidFill>
                  <a:schemeClr val="tx1">
                    <a:tint val="75000"/>
                  </a:schemeClr>
                </a:solidFill>
              </a:defRPr>
            </a:lvl7pPr>
            <a:lvl8pPr marL="4546808" indent="0" algn="ctr">
              <a:buNone/>
              <a:defRPr>
                <a:solidFill>
                  <a:schemeClr val="tx1">
                    <a:tint val="75000"/>
                  </a:schemeClr>
                </a:solidFill>
              </a:defRPr>
            </a:lvl8pPr>
            <a:lvl9pPr marL="5196352"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408050243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cSld name="3_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467430" y="1068644"/>
            <a:ext cx="11526151" cy="393954"/>
          </a:xfrm>
          <a:prstGeom prst="rect">
            <a:avLst/>
          </a:prstGeom>
        </p:spPr>
        <p:txBody>
          <a:bodyPr>
            <a:noAutofit/>
          </a:bodyPr>
          <a:lstStyle>
            <a:lvl1pPr marL="0" indent="0" algn="l">
              <a:lnSpc>
                <a:spcPct val="100000"/>
              </a:lnSpc>
              <a:buNone/>
              <a:defRPr sz="1900" b="0" i="0">
                <a:solidFill>
                  <a:srgbClr val="000000"/>
                </a:solidFill>
                <a:latin typeface="HP Simplified" pitchFamily="34" charset="0"/>
                <a:cs typeface="HP Simplified" pitchFamily="34" charset="0"/>
              </a:defRPr>
            </a:lvl1pPr>
            <a:lvl2pPr marL="487158" indent="0" algn="ctr">
              <a:buNone/>
              <a:defRPr>
                <a:solidFill>
                  <a:schemeClr val="tx1">
                    <a:tint val="75000"/>
                  </a:schemeClr>
                </a:solidFill>
              </a:defRPr>
            </a:lvl2pPr>
            <a:lvl3pPr marL="974316" indent="0" algn="ctr">
              <a:buNone/>
              <a:defRPr>
                <a:solidFill>
                  <a:schemeClr val="tx1">
                    <a:tint val="75000"/>
                  </a:schemeClr>
                </a:solidFill>
              </a:defRPr>
            </a:lvl3pPr>
            <a:lvl4pPr marL="1461474" indent="0" algn="ctr">
              <a:buNone/>
              <a:defRPr>
                <a:solidFill>
                  <a:schemeClr val="tx1">
                    <a:tint val="75000"/>
                  </a:schemeClr>
                </a:solidFill>
              </a:defRPr>
            </a:lvl4pPr>
            <a:lvl5pPr marL="1948632" indent="0" algn="ctr">
              <a:buNone/>
              <a:defRPr>
                <a:solidFill>
                  <a:schemeClr val="tx1">
                    <a:tint val="75000"/>
                  </a:schemeClr>
                </a:solidFill>
              </a:defRPr>
            </a:lvl5pPr>
            <a:lvl6pPr marL="2435790" indent="0" algn="ctr">
              <a:buNone/>
              <a:defRPr>
                <a:solidFill>
                  <a:schemeClr val="tx1">
                    <a:tint val="75000"/>
                  </a:schemeClr>
                </a:solidFill>
              </a:defRPr>
            </a:lvl6pPr>
            <a:lvl7pPr marL="2922948" indent="0" algn="ctr">
              <a:buNone/>
              <a:defRPr>
                <a:solidFill>
                  <a:schemeClr val="tx1">
                    <a:tint val="75000"/>
                  </a:schemeClr>
                </a:solidFill>
              </a:defRPr>
            </a:lvl7pPr>
            <a:lvl8pPr marL="3410106" indent="0" algn="ctr">
              <a:buNone/>
              <a:defRPr>
                <a:solidFill>
                  <a:schemeClr val="tx1">
                    <a:tint val="75000"/>
                  </a:schemeClr>
                </a:solidFill>
              </a:defRPr>
            </a:lvl8pPr>
            <a:lvl9pPr marL="3897264" indent="0" algn="ctr">
              <a:buNone/>
              <a:defRPr>
                <a:solidFill>
                  <a:schemeClr val="tx1">
                    <a:tint val="75000"/>
                  </a:schemeClr>
                </a:solidFill>
              </a:defRPr>
            </a:lvl9pPr>
          </a:lstStyle>
          <a:p>
            <a:r>
              <a:rPr lang="en-US" noProof="0" smtClean="0"/>
              <a:t>Click to edit Master subtitle style</a:t>
            </a:r>
            <a:endParaRPr lang="en-US" noProof="0" dirty="0"/>
          </a:p>
        </p:txBody>
      </p:sp>
      <p:sp>
        <p:nvSpPr>
          <p:cNvPr id="7" name="Title 6"/>
          <p:cNvSpPr>
            <a:spLocks noGrp="1"/>
          </p:cNvSpPr>
          <p:nvPr>
            <p:ph type="title"/>
          </p:nvPr>
        </p:nvSpPr>
        <p:spPr bwMode="black">
          <a:xfrm>
            <a:off x="467430" y="334314"/>
            <a:ext cx="11526151" cy="612817"/>
          </a:xfrm>
        </p:spPr>
        <p:txBody>
          <a:bodyPr>
            <a:noAutofit/>
          </a:bodyPr>
          <a:lstStyle>
            <a:lvl1pPr>
              <a:defRPr b="1" i="0">
                <a:solidFill>
                  <a:srgbClr val="000000"/>
                </a:solidFill>
                <a:latin typeface="HP Simplified" pitchFamily="34" charset="0"/>
                <a:cs typeface="HP Simplified" pitchFamily="34" charset="0"/>
              </a:defRPr>
            </a:lvl1pPr>
          </a:lstStyle>
          <a:p>
            <a:r>
              <a:rPr lang="en-US" noProof="0" smtClean="0"/>
              <a:t>Click to edit Master title style</a:t>
            </a:r>
            <a:endParaRPr lang="en-US" noProof="0" dirty="0"/>
          </a:p>
        </p:txBody>
      </p:sp>
      <p:sp>
        <p:nvSpPr>
          <p:cNvPr id="6" name="Content Placeholder 5"/>
          <p:cNvSpPr>
            <a:spLocks noGrp="1"/>
          </p:cNvSpPr>
          <p:nvPr>
            <p:ph sz="quarter" idx="10"/>
          </p:nvPr>
        </p:nvSpPr>
        <p:spPr>
          <a:xfrm>
            <a:off x="467430" y="1690628"/>
            <a:ext cx="11529937" cy="4592320"/>
          </a:xfrm>
        </p:spPr>
        <p:txBody>
          <a:bodyPr>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17877944"/>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470676" y="1068644"/>
            <a:ext cx="11526151" cy="393954"/>
          </a:xfrm>
          <a:prstGeom prst="rect">
            <a:avLst/>
          </a:prstGeom>
        </p:spPr>
        <p:txBody>
          <a:bodyPr wrap="square" anchor="t">
            <a:noAutofit/>
          </a:bodyPr>
          <a:lstStyle>
            <a:lvl1pPr marL="0" indent="0" algn="l">
              <a:lnSpc>
                <a:spcPct val="100000"/>
              </a:lnSpc>
              <a:buNone/>
              <a:defRPr sz="2600" b="0" i="0">
                <a:solidFill>
                  <a:srgbClr val="000000"/>
                </a:solidFill>
                <a:latin typeface="HP Simplified" pitchFamily="34" charset="0"/>
                <a:cs typeface="HP Simplified" pitchFamily="34" charset="0"/>
              </a:defRPr>
            </a:lvl1pPr>
            <a:lvl2pPr marL="649544" indent="0" algn="ctr">
              <a:buNone/>
              <a:defRPr>
                <a:solidFill>
                  <a:schemeClr val="tx1">
                    <a:tint val="75000"/>
                  </a:schemeClr>
                </a:solidFill>
              </a:defRPr>
            </a:lvl2pPr>
            <a:lvl3pPr marL="1299088" indent="0" algn="ctr">
              <a:buNone/>
              <a:defRPr>
                <a:solidFill>
                  <a:schemeClr val="tx1">
                    <a:tint val="75000"/>
                  </a:schemeClr>
                </a:solidFill>
              </a:defRPr>
            </a:lvl3pPr>
            <a:lvl4pPr marL="1948632" indent="0" algn="ctr">
              <a:buNone/>
              <a:defRPr>
                <a:solidFill>
                  <a:schemeClr val="tx1">
                    <a:tint val="75000"/>
                  </a:schemeClr>
                </a:solidFill>
              </a:defRPr>
            </a:lvl4pPr>
            <a:lvl5pPr marL="2598176" indent="0" algn="ctr">
              <a:buNone/>
              <a:defRPr>
                <a:solidFill>
                  <a:schemeClr val="tx1">
                    <a:tint val="75000"/>
                  </a:schemeClr>
                </a:solidFill>
              </a:defRPr>
            </a:lvl5pPr>
            <a:lvl6pPr marL="3247720" indent="0" algn="ctr">
              <a:buNone/>
              <a:defRPr>
                <a:solidFill>
                  <a:schemeClr val="tx1">
                    <a:tint val="75000"/>
                  </a:schemeClr>
                </a:solidFill>
              </a:defRPr>
            </a:lvl6pPr>
            <a:lvl7pPr marL="3897264" indent="0" algn="ctr">
              <a:buNone/>
              <a:defRPr>
                <a:solidFill>
                  <a:schemeClr val="tx1">
                    <a:tint val="75000"/>
                  </a:schemeClr>
                </a:solidFill>
              </a:defRPr>
            </a:lvl7pPr>
            <a:lvl8pPr marL="4546808" indent="0" algn="ctr">
              <a:buNone/>
              <a:defRPr>
                <a:solidFill>
                  <a:schemeClr val="tx1">
                    <a:tint val="75000"/>
                  </a:schemeClr>
                </a:solidFill>
              </a:defRPr>
            </a:lvl8pPr>
            <a:lvl9pPr marL="5196352"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470676" y="334314"/>
            <a:ext cx="11526151" cy="61281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467430" y="1690626"/>
            <a:ext cx="11529937" cy="4592320"/>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033685406"/>
      </p:ext>
    </p:extLst>
  </p:cSld>
  <p:clrMapOvr>
    <a:masterClrMapping/>
  </p:clrMapOvr>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Blue divider slid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467430" y="338956"/>
            <a:ext cx="10255489" cy="2853978"/>
          </a:xfrm>
          <a:prstGeom prst="rect">
            <a:avLst/>
          </a:prstGeom>
        </p:spPr>
        <p:txBody>
          <a:bodyPr wrap="square" lIns="0" tIns="0" rIns="0" bIns="0" anchor="t" anchorCtr="0">
            <a:noAutofit/>
          </a:bodyPr>
          <a:lstStyle>
            <a:lvl1pPr algn="l">
              <a:lnSpc>
                <a:spcPct val="90000"/>
              </a:lnSpc>
              <a:defRPr sz="5700" b="1" i="0" spc="-142" baseline="0">
                <a:solidFill>
                  <a:schemeClr val="bg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2077109" y="6450381"/>
            <a:ext cx="519332" cy="520158"/>
          </a:xfrm>
          <a:prstGeom prst="rect">
            <a:avLst/>
          </a:prstGeom>
        </p:spPr>
      </p:pic>
      <p:sp>
        <p:nvSpPr>
          <p:cNvPr id="6" name="TextBox 5"/>
          <p:cNvSpPr txBox="1"/>
          <p:nvPr userDrawn="1"/>
        </p:nvSpPr>
        <p:spPr>
          <a:xfrm>
            <a:off x="467431" y="6768075"/>
            <a:ext cx="11377536" cy="325120"/>
          </a:xfrm>
          <a:prstGeom prst="rect">
            <a:avLst/>
          </a:prstGeom>
          <a:noFill/>
        </p:spPr>
        <p:txBody>
          <a:bodyPr wrap="square" lIns="0" tIns="64954" rIns="129909" bIns="64954" rtlCol="0">
            <a:noAutofit/>
          </a:bodyPr>
          <a:lstStyle/>
          <a:p>
            <a:pPr>
              <a:defRPr/>
            </a:pPr>
            <a:r>
              <a:rPr lang="en-US" sz="1000" dirty="0" smtClean="0">
                <a:solidFill>
                  <a:prstClr val="white"/>
                </a:solidFill>
                <a:cs typeface="HP Simplified"/>
              </a:rPr>
              <a:t>© Copyright 2013 Hewlett-Packard Development Company, L.P.  The information contained herein is subject to change without notice.</a:t>
            </a:r>
          </a:p>
        </p:txBody>
      </p:sp>
    </p:spTree>
    <p:extLst>
      <p:ext uri="{BB962C8B-B14F-4D97-AF65-F5344CB8AC3E}">
        <p14:creationId xmlns:p14="http://schemas.microsoft.com/office/powerpoint/2010/main" val="1870859942"/>
      </p:ext>
    </p:extLst>
  </p:cSld>
  <p:clrMapOvr>
    <a:masterClrMapping/>
  </p:clrMapOvr>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w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alpha val="60000"/>
          </a:schemeClr>
        </a:solidFill>
        <a:effectLst/>
      </p:bgPr>
    </p:bg>
    <p:spTree>
      <p:nvGrpSpPr>
        <p:cNvPr id="1" name=""/>
        <p:cNvGrpSpPr/>
        <p:nvPr/>
      </p:nvGrpSpPr>
      <p:grpSpPr>
        <a:xfrm>
          <a:off x="0" y="0"/>
          <a:ext cx="0" cy="0"/>
          <a:chOff x="0" y="0"/>
          <a:chExt cx="0" cy="0"/>
        </a:xfrm>
      </p:grpSpPr>
      <p:sp>
        <p:nvSpPr>
          <p:cNvPr id="1026" name="Rectangle 554"/>
          <p:cNvSpPr>
            <a:spLocks noGrp="1" noChangeArrowheads="1"/>
          </p:cNvSpPr>
          <p:nvPr>
            <p:ph type="body" idx="1"/>
          </p:nvPr>
        </p:nvSpPr>
        <p:spPr bwMode="auto">
          <a:xfrm>
            <a:off x="622300" y="1343025"/>
            <a:ext cx="11399838" cy="4760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5992" tIns="57996" rIns="115992" bIns="57996" numCol="1" anchor="t" anchorCtr="0" compatLnSpc="1">
            <a:prstTxWarp prst="textNoShape">
              <a:avLst/>
            </a:prstTxWarp>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p>
        </p:txBody>
      </p:sp>
      <p:sp>
        <p:nvSpPr>
          <p:cNvPr id="1027" name="Rectangle 553"/>
          <p:cNvSpPr>
            <a:spLocks noGrp="1" noChangeArrowheads="1"/>
          </p:cNvSpPr>
          <p:nvPr>
            <p:ph type="title"/>
          </p:nvPr>
        </p:nvSpPr>
        <p:spPr bwMode="auto">
          <a:xfrm>
            <a:off x="563563" y="287338"/>
            <a:ext cx="11503025"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5992" tIns="57996" rIns="115992" bIns="57996" numCol="1" anchor="t" anchorCtr="0" compatLnSpc="1">
            <a:prstTxWarp prst="textNoShape">
              <a:avLst/>
            </a:prstTxWarp>
          </a:bodyPr>
          <a:lstStyle/>
          <a:p>
            <a:pPr lvl="0"/>
            <a:r>
              <a:rPr lang="en-US" altLang="zh-CN" smtClean="0"/>
              <a:t>Click to edit Master title style</a:t>
            </a:r>
          </a:p>
        </p:txBody>
      </p:sp>
      <p:sp>
        <p:nvSpPr>
          <p:cNvPr id="18" name="Footer Placeholder 17"/>
          <p:cNvSpPr>
            <a:spLocks noGrp="1"/>
          </p:cNvSpPr>
          <p:nvPr>
            <p:ph type="ftr" sz="quarter" idx="3"/>
          </p:nvPr>
        </p:nvSpPr>
        <p:spPr bwMode="auto">
          <a:xfrm>
            <a:off x="4435475" y="7050088"/>
            <a:ext cx="4113213" cy="192087"/>
          </a:xfrm>
          <a:prstGeom prst="rect">
            <a:avLst/>
          </a:prstGeom>
          <a:noFill/>
          <a:ln w="9525">
            <a:noFill/>
            <a:miter lim="800000"/>
            <a:headEnd/>
            <a:tailEnd/>
          </a:ln>
        </p:spPr>
        <p:txBody>
          <a:bodyPr vert="horz" wrap="square" lIns="115992" tIns="57996" rIns="115992" bIns="57996" numCol="1" anchor="t" anchorCtr="0" compatLnSpc="1">
            <a:prstTxWarp prst="textNoShape">
              <a:avLst/>
            </a:prstTxWarp>
          </a:bodyPr>
          <a:lstStyle>
            <a:lvl1pPr algn="ctr">
              <a:defRPr sz="1100" b="0">
                <a:solidFill>
                  <a:schemeClr val="bg2"/>
                </a:solidFill>
                <a:latin typeface="Arial" charset="0"/>
                <a:ea typeface="宋体" pitchFamily="1" charset="-122"/>
                <a:cs typeface="+mn-cs"/>
              </a:defRPr>
            </a:lvl1pPr>
          </a:lstStyle>
          <a:p>
            <a:pPr>
              <a:defRPr/>
            </a:pPr>
            <a:r>
              <a:rPr lang="en-US" altLang="zh-CN" dirty="0" smtClean="0"/>
              <a:t>Confidential | Copyright 2014 Trend Micro Inc.</a:t>
            </a:r>
            <a:endParaRPr lang="en-US" altLang="zh-CN" dirty="0"/>
          </a:p>
        </p:txBody>
      </p:sp>
      <p:pic>
        <p:nvPicPr>
          <p:cNvPr id="7" name="Picture 10" descr="Logo"/>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41890" y="6663995"/>
            <a:ext cx="1201738" cy="473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p:cNvPicPr>
            <a:picLocks noChangeAspect="1"/>
          </p:cNvPicPr>
          <p:nvPr userDrawn="1"/>
        </p:nvPicPr>
        <p:blipFill>
          <a:blip r:embed="rId14" cstate="print">
            <a:extLst>
              <a:ext uri="{28A0092B-C50C-407E-A947-70E740481C1C}">
                <a14:useLocalDpi xmlns:a14="http://schemas.microsoft.com/office/drawing/2010/main"/>
              </a:ext>
            </a:extLst>
          </a:blip>
          <a:stretch>
            <a:fillRect/>
          </a:stretch>
        </p:blipFill>
        <p:spPr>
          <a:xfrm>
            <a:off x="12010594" y="6575306"/>
            <a:ext cx="649045" cy="651205"/>
          </a:xfrm>
          <a:prstGeom prst="rect">
            <a:avLst/>
          </a:prstGeom>
        </p:spPr>
      </p:pic>
    </p:spTree>
  </p:cSld>
  <p:clrMap bg1="lt1" tx1="dk1" bg2="lt2" tx2="dk2" accent1="accent1" accent2="accent2" accent3="accent3" accent4="accent4" accent5="accent5" accent6="accent6" hlink="hlink" folHlink="folHlink"/>
  <p:sldLayoutIdLst>
    <p:sldLayoutId id="2147483991" r:id="rId1"/>
    <p:sldLayoutId id="2147483992" r:id="rId2"/>
    <p:sldLayoutId id="2147483994" r:id="rId3"/>
    <p:sldLayoutId id="2147483993" r:id="rId4"/>
    <p:sldLayoutId id="2147483995" r:id="rId5"/>
    <p:sldLayoutId id="2147483996" r:id="rId6"/>
    <p:sldLayoutId id="2147483997" r:id="rId7"/>
    <p:sldLayoutId id="2147483998" r:id="rId8"/>
    <p:sldLayoutId id="2147483999" r:id="rId9"/>
    <p:sldLayoutId id="2147484000" r:id="rId10"/>
    <p:sldLayoutId id="2147484001" r:id="rId11"/>
  </p:sldLayoutIdLst>
  <p:timing>
    <p:tnLst>
      <p:par>
        <p:cTn id="1" dur="indefinite" restart="never" nodeType="tmRoot"/>
      </p:par>
    </p:tnLst>
  </p:timing>
  <p:hf hdr="0"/>
  <p:txStyles>
    <p:titleStyle>
      <a:lvl1pPr algn="l" defTabSz="1160463" rtl="0" eaLnBrk="1" fontAlgn="base" hangingPunct="1">
        <a:lnSpc>
          <a:spcPct val="90000"/>
        </a:lnSpc>
        <a:spcBef>
          <a:spcPct val="0"/>
        </a:spcBef>
        <a:spcAft>
          <a:spcPct val="0"/>
        </a:spcAft>
        <a:defRPr kumimoji="1" sz="4100">
          <a:solidFill>
            <a:schemeClr val="tx2"/>
          </a:solidFill>
          <a:latin typeface="+mj-lt"/>
          <a:ea typeface="宋体" charset="0"/>
          <a:cs typeface="+mj-cs"/>
        </a:defRPr>
      </a:lvl1pPr>
      <a:lvl2pPr algn="l" defTabSz="1160463" rtl="0" eaLnBrk="1" fontAlgn="base" hangingPunct="1">
        <a:lnSpc>
          <a:spcPct val="90000"/>
        </a:lnSpc>
        <a:spcBef>
          <a:spcPct val="0"/>
        </a:spcBef>
        <a:spcAft>
          <a:spcPct val="0"/>
        </a:spcAft>
        <a:defRPr kumimoji="1" sz="4100">
          <a:solidFill>
            <a:schemeClr val="tx2"/>
          </a:solidFill>
          <a:latin typeface="Arial" charset="0"/>
          <a:ea typeface="宋体" charset="0"/>
          <a:cs typeface="Arial" charset="0"/>
        </a:defRPr>
      </a:lvl2pPr>
      <a:lvl3pPr algn="l" defTabSz="1160463" rtl="0" eaLnBrk="1" fontAlgn="base" hangingPunct="1">
        <a:lnSpc>
          <a:spcPct val="90000"/>
        </a:lnSpc>
        <a:spcBef>
          <a:spcPct val="0"/>
        </a:spcBef>
        <a:spcAft>
          <a:spcPct val="0"/>
        </a:spcAft>
        <a:defRPr kumimoji="1" sz="4100">
          <a:solidFill>
            <a:schemeClr val="tx2"/>
          </a:solidFill>
          <a:latin typeface="Arial" charset="0"/>
          <a:ea typeface="宋体" charset="0"/>
          <a:cs typeface="Arial" charset="0"/>
        </a:defRPr>
      </a:lvl3pPr>
      <a:lvl4pPr algn="l" defTabSz="1160463" rtl="0" eaLnBrk="1" fontAlgn="base" hangingPunct="1">
        <a:lnSpc>
          <a:spcPct val="90000"/>
        </a:lnSpc>
        <a:spcBef>
          <a:spcPct val="0"/>
        </a:spcBef>
        <a:spcAft>
          <a:spcPct val="0"/>
        </a:spcAft>
        <a:defRPr kumimoji="1" sz="4100">
          <a:solidFill>
            <a:schemeClr val="tx2"/>
          </a:solidFill>
          <a:latin typeface="Arial" charset="0"/>
          <a:ea typeface="宋体" charset="0"/>
          <a:cs typeface="Arial" charset="0"/>
        </a:defRPr>
      </a:lvl4pPr>
      <a:lvl5pPr algn="l" defTabSz="1160463" rtl="0" eaLnBrk="1" fontAlgn="base" hangingPunct="1">
        <a:lnSpc>
          <a:spcPct val="90000"/>
        </a:lnSpc>
        <a:spcBef>
          <a:spcPct val="0"/>
        </a:spcBef>
        <a:spcAft>
          <a:spcPct val="0"/>
        </a:spcAft>
        <a:defRPr kumimoji="1" sz="4100">
          <a:solidFill>
            <a:schemeClr val="tx2"/>
          </a:solidFill>
          <a:latin typeface="Arial" charset="0"/>
          <a:ea typeface="宋体" charset="0"/>
          <a:cs typeface="Arial" charset="0"/>
        </a:defRPr>
      </a:lvl5pPr>
      <a:lvl6pPr marL="457200" algn="l" rtl="0" eaLnBrk="1" fontAlgn="base" hangingPunct="1">
        <a:lnSpc>
          <a:spcPct val="90000"/>
        </a:lnSpc>
        <a:spcBef>
          <a:spcPct val="0"/>
        </a:spcBef>
        <a:spcAft>
          <a:spcPct val="0"/>
        </a:spcAft>
        <a:defRPr sz="2800" b="1">
          <a:solidFill>
            <a:schemeClr val="tx2"/>
          </a:solidFill>
          <a:latin typeface="Arial" charset="0"/>
          <a:cs typeface="Arial" charset="0"/>
        </a:defRPr>
      </a:lvl6pPr>
      <a:lvl7pPr marL="914400" algn="l" rtl="0" eaLnBrk="1" fontAlgn="base" hangingPunct="1">
        <a:lnSpc>
          <a:spcPct val="90000"/>
        </a:lnSpc>
        <a:spcBef>
          <a:spcPct val="0"/>
        </a:spcBef>
        <a:spcAft>
          <a:spcPct val="0"/>
        </a:spcAft>
        <a:defRPr sz="2800" b="1">
          <a:solidFill>
            <a:schemeClr val="tx2"/>
          </a:solidFill>
          <a:latin typeface="Arial" charset="0"/>
          <a:cs typeface="Arial" charset="0"/>
        </a:defRPr>
      </a:lvl7pPr>
      <a:lvl8pPr marL="1371600" algn="l" rtl="0" eaLnBrk="1" fontAlgn="base" hangingPunct="1">
        <a:lnSpc>
          <a:spcPct val="90000"/>
        </a:lnSpc>
        <a:spcBef>
          <a:spcPct val="0"/>
        </a:spcBef>
        <a:spcAft>
          <a:spcPct val="0"/>
        </a:spcAft>
        <a:defRPr sz="2800" b="1">
          <a:solidFill>
            <a:schemeClr val="tx2"/>
          </a:solidFill>
          <a:latin typeface="Arial" charset="0"/>
          <a:cs typeface="Arial" charset="0"/>
        </a:defRPr>
      </a:lvl8pPr>
      <a:lvl9pPr marL="1828800" algn="l" rtl="0" eaLnBrk="1" fontAlgn="base" hangingPunct="1">
        <a:lnSpc>
          <a:spcPct val="90000"/>
        </a:lnSpc>
        <a:spcBef>
          <a:spcPct val="0"/>
        </a:spcBef>
        <a:spcAft>
          <a:spcPct val="0"/>
        </a:spcAft>
        <a:defRPr sz="2800" b="1">
          <a:solidFill>
            <a:schemeClr val="tx2"/>
          </a:solidFill>
          <a:latin typeface="Arial" charset="0"/>
          <a:cs typeface="Arial" charset="0"/>
        </a:defRPr>
      </a:lvl9pPr>
    </p:titleStyle>
    <p:bodyStyle>
      <a:lvl1pPr marL="293688" indent="-293688" algn="l" defTabSz="1160463" rtl="0" eaLnBrk="1" fontAlgn="base" hangingPunct="1">
        <a:lnSpc>
          <a:spcPct val="90000"/>
        </a:lnSpc>
        <a:spcBef>
          <a:spcPct val="50000"/>
        </a:spcBef>
        <a:spcAft>
          <a:spcPct val="0"/>
        </a:spcAft>
        <a:buClr>
          <a:schemeClr val="tx2"/>
        </a:buClr>
        <a:buChar char="•"/>
        <a:defRPr kumimoji="1" sz="3000">
          <a:solidFill>
            <a:srgbClr val="000000"/>
          </a:solidFill>
          <a:latin typeface="+mn-lt"/>
          <a:ea typeface="宋体" charset="0"/>
          <a:cs typeface="+mn-cs"/>
        </a:defRPr>
      </a:lvl1pPr>
      <a:lvl2pPr marL="728663" indent="-288925" algn="l" defTabSz="1160463" rtl="0" eaLnBrk="1" fontAlgn="base" hangingPunct="1">
        <a:lnSpc>
          <a:spcPct val="90000"/>
        </a:lnSpc>
        <a:spcBef>
          <a:spcPct val="25000"/>
        </a:spcBef>
        <a:spcAft>
          <a:spcPct val="0"/>
        </a:spcAft>
        <a:buClr>
          <a:schemeClr val="tx2"/>
        </a:buClr>
        <a:buChar char="–"/>
        <a:defRPr kumimoji="1" sz="2500">
          <a:solidFill>
            <a:srgbClr val="000000"/>
          </a:solidFill>
          <a:latin typeface="+mn-lt"/>
          <a:ea typeface="Arial" charset="0"/>
          <a:cs typeface="+mn-cs"/>
        </a:defRPr>
      </a:lvl2pPr>
      <a:lvl3pPr marL="1092200" indent="-217488" algn="l" defTabSz="1160463" rtl="0" eaLnBrk="1" fontAlgn="base" hangingPunct="1">
        <a:lnSpc>
          <a:spcPct val="90000"/>
        </a:lnSpc>
        <a:spcBef>
          <a:spcPct val="25000"/>
        </a:spcBef>
        <a:spcAft>
          <a:spcPct val="0"/>
        </a:spcAft>
        <a:buClr>
          <a:schemeClr val="tx2"/>
        </a:buClr>
        <a:buChar char="•"/>
        <a:defRPr kumimoji="1" sz="2300">
          <a:solidFill>
            <a:srgbClr val="000000"/>
          </a:solidFill>
          <a:latin typeface="+mn-lt"/>
          <a:ea typeface="Arial" charset="0"/>
          <a:cs typeface="+mn-cs"/>
        </a:defRPr>
      </a:lvl3pPr>
      <a:lvl4pPr marL="1454150" indent="-217488" algn="l" defTabSz="1160463" rtl="0" eaLnBrk="1" fontAlgn="base" hangingPunct="1">
        <a:lnSpc>
          <a:spcPct val="90000"/>
        </a:lnSpc>
        <a:spcBef>
          <a:spcPct val="25000"/>
        </a:spcBef>
        <a:spcAft>
          <a:spcPct val="0"/>
        </a:spcAft>
        <a:buClr>
          <a:schemeClr val="tx2"/>
        </a:buClr>
        <a:buChar char="–"/>
        <a:defRPr kumimoji="1" sz="2000">
          <a:solidFill>
            <a:srgbClr val="000000"/>
          </a:solidFill>
          <a:latin typeface="+mn-lt"/>
          <a:ea typeface="Arial" charset="0"/>
          <a:cs typeface="+mn-cs"/>
        </a:defRPr>
      </a:lvl4pPr>
      <a:lvl5pPr marL="1816100" indent="-217488" algn="l" defTabSz="1160463" rtl="0" eaLnBrk="1" fontAlgn="base" hangingPunct="1">
        <a:lnSpc>
          <a:spcPct val="90000"/>
        </a:lnSpc>
        <a:spcBef>
          <a:spcPct val="25000"/>
        </a:spcBef>
        <a:spcAft>
          <a:spcPct val="0"/>
        </a:spcAft>
        <a:buClr>
          <a:schemeClr val="tx2"/>
        </a:buClr>
        <a:buChar char="»"/>
        <a:defRPr kumimoji="1" sz="2000">
          <a:solidFill>
            <a:srgbClr val="000000"/>
          </a:solidFill>
          <a:latin typeface="+mn-lt"/>
          <a:ea typeface="Arial" charset="0"/>
          <a:cs typeface="+mn-cs"/>
        </a:defRPr>
      </a:lvl5pPr>
      <a:lvl6pPr marL="1889125" indent="-171450" algn="l" rtl="0" eaLnBrk="1" fontAlgn="base" hangingPunct="1">
        <a:lnSpc>
          <a:spcPct val="90000"/>
        </a:lnSpc>
        <a:spcBef>
          <a:spcPct val="25000"/>
        </a:spcBef>
        <a:spcAft>
          <a:spcPct val="0"/>
        </a:spcAft>
        <a:buClr>
          <a:schemeClr val="tx2"/>
        </a:buClr>
        <a:buChar char="»"/>
        <a:defRPr sz="1600">
          <a:solidFill>
            <a:schemeClr val="tx1"/>
          </a:solidFill>
          <a:latin typeface="+mn-lt"/>
          <a:cs typeface="+mn-cs"/>
        </a:defRPr>
      </a:lvl6pPr>
      <a:lvl7pPr marL="2346325" indent="-171450" algn="l" rtl="0" eaLnBrk="1" fontAlgn="base" hangingPunct="1">
        <a:lnSpc>
          <a:spcPct val="90000"/>
        </a:lnSpc>
        <a:spcBef>
          <a:spcPct val="25000"/>
        </a:spcBef>
        <a:spcAft>
          <a:spcPct val="0"/>
        </a:spcAft>
        <a:buClr>
          <a:schemeClr val="tx2"/>
        </a:buClr>
        <a:buChar char="»"/>
        <a:defRPr sz="1600">
          <a:solidFill>
            <a:schemeClr val="tx1"/>
          </a:solidFill>
          <a:latin typeface="+mn-lt"/>
          <a:cs typeface="+mn-cs"/>
        </a:defRPr>
      </a:lvl7pPr>
      <a:lvl8pPr marL="2803525" indent="-171450" algn="l" rtl="0" eaLnBrk="1" fontAlgn="base" hangingPunct="1">
        <a:lnSpc>
          <a:spcPct val="90000"/>
        </a:lnSpc>
        <a:spcBef>
          <a:spcPct val="25000"/>
        </a:spcBef>
        <a:spcAft>
          <a:spcPct val="0"/>
        </a:spcAft>
        <a:buClr>
          <a:schemeClr val="tx2"/>
        </a:buClr>
        <a:buChar char="»"/>
        <a:defRPr sz="1600">
          <a:solidFill>
            <a:schemeClr val="tx1"/>
          </a:solidFill>
          <a:latin typeface="+mn-lt"/>
          <a:cs typeface="+mn-cs"/>
        </a:defRPr>
      </a:lvl8pPr>
      <a:lvl9pPr marL="3260725" indent="-171450" algn="l" rtl="0" eaLnBrk="1" fontAlgn="base" hangingPunct="1">
        <a:lnSpc>
          <a:spcPct val="90000"/>
        </a:lnSpc>
        <a:spcBef>
          <a:spcPct val="25000"/>
        </a:spcBef>
        <a:spcAft>
          <a:spcPct val="0"/>
        </a:spcAft>
        <a:buClr>
          <a:schemeClr val="tx2"/>
        </a:buClr>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Layout" Target="../slideLayouts/slideLayout8.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1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slideLayout" Target="../slideLayouts/slideLayout8.xml"/><Relationship Id="rId18" Type="http://schemas.openxmlformats.org/officeDocument/2006/relationships/image" Target="../media/image30.png"/><Relationship Id="rId26" Type="http://schemas.openxmlformats.org/officeDocument/2006/relationships/image" Target="../media/image38.png"/><Relationship Id="rId3" Type="http://schemas.openxmlformats.org/officeDocument/2006/relationships/tags" Target="../tags/tag4.xml"/><Relationship Id="rId21" Type="http://schemas.openxmlformats.org/officeDocument/2006/relationships/image" Target="../media/image33.png"/><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image" Target="../media/image29.png"/><Relationship Id="rId25" Type="http://schemas.openxmlformats.org/officeDocument/2006/relationships/image" Target="../media/image37.png"/><Relationship Id="rId2" Type="http://schemas.openxmlformats.org/officeDocument/2006/relationships/tags" Target="../tags/tag3.xml"/><Relationship Id="rId16" Type="http://schemas.openxmlformats.org/officeDocument/2006/relationships/image" Target="../media/image28.png"/><Relationship Id="rId20" Type="http://schemas.openxmlformats.org/officeDocument/2006/relationships/image" Target="../media/image32.png"/><Relationship Id="rId29" Type="http://schemas.openxmlformats.org/officeDocument/2006/relationships/image" Target="../media/image41.png"/><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image" Target="../media/image36.png"/><Relationship Id="rId5" Type="http://schemas.openxmlformats.org/officeDocument/2006/relationships/tags" Target="../tags/tag6.xml"/><Relationship Id="rId15" Type="http://schemas.openxmlformats.org/officeDocument/2006/relationships/image" Target="../media/image27.png"/><Relationship Id="rId23" Type="http://schemas.openxmlformats.org/officeDocument/2006/relationships/image" Target="../media/image35.png"/><Relationship Id="rId28" Type="http://schemas.openxmlformats.org/officeDocument/2006/relationships/image" Target="../media/image40.jpeg"/><Relationship Id="rId10" Type="http://schemas.openxmlformats.org/officeDocument/2006/relationships/tags" Target="../tags/tag11.xml"/><Relationship Id="rId19" Type="http://schemas.openxmlformats.org/officeDocument/2006/relationships/image" Target="../media/image31.png"/><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image" Target="../media/image26.png"/><Relationship Id="rId22" Type="http://schemas.openxmlformats.org/officeDocument/2006/relationships/image" Target="../media/image34.png"/><Relationship Id="rId27" Type="http://schemas.openxmlformats.org/officeDocument/2006/relationships/image" Target="../media/image39.gif"/></Relationships>
</file>

<file path=ppt/slides/_rels/slide1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6.xml"/><Relationship Id="rId1" Type="http://schemas.openxmlformats.org/officeDocument/2006/relationships/slideLayout" Target="../slideLayouts/slideLayout9.xml"/><Relationship Id="rId4" Type="http://schemas.openxmlformats.org/officeDocument/2006/relationships/image" Target="../media/image43.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image" Target="../media/image45.png"/><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image" Target="../media/image44.png"/><Relationship Id="rId17" Type="http://schemas.openxmlformats.org/officeDocument/2006/relationships/image" Target="../media/image48.png"/><Relationship Id="rId2" Type="http://schemas.openxmlformats.org/officeDocument/2006/relationships/tags" Target="../tags/tag15.xml"/><Relationship Id="rId16" Type="http://schemas.microsoft.com/office/2007/relationships/hdphoto" Target="../media/hdphoto1.wdp"/><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notesSlide" Target="../notesSlides/notesSlide9.xml"/><Relationship Id="rId5" Type="http://schemas.openxmlformats.org/officeDocument/2006/relationships/tags" Target="../tags/tag18.xml"/><Relationship Id="rId15" Type="http://schemas.openxmlformats.org/officeDocument/2006/relationships/image" Target="../media/image47.png"/><Relationship Id="rId10" Type="http://schemas.openxmlformats.org/officeDocument/2006/relationships/slideLayout" Target="../slideLayouts/slideLayout8.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image" Target="../media/image46.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1.xml"/><Relationship Id="rId1" Type="http://schemas.openxmlformats.org/officeDocument/2006/relationships/slideLayout" Target="../slideLayouts/slideLayout10.xml"/><Relationship Id="rId5" Type="http://schemas.openxmlformats.org/officeDocument/2006/relationships/image" Target="../media/image51.png"/><Relationship Id="rId4" Type="http://schemas.openxmlformats.org/officeDocument/2006/relationships/image" Target="../media/image50.png"/></Relationships>
</file>

<file path=ppt/slides/_rels/slide19.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tags" Target="../tags/tag23.xml"/><Relationship Id="rId4"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8" Type="http://schemas.openxmlformats.org/officeDocument/2006/relationships/image" Target="../media/image58.jpeg"/><Relationship Id="rId13" Type="http://schemas.openxmlformats.org/officeDocument/2006/relationships/image" Target="../media/image63.jpeg"/><Relationship Id="rId3" Type="http://schemas.openxmlformats.org/officeDocument/2006/relationships/image" Target="../media/image53.png"/><Relationship Id="rId7" Type="http://schemas.openxmlformats.org/officeDocument/2006/relationships/image" Target="../media/image57.png"/><Relationship Id="rId12" Type="http://schemas.openxmlformats.org/officeDocument/2006/relationships/image" Target="../media/image62.png"/><Relationship Id="rId2" Type="http://schemas.openxmlformats.org/officeDocument/2006/relationships/image" Target="../media/image52.png"/><Relationship Id="rId1" Type="http://schemas.openxmlformats.org/officeDocument/2006/relationships/slideLayout" Target="../slideLayouts/slideLayout11.xml"/><Relationship Id="rId6" Type="http://schemas.openxmlformats.org/officeDocument/2006/relationships/image" Target="../media/image56.png"/><Relationship Id="rId11" Type="http://schemas.openxmlformats.org/officeDocument/2006/relationships/image" Target="../media/image61.png"/><Relationship Id="rId5" Type="http://schemas.openxmlformats.org/officeDocument/2006/relationships/image" Target="../media/image55.png"/><Relationship Id="rId10" Type="http://schemas.openxmlformats.org/officeDocument/2006/relationships/image" Target="../media/image60.png"/><Relationship Id="rId4" Type="http://schemas.openxmlformats.org/officeDocument/2006/relationships/image" Target="../media/image54.jpeg"/><Relationship Id="rId9" Type="http://schemas.openxmlformats.org/officeDocument/2006/relationships/image" Target="../media/image59.jpeg"/><Relationship Id="rId14" Type="http://schemas.openxmlformats.org/officeDocument/2006/relationships/image" Target="../media/image64.png"/></Relationships>
</file>

<file path=ppt/slides/_rels/slide26.xml.rels><?xml version="1.0" encoding="UTF-8" standalone="yes"?>
<Relationships xmlns="http://schemas.openxmlformats.org/package/2006/relationships"><Relationship Id="rId8" Type="http://schemas.openxmlformats.org/officeDocument/2006/relationships/tags" Target="../tags/tag33.xml"/><Relationship Id="rId3" Type="http://schemas.openxmlformats.org/officeDocument/2006/relationships/tags" Target="../tags/tag28.xml"/><Relationship Id="rId7" Type="http://schemas.openxmlformats.org/officeDocument/2006/relationships/tags" Target="../tags/tag32.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5" Type="http://schemas.openxmlformats.org/officeDocument/2006/relationships/tags" Target="../tags/tag30.xml"/><Relationship Id="rId4" Type="http://schemas.openxmlformats.org/officeDocument/2006/relationships/tags" Target="../tags/tag29.xml"/><Relationship Id="rId9"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image" Target="../media/image66.jpeg"/></Relationships>
</file>

<file path=ppt/slides/_rels/slide28.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67.png"/><Relationship Id="rId1" Type="http://schemas.openxmlformats.org/officeDocument/2006/relationships/slideLayout" Target="../slideLayouts/slideLayout5.xml"/><Relationship Id="rId4" Type="http://schemas.openxmlformats.org/officeDocument/2006/relationships/image" Target="../media/image68.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8.xml"/><Relationship Id="rId7" Type="http://schemas.openxmlformats.org/officeDocument/2006/relationships/image" Target="../media/image17.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image" Target="../media/image18.jpeg"/><Relationship Id="rId4" Type="http://schemas.openxmlformats.org/officeDocument/2006/relationships/notesSlide" Target="../notesSlides/notesSlide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924" y="0"/>
            <a:ext cx="12980316" cy="7315200"/>
          </a:xfrm>
          <a:prstGeom prst="rect">
            <a:avLst/>
          </a:prstGeom>
        </p:spPr>
      </p:pic>
      <p:sp>
        <p:nvSpPr>
          <p:cNvPr id="3" name="Title 2"/>
          <p:cNvSpPr>
            <a:spLocks noGrp="1"/>
          </p:cNvSpPr>
          <p:nvPr>
            <p:ph type="ctrTitle"/>
          </p:nvPr>
        </p:nvSpPr>
        <p:spPr>
          <a:xfrm>
            <a:off x="1072892" y="1199727"/>
            <a:ext cx="8621416" cy="1715888"/>
          </a:xfrm>
        </p:spPr>
        <p:txBody>
          <a:bodyPr/>
          <a:lstStyle/>
          <a:p>
            <a:r>
              <a:rPr lang="zh-CN" altLang="en-US" sz="7700" dirty="0">
                <a:solidFill>
                  <a:srgbClr val="008DCC"/>
                </a:solidFill>
                <a:latin typeface="微软雅黑" pitchFamily="34" charset="-122"/>
                <a:ea typeface="微软雅黑" pitchFamily="34" charset="-122"/>
              </a:rPr>
              <a:t>像黑客一样去思考</a:t>
            </a:r>
            <a:endParaRPr lang="en-US" sz="7700" dirty="0">
              <a:solidFill>
                <a:srgbClr val="008DCC"/>
              </a:solidFill>
              <a:latin typeface="微软雅黑" pitchFamily="34" charset="-122"/>
              <a:ea typeface="微软雅黑" pitchFamily="34" charset="-122"/>
            </a:endParaRPr>
          </a:p>
        </p:txBody>
      </p:sp>
      <p:sp>
        <p:nvSpPr>
          <p:cNvPr id="7" name="Subtitle 5"/>
          <p:cNvSpPr>
            <a:spLocks noGrp="1"/>
          </p:cNvSpPr>
          <p:nvPr>
            <p:ph type="subTitle" idx="1"/>
          </p:nvPr>
        </p:nvSpPr>
        <p:spPr>
          <a:xfrm>
            <a:off x="1347653" y="3452391"/>
            <a:ext cx="8416918" cy="1300480"/>
          </a:xfrm>
        </p:spPr>
        <p:txBody>
          <a:bodyPr/>
          <a:lstStyle/>
          <a:p>
            <a:r>
              <a:rPr lang="zh-CN" altLang="en-US" b="1" dirty="0" smtClean="0">
                <a:solidFill>
                  <a:srgbClr val="0091D2"/>
                </a:solidFill>
                <a:latin typeface="微软雅黑" pitchFamily="34" charset="-122"/>
                <a:ea typeface="微软雅黑" pitchFamily="34" charset="-122"/>
              </a:rPr>
              <a:t>姚翔</a:t>
            </a:r>
            <a:endParaRPr lang="en-US" altLang="zh-CN" b="1" dirty="0" smtClean="0">
              <a:solidFill>
                <a:srgbClr val="0091D2"/>
              </a:solidFill>
              <a:latin typeface="微软雅黑" pitchFamily="34" charset="-122"/>
              <a:ea typeface="微软雅黑" pitchFamily="34" charset="-122"/>
            </a:endParaRPr>
          </a:p>
          <a:p>
            <a:r>
              <a:rPr lang="zh-CN" altLang="en-US" b="1" dirty="0" smtClean="0">
                <a:solidFill>
                  <a:srgbClr val="0091D2"/>
                </a:solidFill>
                <a:latin typeface="微软雅黑" pitchFamily="34" charset="-122"/>
                <a:ea typeface="微软雅黑" pitchFamily="34" charset="-122"/>
              </a:rPr>
              <a:t>亚洲区总经理</a:t>
            </a:r>
            <a:endParaRPr lang="en-US" altLang="zh-CN" b="1" dirty="0">
              <a:solidFill>
                <a:srgbClr val="0091D2"/>
              </a:solidFill>
              <a:latin typeface="微软雅黑" pitchFamily="34" charset="-122"/>
              <a:ea typeface="微软雅黑" pitchFamily="34" charset="-122"/>
            </a:endParaRPr>
          </a:p>
          <a:p>
            <a:r>
              <a:rPr lang="zh-CN" altLang="en-US" b="1" dirty="0" smtClean="0">
                <a:solidFill>
                  <a:srgbClr val="0091D2"/>
                </a:solidFill>
                <a:latin typeface="微软雅黑" pitchFamily="34" charset="-122"/>
                <a:ea typeface="微软雅黑" pitchFamily="34" charset="-122"/>
              </a:rPr>
              <a:t>企业安全</a:t>
            </a:r>
            <a:endParaRPr lang="en-US" altLang="zh-CN" b="1" dirty="0" smtClean="0">
              <a:solidFill>
                <a:srgbClr val="0091D2"/>
              </a:solidFill>
              <a:latin typeface="微软雅黑" pitchFamily="34" charset="-122"/>
              <a:ea typeface="微软雅黑" pitchFamily="34" charset="-122"/>
            </a:endParaRPr>
          </a:p>
          <a:p>
            <a:r>
              <a:rPr lang="zh-CN" altLang="en-US" b="1" dirty="0" smtClean="0">
                <a:solidFill>
                  <a:srgbClr val="0091D2"/>
                </a:solidFill>
                <a:latin typeface="微软雅黑" pitchFamily="34" charset="-122"/>
                <a:ea typeface="微软雅黑" pitchFamily="34" charset="-122"/>
              </a:rPr>
              <a:t>惠普公司</a:t>
            </a:r>
            <a:endParaRPr lang="en-US" altLang="zh-CN" b="1" dirty="0" smtClean="0">
              <a:solidFill>
                <a:srgbClr val="0091D2"/>
              </a:solidFill>
              <a:latin typeface="微软雅黑" pitchFamily="34" charset="-122"/>
              <a:ea typeface="微软雅黑" pitchFamily="34" charset="-122"/>
            </a:endParaRPr>
          </a:p>
        </p:txBody>
      </p:sp>
    </p:spTree>
    <p:extLst>
      <p:ext uri="{BB962C8B-B14F-4D97-AF65-F5344CB8AC3E}">
        <p14:creationId xmlns:p14="http://schemas.microsoft.com/office/powerpoint/2010/main" val="2714581485"/>
      </p:ext>
    </p:extLst>
  </p:cSld>
  <p:clrMapOvr>
    <a:masterClrMapping/>
  </p:clrMapOvr>
  <p:transition spd="slow">
    <p:randomBar dir="vert"/>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7" name="Freeform 575"/>
          <p:cNvSpPr>
            <a:spLocks noEditPoints="1"/>
          </p:cNvSpPr>
          <p:nvPr/>
        </p:nvSpPr>
        <p:spPr bwMode="auto">
          <a:xfrm>
            <a:off x="5707947" y="1382790"/>
            <a:ext cx="2573849" cy="5204176"/>
          </a:xfrm>
          <a:custGeom>
            <a:avLst/>
            <a:gdLst>
              <a:gd name="T0" fmla="*/ 156 w 180"/>
              <a:gd name="T1" fmla="*/ 0 h 364"/>
              <a:gd name="T2" fmla="*/ 0 w 180"/>
              <a:gd name="T3" fmla="*/ 0 h 364"/>
              <a:gd name="T4" fmla="*/ 0 w 180"/>
              <a:gd name="T5" fmla="*/ 340 h 364"/>
              <a:gd name="T6" fmla="*/ 24 w 180"/>
              <a:gd name="T7" fmla="*/ 364 h 364"/>
              <a:gd name="T8" fmla="*/ 180 w 180"/>
              <a:gd name="T9" fmla="*/ 364 h 364"/>
              <a:gd name="T10" fmla="*/ 180 w 180"/>
              <a:gd name="T11" fmla="*/ 24 h 364"/>
              <a:gd name="T12" fmla="*/ 156 w 180"/>
              <a:gd name="T13" fmla="*/ 0 h 364"/>
              <a:gd name="T14" fmla="*/ 76 w 180"/>
              <a:gd name="T15" fmla="*/ 292 h 364"/>
              <a:gd name="T16" fmla="*/ 28 w 180"/>
              <a:gd name="T17" fmla="*/ 292 h 364"/>
              <a:gd name="T18" fmla="*/ 28 w 180"/>
              <a:gd name="T19" fmla="*/ 244 h 364"/>
              <a:gd name="T20" fmla="*/ 76 w 180"/>
              <a:gd name="T21" fmla="*/ 244 h 364"/>
              <a:gd name="T22" fmla="*/ 76 w 180"/>
              <a:gd name="T23" fmla="*/ 292 h 364"/>
              <a:gd name="T24" fmla="*/ 76 w 180"/>
              <a:gd name="T25" fmla="*/ 220 h 364"/>
              <a:gd name="T26" fmla="*/ 28 w 180"/>
              <a:gd name="T27" fmla="*/ 220 h 364"/>
              <a:gd name="T28" fmla="*/ 28 w 180"/>
              <a:gd name="T29" fmla="*/ 172 h 364"/>
              <a:gd name="T30" fmla="*/ 76 w 180"/>
              <a:gd name="T31" fmla="*/ 172 h 364"/>
              <a:gd name="T32" fmla="*/ 76 w 180"/>
              <a:gd name="T33" fmla="*/ 220 h 364"/>
              <a:gd name="T34" fmla="*/ 76 w 180"/>
              <a:gd name="T35" fmla="*/ 148 h 364"/>
              <a:gd name="T36" fmla="*/ 28 w 180"/>
              <a:gd name="T37" fmla="*/ 148 h 364"/>
              <a:gd name="T38" fmla="*/ 28 w 180"/>
              <a:gd name="T39" fmla="*/ 100 h 364"/>
              <a:gd name="T40" fmla="*/ 76 w 180"/>
              <a:gd name="T41" fmla="*/ 100 h 364"/>
              <a:gd name="T42" fmla="*/ 76 w 180"/>
              <a:gd name="T43" fmla="*/ 148 h 364"/>
              <a:gd name="T44" fmla="*/ 76 w 180"/>
              <a:gd name="T45" fmla="*/ 76 h 364"/>
              <a:gd name="T46" fmla="*/ 28 w 180"/>
              <a:gd name="T47" fmla="*/ 76 h 364"/>
              <a:gd name="T48" fmla="*/ 28 w 180"/>
              <a:gd name="T49" fmla="*/ 28 h 364"/>
              <a:gd name="T50" fmla="*/ 76 w 180"/>
              <a:gd name="T51" fmla="*/ 28 h 364"/>
              <a:gd name="T52" fmla="*/ 76 w 180"/>
              <a:gd name="T53" fmla="*/ 76 h 364"/>
              <a:gd name="T54" fmla="*/ 152 w 180"/>
              <a:gd name="T55" fmla="*/ 220 h 364"/>
              <a:gd name="T56" fmla="*/ 104 w 180"/>
              <a:gd name="T57" fmla="*/ 220 h 364"/>
              <a:gd name="T58" fmla="*/ 104 w 180"/>
              <a:gd name="T59" fmla="*/ 172 h 364"/>
              <a:gd name="T60" fmla="*/ 152 w 180"/>
              <a:gd name="T61" fmla="*/ 172 h 364"/>
              <a:gd name="T62" fmla="*/ 152 w 180"/>
              <a:gd name="T63" fmla="*/ 220 h 364"/>
              <a:gd name="T64" fmla="*/ 152 w 180"/>
              <a:gd name="T65" fmla="*/ 148 h 364"/>
              <a:gd name="T66" fmla="*/ 104 w 180"/>
              <a:gd name="T67" fmla="*/ 148 h 364"/>
              <a:gd name="T68" fmla="*/ 104 w 180"/>
              <a:gd name="T69" fmla="*/ 100 h 364"/>
              <a:gd name="T70" fmla="*/ 152 w 180"/>
              <a:gd name="T71" fmla="*/ 100 h 364"/>
              <a:gd name="T72" fmla="*/ 152 w 180"/>
              <a:gd name="T73" fmla="*/ 148 h 364"/>
              <a:gd name="T74" fmla="*/ 152 w 180"/>
              <a:gd name="T75" fmla="*/ 76 h 364"/>
              <a:gd name="T76" fmla="*/ 104 w 180"/>
              <a:gd name="T77" fmla="*/ 76 h 364"/>
              <a:gd name="T78" fmla="*/ 104 w 180"/>
              <a:gd name="T79" fmla="*/ 28 h 364"/>
              <a:gd name="T80" fmla="*/ 152 w 180"/>
              <a:gd name="T81" fmla="*/ 28 h 364"/>
              <a:gd name="T82" fmla="*/ 152 w 180"/>
              <a:gd name="T83" fmla="*/ 76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0" h="364">
                <a:moveTo>
                  <a:pt x="156" y="0"/>
                </a:moveTo>
                <a:cubicBezTo>
                  <a:pt x="0" y="0"/>
                  <a:pt x="0" y="0"/>
                  <a:pt x="0" y="0"/>
                </a:cubicBezTo>
                <a:cubicBezTo>
                  <a:pt x="0" y="340"/>
                  <a:pt x="0" y="340"/>
                  <a:pt x="0" y="340"/>
                </a:cubicBezTo>
                <a:cubicBezTo>
                  <a:pt x="0" y="353"/>
                  <a:pt x="10" y="364"/>
                  <a:pt x="24" y="364"/>
                </a:cubicBezTo>
                <a:cubicBezTo>
                  <a:pt x="180" y="364"/>
                  <a:pt x="180" y="364"/>
                  <a:pt x="180" y="364"/>
                </a:cubicBezTo>
                <a:cubicBezTo>
                  <a:pt x="180" y="24"/>
                  <a:pt x="180" y="24"/>
                  <a:pt x="180" y="24"/>
                </a:cubicBezTo>
                <a:cubicBezTo>
                  <a:pt x="180" y="11"/>
                  <a:pt x="169" y="0"/>
                  <a:pt x="156" y="0"/>
                </a:cubicBezTo>
                <a:moveTo>
                  <a:pt x="76" y="292"/>
                </a:moveTo>
                <a:cubicBezTo>
                  <a:pt x="28" y="292"/>
                  <a:pt x="28" y="292"/>
                  <a:pt x="28" y="292"/>
                </a:cubicBezTo>
                <a:cubicBezTo>
                  <a:pt x="28" y="244"/>
                  <a:pt x="28" y="244"/>
                  <a:pt x="28" y="244"/>
                </a:cubicBezTo>
                <a:cubicBezTo>
                  <a:pt x="76" y="244"/>
                  <a:pt x="76" y="244"/>
                  <a:pt x="76" y="244"/>
                </a:cubicBezTo>
                <a:lnTo>
                  <a:pt x="76" y="292"/>
                </a:lnTo>
                <a:close/>
                <a:moveTo>
                  <a:pt x="76" y="220"/>
                </a:moveTo>
                <a:cubicBezTo>
                  <a:pt x="28" y="220"/>
                  <a:pt x="28" y="220"/>
                  <a:pt x="28" y="220"/>
                </a:cubicBezTo>
                <a:cubicBezTo>
                  <a:pt x="28" y="172"/>
                  <a:pt x="28" y="172"/>
                  <a:pt x="28" y="172"/>
                </a:cubicBezTo>
                <a:cubicBezTo>
                  <a:pt x="76" y="172"/>
                  <a:pt x="76" y="172"/>
                  <a:pt x="76" y="172"/>
                </a:cubicBezTo>
                <a:lnTo>
                  <a:pt x="76" y="220"/>
                </a:lnTo>
                <a:close/>
                <a:moveTo>
                  <a:pt x="76" y="148"/>
                </a:moveTo>
                <a:cubicBezTo>
                  <a:pt x="28" y="148"/>
                  <a:pt x="28" y="148"/>
                  <a:pt x="28" y="148"/>
                </a:cubicBezTo>
                <a:cubicBezTo>
                  <a:pt x="28" y="100"/>
                  <a:pt x="28" y="100"/>
                  <a:pt x="28" y="100"/>
                </a:cubicBezTo>
                <a:cubicBezTo>
                  <a:pt x="76" y="100"/>
                  <a:pt x="76" y="100"/>
                  <a:pt x="76" y="100"/>
                </a:cubicBezTo>
                <a:lnTo>
                  <a:pt x="76" y="148"/>
                </a:lnTo>
                <a:close/>
                <a:moveTo>
                  <a:pt x="76" y="76"/>
                </a:moveTo>
                <a:cubicBezTo>
                  <a:pt x="28" y="76"/>
                  <a:pt x="28" y="76"/>
                  <a:pt x="28" y="76"/>
                </a:cubicBezTo>
                <a:cubicBezTo>
                  <a:pt x="28" y="28"/>
                  <a:pt x="28" y="28"/>
                  <a:pt x="28" y="28"/>
                </a:cubicBezTo>
                <a:cubicBezTo>
                  <a:pt x="76" y="28"/>
                  <a:pt x="76" y="28"/>
                  <a:pt x="76" y="28"/>
                </a:cubicBezTo>
                <a:lnTo>
                  <a:pt x="76" y="76"/>
                </a:lnTo>
                <a:close/>
                <a:moveTo>
                  <a:pt x="152" y="220"/>
                </a:moveTo>
                <a:cubicBezTo>
                  <a:pt x="104" y="220"/>
                  <a:pt x="104" y="220"/>
                  <a:pt x="104" y="220"/>
                </a:cubicBezTo>
                <a:cubicBezTo>
                  <a:pt x="104" y="172"/>
                  <a:pt x="104" y="172"/>
                  <a:pt x="104" y="172"/>
                </a:cubicBezTo>
                <a:cubicBezTo>
                  <a:pt x="152" y="172"/>
                  <a:pt x="152" y="172"/>
                  <a:pt x="152" y="172"/>
                </a:cubicBezTo>
                <a:lnTo>
                  <a:pt x="152" y="220"/>
                </a:lnTo>
                <a:close/>
                <a:moveTo>
                  <a:pt x="152" y="148"/>
                </a:moveTo>
                <a:cubicBezTo>
                  <a:pt x="104" y="148"/>
                  <a:pt x="104" y="148"/>
                  <a:pt x="104" y="148"/>
                </a:cubicBezTo>
                <a:cubicBezTo>
                  <a:pt x="104" y="100"/>
                  <a:pt x="104" y="100"/>
                  <a:pt x="104" y="100"/>
                </a:cubicBezTo>
                <a:cubicBezTo>
                  <a:pt x="152" y="100"/>
                  <a:pt x="152" y="100"/>
                  <a:pt x="152" y="100"/>
                </a:cubicBezTo>
                <a:lnTo>
                  <a:pt x="152" y="148"/>
                </a:lnTo>
                <a:close/>
                <a:moveTo>
                  <a:pt x="152" y="76"/>
                </a:moveTo>
                <a:cubicBezTo>
                  <a:pt x="104" y="76"/>
                  <a:pt x="104" y="76"/>
                  <a:pt x="104" y="76"/>
                </a:cubicBezTo>
                <a:cubicBezTo>
                  <a:pt x="104" y="28"/>
                  <a:pt x="104" y="28"/>
                  <a:pt x="104" y="28"/>
                </a:cubicBezTo>
                <a:cubicBezTo>
                  <a:pt x="152" y="28"/>
                  <a:pt x="152" y="28"/>
                  <a:pt x="152" y="28"/>
                </a:cubicBezTo>
                <a:lnTo>
                  <a:pt x="152" y="76"/>
                </a:lnTo>
                <a:close/>
              </a:path>
            </a:pathLst>
          </a:custGeom>
          <a:solidFill>
            <a:schemeClr val="accent4">
              <a:lumMod val="40000"/>
              <a:lumOff val="60000"/>
            </a:schemeClr>
          </a:solidFill>
          <a:ln>
            <a:noFill/>
          </a:ln>
        </p:spPr>
        <p:txBody>
          <a:bodyPr vert="horz" wrap="square" lIns="129909" tIns="64954" rIns="129909" bIns="64954" numCol="1" anchor="t" anchorCtr="0" compatLnSpc="1">
            <a:prstTxWarp prst="textNoShape">
              <a:avLst/>
            </a:prstTxWarp>
          </a:bodyPr>
          <a:lstStyle/>
          <a:p>
            <a:endParaRPr lang="en-US">
              <a:solidFill>
                <a:prstClr val="black"/>
              </a:solidFill>
              <a:latin typeface="微软雅黑" pitchFamily="34" charset="-122"/>
              <a:ea typeface="微软雅黑" pitchFamily="34" charset="-122"/>
            </a:endParaRPr>
          </a:p>
        </p:txBody>
      </p:sp>
      <p:grpSp>
        <p:nvGrpSpPr>
          <p:cNvPr id="8" name="Group 7"/>
          <p:cNvGrpSpPr/>
          <p:nvPr/>
        </p:nvGrpSpPr>
        <p:grpSpPr>
          <a:xfrm>
            <a:off x="6521830" y="2476623"/>
            <a:ext cx="1481740" cy="2674644"/>
            <a:chOff x="4592950" y="1741375"/>
            <a:chExt cx="1043504" cy="1880609"/>
          </a:xfrm>
        </p:grpSpPr>
        <p:grpSp>
          <p:nvGrpSpPr>
            <p:cNvPr id="297" name="Group 322"/>
            <p:cNvGrpSpPr/>
            <p:nvPr/>
          </p:nvGrpSpPr>
          <p:grpSpPr>
            <a:xfrm>
              <a:off x="4756914" y="2780883"/>
              <a:ext cx="738382" cy="841101"/>
              <a:chOff x="2344975" y="3326629"/>
              <a:chExt cx="809388" cy="921985"/>
            </a:xfrm>
            <a:solidFill>
              <a:srgbClr val="000000"/>
            </a:solidFill>
          </p:grpSpPr>
          <p:sp>
            <p:nvSpPr>
              <p:cNvPr id="298" name="Freeform 158"/>
              <p:cNvSpPr>
                <a:spLocks/>
              </p:cNvSpPr>
              <p:nvPr/>
            </p:nvSpPr>
            <p:spPr bwMode="auto">
              <a:xfrm>
                <a:off x="2354350" y="3326629"/>
                <a:ext cx="32813" cy="89224"/>
              </a:xfrm>
              <a:custGeom>
                <a:avLst/>
                <a:gdLst/>
                <a:ahLst/>
                <a:cxnLst>
                  <a:cxn ang="0">
                    <a:pos x="21" y="57"/>
                  </a:cxn>
                  <a:cxn ang="0">
                    <a:pos x="11" y="57"/>
                  </a:cxn>
                  <a:cxn ang="0">
                    <a:pos x="11" y="10"/>
                  </a:cxn>
                  <a:cxn ang="0">
                    <a:pos x="0" y="10"/>
                  </a:cxn>
                  <a:cxn ang="0">
                    <a:pos x="4" y="0"/>
                  </a:cxn>
                  <a:cxn ang="0">
                    <a:pos x="21" y="0"/>
                  </a:cxn>
                  <a:cxn ang="0">
                    <a:pos x="21" y="57"/>
                  </a:cxn>
                </a:cxnLst>
                <a:rect l="0" t="0" r="r" b="b"/>
                <a:pathLst>
                  <a:path w="21" h="57">
                    <a:moveTo>
                      <a:pt x="21" y="57"/>
                    </a:moveTo>
                    <a:lnTo>
                      <a:pt x="11" y="57"/>
                    </a:lnTo>
                    <a:lnTo>
                      <a:pt x="11" y="10"/>
                    </a:lnTo>
                    <a:lnTo>
                      <a:pt x="0" y="10"/>
                    </a:lnTo>
                    <a:lnTo>
                      <a:pt x="4" y="0"/>
                    </a:lnTo>
                    <a:lnTo>
                      <a:pt x="21" y="0"/>
                    </a:lnTo>
                    <a:lnTo>
                      <a:pt x="21" y="57"/>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299" name="Freeform 159"/>
              <p:cNvSpPr>
                <a:spLocks noEditPoints="1"/>
              </p:cNvSpPr>
              <p:nvPr/>
            </p:nvSpPr>
            <p:spPr bwMode="auto">
              <a:xfrm>
                <a:off x="2402789" y="3326629"/>
                <a:ext cx="60938" cy="89224"/>
              </a:xfrm>
              <a:custGeom>
                <a:avLst/>
                <a:gdLst/>
                <a:ahLst/>
                <a:cxnLst>
                  <a:cxn ang="0">
                    <a:pos x="51" y="37"/>
                  </a:cxn>
                  <a:cxn ang="0">
                    <a:pos x="44" y="65"/>
                  </a:cxn>
                  <a:cxn ang="0">
                    <a:pos x="25" y="75"/>
                  </a:cxn>
                  <a:cxn ang="0">
                    <a:pos x="7" y="65"/>
                  </a:cxn>
                  <a:cxn ang="0">
                    <a:pos x="0" y="37"/>
                  </a:cxn>
                  <a:cxn ang="0">
                    <a:pos x="7" y="10"/>
                  </a:cxn>
                  <a:cxn ang="0">
                    <a:pos x="25" y="0"/>
                  </a:cxn>
                  <a:cxn ang="0">
                    <a:pos x="44" y="10"/>
                  </a:cxn>
                  <a:cxn ang="0">
                    <a:pos x="51" y="37"/>
                  </a:cxn>
                  <a:cxn ang="0">
                    <a:pos x="37" y="37"/>
                  </a:cxn>
                  <a:cxn ang="0">
                    <a:pos x="34" y="19"/>
                  </a:cxn>
                  <a:cxn ang="0">
                    <a:pos x="25" y="12"/>
                  </a:cxn>
                  <a:cxn ang="0">
                    <a:pos x="17" y="19"/>
                  </a:cxn>
                  <a:cxn ang="0">
                    <a:pos x="13" y="37"/>
                  </a:cxn>
                  <a:cxn ang="0">
                    <a:pos x="17" y="56"/>
                  </a:cxn>
                  <a:cxn ang="0">
                    <a:pos x="25" y="63"/>
                  </a:cxn>
                  <a:cxn ang="0">
                    <a:pos x="34" y="56"/>
                  </a:cxn>
                  <a:cxn ang="0">
                    <a:pos x="37" y="37"/>
                  </a:cxn>
                </a:cxnLst>
                <a:rect l="0" t="0" r="r" b="b"/>
                <a:pathLst>
                  <a:path w="51" h="75">
                    <a:moveTo>
                      <a:pt x="51" y="37"/>
                    </a:moveTo>
                    <a:cubicBezTo>
                      <a:pt x="51" y="49"/>
                      <a:pt x="49" y="58"/>
                      <a:pt x="44" y="65"/>
                    </a:cubicBezTo>
                    <a:cubicBezTo>
                      <a:pt x="39" y="72"/>
                      <a:pt x="33" y="75"/>
                      <a:pt x="25" y="75"/>
                    </a:cubicBezTo>
                    <a:cubicBezTo>
                      <a:pt x="18" y="75"/>
                      <a:pt x="11" y="72"/>
                      <a:pt x="7" y="65"/>
                    </a:cubicBezTo>
                    <a:cubicBezTo>
                      <a:pt x="2" y="58"/>
                      <a:pt x="0" y="49"/>
                      <a:pt x="0" y="37"/>
                    </a:cubicBezTo>
                    <a:cubicBezTo>
                      <a:pt x="0" y="26"/>
                      <a:pt x="2" y="17"/>
                      <a:pt x="7" y="10"/>
                    </a:cubicBezTo>
                    <a:cubicBezTo>
                      <a:pt x="11" y="3"/>
                      <a:pt x="18" y="0"/>
                      <a:pt x="25" y="0"/>
                    </a:cubicBezTo>
                    <a:cubicBezTo>
                      <a:pt x="33" y="0"/>
                      <a:pt x="40" y="3"/>
                      <a:pt x="44" y="10"/>
                    </a:cubicBezTo>
                    <a:cubicBezTo>
                      <a:pt x="49" y="17"/>
                      <a:pt x="51" y="26"/>
                      <a:pt x="51" y="37"/>
                    </a:cubicBezTo>
                    <a:close/>
                    <a:moveTo>
                      <a:pt x="37" y="37"/>
                    </a:moveTo>
                    <a:cubicBezTo>
                      <a:pt x="37" y="30"/>
                      <a:pt x="36" y="24"/>
                      <a:pt x="34" y="19"/>
                    </a:cubicBezTo>
                    <a:cubicBezTo>
                      <a:pt x="32" y="14"/>
                      <a:pt x="29" y="12"/>
                      <a:pt x="25" y="12"/>
                    </a:cubicBezTo>
                    <a:cubicBezTo>
                      <a:pt x="22" y="12"/>
                      <a:pt x="19" y="14"/>
                      <a:pt x="17" y="19"/>
                    </a:cubicBezTo>
                    <a:cubicBezTo>
                      <a:pt x="15" y="24"/>
                      <a:pt x="13" y="30"/>
                      <a:pt x="13" y="37"/>
                    </a:cubicBezTo>
                    <a:cubicBezTo>
                      <a:pt x="13" y="45"/>
                      <a:pt x="15" y="51"/>
                      <a:pt x="17" y="56"/>
                    </a:cubicBezTo>
                    <a:cubicBezTo>
                      <a:pt x="19" y="60"/>
                      <a:pt x="22" y="63"/>
                      <a:pt x="25" y="63"/>
                    </a:cubicBezTo>
                    <a:cubicBezTo>
                      <a:pt x="29" y="63"/>
                      <a:pt x="32" y="61"/>
                      <a:pt x="34" y="56"/>
                    </a:cubicBezTo>
                    <a:cubicBezTo>
                      <a:pt x="36" y="51"/>
                      <a:pt x="37" y="45"/>
                      <a:pt x="37" y="37"/>
                    </a:cubicBez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00" name="Freeform 160"/>
              <p:cNvSpPr>
                <a:spLocks/>
              </p:cNvSpPr>
              <p:nvPr/>
            </p:nvSpPr>
            <p:spPr bwMode="auto">
              <a:xfrm>
                <a:off x="2465290" y="3326629"/>
                <a:ext cx="32813" cy="89224"/>
              </a:xfrm>
              <a:custGeom>
                <a:avLst/>
                <a:gdLst/>
                <a:ahLst/>
                <a:cxnLst>
                  <a:cxn ang="0">
                    <a:pos x="21" y="57"/>
                  </a:cxn>
                  <a:cxn ang="0">
                    <a:pos x="10" y="57"/>
                  </a:cxn>
                  <a:cxn ang="0">
                    <a:pos x="10" y="10"/>
                  </a:cxn>
                  <a:cxn ang="0">
                    <a:pos x="0" y="10"/>
                  </a:cxn>
                  <a:cxn ang="0">
                    <a:pos x="4" y="0"/>
                  </a:cxn>
                  <a:cxn ang="0">
                    <a:pos x="21" y="0"/>
                  </a:cxn>
                  <a:cxn ang="0">
                    <a:pos x="21" y="57"/>
                  </a:cxn>
                </a:cxnLst>
                <a:rect l="0" t="0" r="r" b="b"/>
                <a:pathLst>
                  <a:path w="21" h="57">
                    <a:moveTo>
                      <a:pt x="21" y="57"/>
                    </a:moveTo>
                    <a:lnTo>
                      <a:pt x="10" y="57"/>
                    </a:lnTo>
                    <a:lnTo>
                      <a:pt x="10" y="10"/>
                    </a:lnTo>
                    <a:lnTo>
                      <a:pt x="0" y="10"/>
                    </a:lnTo>
                    <a:lnTo>
                      <a:pt x="4" y="0"/>
                    </a:lnTo>
                    <a:lnTo>
                      <a:pt x="21" y="0"/>
                    </a:lnTo>
                    <a:lnTo>
                      <a:pt x="21" y="57"/>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01" name="Freeform 161"/>
              <p:cNvSpPr>
                <a:spLocks/>
              </p:cNvSpPr>
              <p:nvPr/>
            </p:nvSpPr>
            <p:spPr bwMode="auto">
              <a:xfrm>
                <a:off x="2505915" y="3326629"/>
                <a:ext cx="32813" cy="89224"/>
              </a:xfrm>
              <a:custGeom>
                <a:avLst/>
                <a:gdLst/>
                <a:ahLst/>
                <a:cxnLst>
                  <a:cxn ang="0">
                    <a:pos x="21" y="57"/>
                  </a:cxn>
                  <a:cxn ang="0">
                    <a:pos x="11" y="57"/>
                  </a:cxn>
                  <a:cxn ang="0">
                    <a:pos x="11" y="10"/>
                  </a:cxn>
                  <a:cxn ang="0">
                    <a:pos x="0" y="10"/>
                  </a:cxn>
                  <a:cxn ang="0">
                    <a:pos x="4" y="0"/>
                  </a:cxn>
                  <a:cxn ang="0">
                    <a:pos x="21" y="0"/>
                  </a:cxn>
                  <a:cxn ang="0">
                    <a:pos x="21" y="57"/>
                  </a:cxn>
                </a:cxnLst>
                <a:rect l="0" t="0" r="r" b="b"/>
                <a:pathLst>
                  <a:path w="21" h="57">
                    <a:moveTo>
                      <a:pt x="21" y="57"/>
                    </a:moveTo>
                    <a:lnTo>
                      <a:pt x="11" y="57"/>
                    </a:lnTo>
                    <a:lnTo>
                      <a:pt x="11" y="10"/>
                    </a:lnTo>
                    <a:lnTo>
                      <a:pt x="0" y="10"/>
                    </a:lnTo>
                    <a:lnTo>
                      <a:pt x="4" y="0"/>
                    </a:lnTo>
                    <a:lnTo>
                      <a:pt x="21" y="0"/>
                    </a:lnTo>
                    <a:lnTo>
                      <a:pt x="21" y="57"/>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02" name="Freeform 162"/>
              <p:cNvSpPr>
                <a:spLocks/>
              </p:cNvSpPr>
              <p:nvPr/>
            </p:nvSpPr>
            <p:spPr bwMode="auto">
              <a:xfrm>
                <a:off x="2546541" y="3326629"/>
                <a:ext cx="32813" cy="89224"/>
              </a:xfrm>
              <a:custGeom>
                <a:avLst/>
                <a:gdLst/>
                <a:ahLst/>
                <a:cxnLst>
                  <a:cxn ang="0">
                    <a:pos x="21" y="57"/>
                  </a:cxn>
                  <a:cxn ang="0">
                    <a:pos x="11" y="57"/>
                  </a:cxn>
                  <a:cxn ang="0">
                    <a:pos x="11" y="10"/>
                  </a:cxn>
                  <a:cxn ang="0">
                    <a:pos x="0" y="10"/>
                  </a:cxn>
                  <a:cxn ang="0">
                    <a:pos x="5" y="0"/>
                  </a:cxn>
                  <a:cxn ang="0">
                    <a:pos x="21" y="0"/>
                  </a:cxn>
                  <a:cxn ang="0">
                    <a:pos x="21" y="57"/>
                  </a:cxn>
                </a:cxnLst>
                <a:rect l="0" t="0" r="r" b="b"/>
                <a:pathLst>
                  <a:path w="21" h="57">
                    <a:moveTo>
                      <a:pt x="21" y="57"/>
                    </a:moveTo>
                    <a:lnTo>
                      <a:pt x="11" y="57"/>
                    </a:lnTo>
                    <a:lnTo>
                      <a:pt x="11" y="10"/>
                    </a:lnTo>
                    <a:lnTo>
                      <a:pt x="0" y="10"/>
                    </a:lnTo>
                    <a:lnTo>
                      <a:pt x="5" y="0"/>
                    </a:lnTo>
                    <a:lnTo>
                      <a:pt x="21" y="0"/>
                    </a:lnTo>
                    <a:lnTo>
                      <a:pt x="21" y="57"/>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03" name="Freeform 163"/>
              <p:cNvSpPr>
                <a:spLocks/>
              </p:cNvSpPr>
              <p:nvPr/>
            </p:nvSpPr>
            <p:spPr bwMode="auto">
              <a:xfrm>
                <a:off x="2587167" y="3326629"/>
                <a:ext cx="34376" cy="89224"/>
              </a:xfrm>
              <a:custGeom>
                <a:avLst/>
                <a:gdLst/>
                <a:ahLst/>
                <a:cxnLst>
                  <a:cxn ang="0">
                    <a:pos x="22" y="57"/>
                  </a:cxn>
                  <a:cxn ang="0">
                    <a:pos x="11" y="57"/>
                  </a:cxn>
                  <a:cxn ang="0">
                    <a:pos x="11" y="10"/>
                  </a:cxn>
                  <a:cxn ang="0">
                    <a:pos x="0" y="10"/>
                  </a:cxn>
                  <a:cxn ang="0">
                    <a:pos x="5" y="0"/>
                  </a:cxn>
                  <a:cxn ang="0">
                    <a:pos x="22" y="0"/>
                  </a:cxn>
                  <a:cxn ang="0">
                    <a:pos x="22" y="57"/>
                  </a:cxn>
                </a:cxnLst>
                <a:rect l="0" t="0" r="r" b="b"/>
                <a:pathLst>
                  <a:path w="22" h="57">
                    <a:moveTo>
                      <a:pt x="22" y="57"/>
                    </a:moveTo>
                    <a:lnTo>
                      <a:pt x="11" y="57"/>
                    </a:lnTo>
                    <a:lnTo>
                      <a:pt x="11" y="10"/>
                    </a:lnTo>
                    <a:lnTo>
                      <a:pt x="0" y="10"/>
                    </a:lnTo>
                    <a:lnTo>
                      <a:pt x="5" y="0"/>
                    </a:lnTo>
                    <a:lnTo>
                      <a:pt x="22" y="0"/>
                    </a:lnTo>
                    <a:lnTo>
                      <a:pt x="22" y="57"/>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04" name="Freeform 164"/>
              <p:cNvSpPr>
                <a:spLocks noEditPoints="1"/>
              </p:cNvSpPr>
              <p:nvPr/>
            </p:nvSpPr>
            <p:spPr bwMode="auto">
              <a:xfrm>
                <a:off x="2635605" y="3326629"/>
                <a:ext cx="60938" cy="89224"/>
              </a:xfrm>
              <a:custGeom>
                <a:avLst/>
                <a:gdLst/>
                <a:ahLst/>
                <a:cxnLst>
                  <a:cxn ang="0">
                    <a:pos x="51" y="37"/>
                  </a:cxn>
                  <a:cxn ang="0">
                    <a:pos x="44" y="65"/>
                  </a:cxn>
                  <a:cxn ang="0">
                    <a:pos x="25" y="75"/>
                  </a:cxn>
                  <a:cxn ang="0">
                    <a:pos x="7" y="65"/>
                  </a:cxn>
                  <a:cxn ang="0">
                    <a:pos x="0" y="37"/>
                  </a:cxn>
                  <a:cxn ang="0">
                    <a:pos x="7" y="10"/>
                  </a:cxn>
                  <a:cxn ang="0">
                    <a:pos x="25" y="0"/>
                  </a:cxn>
                  <a:cxn ang="0">
                    <a:pos x="44" y="10"/>
                  </a:cxn>
                  <a:cxn ang="0">
                    <a:pos x="51" y="37"/>
                  </a:cxn>
                  <a:cxn ang="0">
                    <a:pos x="37" y="37"/>
                  </a:cxn>
                  <a:cxn ang="0">
                    <a:pos x="34" y="19"/>
                  </a:cxn>
                  <a:cxn ang="0">
                    <a:pos x="25" y="12"/>
                  </a:cxn>
                  <a:cxn ang="0">
                    <a:pos x="17" y="19"/>
                  </a:cxn>
                  <a:cxn ang="0">
                    <a:pos x="13" y="37"/>
                  </a:cxn>
                  <a:cxn ang="0">
                    <a:pos x="17" y="56"/>
                  </a:cxn>
                  <a:cxn ang="0">
                    <a:pos x="25" y="63"/>
                  </a:cxn>
                  <a:cxn ang="0">
                    <a:pos x="34" y="56"/>
                  </a:cxn>
                  <a:cxn ang="0">
                    <a:pos x="37" y="37"/>
                  </a:cxn>
                </a:cxnLst>
                <a:rect l="0" t="0" r="r" b="b"/>
                <a:pathLst>
                  <a:path w="51" h="75">
                    <a:moveTo>
                      <a:pt x="51" y="37"/>
                    </a:moveTo>
                    <a:cubicBezTo>
                      <a:pt x="51" y="49"/>
                      <a:pt x="49" y="58"/>
                      <a:pt x="44" y="65"/>
                    </a:cubicBezTo>
                    <a:cubicBezTo>
                      <a:pt x="39" y="72"/>
                      <a:pt x="33" y="75"/>
                      <a:pt x="25" y="75"/>
                    </a:cubicBezTo>
                    <a:cubicBezTo>
                      <a:pt x="17" y="75"/>
                      <a:pt x="11" y="72"/>
                      <a:pt x="7" y="65"/>
                    </a:cubicBezTo>
                    <a:cubicBezTo>
                      <a:pt x="2" y="58"/>
                      <a:pt x="0" y="49"/>
                      <a:pt x="0" y="37"/>
                    </a:cubicBezTo>
                    <a:cubicBezTo>
                      <a:pt x="0" y="26"/>
                      <a:pt x="2" y="17"/>
                      <a:pt x="7" y="10"/>
                    </a:cubicBezTo>
                    <a:cubicBezTo>
                      <a:pt x="11" y="3"/>
                      <a:pt x="18" y="0"/>
                      <a:pt x="25" y="0"/>
                    </a:cubicBezTo>
                    <a:cubicBezTo>
                      <a:pt x="33" y="0"/>
                      <a:pt x="39" y="3"/>
                      <a:pt x="44" y="10"/>
                    </a:cubicBezTo>
                    <a:cubicBezTo>
                      <a:pt x="49" y="17"/>
                      <a:pt x="51" y="26"/>
                      <a:pt x="51" y="37"/>
                    </a:cubicBezTo>
                    <a:close/>
                    <a:moveTo>
                      <a:pt x="37" y="37"/>
                    </a:moveTo>
                    <a:cubicBezTo>
                      <a:pt x="37" y="30"/>
                      <a:pt x="36" y="24"/>
                      <a:pt x="34" y="19"/>
                    </a:cubicBezTo>
                    <a:cubicBezTo>
                      <a:pt x="32" y="14"/>
                      <a:pt x="29" y="12"/>
                      <a:pt x="25" y="12"/>
                    </a:cubicBezTo>
                    <a:cubicBezTo>
                      <a:pt x="22" y="12"/>
                      <a:pt x="19" y="14"/>
                      <a:pt x="17" y="19"/>
                    </a:cubicBezTo>
                    <a:cubicBezTo>
                      <a:pt x="15" y="24"/>
                      <a:pt x="13" y="30"/>
                      <a:pt x="13" y="37"/>
                    </a:cubicBezTo>
                    <a:cubicBezTo>
                      <a:pt x="13" y="45"/>
                      <a:pt x="15" y="51"/>
                      <a:pt x="17" y="56"/>
                    </a:cubicBezTo>
                    <a:cubicBezTo>
                      <a:pt x="19" y="60"/>
                      <a:pt x="22" y="63"/>
                      <a:pt x="25" y="63"/>
                    </a:cubicBezTo>
                    <a:cubicBezTo>
                      <a:pt x="29" y="63"/>
                      <a:pt x="32" y="61"/>
                      <a:pt x="34" y="56"/>
                    </a:cubicBezTo>
                    <a:cubicBezTo>
                      <a:pt x="36" y="51"/>
                      <a:pt x="37" y="45"/>
                      <a:pt x="37" y="37"/>
                    </a:cubicBez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05" name="Freeform 165"/>
              <p:cNvSpPr>
                <a:spLocks noEditPoints="1"/>
              </p:cNvSpPr>
              <p:nvPr/>
            </p:nvSpPr>
            <p:spPr bwMode="auto">
              <a:xfrm>
                <a:off x="2701231" y="3326629"/>
                <a:ext cx="62501" cy="89224"/>
              </a:xfrm>
              <a:custGeom>
                <a:avLst/>
                <a:gdLst/>
                <a:ahLst/>
                <a:cxnLst>
                  <a:cxn ang="0">
                    <a:pos x="52" y="37"/>
                  </a:cxn>
                  <a:cxn ang="0">
                    <a:pos x="45" y="65"/>
                  </a:cxn>
                  <a:cxn ang="0">
                    <a:pos x="26" y="75"/>
                  </a:cxn>
                  <a:cxn ang="0">
                    <a:pos x="7" y="65"/>
                  </a:cxn>
                  <a:cxn ang="0">
                    <a:pos x="0" y="37"/>
                  </a:cxn>
                  <a:cxn ang="0">
                    <a:pos x="7" y="10"/>
                  </a:cxn>
                  <a:cxn ang="0">
                    <a:pos x="26" y="0"/>
                  </a:cxn>
                  <a:cxn ang="0">
                    <a:pos x="45" y="10"/>
                  </a:cxn>
                  <a:cxn ang="0">
                    <a:pos x="52" y="37"/>
                  </a:cxn>
                  <a:cxn ang="0">
                    <a:pos x="38" y="37"/>
                  </a:cxn>
                  <a:cxn ang="0">
                    <a:pos x="35" y="19"/>
                  </a:cxn>
                  <a:cxn ang="0">
                    <a:pos x="26" y="12"/>
                  </a:cxn>
                  <a:cxn ang="0">
                    <a:pos x="17" y="19"/>
                  </a:cxn>
                  <a:cxn ang="0">
                    <a:pos x="14" y="37"/>
                  </a:cxn>
                  <a:cxn ang="0">
                    <a:pos x="17" y="56"/>
                  </a:cxn>
                  <a:cxn ang="0">
                    <a:pos x="26" y="63"/>
                  </a:cxn>
                  <a:cxn ang="0">
                    <a:pos x="35" y="56"/>
                  </a:cxn>
                  <a:cxn ang="0">
                    <a:pos x="38" y="37"/>
                  </a:cxn>
                </a:cxnLst>
                <a:rect l="0" t="0" r="r" b="b"/>
                <a:pathLst>
                  <a:path w="52" h="75">
                    <a:moveTo>
                      <a:pt x="52" y="37"/>
                    </a:moveTo>
                    <a:cubicBezTo>
                      <a:pt x="52" y="49"/>
                      <a:pt x="49" y="58"/>
                      <a:pt x="45" y="65"/>
                    </a:cubicBezTo>
                    <a:cubicBezTo>
                      <a:pt x="40" y="72"/>
                      <a:pt x="34" y="75"/>
                      <a:pt x="26" y="75"/>
                    </a:cubicBezTo>
                    <a:cubicBezTo>
                      <a:pt x="18" y="75"/>
                      <a:pt x="12" y="72"/>
                      <a:pt x="7" y="65"/>
                    </a:cubicBezTo>
                    <a:cubicBezTo>
                      <a:pt x="2" y="58"/>
                      <a:pt x="0" y="49"/>
                      <a:pt x="0" y="37"/>
                    </a:cubicBezTo>
                    <a:cubicBezTo>
                      <a:pt x="0" y="26"/>
                      <a:pt x="2" y="17"/>
                      <a:pt x="7" y="10"/>
                    </a:cubicBezTo>
                    <a:cubicBezTo>
                      <a:pt x="12" y="3"/>
                      <a:pt x="18" y="0"/>
                      <a:pt x="26" y="0"/>
                    </a:cubicBezTo>
                    <a:cubicBezTo>
                      <a:pt x="34" y="0"/>
                      <a:pt x="40" y="3"/>
                      <a:pt x="45" y="10"/>
                    </a:cubicBezTo>
                    <a:cubicBezTo>
                      <a:pt x="49" y="17"/>
                      <a:pt x="52" y="26"/>
                      <a:pt x="52" y="37"/>
                    </a:cubicBezTo>
                    <a:close/>
                    <a:moveTo>
                      <a:pt x="38" y="37"/>
                    </a:moveTo>
                    <a:cubicBezTo>
                      <a:pt x="38" y="30"/>
                      <a:pt x="37" y="24"/>
                      <a:pt x="35" y="19"/>
                    </a:cubicBezTo>
                    <a:cubicBezTo>
                      <a:pt x="32" y="14"/>
                      <a:pt x="29" y="12"/>
                      <a:pt x="26" y="12"/>
                    </a:cubicBezTo>
                    <a:cubicBezTo>
                      <a:pt x="22" y="12"/>
                      <a:pt x="19" y="14"/>
                      <a:pt x="17" y="19"/>
                    </a:cubicBezTo>
                    <a:cubicBezTo>
                      <a:pt x="15" y="24"/>
                      <a:pt x="14" y="30"/>
                      <a:pt x="14" y="37"/>
                    </a:cubicBezTo>
                    <a:cubicBezTo>
                      <a:pt x="14" y="45"/>
                      <a:pt x="15" y="51"/>
                      <a:pt x="17" y="56"/>
                    </a:cubicBezTo>
                    <a:cubicBezTo>
                      <a:pt x="19" y="60"/>
                      <a:pt x="22" y="63"/>
                      <a:pt x="26" y="63"/>
                    </a:cubicBezTo>
                    <a:cubicBezTo>
                      <a:pt x="29" y="63"/>
                      <a:pt x="32" y="61"/>
                      <a:pt x="35" y="56"/>
                    </a:cubicBezTo>
                    <a:cubicBezTo>
                      <a:pt x="37" y="51"/>
                      <a:pt x="38" y="45"/>
                      <a:pt x="38" y="37"/>
                    </a:cubicBez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06" name="Freeform 166"/>
              <p:cNvSpPr>
                <a:spLocks/>
              </p:cNvSpPr>
              <p:nvPr/>
            </p:nvSpPr>
            <p:spPr bwMode="auto">
              <a:xfrm>
                <a:off x="2765294" y="3326629"/>
                <a:ext cx="32813" cy="89224"/>
              </a:xfrm>
              <a:custGeom>
                <a:avLst/>
                <a:gdLst/>
                <a:ahLst/>
                <a:cxnLst>
                  <a:cxn ang="0">
                    <a:pos x="21" y="57"/>
                  </a:cxn>
                  <a:cxn ang="0">
                    <a:pos x="11" y="57"/>
                  </a:cxn>
                  <a:cxn ang="0">
                    <a:pos x="11" y="10"/>
                  </a:cxn>
                  <a:cxn ang="0">
                    <a:pos x="0" y="10"/>
                  </a:cxn>
                  <a:cxn ang="0">
                    <a:pos x="5" y="0"/>
                  </a:cxn>
                  <a:cxn ang="0">
                    <a:pos x="21" y="0"/>
                  </a:cxn>
                  <a:cxn ang="0">
                    <a:pos x="21" y="57"/>
                  </a:cxn>
                </a:cxnLst>
                <a:rect l="0" t="0" r="r" b="b"/>
                <a:pathLst>
                  <a:path w="21" h="57">
                    <a:moveTo>
                      <a:pt x="21" y="57"/>
                    </a:moveTo>
                    <a:lnTo>
                      <a:pt x="11" y="57"/>
                    </a:lnTo>
                    <a:lnTo>
                      <a:pt x="11" y="10"/>
                    </a:lnTo>
                    <a:lnTo>
                      <a:pt x="0" y="10"/>
                    </a:lnTo>
                    <a:lnTo>
                      <a:pt x="5" y="0"/>
                    </a:lnTo>
                    <a:lnTo>
                      <a:pt x="21" y="0"/>
                    </a:lnTo>
                    <a:lnTo>
                      <a:pt x="21" y="57"/>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07" name="Freeform 167"/>
              <p:cNvSpPr>
                <a:spLocks/>
              </p:cNvSpPr>
              <p:nvPr/>
            </p:nvSpPr>
            <p:spPr bwMode="auto">
              <a:xfrm>
                <a:off x="2805920" y="3326629"/>
                <a:ext cx="32813" cy="89224"/>
              </a:xfrm>
              <a:custGeom>
                <a:avLst/>
                <a:gdLst/>
                <a:ahLst/>
                <a:cxnLst>
                  <a:cxn ang="0">
                    <a:pos x="21" y="57"/>
                  </a:cxn>
                  <a:cxn ang="0">
                    <a:pos x="10" y="57"/>
                  </a:cxn>
                  <a:cxn ang="0">
                    <a:pos x="10" y="10"/>
                  </a:cxn>
                  <a:cxn ang="0">
                    <a:pos x="0" y="10"/>
                  </a:cxn>
                  <a:cxn ang="0">
                    <a:pos x="5" y="0"/>
                  </a:cxn>
                  <a:cxn ang="0">
                    <a:pos x="21" y="0"/>
                  </a:cxn>
                  <a:cxn ang="0">
                    <a:pos x="21" y="57"/>
                  </a:cxn>
                </a:cxnLst>
                <a:rect l="0" t="0" r="r" b="b"/>
                <a:pathLst>
                  <a:path w="21" h="57">
                    <a:moveTo>
                      <a:pt x="21" y="57"/>
                    </a:moveTo>
                    <a:lnTo>
                      <a:pt x="10" y="57"/>
                    </a:lnTo>
                    <a:lnTo>
                      <a:pt x="10" y="10"/>
                    </a:lnTo>
                    <a:lnTo>
                      <a:pt x="0" y="10"/>
                    </a:lnTo>
                    <a:lnTo>
                      <a:pt x="5" y="0"/>
                    </a:lnTo>
                    <a:lnTo>
                      <a:pt x="21" y="0"/>
                    </a:lnTo>
                    <a:lnTo>
                      <a:pt x="21" y="57"/>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08" name="Freeform 168"/>
              <p:cNvSpPr>
                <a:spLocks noEditPoints="1"/>
              </p:cNvSpPr>
              <p:nvPr/>
            </p:nvSpPr>
            <p:spPr bwMode="auto">
              <a:xfrm>
                <a:off x="2852796" y="3326629"/>
                <a:ext cx="62501" cy="89224"/>
              </a:xfrm>
              <a:custGeom>
                <a:avLst/>
                <a:gdLst/>
                <a:ahLst/>
                <a:cxnLst>
                  <a:cxn ang="0">
                    <a:pos x="52" y="37"/>
                  </a:cxn>
                  <a:cxn ang="0">
                    <a:pos x="45" y="65"/>
                  </a:cxn>
                  <a:cxn ang="0">
                    <a:pos x="26" y="75"/>
                  </a:cxn>
                  <a:cxn ang="0">
                    <a:pos x="7" y="65"/>
                  </a:cxn>
                  <a:cxn ang="0">
                    <a:pos x="0" y="37"/>
                  </a:cxn>
                  <a:cxn ang="0">
                    <a:pos x="7" y="10"/>
                  </a:cxn>
                  <a:cxn ang="0">
                    <a:pos x="26" y="0"/>
                  </a:cxn>
                  <a:cxn ang="0">
                    <a:pos x="45" y="10"/>
                  </a:cxn>
                  <a:cxn ang="0">
                    <a:pos x="52" y="37"/>
                  </a:cxn>
                  <a:cxn ang="0">
                    <a:pos x="38" y="37"/>
                  </a:cxn>
                  <a:cxn ang="0">
                    <a:pos x="35" y="19"/>
                  </a:cxn>
                  <a:cxn ang="0">
                    <a:pos x="26" y="12"/>
                  </a:cxn>
                  <a:cxn ang="0">
                    <a:pos x="17" y="19"/>
                  </a:cxn>
                  <a:cxn ang="0">
                    <a:pos x="14" y="37"/>
                  </a:cxn>
                  <a:cxn ang="0">
                    <a:pos x="17" y="56"/>
                  </a:cxn>
                  <a:cxn ang="0">
                    <a:pos x="26" y="63"/>
                  </a:cxn>
                  <a:cxn ang="0">
                    <a:pos x="35" y="56"/>
                  </a:cxn>
                  <a:cxn ang="0">
                    <a:pos x="38" y="37"/>
                  </a:cxn>
                </a:cxnLst>
                <a:rect l="0" t="0" r="r" b="b"/>
                <a:pathLst>
                  <a:path w="52" h="75">
                    <a:moveTo>
                      <a:pt x="52" y="37"/>
                    </a:moveTo>
                    <a:cubicBezTo>
                      <a:pt x="52" y="49"/>
                      <a:pt x="50" y="58"/>
                      <a:pt x="45" y="65"/>
                    </a:cubicBezTo>
                    <a:cubicBezTo>
                      <a:pt x="40" y="72"/>
                      <a:pt x="34" y="75"/>
                      <a:pt x="26" y="75"/>
                    </a:cubicBezTo>
                    <a:cubicBezTo>
                      <a:pt x="18" y="75"/>
                      <a:pt x="12" y="72"/>
                      <a:pt x="7" y="65"/>
                    </a:cubicBezTo>
                    <a:cubicBezTo>
                      <a:pt x="3" y="58"/>
                      <a:pt x="0" y="49"/>
                      <a:pt x="0" y="37"/>
                    </a:cubicBezTo>
                    <a:cubicBezTo>
                      <a:pt x="0" y="26"/>
                      <a:pt x="3" y="17"/>
                      <a:pt x="7" y="10"/>
                    </a:cubicBezTo>
                    <a:cubicBezTo>
                      <a:pt x="12" y="3"/>
                      <a:pt x="18" y="0"/>
                      <a:pt x="26" y="0"/>
                    </a:cubicBezTo>
                    <a:cubicBezTo>
                      <a:pt x="34" y="0"/>
                      <a:pt x="40" y="3"/>
                      <a:pt x="45" y="10"/>
                    </a:cubicBezTo>
                    <a:cubicBezTo>
                      <a:pt x="50" y="17"/>
                      <a:pt x="52" y="26"/>
                      <a:pt x="52" y="37"/>
                    </a:cubicBezTo>
                    <a:close/>
                    <a:moveTo>
                      <a:pt x="38" y="37"/>
                    </a:moveTo>
                    <a:cubicBezTo>
                      <a:pt x="38" y="30"/>
                      <a:pt x="37" y="24"/>
                      <a:pt x="35" y="19"/>
                    </a:cubicBezTo>
                    <a:cubicBezTo>
                      <a:pt x="32" y="14"/>
                      <a:pt x="30" y="12"/>
                      <a:pt x="26" y="12"/>
                    </a:cubicBezTo>
                    <a:cubicBezTo>
                      <a:pt x="22" y="12"/>
                      <a:pt x="20" y="14"/>
                      <a:pt x="17" y="19"/>
                    </a:cubicBezTo>
                    <a:cubicBezTo>
                      <a:pt x="15" y="24"/>
                      <a:pt x="14" y="30"/>
                      <a:pt x="14" y="37"/>
                    </a:cubicBezTo>
                    <a:cubicBezTo>
                      <a:pt x="14" y="45"/>
                      <a:pt x="15" y="51"/>
                      <a:pt x="17" y="56"/>
                    </a:cubicBezTo>
                    <a:cubicBezTo>
                      <a:pt x="20" y="60"/>
                      <a:pt x="22" y="63"/>
                      <a:pt x="26" y="63"/>
                    </a:cubicBezTo>
                    <a:cubicBezTo>
                      <a:pt x="30" y="63"/>
                      <a:pt x="33" y="61"/>
                      <a:pt x="35" y="56"/>
                    </a:cubicBezTo>
                    <a:cubicBezTo>
                      <a:pt x="37" y="51"/>
                      <a:pt x="38" y="45"/>
                      <a:pt x="38" y="37"/>
                    </a:cubicBez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09" name="Freeform 169"/>
              <p:cNvSpPr>
                <a:spLocks/>
              </p:cNvSpPr>
              <p:nvPr/>
            </p:nvSpPr>
            <p:spPr bwMode="auto">
              <a:xfrm>
                <a:off x="2916859" y="3326629"/>
                <a:ext cx="32813" cy="89224"/>
              </a:xfrm>
              <a:custGeom>
                <a:avLst/>
                <a:gdLst/>
                <a:ahLst/>
                <a:cxnLst>
                  <a:cxn ang="0">
                    <a:pos x="21" y="57"/>
                  </a:cxn>
                  <a:cxn ang="0">
                    <a:pos x="11" y="57"/>
                  </a:cxn>
                  <a:cxn ang="0">
                    <a:pos x="11" y="10"/>
                  </a:cxn>
                  <a:cxn ang="0">
                    <a:pos x="0" y="10"/>
                  </a:cxn>
                  <a:cxn ang="0">
                    <a:pos x="4" y="0"/>
                  </a:cxn>
                  <a:cxn ang="0">
                    <a:pos x="21" y="0"/>
                  </a:cxn>
                  <a:cxn ang="0">
                    <a:pos x="21" y="57"/>
                  </a:cxn>
                </a:cxnLst>
                <a:rect l="0" t="0" r="r" b="b"/>
                <a:pathLst>
                  <a:path w="21" h="57">
                    <a:moveTo>
                      <a:pt x="21" y="57"/>
                    </a:moveTo>
                    <a:lnTo>
                      <a:pt x="11" y="57"/>
                    </a:lnTo>
                    <a:lnTo>
                      <a:pt x="11" y="10"/>
                    </a:lnTo>
                    <a:lnTo>
                      <a:pt x="0" y="10"/>
                    </a:lnTo>
                    <a:lnTo>
                      <a:pt x="4" y="0"/>
                    </a:lnTo>
                    <a:lnTo>
                      <a:pt x="21" y="0"/>
                    </a:lnTo>
                    <a:lnTo>
                      <a:pt x="21" y="57"/>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10" name="Freeform 170"/>
              <p:cNvSpPr>
                <a:spLocks noEditPoints="1"/>
              </p:cNvSpPr>
              <p:nvPr/>
            </p:nvSpPr>
            <p:spPr bwMode="auto">
              <a:xfrm>
                <a:off x="2963735" y="3326629"/>
                <a:ext cx="62501" cy="89224"/>
              </a:xfrm>
              <a:custGeom>
                <a:avLst/>
                <a:gdLst/>
                <a:ahLst/>
                <a:cxnLst>
                  <a:cxn ang="0">
                    <a:pos x="52" y="37"/>
                  </a:cxn>
                  <a:cxn ang="0">
                    <a:pos x="45" y="65"/>
                  </a:cxn>
                  <a:cxn ang="0">
                    <a:pos x="26" y="75"/>
                  </a:cxn>
                  <a:cxn ang="0">
                    <a:pos x="7" y="65"/>
                  </a:cxn>
                  <a:cxn ang="0">
                    <a:pos x="0" y="37"/>
                  </a:cxn>
                  <a:cxn ang="0">
                    <a:pos x="7" y="10"/>
                  </a:cxn>
                  <a:cxn ang="0">
                    <a:pos x="26" y="0"/>
                  </a:cxn>
                  <a:cxn ang="0">
                    <a:pos x="45" y="10"/>
                  </a:cxn>
                  <a:cxn ang="0">
                    <a:pos x="52" y="37"/>
                  </a:cxn>
                  <a:cxn ang="0">
                    <a:pos x="38" y="37"/>
                  </a:cxn>
                  <a:cxn ang="0">
                    <a:pos x="35" y="19"/>
                  </a:cxn>
                  <a:cxn ang="0">
                    <a:pos x="26" y="12"/>
                  </a:cxn>
                  <a:cxn ang="0">
                    <a:pos x="18" y="19"/>
                  </a:cxn>
                  <a:cxn ang="0">
                    <a:pos x="14" y="37"/>
                  </a:cxn>
                  <a:cxn ang="0">
                    <a:pos x="18" y="56"/>
                  </a:cxn>
                  <a:cxn ang="0">
                    <a:pos x="26" y="63"/>
                  </a:cxn>
                  <a:cxn ang="0">
                    <a:pos x="35" y="56"/>
                  </a:cxn>
                  <a:cxn ang="0">
                    <a:pos x="38" y="37"/>
                  </a:cxn>
                </a:cxnLst>
                <a:rect l="0" t="0" r="r" b="b"/>
                <a:pathLst>
                  <a:path w="52" h="75">
                    <a:moveTo>
                      <a:pt x="52" y="37"/>
                    </a:moveTo>
                    <a:cubicBezTo>
                      <a:pt x="52" y="49"/>
                      <a:pt x="50" y="58"/>
                      <a:pt x="45" y="65"/>
                    </a:cubicBezTo>
                    <a:cubicBezTo>
                      <a:pt x="40" y="72"/>
                      <a:pt x="34" y="75"/>
                      <a:pt x="26" y="75"/>
                    </a:cubicBezTo>
                    <a:cubicBezTo>
                      <a:pt x="18" y="75"/>
                      <a:pt x="12" y="72"/>
                      <a:pt x="7" y="65"/>
                    </a:cubicBezTo>
                    <a:cubicBezTo>
                      <a:pt x="3" y="58"/>
                      <a:pt x="0" y="49"/>
                      <a:pt x="0" y="37"/>
                    </a:cubicBezTo>
                    <a:cubicBezTo>
                      <a:pt x="0" y="26"/>
                      <a:pt x="3" y="17"/>
                      <a:pt x="7" y="10"/>
                    </a:cubicBezTo>
                    <a:cubicBezTo>
                      <a:pt x="12" y="3"/>
                      <a:pt x="18" y="0"/>
                      <a:pt x="26" y="0"/>
                    </a:cubicBezTo>
                    <a:cubicBezTo>
                      <a:pt x="34" y="0"/>
                      <a:pt x="40" y="3"/>
                      <a:pt x="45" y="10"/>
                    </a:cubicBezTo>
                    <a:cubicBezTo>
                      <a:pt x="50" y="17"/>
                      <a:pt x="52" y="26"/>
                      <a:pt x="52" y="37"/>
                    </a:cubicBezTo>
                    <a:close/>
                    <a:moveTo>
                      <a:pt x="38" y="37"/>
                    </a:moveTo>
                    <a:cubicBezTo>
                      <a:pt x="38" y="30"/>
                      <a:pt x="37" y="24"/>
                      <a:pt x="35" y="19"/>
                    </a:cubicBezTo>
                    <a:cubicBezTo>
                      <a:pt x="33" y="14"/>
                      <a:pt x="30" y="12"/>
                      <a:pt x="26" y="12"/>
                    </a:cubicBezTo>
                    <a:cubicBezTo>
                      <a:pt x="23" y="12"/>
                      <a:pt x="20" y="14"/>
                      <a:pt x="18" y="19"/>
                    </a:cubicBezTo>
                    <a:cubicBezTo>
                      <a:pt x="15" y="24"/>
                      <a:pt x="14" y="30"/>
                      <a:pt x="14" y="37"/>
                    </a:cubicBezTo>
                    <a:cubicBezTo>
                      <a:pt x="14" y="45"/>
                      <a:pt x="15" y="51"/>
                      <a:pt x="18" y="56"/>
                    </a:cubicBezTo>
                    <a:cubicBezTo>
                      <a:pt x="20" y="60"/>
                      <a:pt x="23" y="63"/>
                      <a:pt x="26" y="63"/>
                    </a:cubicBezTo>
                    <a:cubicBezTo>
                      <a:pt x="30" y="63"/>
                      <a:pt x="33" y="61"/>
                      <a:pt x="35" y="56"/>
                    </a:cubicBezTo>
                    <a:cubicBezTo>
                      <a:pt x="37" y="51"/>
                      <a:pt x="38" y="45"/>
                      <a:pt x="38" y="37"/>
                    </a:cubicBez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11" name="Freeform 171"/>
              <p:cNvSpPr>
                <a:spLocks/>
              </p:cNvSpPr>
              <p:nvPr/>
            </p:nvSpPr>
            <p:spPr bwMode="auto">
              <a:xfrm>
                <a:off x="3027799" y="3326629"/>
                <a:ext cx="32813" cy="89224"/>
              </a:xfrm>
              <a:custGeom>
                <a:avLst/>
                <a:gdLst/>
                <a:ahLst/>
                <a:cxnLst>
                  <a:cxn ang="0">
                    <a:pos x="21" y="57"/>
                  </a:cxn>
                  <a:cxn ang="0">
                    <a:pos x="10" y="57"/>
                  </a:cxn>
                  <a:cxn ang="0">
                    <a:pos x="10" y="10"/>
                  </a:cxn>
                  <a:cxn ang="0">
                    <a:pos x="0" y="10"/>
                  </a:cxn>
                  <a:cxn ang="0">
                    <a:pos x="4" y="0"/>
                  </a:cxn>
                  <a:cxn ang="0">
                    <a:pos x="21" y="0"/>
                  </a:cxn>
                  <a:cxn ang="0">
                    <a:pos x="21" y="57"/>
                  </a:cxn>
                </a:cxnLst>
                <a:rect l="0" t="0" r="r" b="b"/>
                <a:pathLst>
                  <a:path w="21" h="57">
                    <a:moveTo>
                      <a:pt x="21" y="57"/>
                    </a:moveTo>
                    <a:lnTo>
                      <a:pt x="10" y="57"/>
                    </a:lnTo>
                    <a:lnTo>
                      <a:pt x="10" y="10"/>
                    </a:lnTo>
                    <a:lnTo>
                      <a:pt x="0" y="10"/>
                    </a:lnTo>
                    <a:lnTo>
                      <a:pt x="4" y="0"/>
                    </a:lnTo>
                    <a:lnTo>
                      <a:pt x="21" y="0"/>
                    </a:lnTo>
                    <a:lnTo>
                      <a:pt x="21" y="57"/>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12" name="Freeform 172"/>
              <p:cNvSpPr>
                <a:spLocks noEditPoints="1"/>
              </p:cNvSpPr>
              <p:nvPr/>
            </p:nvSpPr>
            <p:spPr bwMode="auto">
              <a:xfrm>
                <a:off x="3074674" y="3326629"/>
                <a:ext cx="62501" cy="89224"/>
              </a:xfrm>
              <a:custGeom>
                <a:avLst/>
                <a:gdLst/>
                <a:ahLst/>
                <a:cxnLst>
                  <a:cxn ang="0">
                    <a:pos x="51" y="37"/>
                  </a:cxn>
                  <a:cxn ang="0">
                    <a:pos x="44" y="65"/>
                  </a:cxn>
                  <a:cxn ang="0">
                    <a:pos x="25" y="75"/>
                  </a:cxn>
                  <a:cxn ang="0">
                    <a:pos x="7" y="65"/>
                  </a:cxn>
                  <a:cxn ang="0">
                    <a:pos x="0" y="37"/>
                  </a:cxn>
                  <a:cxn ang="0">
                    <a:pos x="7" y="10"/>
                  </a:cxn>
                  <a:cxn ang="0">
                    <a:pos x="25" y="0"/>
                  </a:cxn>
                  <a:cxn ang="0">
                    <a:pos x="44" y="10"/>
                  </a:cxn>
                  <a:cxn ang="0">
                    <a:pos x="51" y="37"/>
                  </a:cxn>
                  <a:cxn ang="0">
                    <a:pos x="38" y="37"/>
                  </a:cxn>
                  <a:cxn ang="0">
                    <a:pos x="34" y="19"/>
                  </a:cxn>
                  <a:cxn ang="0">
                    <a:pos x="25" y="12"/>
                  </a:cxn>
                  <a:cxn ang="0">
                    <a:pos x="17" y="19"/>
                  </a:cxn>
                  <a:cxn ang="0">
                    <a:pos x="14" y="37"/>
                  </a:cxn>
                  <a:cxn ang="0">
                    <a:pos x="17" y="56"/>
                  </a:cxn>
                  <a:cxn ang="0">
                    <a:pos x="25" y="63"/>
                  </a:cxn>
                  <a:cxn ang="0">
                    <a:pos x="34" y="56"/>
                  </a:cxn>
                  <a:cxn ang="0">
                    <a:pos x="38" y="37"/>
                  </a:cxn>
                </a:cxnLst>
                <a:rect l="0" t="0" r="r" b="b"/>
                <a:pathLst>
                  <a:path w="51" h="75">
                    <a:moveTo>
                      <a:pt x="51" y="37"/>
                    </a:moveTo>
                    <a:cubicBezTo>
                      <a:pt x="51" y="49"/>
                      <a:pt x="49" y="58"/>
                      <a:pt x="44" y="65"/>
                    </a:cubicBezTo>
                    <a:cubicBezTo>
                      <a:pt x="40" y="72"/>
                      <a:pt x="33" y="75"/>
                      <a:pt x="25" y="75"/>
                    </a:cubicBezTo>
                    <a:cubicBezTo>
                      <a:pt x="18" y="75"/>
                      <a:pt x="11" y="72"/>
                      <a:pt x="7" y="65"/>
                    </a:cubicBezTo>
                    <a:cubicBezTo>
                      <a:pt x="2" y="58"/>
                      <a:pt x="0" y="49"/>
                      <a:pt x="0" y="37"/>
                    </a:cubicBezTo>
                    <a:cubicBezTo>
                      <a:pt x="0" y="26"/>
                      <a:pt x="2" y="17"/>
                      <a:pt x="7" y="10"/>
                    </a:cubicBezTo>
                    <a:cubicBezTo>
                      <a:pt x="11" y="3"/>
                      <a:pt x="18" y="0"/>
                      <a:pt x="25" y="0"/>
                    </a:cubicBezTo>
                    <a:cubicBezTo>
                      <a:pt x="33" y="0"/>
                      <a:pt x="40" y="3"/>
                      <a:pt x="44" y="10"/>
                    </a:cubicBezTo>
                    <a:cubicBezTo>
                      <a:pt x="49" y="17"/>
                      <a:pt x="51" y="26"/>
                      <a:pt x="51" y="37"/>
                    </a:cubicBezTo>
                    <a:close/>
                    <a:moveTo>
                      <a:pt x="38" y="37"/>
                    </a:moveTo>
                    <a:cubicBezTo>
                      <a:pt x="38" y="30"/>
                      <a:pt x="36" y="24"/>
                      <a:pt x="34" y="19"/>
                    </a:cubicBezTo>
                    <a:cubicBezTo>
                      <a:pt x="32" y="14"/>
                      <a:pt x="29" y="12"/>
                      <a:pt x="25" y="12"/>
                    </a:cubicBezTo>
                    <a:cubicBezTo>
                      <a:pt x="22" y="12"/>
                      <a:pt x="19" y="14"/>
                      <a:pt x="17" y="19"/>
                    </a:cubicBezTo>
                    <a:cubicBezTo>
                      <a:pt x="15" y="24"/>
                      <a:pt x="14" y="30"/>
                      <a:pt x="14" y="37"/>
                    </a:cubicBezTo>
                    <a:cubicBezTo>
                      <a:pt x="14" y="45"/>
                      <a:pt x="15" y="51"/>
                      <a:pt x="17" y="56"/>
                    </a:cubicBezTo>
                    <a:cubicBezTo>
                      <a:pt x="19" y="60"/>
                      <a:pt x="22" y="63"/>
                      <a:pt x="25" y="63"/>
                    </a:cubicBezTo>
                    <a:cubicBezTo>
                      <a:pt x="29" y="63"/>
                      <a:pt x="32" y="61"/>
                      <a:pt x="34" y="56"/>
                    </a:cubicBezTo>
                    <a:cubicBezTo>
                      <a:pt x="36" y="51"/>
                      <a:pt x="38" y="45"/>
                      <a:pt x="38" y="37"/>
                    </a:cubicBez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13" name="Freeform 183"/>
              <p:cNvSpPr>
                <a:spLocks/>
              </p:cNvSpPr>
              <p:nvPr/>
            </p:nvSpPr>
            <p:spPr bwMode="auto">
              <a:xfrm>
                <a:off x="2354350" y="3465945"/>
                <a:ext cx="32813" cy="87659"/>
              </a:xfrm>
              <a:custGeom>
                <a:avLst/>
                <a:gdLst/>
                <a:ahLst/>
                <a:cxnLst>
                  <a:cxn ang="0">
                    <a:pos x="21" y="56"/>
                  </a:cxn>
                  <a:cxn ang="0">
                    <a:pos x="11" y="56"/>
                  </a:cxn>
                  <a:cxn ang="0">
                    <a:pos x="11" y="10"/>
                  </a:cxn>
                  <a:cxn ang="0">
                    <a:pos x="0" y="10"/>
                  </a:cxn>
                  <a:cxn ang="0">
                    <a:pos x="4" y="0"/>
                  </a:cxn>
                  <a:cxn ang="0">
                    <a:pos x="21" y="0"/>
                  </a:cxn>
                  <a:cxn ang="0">
                    <a:pos x="21" y="56"/>
                  </a:cxn>
                </a:cxnLst>
                <a:rect l="0" t="0" r="r" b="b"/>
                <a:pathLst>
                  <a:path w="21" h="56">
                    <a:moveTo>
                      <a:pt x="21" y="56"/>
                    </a:moveTo>
                    <a:lnTo>
                      <a:pt x="11" y="56"/>
                    </a:lnTo>
                    <a:lnTo>
                      <a:pt x="11" y="10"/>
                    </a:lnTo>
                    <a:lnTo>
                      <a:pt x="0" y="10"/>
                    </a:lnTo>
                    <a:lnTo>
                      <a:pt x="4" y="0"/>
                    </a:lnTo>
                    <a:lnTo>
                      <a:pt x="21" y="0"/>
                    </a:lnTo>
                    <a:lnTo>
                      <a:pt x="21" y="56"/>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14" name="Freeform 184"/>
              <p:cNvSpPr>
                <a:spLocks/>
              </p:cNvSpPr>
              <p:nvPr/>
            </p:nvSpPr>
            <p:spPr bwMode="auto">
              <a:xfrm>
                <a:off x="2394976" y="3465945"/>
                <a:ext cx="34376" cy="87659"/>
              </a:xfrm>
              <a:custGeom>
                <a:avLst/>
                <a:gdLst/>
                <a:ahLst/>
                <a:cxnLst>
                  <a:cxn ang="0">
                    <a:pos x="22" y="56"/>
                  </a:cxn>
                  <a:cxn ang="0">
                    <a:pos x="11" y="56"/>
                  </a:cxn>
                  <a:cxn ang="0">
                    <a:pos x="11" y="10"/>
                  </a:cxn>
                  <a:cxn ang="0">
                    <a:pos x="0" y="10"/>
                  </a:cxn>
                  <a:cxn ang="0">
                    <a:pos x="5" y="0"/>
                  </a:cxn>
                  <a:cxn ang="0">
                    <a:pos x="22" y="0"/>
                  </a:cxn>
                  <a:cxn ang="0">
                    <a:pos x="22" y="56"/>
                  </a:cxn>
                </a:cxnLst>
                <a:rect l="0" t="0" r="r" b="b"/>
                <a:pathLst>
                  <a:path w="22" h="56">
                    <a:moveTo>
                      <a:pt x="22" y="56"/>
                    </a:moveTo>
                    <a:lnTo>
                      <a:pt x="11" y="56"/>
                    </a:lnTo>
                    <a:lnTo>
                      <a:pt x="11" y="10"/>
                    </a:lnTo>
                    <a:lnTo>
                      <a:pt x="0" y="10"/>
                    </a:lnTo>
                    <a:lnTo>
                      <a:pt x="5" y="0"/>
                    </a:lnTo>
                    <a:lnTo>
                      <a:pt x="22" y="0"/>
                    </a:lnTo>
                    <a:lnTo>
                      <a:pt x="22" y="56"/>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15" name="Freeform 185"/>
              <p:cNvSpPr>
                <a:spLocks noEditPoints="1"/>
              </p:cNvSpPr>
              <p:nvPr/>
            </p:nvSpPr>
            <p:spPr bwMode="auto">
              <a:xfrm>
                <a:off x="2443414" y="3464379"/>
                <a:ext cx="60938" cy="90790"/>
              </a:xfrm>
              <a:custGeom>
                <a:avLst/>
                <a:gdLst/>
                <a:ahLst/>
                <a:cxnLst>
                  <a:cxn ang="0">
                    <a:pos x="51" y="38"/>
                  </a:cxn>
                  <a:cxn ang="0">
                    <a:pos x="44" y="65"/>
                  </a:cxn>
                  <a:cxn ang="0">
                    <a:pos x="25" y="75"/>
                  </a:cxn>
                  <a:cxn ang="0">
                    <a:pos x="7" y="65"/>
                  </a:cxn>
                  <a:cxn ang="0">
                    <a:pos x="0" y="38"/>
                  </a:cxn>
                  <a:cxn ang="0">
                    <a:pos x="7" y="10"/>
                  </a:cxn>
                  <a:cxn ang="0">
                    <a:pos x="25" y="0"/>
                  </a:cxn>
                  <a:cxn ang="0">
                    <a:pos x="44" y="10"/>
                  </a:cxn>
                  <a:cxn ang="0">
                    <a:pos x="51" y="38"/>
                  </a:cxn>
                  <a:cxn ang="0">
                    <a:pos x="37" y="37"/>
                  </a:cxn>
                  <a:cxn ang="0">
                    <a:pos x="34" y="19"/>
                  </a:cxn>
                  <a:cxn ang="0">
                    <a:pos x="25" y="12"/>
                  </a:cxn>
                  <a:cxn ang="0">
                    <a:pos x="17" y="19"/>
                  </a:cxn>
                  <a:cxn ang="0">
                    <a:pos x="13" y="38"/>
                  </a:cxn>
                  <a:cxn ang="0">
                    <a:pos x="17" y="56"/>
                  </a:cxn>
                  <a:cxn ang="0">
                    <a:pos x="25" y="63"/>
                  </a:cxn>
                  <a:cxn ang="0">
                    <a:pos x="34" y="56"/>
                  </a:cxn>
                  <a:cxn ang="0">
                    <a:pos x="37" y="37"/>
                  </a:cxn>
                </a:cxnLst>
                <a:rect l="0" t="0" r="r" b="b"/>
                <a:pathLst>
                  <a:path w="51" h="75">
                    <a:moveTo>
                      <a:pt x="51" y="38"/>
                    </a:moveTo>
                    <a:cubicBezTo>
                      <a:pt x="51" y="49"/>
                      <a:pt x="49" y="58"/>
                      <a:pt x="44" y="65"/>
                    </a:cubicBezTo>
                    <a:cubicBezTo>
                      <a:pt x="39" y="72"/>
                      <a:pt x="33" y="75"/>
                      <a:pt x="25" y="75"/>
                    </a:cubicBezTo>
                    <a:cubicBezTo>
                      <a:pt x="17" y="75"/>
                      <a:pt x="11" y="72"/>
                      <a:pt x="7" y="65"/>
                    </a:cubicBezTo>
                    <a:cubicBezTo>
                      <a:pt x="2" y="58"/>
                      <a:pt x="0" y="49"/>
                      <a:pt x="0" y="38"/>
                    </a:cubicBezTo>
                    <a:cubicBezTo>
                      <a:pt x="0" y="26"/>
                      <a:pt x="2" y="17"/>
                      <a:pt x="7" y="10"/>
                    </a:cubicBezTo>
                    <a:cubicBezTo>
                      <a:pt x="11" y="3"/>
                      <a:pt x="17" y="0"/>
                      <a:pt x="25" y="0"/>
                    </a:cubicBezTo>
                    <a:cubicBezTo>
                      <a:pt x="33" y="0"/>
                      <a:pt x="39" y="3"/>
                      <a:pt x="44" y="10"/>
                    </a:cubicBezTo>
                    <a:cubicBezTo>
                      <a:pt x="49" y="17"/>
                      <a:pt x="51" y="26"/>
                      <a:pt x="51" y="38"/>
                    </a:cubicBezTo>
                    <a:close/>
                    <a:moveTo>
                      <a:pt x="37" y="37"/>
                    </a:moveTo>
                    <a:cubicBezTo>
                      <a:pt x="37" y="30"/>
                      <a:pt x="36" y="24"/>
                      <a:pt x="34" y="19"/>
                    </a:cubicBezTo>
                    <a:cubicBezTo>
                      <a:pt x="32" y="14"/>
                      <a:pt x="29" y="12"/>
                      <a:pt x="25" y="12"/>
                    </a:cubicBezTo>
                    <a:cubicBezTo>
                      <a:pt x="22" y="12"/>
                      <a:pt x="19" y="15"/>
                      <a:pt x="17" y="19"/>
                    </a:cubicBezTo>
                    <a:cubicBezTo>
                      <a:pt x="14" y="24"/>
                      <a:pt x="13" y="30"/>
                      <a:pt x="13" y="38"/>
                    </a:cubicBezTo>
                    <a:cubicBezTo>
                      <a:pt x="13" y="45"/>
                      <a:pt x="14" y="51"/>
                      <a:pt x="17" y="56"/>
                    </a:cubicBezTo>
                    <a:cubicBezTo>
                      <a:pt x="19" y="61"/>
                      <a:pt x="22" y="63"/>
                      <a:pt x="25" y="63"/>
                    </a:cubicBezTo>
                    <a:cubicBezTo>
                      <a:pt x="29" y="63"/>
                      <a:pt x="32" y="61"/>
                      <a:pt x="34" y="56"/>
                    </a:cubicBezTo>
                    <a:cubicBezTo>
                      <a:pt x="36" y="51"/>
                      <a:pt x="37" y="45"/>
                      <a:pt x="37" y="37"/>
                    </a:cubicBez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16" name="Freeform 186"/>
              <p:cNvSpPr>
                <a:spLocks noEditPoints="1"/>
              </p:cNvSpPr>
              <p:nvPr/>
            </p:nvSpPr>
            <p:spPr bwMode="auto">
              <a:xfrm>
                <a:off x="2509040" y="3464379"/>
                <a:ext cx="62501" cy="90790"/>
              </a:xfrm>
              <a:custGeom>
                <a:avLst/>
                <a:gdLst/>
                <a:ahLst/>
                <a:cxnLst>
                  <a:cxn ang="0">
                    <a:pos x="52" y="38"/>
                  </a:cxn>
                  <a:cxn ang="0">
                    <a:pos x="45" y="65"/>
                  </a:cxn>
                  <a:cxn ang="0">
                    <a:pos x="26" y="75"/>
                  </a:cxn>
                  <a:cxn ang="0">
                    <a:pos x="7" y="65"/>
                  </a:cxn>
                  <a:cxn ang="0">
                    <a:pos x="0" y="38"/>
                  </a:cxn>
                  <a:cxn ang="0">
                    <a:pos x="7" y="10"/>
                  </a:cxn>
                  <a:cxn ang="0">
                    <a:pos x="26" y="0"/>
                  </a:cxn>
                  <a:cxn ang="0">
                    <a:pos x="45" y="10"/>
                  </a:cxn>
                  <a:cxn ang="0">
                    <a:pos x="52" y="38"/>
                  </a:cxn>
                  <a:cxn ang="0">
                    <a:pos x="38" y="37"/>
                  </a:cxn>
                  <a:cxn ang="0">
                    <a:pos x="35" y="19"/>
                  </a:cxn>
                  <a:cxn ang="0">
                    <a:pos x="26" y="12"/>
                  </a:cxn>
                  <a:cxn ang="0">
                    <a:pos x="17" y="19"/>
                  </a:cxn>
                  <a:cxn ang="0">
                    <a:pos x="14" y="38"/>
                  </a:cxn>
                  <a:cxn ang="0">
                    <a:pos x="17" y="56"/>
                  </a:cxn>
                  <a:cxn ang="0">
                    <a:pos x="26" y="63"/>
                  </a:cxn>
                  <a:cxn ang="0">
                    <a:pos x="35" y="56"/>
                  </a:cxn>
                  <a:cxn ang="0">
                    <a:pos x="38" y="37"/>
                  </a:cxn>
                </a:cxnLst>
                <a:rect l="0" t="0" r="r" b="b"/>
                <a:pathLst>
                  <a:path w="52" h="75">
                    <a:moveTo>
                      <a:pt x="52" y="38"/>
                    </a:moveTo>
                    <a:cubicBezTo>
                      <a:pt x="52" y="49"/>
                      <a:pt x="49" y="58"/>
                      <a:pt x="45" y="65"/>
                    </a:cubicBezTo>
                    <a:cubicBezTo>
                      <a:pt x="40" y="72"/>
                      <a:pt x="34" y="75"/>
                      <a:pt x="26" y="75"/>
                    </a:cubicBezTo>
                    <a:cubicBezTo>
                      <a:pt x="18" y="75"/>
                      <a:pt x="12" y="72"/>
                      <a:pt x="7" y="65"/>
                    </a:cubicBezTo>
                    <a:cubicBezTo>
                      <a:pt x="2" y="58"/>
                      <a:pt x="0" y="49"/>
                      <a:pt x="0" y="38"/>
                    </a:cubicBezTo>
                    <a:cubicBezTo>
                      <a:pt x="0" y="26"/>
                      <a:pt x="2" y="17"/>
                      <a:pt x="7" y="10"/>
                    </a:cubicBezTo>
                    <a:cubicBezTo>
                      <a:pt x="12" y="3"/>
                      <a:pt x="18" y="0"/>
                      <a:pt x="26" y="0"/>
                    </a:cubicBezTo>
                    <a:cubicBezTo>
                      <a:pt x="34" y="0"/>
                      <a:pt x="40" y="3"/>
                      <a:pt x="45" y="10"/>
                    </a:cubicBezTo>
                    <a:cubicBezTo>
                      <a:pt x="49" y="17"/>
                      <a:pt x="52" y="26"/>
                      <a:pt x="52" y="38"/>
                    </a:cubicBezTo>
                    <a:close/>
                    <a:moveTo>
                      <a:pt x="38" y="37"/>
                    </a:moveTo>
                    <a:cubicBezTo>
                      <a:pt x="38" y="30"/>
                      <a:pt x="37" y="24"/>
                      <a:pt x="35" y="19"/>
                    </a:cubicBezTo>
                    <a:cubicBezTo>
                      <a:pt x="32" y="14"/>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5" y="56"/>
                    </a:cubicBezTo>
                    <a:cubicBezTo>
                      <a:pt x="37" y="51"/>
                      <a:pt x="38" y="45"/>
                      <a:pt x="38" y="37"/>
                    </a:cubicBez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17" name="Freeform 187"/>
              <p:cNvSpPr>
                <a:spLocks/>
              </p:cNvSpPr>
              <p:nvPr/>
            </p:nvSpPr>
            <p:spPr bwMode="auto">
              <a:xfrm>
                <a:off x="2573104" y="3465945"/>
                <a:ext cx="32813" cy="87659"/>
              </a:xfrm>
              <a:custGeom>
                <a:avLst/>
                <a:gdLst/>
                <a:ahLst/>
                <a:cxnLst>
                  <a:cxn ang="0">
                    <a:pos x="21" y="56"/>
                  </a:cxn>
                  <a:cxn ang="0">
                    <a:pos x="11" y="56"/>
                  </a:cxn>
                  <a:cxn ang="0">
                    <a:pos x="11" y="10"/>
                  </a:cxn>
                  <a:cxn ang="0">
                    <a:pos x="0" y="10"/>
                  </a:cxn>
                  <a:cxn ang="0">
                    <a:pos x="4" y="0"/>
                  </a:cxn>
                  <a:cxn ang="0">
                    <a:pos x="21" y="0"/>
                  </a:cxn>
                  <a:cxn ang="0">
                    <a:pos x="21" y="56"/>
                  </a:cxn>
                </a:cxnLst>
                <a:rect l="0" t="0" r="r" b="b"/>
                <a:pathLst>
                  <a:path w="21" h="56">
                    <a:moveTo>
                      <a:pt x="21" y="56"/>
                    </a:moveTo>
                    <a:lnTo>
                      <a:pt x="11" y="56"/>
                    </a:lnTo>
                    <a:lnTo>
                      <a:pt x="11" y="10"/>
                    </a:lnTo>
                    <a:lnTo>
                      <a:pt x="0" y="10"/>
                    </a:lnTo>
                    <a:lnTo>
                      <a:pt x="4" y="0"/>
                    </a:lnTo>
                    <a:lnTo>
                      <a:pt x="21" y="0"/>
                    </a:lnTo>
                    <a:lnTo>
                      <a:pt x="21" y="56"/>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18" name="Freeform 188"/>
              <p:cNvSpPr>
                <a:spLocks/>
              </p:cNvSpPr>
              <p:nvPr/>
            </p:nvSpPr>
            <p:spPr bwMode="auto">
              <a:xfrm>
                <a:off x="2613729" y="3465945"/>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19" name="Freeform 189"/>
              <p:cNvSpPr>
                <a:spLocks/>
              </p:cNvSpPr>
              <p:nvPr/>
            </p:nvSpPr>
            <p:spPr bwMode="auto">
              <a:xfrm>
                <a:off x="2654355" y="3465945"/>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20" name="Freeform 190"/>
              <p:cNvSpPr>
                <a:spLocks noEditPoints="1"/>
              </p:cNvSpPr>
              <p:nvPr/>
            </p:nvSpPr>
            <p:spPr bwMode="auto">
              <a:xfrm>
                <a:off x="2701231" y="3464379"/>
                <a:ext cx="62501" cy="90790"/>
              </a:xfrm>
              <a:custGeom>
                <a:avLst/>
                <a:gdLst/>
                <a:ahLst/>
                <a:cxnLst>
                  <a:cxn ang="0">
                    <a:pos x="52" y="38"/>
                  </a:cxn>
                  <a:cxn ang="0">
                    <a:pos x="45" y="65"/>
                  </a:cxn>
                  <a:cxn ang="0">
                    <a:pos x="26" y="75"/>
                  </a:cxn>
                  <a:cxn ang="0">
                    <a:pos x="7" y="65"/>
                  </a:cxn>
                  <a:cxn ang="0">
                    <a:pos x="0" y="38"/>
                  </a:cxn>
                  <a:cxn ang="0">
                    <a:pos x="7" y="10"/>
                  </a:cxn>
                  <a:cxn ang="0">
                    <a:pos x="26" y="0"/>
                  </a:cxn>
                  <a:cxn ang="0">
                    <a:pos x="45" y="10"/>
                  </a:cxn>
                  <a:cxn ang="0">
                    <a:pos x="52" y="38"/>
                  </a:cxn>
                  <a:cxn ang="0">
                    <a:pos x="38" y="37"/>
                  </a:cxn>
                  <a:cxn ang="0">
                    <a:pos x="35" y="19"/>
                  </a:cxn>
                  <a:cxn ang="0">
                    <a:pos x="26" y="12"/>
                  </a:cxn>
                  <a:cxn ang="0">
                    <a:pos x="17" y="19"/>
                  </a:cxn>
                  <a:cxn ang="0">
                    <a:pos x="14" y="38"/>
                  </a:cxn>
                  <a:cxn ang="0">
                    <a:pos x="17" y="56"/>
                  </a:cxn>
                  <a:cxn ang="0">
                    <a:pos x="26" y="63"/>
                  </a:cxn>
                  <a:cxn ang="0">
                    <a:pos x="35" y="56"/>
                  </a:cxn>
                  <a:cxn ang="0">
                    <a:pos x="38" y="37"/>
                  </a:cxn>
                </a:cxnLst>
                <a:rect l="0" t="0" r="r" b="b"/>
                <a:pathLst>
                  <a:path w="52" h="75">
                    <a:moveTo>
                      <a:pt x="52" y="38"/>
                    </a:moveTo>
                    <a:cubicBezTo>
                      <a:pt x="52" y="49"/>
                      <a:pt x="49" y="58"/>
                      <a:pt x="45" y="65"/>
                    </a:cubicBezTo>
                    <a:cubicBezTo>
                      <a:pt x="40" y="72"/>
                      <a:pt x="34" y="75"/>
                      <a:pt x="26" y="75"/>
                    </a:cubicBezTo>
                    <a:cubicBezTo>
                      <a:pt x="18" y="75"/>
                      <a:pt x="12" y="72"/>
                      <a:pt x="7" y="65"/>
                    </a:cubicBezTo>
                    <a:cubicBezTo>
                      <a:pt x="2" y="58"/>
                      <a:pt x="0" y="49"/>
                      <a:pt x="0" y="38"/>
                    </a:cubicBezTo>
                    <a:cubicBezTo>
                      <a:pt x="0" y="26"/>
                      <a:pt x="2" y="17"/>
                      <a:pt x="7" y="10"/>
                    </a:cubicBezTo>
                    <a:cubicBezTo>
                      <a:pt x="12" y="3"/>
                      <a:pt x="18" y="0"/>
                      <a:pt x="26" y="0"/>
                    </a:cubicBezTo>
                    <a:cubicBezTo>
                      <a:pt x="34" y="0"/>
                      <a:pt x="40" y="3"/>
                      <a:pt x="45" y="10"/>
                    </a:cubicBezTo>
                    <a:cubicBezTo>
                      <a:pt x="49" y="17"/>
                      <a:pt x="52" y="26"/>
                      <a:pt x="52" y="38"/>
                    </a:cubicBezTo>
                    <a:close/>
                    <a:moveTo>
                      <a:pt x="38" y="37"/>
                    </a:moveTo>
                    <a:cubicBezTo>
                      <a:pt x="38" y="30"/>
                      <a:pt x="37" y="24"/>
                      <a:pt x="35" y="19"/>
                    </a:cubicBezTo>
                    <a:cubicBezTo>
                      <a:pt x="32" y="14"/>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5" y="56"/>
                    </a:cubicBezTo>
                    <a:cubicBezTo>
                      <a:pt x="37" y="51"/>
                      <a:pt x="38" y="45"/>
                      <a:pt x="38" y="37"/>
                    </a:cubicBez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21" name="Freeform 191"/>
              <p:cNvSpPr>
                <a:spLocks noEditPoints="1"/>
              </p:cNvSpPr>
              <p:nvPr/>
            </p:nvSpPr>
            <p:spPr bwMode="auto">
              <a:xfrm>
                <a:off x="2768419" y="3464379"/>
                <a:ext cx="60938" cy="90790"/>
              </a:xfrm>
              <a:custGeom>
                <a:avLst/>
                <a:gdLst/>
                <a:ahLst/>
                <a:cxnLst>
                  <a:cxn ang="0">
                    <a:pos x="51" y="38"/>
                  </a:cxn>
                  <a:cxn ang="0">
                    <a:pos x="44" y="65"/>
                  </a:cxn>
                  <a:cxn ang="0">
                    <a:pos x="25" y="75"/>
                  </a:cxn>
                  <a:cxn ang="0">
                    <a:pos x="7" y="65"/>
                  </a:cxn>
                  <a:cxn ang="0">
                    <a:pos x="0" y="38"/>
                  </a:cxn>
                  <a:cxn ang="0">
                    <a:pos x="7" y="10"/>
                  </a:cxn>
                  <a:cxn ang="0">
                    <a:pos x="25" y="0"/>
                  </a:cxn>
                  <a:cxn ang="0">
                    <a:pos x="44" y="10"/>
                  </a:cxn>
                  <a:cxn ang="0">
                    <a:pos x="51" y="38"/>
                  </a:cxn>
                  <a:cxn ang="0">
                    <a:pos x="37" y="37"/>
                  </a:cxn>
                  <a:cxn ang="0">
                    <a:pos x="34" y="19"/>
                  </a:cxn>
                  <a:cxn ang="0">
                    <a:pos x="25" y="12"/>
                  </a:cxn>
                  <a:cxn ang="0">
                    <a:pos x="17" y="19"/>
                  </a:cxn>
                  <a:cxn ang="0">
                    <a:pos x="13" y="38"/>
                  </a:cxn>
                  <a:cxn ang="0">
                    <a:pos x="17" y="56"/>
                  </a:cxn>
                  <a:cxn ang="0">
                    <a:pos x="25" y="63"/>
                  </a:cxn>
                  <a:cxn ang="0">
                    <a:pos x="34" y="56"/>
                  </a:cxn>
                  <a:cxn ang="0">
                    <a:pos x="37" y="37"/>
                  </a:cxn>
                </a:cxnLst>
                <a:rect l="0" t="0" r="r" b="b"/>
                <a:pathLst>
                  <a:path w="51" h="75">
                    <a:moveTo>
                      <a:pt x="51" y="38"/>
                    </a:moveTo>
                    <a:cubicBezTo>
                      <a:pt x="51" y="49"/>
                      <a:pt x="49" y="58"/>
                      <a:pt x="44" y="65"/>
                    </a:cubicBezTo>
                    <a:cubicBezTo>
                      <a:pt x="39" y="72"/>
                      <a:pt x="33" y="75"/>
                      <a:pt x="25" y="75"/>
                    </a:cubicBezTo>
                    <a:cubicBezTo>
                      <a:pt x="17" y="75"/>
                      <a:pt x="11" y="72"/>
                      <a:pt x="7" y="65"/>
                    </a:cubicBezTo>
                    <a:cubicBezTo>
                      <a:pt x="2" y="58"/>
                      <a:pt x="0" y="49"/>
                      <a:pt x="0" y="38"/>
                    </a:cubicBezTo>
                    <a:cubicBezTo>
                      <a:pt x="0" y="26"/>
                      <a:pt x="2" y="17"/>
                      <a:pt x="7" y="10"/>
                    </a:cubicBezTo>
                    <a:cubicBezTo>
                      <a:pt x="11" y="3"/>
                      <a:pt x="18" y="0"/>
                      <a:pt x="25" y="0"/>
                    </a:cubicBezTo>
                    <a:cubicBezTo>
                      <a:pt x="33" y="0"/>
                      <a:pt x="39" y="3"/>
                      <a:pt x="44" y="10"/>
                    </a:cubicBezTo>
                    <a:cubicBezTo>
                      <a:pt x="49" y="17"/>
                      <a:pt x="51" y="26"/>
                      <a:pt x="51" y="38"/>
                    </a:cubicBezTo>
                    <a:close/>
                    <a:moveTo>
                      <a:pt x="37" y="37"/>
                    </a:moveTo>
                    <a:cubicBezTo>
                      <a:pt x="37" y="30"/>
                      <a:pt x="36" y="24"/>
                      <a:pt x="34" y="19"/>
                    </a:cubicBezTo>
                    <a:cubicBezTo>
                      <a:pt x="32" y="14"/>
                      <a:pt x="29" y="12"/>
                      <a:pt x="25" y="12"/>
                    </a:cubicBezTo>
                    <a:cubicBezTo>
                      <a:pt x="22" y="12"/>
                      <a:pt x="19" y="15"/>
                      <a:pt x="17" y="19"/>
                    </a:cubicBezTo>
                    <a:cubicBezTo>
                      <a:pt x="15" y="24"/>
                      <a:pt x="13" y="30"/>
                      <a:pt x="13" y="38"/>
                    </a:cubicBezTo>
                    <a:cubicBezTo>
                      <a:pt x="13" y="45"/>
                      <a:pt x="15" y="51"/>
                      <a:pt x="17" y="56"/>
                    </a:cubicBezTo>
                    <a:cubicBezTo>
                      <a:pt x="19" y="61"/>
                      <a:pt x="22" y="63"/>
                      <a:pt x="25" y="63"/>
                    </a:cubicBezTo>
                    <a:cubicBezTo>
                      <a:pt x="29" y="63"/>
                      <a:pt x="32" y="61"/>
                      <a:pt x="34" y="56"/>
                    </a:cubicBezTo>
                    <a:cubicBezTo>
                      <a:pt x="36" y="51"/>
                      <a:pt x="37" y="45"/>
                      <a:pt x="37" y="37"/>
                    </a:cubicBez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22" name="Freeform 192"/>
              <p:cNvSpPr>
                <a:spLocks/>
              </p:cNvSpPr>
              <p:nvPr/>
            </p:nvSpPr>
            <p:spPr bwMode="auto">
              <a:xfrm>
                <a:off x="2830920" y="3465945"/>
                <a:ext cx="34376" cy="87659"/>
              </a:xfrm>
              <a:custGeom>
                <a:avLst/>
                <a:gdLst/>
                <a:ahLst/>
                <a:cxnLst>
                  <a:cxn ang="0">
                    <a:pos x="22" y="56"/>
                  </a:cxn>
                  <a:cxn ang="0">
                    <a:pos x="11" y="56"/>
                  </a:cxn>
                  <a:cxn ang="0">
                    <a:pos x="11" y="10"/>
                  </a:cxn>
                  <a:cxn ang="0">
                    <a:pos x="0" y="10"/>
                  </a:cxn>
                  <a:cxn ang="0">
                    <a:pos x="5" y="0"/>
                  </a:cxn>
                  <a:cxn ang="0">
                    <a:pos x="22" y="0"/>
                  </a:cxn>
                  <a:cxn ang="0">
                    <a:pos x="22" y="56"/>
                  </a:cxn>
                </a:cxnLst>
                <a:rect l="0" t="0" r="r" b="b"/>
                <a:pathLst>
                  <a:path w="22" h="56">
                    <a:moveTo>
                      <a:pt x="22" y="56"/>
                    </a:moveTo>
                    <a:lnTo>
                      <a:pt x="11" y="56"/>
                    </a:lnTo>
                    <a:lnTo>
                      <a:pt x="11" y="10"/>
                    </a:lnTo>
                    <a:lnTo>
                      <a:pt x="0" y="10"/>
                    </a:lnTo>
                    <a:lnTo>
                      <a:pt x="5" y="0"/>
                    </a:lnTo>
                    <a:lnTo>
                      <a:pt x="22" y="0"/>
                    </a:lnTo>
                    <a:lnTo>
                      <a:pt x="22" y="56"/>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23" name="Freeform 193"/>
              <p:cNvSpPr>
                <a:spLocks/>
              </p:cNvSpPr>
              <p:nvPr/>
            </p:nvSpPr>
            <p:spPr bwMode="auto">
              <a:xfrm>
                <a:off x="2871546" y="3465945"/>
                <a:ext cx="34376" cy="87659"/>
              </a:xfrm>
              <a:custGeom>
                <a:avLst/>
                <a:gdLst/>
                <a:ahLst/>
                <a:cxnLst>
                  <a:cxn ang="0">
                    <a:pos x="22" y="56"/>
                  </a:cxn>
                  <a:cxn ang="0">
                    <a:pos x="11" y="56"/>
                  </a:cxn>
                  <a:cxn ang="0">
                    <a:pos x="11" y="10"/>
                  </a:cxn>
                  <a:cxn ang="0">
                    <a:pos x="0" y="10"/>
                  </a:cxn>
                  <a:cxn ang="0">
                    <a:pos x="5" y="0"/>
                  </a:cxn>
                  <a:cxn ang="0">
                    <a:pos x="22" y="0"/>
                  </a:cxn>
                  <a:cxn ang="0">
                    <a:pos x="22" y="56"/>
                  </a:cxn>
                </a:cxnLst>
                <a:rect l="0" t="0" r="r" b="b"/>
                <a:pathLst>
                  <a:path w="22" h="56">
                    <a:moveTo>
                      <a:pt x="22" y="56"/>
                    </a:moveTo>
                    <a:lnTo>
                      <a:pt x="11" y="56"/>
                    </a:lnTo>
                    <a:lnTo>
                      <a:pt x="11" y="10"/>
                    </a:lnTo>
                    <a:lnTo>
                      <a:pt x="0" y="10"/>
                    </a:lnTo>
                    <a:lnTo>
                      <a:pt x="5" y="0"/>
                    </a:lnTo>
                    <a:lnTo>
                      <a:pt x="22" y="0"/>
                    </a:lnTo>
                    <a:lnTo>
                      <a:pt x="22" y="56"/>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24" name="Freeform 194"/>
              <p:cNvSpPr>
                <a:spLocks noEditPoints="1"/>
              </p:cNvSpPr>
              <p:nvPr/>
            </p:nvSpPr>
            <p:spPr bwMode="auto">
              <a:xfrm>
                <a:off x="2919984" y="3464379"/>
                <a:ext cx="60938" cy="90790"/>
              </a:xfrm>
              <a:custGeom>
                <a:avLst/>
                <a:gdLst/>
                <a:ahLst/>
                <a:cxnLst>
                  <a:cxn ang="0">
                    <a:pos x="51" y="38"/>
                  </a:cxn>
                  <a:cxn ang="0">
                    <a:pos x="44" y="65"/>
                  </a:cxn>
                  <a:cxn ang="0">
                    <a:pos x="25" y="75"/>
                  </a:cxn>
                  <a:cxn ang="0">
                    <a:pos x="7" y="65"/>
                  </a:cxn>
                  <a:cxn ang="0">
                    <a:pos x="0" y="38"/>
                  </a:cxn>
                  <a:cxn ang="0">
                    <a:pos x="7" y="10"/>
                  </a:cxn>
                  <a:cxn ang="0">
                    <a:pos x="25" y="0"/>
                  </a:cxn>
                  <a:cxn ang="0">
                    <a:pos x="44" y="10"/>
                  </a:cxn>
                  <a:cxn ang="0">
                    <a:pos x="51" y="38"/>
                  </a:cxn>
                  <a:cxn ang="0">
                    <a:pos x="38" y="37"/>
                  </a:cxn>
                  <a:cxn ang="0">
                    <a:pos x="34" y="19"/>
                  </a:cxn>
                  <a:cxn ang="0">
                    <a:pos x="25" y="12"/>
                  </a:cxn>
                  <a:cxn ang="0">
                    <a:pos x="17" y="19"/>
                  </a:cxn>
                  <a:cxn ang="0">
                    <a:pos x="14" y="38"/>
                  </a:cxn>
                  <a:cxn ang="0">
                    <a:pos x="17" y="56"/>
                  </a:cxn>
                  <a:cxn ang="0">
                    <a:pos x="25" y="63"/>
                  </a:cxn>
                  <a:cxn ang="0">
                    <a:pos x="34" y="56"/>
                  </a:cxn>
                  <a:cxn ang="0">
                    <a:pos x="38" y="37"/>
                  </a:cxn>
                </a:cxnLst>
                <a:rect l="0" t="0" r="r" b="b"/>
                <a:pathLst>
                  <a:path w="51" h="75">
                    <a:moveTo>
                      <a:pt x="51" y="38"/>
                    </a:moveTo>
                    <a:cubicBezTo>
                      <a:pt x="51" y="49"/>
                      <a:pt x="49" y="58"/>
                      <a:pt x="44" y="65"/>
                    </a:cubicBezTo>
                    <a:cubicBezTo>
                      <a:pt x="40" y="72"/>
                      <a:pt x="33" y="75"/>
                      <a:pt x="25" y="75"/>
                    </a:cubicBezTo>
                    <a:cubicBezTo>
                      <a:pt x="18" y="75"/>
                      <a:pt x="11" y="72"/>
                      <a:pt x="7" y="65"/>
                    </a:cubicBezTo>
                    <a:cubicBezTo>
                      <a:pt x="2" y="58"/>
                      <a:pt x="0" y="49"/>
                      <a:pt x="0" y="38"/>
                    </a:cubicBezTo>
                    <a:cubicBezTo>
                      <a:pt x="0" y="26"/>
                      <a:pt x="2" y="17"/>
                      <a:pt x="7" y="10"/>
                    </a:cubicBezTo>
                    <a:cubicBezTo>
                      <a:pt x="11" y="3"/>
                      <a:pt x="18" y="0"/>
                      <a:pt x="25" y="0"/>
                    </a:cubicBezTo>
                    <a:cubicBezTo>
                      <a:pt x="33" y="0"/>
                      <a:pt x="40" y="3"/>
                      <a:pt x="44" y="10"/>
                    </a:cubicBezTo>
                    <a:cubicBezTo>
                      <a:pt x="49" y="17"/>
                      <a:pt x="51" y="26"/>
                      <a:pt x="51" y="38"/>
                    </a:cubicBezTo>
                    <a:close/>
                    <a:moveTo>
                      <a:pt x="38" y="37"/>
                    </a:moveTo>
                    <a:cubicBezTo>
                      <a:pt x="38" y="30"/>
                      <a:pt x="36" y="24"/>
                      <a:pt x="34" y="19"/>
                    </a:cubicBezTo>
                    <a:cubicBezTo>
                      <a:pt x="32" y="14"/>
                      <a:pt x="29" y="12"/>
                      <a:pt x="25" y="12"/>
                    </a:cubicBezTo>
                    <a:cubicBezTo>
                      <a:pt x="22" y="12"/>
                      <a:pt x="19" y="15"/>
                      <a:pt x="17" y="19"/>
                    </a:cubicBezTo>
                    <a:cubicBezTo>
                      <a:pt x="15" y="24"/>
                      <a:pt x="14" y="30"/>
                      <a:pt x="14" y="38"/>
                    </a:cubicBezTo>
                    <a:cubicBezTo>
                      <a:pt x="14" y="45"/>
                      <a:pt x="15" y="51"/>
                      <a:pt x="17" y="56"/>
                    </a:cubicBezTo>
                    <a:cubicBezTo>
                      <a:pt x="19" y="61"/>
                      <a:pt x="22" y="63"/>
                      <a:pt x="25" y="63"/>
                    </a:cubicBezTo>
                    <a:cubicBezTo>
                      <a:pt x="29" y="63"/>
                      <a:pt x="32" y="61"/>
                      <a:pt x="34" y="56"/>
                    </a:cubicBezTo>
                    <a:cubicBezTo>
                      <a:pt x="36" y="51"/>
                      <a:pt x="38" y="45"/>
                      <a:pt x="38" y="37"/>
                    </a:cubicBez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25" name="Freeform 195"/>
              <p:cNvSpPr>
                <a:spLocks/>
              </p:cNvSpPr>
              <p:nvPr/>
            </p:nvSpPr>
            <p:spPr bwMode="auto">
              <a:xfrm>
                <a:off x="2984048" y="3465945"/>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26" name="Freeform 196"/>
              <p:cNvSpPr>
                <a:spLocks noEditPoints="1"/>
              </p:cNvSpPr>
              <p:nvPr/>
            </p:nvSpPr>
            <p:spPr bwMode="auto">
              <a:xfrm>
                <a:off x="3030924" y="3464379"/>
                <a:ext cx="62501" cy="90790"/>
              </a:xfrm>
              <a:custGeom>
                <a:avLst/>
                <a:gdLst/>
                <a:ahLst/>
                <a:cxnLst>
                  <a:cxn ang="0">
                    <a:pos x="52" y="38"/>
                  </a:cxn>
                  <a:cxn ang="0">
                    <a:pos x="45" y="65"/>
                  </a:cxn>
                  <a:cxn ang="0">
                    <a:pos x="26" y="75"/>
                  </a:cxn>
                  <a:cxn ang="0">
                    <a:pos x="7" y="65"/>
                  </a:cxn>
                  <a:cxn ang="0">
                    <a:pos x="0" y="38"/>
                  </a:cxn>
                  <a:cxn ang="0">
                    <a:pos x="7" y="10"/>
                  </a:cxn>
                  <a:cxn ang="0">
                    <a:pos x="26" y="0"/>
                  </a:cxn>
                  <a:cxn ang="0">
                    <a:pos x="45" y="10"/>
                  </a:cxn>
                  <a:cxn ang="0">
                    <a:pos x="52" y="38"/>
                  </a:cxn>
                  <a:cxn ang="0">
                    <a:pos x="38" y="37"/>
                  </a:cxn>
                  <a:cxn ang="0">
                    <a:pos x="34" y="19"/>
                  </a:cxn>
                  <a:cxn ang="0">
                    <a:pos x="26" y="12"/>
                  </a:cxn>
                  <a:cxn ang="0">
                    <a:pos x="17" y="19"/>
                  </a:cxn>
                  <a:cxn ang="0">
                    <a:pos x="14" y="38"/>
                  </a:cxn>
                  <a:cxn ang="0">
                    <a:pos x="17" y="56"/>
                  </a:cxn>
                  <a:cxn ang="0">
                    <a:pos x="26" y="63"/>
                  </a:cxn>
                  <a:cxn ang="0">
                    <a:pos x="34" y="56"/>
                  </a:cxn>
                  <a:cxn ang="0">
                    <a:pos x="38" y="37"/>
                  </a:cxn>
                </a:cxnLst>
                <a:rect l="0" t="0" r="r" b="b"/>
                <a:pathLst>
                  <a:path w="52" h="75">
                    <a:moveTo>
                      <a:pt x="52" y="38"/>
                    </a:moveTo>
                    <a:cubicBezTo>
                      <a:pt x="52" y="49"/>
                      <a:pt x="49" y="58"/>
                      <a:pt x="45" y="65"/>
                    </a:cubicBezTo>
                    <a:cubicBezTo>
                      <a:pt x="40" y="72"/>
                      <a:pt x="34" y="75"/>
                      <a:pt x="26" y="75"/>
                    </a:cubicBezTo>
                    <a:cubicBezTo>
                      <a:pt x="18" y="75"/>
                      <a:pt x="12" y="72"/>
                      <a:pt x="7" y="65"/>
                    </a:cubicBezTo>
                    <a:cubicBezTo>
                      <a:pt x="2" y="58"/>
                      <a:pt x="0" y="49"/>
                      <a:pt x="0" y="38"/>
                    </a:cubicBezTo>
                    <a:cubicBezTo>
                      <a:pt x="0" y="26"/>
                      <a:pt x="2" y="17"/>
                      <a:pt x="7" y="10"/>
                    </a:cubicBezTo>
                    <a:cubicBezTo>
                      <a:pt x="12" y="3"/>
                      <a:pt x="18" y="0"/>
                      <a:pt x="26" y="0"/>
                    </a:cubicBezTo>
                    <a:cubicBezTo>
                      <a:pt x="34" y="0"/>
                      <a:pt x="40" y="3"/>
                      <a:pt x="45" y="10"/>
                    </a:cubicBezTo>
                    <a:cubicBezTo>
                      <a:pt x="49" y="17"/>
                      <a:pt x="52" y="26"/>
                      <a:pt x="52" y="38"/>
                    </a:cubicBezTo>
                    <a:close/>
                    <a:moveTo>
                      <a:pt x="38" y="37"/>
                    </a:moveTo>
                    <a:cubicBezTo>
                      <a:pt x="38" y="30"/>
                      <a:pt x="37" y="24"/>
                      <a:pt x="34" y="19"/>
                    </a:cubicBezTo>
                    <a:cubicBezTo>
                      <a:pt x="32" y="14"/>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4" y="56"/>
                    </a:cubicBezTo>
                    <a:cubicBezTo>
                      <a:pt x="37" y="51"/>
                      <a:pt x="38" y="45"/>
                      <a:pt x="38" y="37"/>
                    </a:cubicBez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27" name="Freeform 197"/>
              <p:cNvSpPr>
                <a:spLocks/>
              </p:cNvSpPr>
              <p:nvPr/>
            </p:nvSpPr>
            <p:spPr bwMode="auto">
              <a:xfrm>
                <a:off x="3094987" y="3465945"/>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28" name="Freeform 208"/>
              <p:cNvSpPr>
                <a:spLocks noEditPoints="1"/>
              </p:cNvSpPr>
              <p:nvPr/>
            </p:nvSpPr>
            <p:spPr bwMode="auto">
              <a:xfrm>
                <a:off x="2344975" y="3603694"/>
                <a:ext cx="62501" cy="90790"/>
              </a:xfrm>
              <a:custGeom>
                <a:avLst/>
                <a:gdLst/>
                <a:ahLst/>
                <a:cxnLst>
                  <a:cxn ang="0">
                    <a:pos x="52" y="38"/>
                  </a:cxn>
                  <a:cxn ang="0">
                    <a:pos x="44" y="65"/>
                  </a:cxn>
                  <a:cxn ang="0">
                    <a:pos x="26" y="76"/>
                  </a:cxn>
                  <a:cxn ang="0">
                    <a:pos x="7" y="65"/>
                  </a:cxn>
                  <a:cxn ang="0">
                    <a:pos x="0" y="38"/>
                  </a:cxn>
                  <a:cxn ang="0">
                    <a:pos x="7" y="10"/>
                  </a:cxn>
                  <a:cxn ang="0">
                    <a:pos x="26" y="0"/>
                  </a:cxn>
                  <a:cxn ang="0">
                    <a:pos x="44" y="10"/>
                  </a:cxn>
                  <a:cxn ang="0">
                    <a:pos x="52" y="38"/>
                  </a:cxn>
                  <a:cxn ang="0">
                    <a:pos x="38" y="38"/>
                  </a:cxn>
                  <a:cxn ang="0">
                    <a:pos x="34" y="19"/>
                  </a:cxn>
                  <a:cxn ang="0">
                    <a:pos x="26" y="12"/>
                  </a:cxn>
                  <a:cxn ang="0">
                    <a:pos x="17" y="19"/>
                  </a:cxn>
                  <a:cxn ang="0">
                    <a:pos x="14" y="38"/>
                  </a:cxn>
                  <a:cxn ang="0">
                    <a:pos x="17" y="56"/>
                  </a:cxn>
                  <a:cxn ang="0">
                    <a:pos x="26" y="63"/>
                  </a:cxn>
                  <a:cxn ang="0">
                    <a:pos x="34" y="56"/>
                  </a:cxn>
                  <a:cxn ang="0">
                    <a:pos x="38" y="38"/>
                  </a:cxn>
                </a:cxnLst>
                <a:rect l="0" t="0" r="r" b="b"/>
                <a:pathLst>
                  <a:path w="52" h="76">
                    <a:moveTo>
                      <a:pt x="52" y="38"/>
                    </a:moveTo>
                    <a:cubicBezTo>
                      <a:pt x="52" y="49"/>
                      <a:pt x="49" y="58"/>
                      <a:pt x="44" y="65"/>
                    </a:cubicBezTo>
                    <a:cubicBezTo>
                      <a:pt x="40" y="72"/>
                      <a:pt x="33" y="76"/>
                      <a:pt x="26" y="76"/>
                    </a:cubicBezTo>
                    <a:cubicBezTo>
                      <a:pt x="18" y="76"/>
                      <a:pt x="11" y="72"/>
                      <a:pt x="7" y="65"/>
                    </a:cubicBezTo>
                    <a:cubicBezTo>
                      <a:pt x="2" y="58"/>
                      <a:pt x="0" y="49"/>
                      <a:pt x="0" y="38"/>
                    </a:cubicBezTo>
                    <a:cubicBezTo>
                      <a:pt x="0" y="26"/>
                      <a:pt x="2" y="17"/>
                      <a:pt x="7" y="10"/>
                    </a:cubicBezTo>
                    <a:cubicBezTo>
                      <a:pt x="12" y="4"/>
                      <a:pt x="18" y="0"/>
                      <a:pt x="26" y="0"/>
                    </a:cubicBezTo>
                    <a:cubicBezTo>
                      <a:pt x="33" y="0"/>
                      <a:pt x="40" y="3"/>
                      <a:pt x="44" y="10"/>
                    </a:cubicBezTo>
                    <a:cubicBezTo>
                      <a:pt x="49" y="17"/>
                      <a:pt x="52" y="26"/>
                      <a:pt x="52" y="38"/>
                    </a:cubicBezTo>
                    <a:close/>
                    <a:moveTo>
                      <a:pt x="38" y="38"/>
                    </a:moveTo>
                    <a:cubicBezTo>
                      <a:pt x="38" y="30"/>
                      <a:pt x="37" y="24"/>
                      <a:pt x="34" y="19"/>
                    </a:cubicBezTo>
                    <a:cubicBezTo>
                      <a:pt x="32" y="15"/>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4" y="56"/>
                    </a:cubicBezTo>
                    <a:cubicBezTo>
                      <a:pt x="37" y="51"/>
                      <a:pt x="38" y="45"/>
                      <a:pt x="38" y="38"/>
                    </a:cubicBez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29" name="Freeform 209"/>
              <p:cNvSpPr>
                <a:spLocks/>
              </p:cNvSpPr>
              <p:nvPr/>
            </p:nvSpPr>
            <p:spPr bwMode="auto">
              <a:xfrm>
                <a:off x="2407476" y="3605260"/>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30" name="Freeform 210"/>
              <p:cNvSpPr>
                <a:spLocks/>
              </p:cNvSpPr>
              <p:nvPr/>
            </p:nvSpPr>
            <p:spPr bwMode="auto">
              <a:xfrm>
                <a:off x="2449664" y="3605260"/>
                <a:ext cx="31250" cy="87659"/>
              </a:xfrm>
              <a:custGeom>
                <a:avLst/>
                <a:gdLst/>
                <a:ahLst/>
                <a:cxnLst>
                  <a:cxn ang="0">
                    <a:pos x="20" y="56"/>
                  </a:cxn>
                  <a:cxn ang="0">
                    <a:pos x="10" y="56"/>
                  </a:cxn>
                  <a:cxn ang="0">
                    <a:pos x="10" y="9"/>
                  </a:cxn>
                  <a:cxn ang="0">
                    <a:pos x="0" y="9"/>
                  </a:cxn>
                  <a:cxn ang="0">
                    <a:pos x="3" y="0"/>
                  </a:cxn>
                  <a:cxn ang="0">
                    <a:pos x="20" y="0"/>
                  </a:cxn>
                  <a:cxn ang="0">
                    <a:pos x="20" y="56"/>
                  </a:cxn>
                </a:cxnLst>
                <a:rect l="0" t="0" r="r" b="b"/>
                <a:pathLst>
                  <a:path w="20" h="56">
                    <a:moveTo>
                      <a:pt x="20" y="56"/>
                    </a:moveTo>
                    <a:lnTo>
                      <a:pt x="10" y="56"/>
                    </a:lnTo>
                    <a:lnTo>
                      <a:pt x="10" y="9"/>
                    </a:lnTo>
                    <a:lnTo>
                      <a:pt x="0" y="9"/>
                    </a:lnTo>
                    <a:lnTo>
                      <a:pt x="3" y="0"/>
                    </a:lnTo>
                    <a:lnTo>
                      <a:pt x="20" y="0"/>
                    </a:lnTo>
                    <a:lnTo>
                      <a:pt x="20" y="56"/>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31" name="Freeform 211"/>
              <p:cNvSpPr>
                <a:spLocks/>
              </p:cNvSpPr>
              <p:nvPr/>
            </p:nvSpPr>
            <p:spPr bwMode="auto">
              <a:xfrm>
                <a:off x="2488727" y="3605260"/>
                <a:ext cx="34376" cy="87659"/>
              </a:xfrm>
              <a:custGeom>
                <a:avLst/>
                <a:gdLst/>
                <a:ahLst/>
                <a:cxnLst>
                  <a:cxn ang="0">
                    <a:pos x="22" y="56"/>
                  </a:cxn>
                  <a:cxn ang="0">
                    <a:pos x="11" y="56"/>
                  </a:cxn>
                  <a:cxn ang="0">
                    <a:pos x="11" y="9"/>
                  </a:cxn>
                  <a:cxn ang="0">
                    <a:pos x="0" y="9"/>
                  </a:cxn>
                  <a:cxn ang="0">
                    <a:pos x="5" y="0"/>
                  </a:cxn>
                  <a:cxn ang="0">
                    <a:pos x="22" y="0"/>
                  </a:cxn>
                  <a:cxn ang="0">
                    <a:pos x="22" y="56"/>
                  </a:cxn>
                </a:cxnLst>
                <a:rect l="0" t="0" r="r" b="b"/>
                <a:pathLst>
                  <a:path w="22" h="56">
                    <a:moveTo>
                      <a:pt x="22" y="56"/>
                    </a:moveTo>
                    <a:lnTo>
                      <a:pt x="11" y="56"/>
                    </a:lnTo>
                    <a:lnTo>
                      <a:pt x="11" y="9"/>
                    </a:lnTo>
                    <a:lnTo>
                      <a:pt x="0" y="9"/>
                    </a:lnTo>
                    <a:lnTo>
                      <a:pt x="5" y="0"/>
                    </a:lnTo>
                    <a:lnTo>
                      <a:pt x="22" y="0"/>
                    </a:lnTo>
                    <a:lnTo>
                      <a:pt x="22" y="56"/>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32" name="Freeform 212"/>
              <p:cNvSpPr>
                <a:spLocks noEditPoints="1"/>
              </p:cNvSpPr>
              <p:nvPr/>
            </p:nvSpPr>
            <p:spPr bwMode="auto">
              <a:xfrm>
                <a:off x="2537166" y="3603694"/>
                <a:ext cx="62501" cy="90790"/>
              </a:xfrm>
              <a:custGeom>
                <a:avLst/>
                <a:gdLst/>
                <a:ahLst/>
                <a:cxnLst>
                  <a:cxn ang="0">
                    <a:pos x="52" y="38"/>
                  </a:cxn>
                  <a:cxn ang="0">
                    <a:pos x="44" y="65"/>
                  </a:cxn>
                  <a:cxn ang="0">
                    <a:pos x="26" y="76"/>
                  </a:cxn>
                  <a:cxn ang="0">
                    <a:pos x="7" y="65"/>
                  </a:cxn>
                  <a:cxn ang="0">
                    <a:pos x="0" y="38"/>
                  </a:cxn>
                  <a:cxn ang="0">
                    <a:pos x="7" y="10"/>
                  </a:cxn>
                  <a:cxn ang="0">
                    <a:pos x="26" y="0"/>
                  </a:cxn>
                  <a:cxn ang="0">
                    <a:pos x="44" y="10"/>
                  </a:cxn>
                  <a:cxn ang="0">
                    <a:pos x="52" y="38"/>
                  </a:cxn>
                  <a:cxn ang="0">
                    <a:pos x="38" y="38"/>
                  </a:cxn>
                  <a:cxn ang="0">
                    <a:pos x="34" y="19"/>
                  </a:cxn>
                  <a:cxn ang="0">
                    <a:pos x="26" y="12"/>
                  </a:cxn>
                  <a:cxn ang="0">
                    <a:pos x="17" y="19"/>
                  </a:cxn>
                  <a:cxn ang="0">
                    <a:pos x="14" y="38"/>
                  </a:cxn>
                  <a:cxn ang="0">
                    <a:pos x="17" y="56"/>
                  </a:cxn>
                  <a:cxn ang="0">
                    <a:pos x="26" y="63"/>
                  </a:cxn>
                  <a:cxn ang="0">
                    <a:pos x="34" y="56"/>
                  </a:cxn>
                  <a:cxn ang="0">
                    <a:pos x="38" y="38"/>
                  </a:cxn>
                </a:cxnLst>
                <a:rect l="0" t="0" r="r" b="b"/>
                <a:pathLst>
                  <a:path w="52" h="76">
                    <a:moveTo>
                      <a:pt x="52" y="38"/>
                    </a:moveTo>
                    <a:cubicBezTo>
                      <a:pt x="52" y="49"/>
                      <a:pt x="49" y="58"/>
                      <a:pt x="44" y="65"/>
                    </a:cubicBezTo>
                    <a:cubicBezTo>
                      <a:pt x="40" y="72"/>
                      <a:pt x="33" y="76"/>
                      <a:pt x="26" y="76"/>
                    </a:cubicBezTo>
                    <a:cubicBezTo>
                      <a:pt x="18" y="76"/>
                      <a:pt x="12" y="72"/>
                      <a:pt x="7" y="65"/>
                    </a:cubicBezTo>
                    <a:cubicBezTo>
                      <a:pt x="2" y="58"/>
                      <a:pt x="0" y="49"/>
                      <a:pt x="0" y="38"/>
                    </a:cubicBezTo>
                    <a:cubicBezTo>
                      <a:pt x="0" y="26"/>
                      <a:pt x="2" y="17"/>
                      <a:pt x="7" y="10"/>
                    </a:cubicBezTo>
                    <a:cubicBezTo>
                      <a:pt x="12" y="4"/>
                      <a:pt x="18" y="0"/>
                      <a:pt x="26" y="0"/>
                    </a:cubicBezTo>
                    <a:cubicBezTo>
                      <a:pt x="33" y="0"/>
                      <a:pt x="40" y="3"/>
                      <a:pt x="44" y="10"/>
                    </a:cubicBezTo>
                    <a:cubicBezTo>
                      <a:pt x="49" y="17"/>
                      <a:pt x="52" y="26"/>
                      <a:pt x="52" y="38"/>
                    </a:cubicBezTo>
                    <a:close/>
                    <a:moveTo>
                      <a:pt x="38" y="38"/>
                    </a:moveTo>
                    <a:cubicBezTo>
                      <a:pt x="38" y="30"/>
                      <a:pt x="37" y="24"/>
                      <a:pt x="34" y="19"/>
                    </a:cubicBezTo>
                    <a:cubicBezTo>
                      <a:pt x="32" y="15"/>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4" y="56"/>
                    </a:cubicBezTo>
                    <a:cubicBezTo>
                      <a:pt x="37" y="51"/>
                      <a:pt x="38" y="45"/>
                      <a:pt x="38" y="38"/>
                    </a:cubicBez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33" name="Freeform 213"/>
              <p:cNvSpPr>
                <a:spLocks noEditPoints="1"/>
              </p:cNvSpPr>
              <p:nvPr/>
            </p:nvSpPr>
            <p:spPr bwMode="auto">
              <a:xfrm>
                <a:off x="2602792" y="3603694"/>
                <a:ext cx="62501" cy="90790"/>
              </a:xfrm>
              <a:custGeom>
                <a:avLst/>
                <a:gdLst/>
                <a:ahLst/>
                <a:cxnLst>
                  <a:cxn ang="0">
                    <a:pos x="52" y="38"/>
                  </a:cxn>
                  <a:cxn ang="0">
                    <a:pos x="45" y="65"/>
                  </a:cxn>
                  <a:cxn ang="0">
                    <a:pos x="26" y="76"/>
                  </a:cxn>
                  <a:cxn ang="0">
                    <a:pos x="7" y="65"/>
                  </a:cxn>
                  <a:cxn ang="0">
                    <a:pos x="0" y="38"/>
                  </a:cxn>
                  <a:cxn ang="0">
                    <a:pos x="7" y="10"/>
                  </a:cxn>
                  <a:cxn ang="0">
                    <a:pos x="26" y="0"/>
                  </a:cxn>
                  <a:cxn ang="0">
                    <a:pos x="45" y="10"/>
                  </a:cxn>
                  <a:cxn ang="0">
                    <a:pos x="52" y="38"/>
                  </a:cxn>
                  <a:cxn ang="0">
                    <a:pos x="38" y="38"/>
                  </a:cxn>
                  <a:cxn ang="0">
                    <a:pos x="35" y="19"/>
                  </a:cxn>
                  <a:cxn ang="0">
                    <a:pos x="26" y="12"/>
                  </a:cxn>
                  <a:cxn ang="0">
                    <a:pos x="17" y="19"/>
                  </a:cxn>
                  <a:cxn ang="0">
                    <a:pos x="14" y="38"/>
                  </a:cxn>
                  <a:cxn ang="0">
                    <a:pos x="18" y="56"/>
                  </a:cxn>
                  <a:cxn ang="0">
                    <a:pos x="26" y="63"/>
                  </a:cxn>
                  <a:cxn ang="0">
                    <a:pos x="35" y="56"/>
                  </a:cxn>
                  <a:cxn ang="0">
                    <a:pos x="38" y="38"/>
                  </a:cxn>
                </a:cxnLst>
                <a:rect l="0" t="0" r="r" b="b"/>
                <a:pathLst>
                  <a:path w="52" h="76">
                    <a:moveTo>
                      <a:pt x="52" y="38"/>
                    </a:moveTo>
                    <a:cubicBezTo>
                      <a:pt x="52" y="49"/>
                      <a:pt x="50" y="58"/>
                      <a:pt x="45" y="65"/>
                    </a:cubicBezTo>
                    <a:cubicBezTo>
                      <a:pt x="40" y="72"/>
                      <a:pt x="34" y="76"/>
                      <a:pt x="26" y="76"/>
                    </a:cubicBezTo>
                    <a:cubicBezTo>
                      <a:pt x="18" y="76"/>
                      <a:pt x="12" y="72"/>
                      <a:pt x="7" y="65"/>
                    </a:cubicBezTo>
                    <a:cubicBezTo>
                      <a:pt x="3" y="58"/>
                      <a:pt x="0" y="49"/>
                      <a:pt x="0" y="38"/>
                    </a:cubicBezTo>
                    <a:cubicBezTo>
                      <a:pt x="0" y="26"/>
                      <a:pt x="3" y="17"/>
                      <a:pt x="7" y="10"/>
                    </a:cubicBezTo>
                    <a:cubicBezTo>
                      <a:pt x="12" y="4"/>
                      <a:pt x="18" y="0"/>
                      <a:pt x="26" y="0"/>
                    </a:cubicBezTo>
                    <a:cubicBezTo>
                      <a:pt x="34" y="0"/>
                      <a:pt x="40" y="3"/>
                      <a:pt x="45" y="10"/>
                    </a:cubicBezTo>
                    <a:cubicBezTo>
                      <a:pt x="50" y="17"/>
                      <a:pt x="52" y="26"/>
                      <a:pt x="52" y="38"/>
                    </a:cubicBezTo>
                    <a:close/>
                    <a:moveTo>
                      <a:pt x="38" y="38"/>
                    </a:moveTo>
                    <a:cubicBezTo>
                      <a:pt x="38" y="30"/>
                      <a:pt x="37" y="24"/>
                      <a:pt x="35" y="19"/>
                    </a:cubicBezTo>
                    <a:cubicBezTo>
                      <a:pt x="33" y="15"/>
                      <a:pt x="30" y="12"/>
                      <a:pt x="26" y="12"/>
                    </a:cubicBezTo>
                    <a:cubicBezTo>
                      <a:pt x="23" y="12"/>
                      <a:pt x="20" y="15"/>
                      <a:pt x="17" y="19"/>
                    </a:cubicBezTo>
                    <a:cubicBezTo>
                      <a:pt x="15" y="24"/>
                      <a:pt x="14" y="30"/>
                      <a:pt x="14" y="38"/>
                    </a:cubicBezTo>
                    <a:cubicBezTo>
                      <a:pt x="14" y="45"/>
                      <a:pt x="15" y="51"/>
                      <a:pt x="18" y="56"/>
                    </a:cubicBezTo>
                    <a:cubicBezTo>
                      <a:pt x="20" y="61"/>
                      <a:pt x="23" y="63"/>
                      <a:pt x="26" y="63"/>
                    </a:cubicBezTo>
                    <a:cubicBezTo>
                      <a:pt x="30" y="63"/>
                      <a:pt x="33" y="61"/>
                      <a:pt x="35" y="56"/>
                    </a:cubicBezTo>
                    <a:cubicBezTo>
                      <a:pt x="37" y="51"/>
                      <a:pt x="38" y="45"/>
                      <a:pt x="38" y="38"/>
                    </a:cubicBez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34" name="Freeform 214"/>
              <p:cNvSpPr>
                <a:spLocks/>
              </p:cNvSpPr>
              <p:nvPr/>
            </p:nvSpPr>
            <p:spPr bwMode="auto">
              <a:xfrm>
                <a:off x="2666855" y="3605260"/>
                <a:ext cx="32813" cy="87659"/>
              </a:xfrm>
              <a:custGeom>
                <a:avLst/>
                <a:gdLst/>
                <a:ahLst/>
                <a:cxnLst>
                  <a:cxn ang="0">
                    <a:pos x="21" y="56"/>
                  </a:cxn>
                  <a:cxn ang="0">
                    <a:pos x="11" y="56"/>
                  </a:cxn>
                  <a:cxn ang="0">
                    <a:pos x="11" y="9"/>
                  </a:cxn>
                  <a:cxn ang="0">
                    <a:pos x="0" y="9"/>
                  </a:cxn>
                  <a:cxn ang="0">
                    <a:pos x="4" y="0"/>
                  </a:cxn>
                  <a:cxn ang="0">
                    <a:pos x="21" y="0"/>
                  </a:cxn>
                  <a:cxn ang="0">
                    <a:pos x="21" y="56"/>
                  </a:cxn>
                </a:cxnLst>
                <a:rect l="0" t="0" r="r" b="b"/>
                <a:pathLst>
                  <a:path w="21" h="56">
                    <a:moveTo>
                      <a:pt x="21" y="56"/>
                    </a:moveTo>
                    <a:lnTo>
                      <a:pt x="11" y="56"/>
                    </a:lnTo>
                    <a:lnTo>
                      <a:pt x="11" y="9"/>
                    </a:lnTo>
                    <a:lnTo>
                      <a:pt x="0" y="9"/>
                    </a:lnTo>
                    <a:lnTo>
                      <a:pt x="4" y="0"/>
                    </a:lnTo>
                    <a:lnTo>
                      <a:pt x="21" y="0"/>
                    </a:lnTo>
                    <a:lnTo>
                      <a:pt x="21" y="56"/>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35" name="Freeform 215"/>
              <p:cNvSpPr>
                <a:spLocks/>
              </p:cNvSpPr>
              <p:nvPr/>
            </p:nvSpPr>
            <p:spPr bwMode="auto">
              <a:xfrm>
                <a:off x="2707481" y="3605260"/>
                <a:ext cx="34376" cy="87659"/>
              </a:xfrm>
              <a:custGeom>
                <a:avLst/>
                <a:gdLst/>
                <a:ahLst/>
                <a:cxnLst>
                  <a:cxn ang="0">
                    <a:pos x="22" y="56"/>
                  </a:cxn>
                  <a:cxn ang="0">
                    <a:pos x="11" y="56"/>
                  </a:cxn>
                  <a:cxn ang="0">
                    <a:pos x="11" y="9"/>
                  </a:cxn>
                  <a:cxn ang="0">
                    <a:pos x="0" y="9"/>
                  </a:cxn>
                  <a:cxn ang="0">
                    <a:pos x="5" y="0"/>
                  </a:cxn>
                  <a:cxn ang="0">
                    <a:pos x="22" y="0"/>
                  </a:cxn>
                  <a:cxn ang="0">
                    <a:pos x="22" y="56"/>
                  </a:cxn>
                </a:cxnLst>
                <a:rect l="0" t="0" r="r" b="b"/>
                <a:pathLst>
                  <a:path w="22" h="56">
                    <a:moveTo>
                      <a:pt x="22" y="56"/>
                    </a:moveTo>
                    <a:lnTo>
                      <a:pt x="11" y="56"/>
                    </a:lnTo>
                    <a:lnTo>
                      <a:pt x="11" y="9"/>
                    </a:lnTo>
                    <a:lnTo>
                      <a:pt x="0" y="9"/>
                    </a:lnTo>
                    <a:lnTo>
                      <a:pt x="5" y="0"/>
                    </a:lnTo>
                    <a:lnTo>
                      <a:pt x="22" y="0"/>
                    </a:lnTo>
                    <a:lnTo>
                      <a:pt x="22" y="56"/>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36" name="Freeform 216"/>
              <p:cNvSpPr>
                <a:spLocks noEditPoints="1"/>
              </p:cNvSpPr>
              <p:nvPr/>
            </p:nvSpPr>
            <p:spPr bwMode="auto">
              <a:xfrm>
                <a:off x="2755919" y="3603694"/>
                <a:ext cx="60938" cy="90790"/>
              </a:xfrm>
              <a:custGeom>
                <a:avLst/>
                <a:gdLst/>
                <a:ahLst/>
                <a:cxnLst>
                  <a:cxn ang="0">
                    <a:pos x="51" y="38"/>
                  </a:cxn>
                  <a:cxn ang="0">
                    <a:pos x="44" y="65"/>
                  </a:cxn>
                  <a:cxn ang="0">
                    <a:pos x="25" y="76"/>
                  </a:cxn>
                  <a:cxn ang="0">
                    <a:pos x="7" y="65"/>
                  </a:cxn>
                  <a:cxn ang="0">
                    <a:pos x="0" y="38"/>
                  </a:cxn>
                  <a:cxn ang="0">
                    <a:pos x="7" y="10"/>
                  </a:cxn>
                  <a:cxn ang="0">
                    <a:pos x="25" y="0"/>
                  </a:cxn>
                  <a:cxn ang="0">
                    <a:pos x="44" y="10"/>
                  </a:cxn>
                  <a:cxn ang="0">
                    <a:pos x="51" y="38"/>
                  </a:cxn>
                  <a:cxn ang="0">
                    <a:pos x="37" y="38"/>
                  </a:cxn>
                  <a:cxn ang="0">
                    <a:pos x="34" y="19"/>
                  </a:cxn>
                  <a:cxn ang="0">
                    <a:pos x="25" y="12"/>
                  </a:cxn>
                  <a:cxn ang="0">
                    <a:pos x="17" y="19"/>
                  </a:cxn>
                  <a:cxn ang="0">
                    <a:pos x="13" y="38"/>
                  </a:cxn>
                  <a:cxn ang="0">
                    <a:pos x="17" y="56"/>
                  </a:cxn>
                  <a:cxn ang="0">
                    <a:pos x="25" y="63"/>
                  </a:cxn>
                  <a:cxn ang="0">
                    <a:pos x="34" y="56"/>
                  </a:cxn>
                  <a:cxn ang="0">
                    <a:pos x="37" y="38"/>
                  </a:cxn>
                </a:cxnLst>
                <a:rect l="0" t="0" r="r" b="b"/>
                <a:pathLst>
                  <a:path w="51" h="76">
                    <a:moveTo>
                      <a:pt x="51" y="38"/>
                    </a:moveTo>
                    <a:cubicBezTo>
                      <a:pt x="51" y="49"/>
                      <a:pt x="49" y="58"/>
                      <a:pt x="44" y="65"/>
                    </a:cubicBezTo>
                    <a:cubicBezTo>
                      <a:pt x="39" y="72"/>
                      <a:pt x="33" y="76"/>
                      <a:pt x="25" y="76"/>
                    </a:cubicBezTo>
                    <a:cubicBezTo>
                      <a:pt x="17" y="76"/>
                      <a:pt x="11" y="72"/>
                      <a:pt x="7" y="65"/>
                    </a:cubicBezTo>
                    <a:cubicBezTo>
                      <a:pt x="2" y="58"/>
                      <a:pt x="0" y="49"/>
                      <a:pt x="0" y="38"/>
                    </a:cubicBezTo>
                    <a:cubicBezTo>
                      <a:pt x="0" y="26"/>
                      <a:pt x="2" y="17"/>
                      <a:pt x="7" y="10"/>
                    </a:cubicBezTo>
                    <a:cubicBezTo>
                      <a:pt x="11" y="4"/>
                      <a:pt x="17" y="0"/>
                      <a:pt x="25" y="0"/>
                    </a:cubicBezTo>
                    <a:cubicBezTo>
                      <a:pt x="33" y="0"/>
                      <a:pt x="39" y="3"/>
                      <a:pt x="44" y="10"/>
                    </a:cubicBezTo>
                    <a:cubicBezTo>
                      <a:pt x="49" y="17"/>
                      <a:pt x="51" y="26"/>
                      <a:pt x="51" y="38"/>
                    </a:cubicBezTo>
                    <a:close/>
                    <a:moveTo>
                      <a:pt x="37" y="38"/>
                    </a:moveTo>
                    <a:cubicBezTo>
                      <a:pt x="37" y="30"/>
                      <a:pt x="36" y="24"/>
                      <a:pt x="34" y="19"/>
                    </a:cubicBezTo>
                    <a:cubicBezTo>
                      <a:pt x="32" y="15"/>
                      <a:pt x="29" y="12"/>
                      <a:pt x="25" y="12"/>
                    </a:cubicBezTo>
                    <a:cubicBezTo>
                      <a:pt x="22" y="12"/>
                      <a:pt x="19" y="15"/>
                      <a:pt x="17" y="19"/>
                    </a:cubicBezTo>
                    <a:cubicBezTo>
                      <a:pt x="14" y="24"/>
                      <a:pt x="13" y="30"/>
                      <a:pt x="13" y="38"/>
                    </a:cubicBezTo>
                    <a:cubicBezTo>
                      <a:pt x="13" y="45"/>
                      <a:pt x="14" y="51"/>
                      <a:pt x="17" y="56"/>
                    </a:cubicBezTo>
                    <a:cubicBezTo>
                      <a:pt x="19" y="61"/>
                      <a:pt x="22" y="63"/>
                      <a:pt x="25" y="63"/>
                    </a:cubicBezTo>
                    <a:cubicBezTo>
                      <a:pt x="29" y="63"/>
                      <a:pt x="32" y="61"/>
                      <a:pt x="34" y="56"/>
                    </a:cubicBezTo>
                    <a:cubicBezTo>
                      <a:pt x="36" y="51"/>
                      <a:pt x="37" y="45"/>
                      <a:pt x="37" y="38"/>
                    </a:cubicBez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37" name="Freeform 217"/>
              <p:cNvSpPr>
                <a:spLocks/>
              </p:cNvSpPr>
              <p:nvPr/>
            </p:nvSpPr>
            <p:spPr bwMode="auto">
              <a:xfrm>
                <a:off x="2818420" y="3605260"/>
                <a:ext cx="32813" cy="87659"/>
              </a:xfrm>
              <a:custGeom>
                <a:avLst/>
                <a:gdLst/>
                <a:ahLst/>
                <a:cxnLst>
                  <a:cxn ang="0">
                    <a:pos x="21" y="56"/>
                  </a:cxn>
                  <a:cxn ang="0">
                    <a:pos x="11" y="56"/>
                  </a:cxn>
                  <a:cxn ang="0">
                    <a:pos x="11" y="9"/>
                  </a:cxn>
                  <a:cxn ang="0">
                    <a:pos x="0" y="9"/>
                  </a:cxn>
                  <a:cxn ang="0">
                    <a:pos x="4" y="0"/>
                  </a:cxn>
                  <a:cxn ang="0">
                    <a:pos x="21" y="0"/>
                  </a:cxn>
                  <a:cxn ang="0">
                    <a:pos x="21" y="56"/>
                  </a:cxn>
                </a:cxnLst>
                <a:rect l="0" t="0" r="r" b="b"/>
                <a:pathLst>
                  <a:path w="21" h="56">
                    <a:moveTo>
                      <a:pt x="21" y="56"/>
                    </a:moveTo>
                    <a:lnTo>
                      <a:pt x="11" y="56"/>
                    </a:lnTo>
                    <a:lnTo>
                      <a:pt x="11" y="9"/>
                    </a:lnTo>
                    <a:lnTo>
                      <a:pt x="0" y="9"/>
                    </a:lnTo>
                    <a:lnTo>
                      <a:pt x="4" y="0"/>
                    </a:lnTo>
                    <a:lnTo>
                      <a:pt x="21" y="0"/>
                    </a:lnTo>
                    <a:lnTo>
                      <a:pt x="21" y="56"/>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38" name="Freeform 218"/>
              <p:cNvSpPr>
                <a:spLocks noEditPoints="1"/>
              </p:cNvSpPr>
              <p:nvPr/>
            </p:nvSpPr>
            <p:spPr bwMode="auto">
              <a:xfrm>
                <a:off x="2866858" y="3603694"/>
                <a:ext cx="60938" cy="90790"/>
              </a:xfrm>
              <a:custGeom>
                <a:avLst/>
                <a:gdLst/>
                <a:ahLst/>
                <a:cxnLst>
                  <a:cxn ang="0">
                    <a:pos x="51" y="38"/>
                  </a:cxn>
                  <a:cxn ang="0">
                    <a:pos x="44" y="65"/>
                  </a:cxn>
                  <a:cxn ang="0">
                    <a:pos x="26" y="76"/>
                  </a:cxn>
                  <a:cxn ang="0">
                    <a:pos x="7" y="65"/>
                  </a:cxn>
                  <a:cxn ang="0">
                    <a:pos x="0" y="38"/>
                  </a:cxn>
                  <a:cxn ang="0">
                    <a:pos x="7" y="10"/>
                  </a:cxn>
                  <a:cxn ang="0">
                    <a:pos x="26" y="0"/>
                  </a:cxn>
                  <a:cxn ang="0">
                    <a:pos x="44" y="10"/>
                  </a:cxn>
                  <a:cxn ang="0">
                    <a:pos x="51" y="38"/>
                  </a:cxn>
                  <a:cxn ang="0">
                    <a:pos x="38" y="38"/>
                  </a:cxn>
                  <a:cxn ang="0">
                    <a:pos x="34" y="19"/>
                  </a:cxn>
                  <a:cxn ang="0">
                    <a:pos x="26" y="12"/>
                  </a:cxn>
                  <a:cxn ang="0">
                    <a:pos x="17" y="19"/>
                  </a:cxn>
                  <a:cxn ang="0">
                    <a:pos x="14" y="38"/>
                  </a:cxn>
                  <a:cxn ang="0">
                    <a:pos x="17" y="56"/>
                  </a:cxn>
                  <a:cxn ang="0">
                    <a:pos x="26" y="63"/>
                  </a:cxn>
                  <a:cxn ang="0">
                    <a:pos x="34" y="56"/>
                  </a:cxn>
                  <a:cxn ang="0">
                    <a:pos x="38" y="38"/>
                  </a:cxn>
                </a:cxnLst>
                <a:rect l="0" t="0" r="r" b="b"/>
                <a:pathLst>
                  <a:path w="51" h="76">
                    <a:moveTo>
                      <a:pt x="51" y="38"/>
                    </a:moveTo>
                    <a:cubicBezTo>
                      <a:pt x="51" y="49"/>
                      <a:pt x="49" y="58"/>
                      <a:pt x="44" y="65"/>
                    </a:cubicBezTo>
                    <a:cubicBezTo>
                      <a:pt x="40" y="72"/>
                      <a:pt x="33" y="76"/>
                      <a:pt x="26" y="76"/>
                    </a:cubicBezTo>
                    <a:cubicBezTo>
                      <a:pt x="18" y="76"/>
                      <a:pt x="11" y="72"/>
                      <a:pt x="7" y="65"/>
                    </a:cubicBezTo>
                    <a:cubicBezTo>
                      <a:pt x="2" y="58"/>
                      <a:pt x="0" y="49"/>
                      <a:pt x="0" y="38"/>
                    </a:cubicBezTo>
                    <a:cubicBezTo>
                      <a:pt x="0" y="26"/>
                      <a:pt x="2" y="17"/>
                      <a:pt x="7" y="10"/>
                    </a:cubicBezTo>
                    <a:cubicBezTo>
                      <a:pt x="11" y="4"/>
                      <a:pt x="18" y="0"/>
                      <a:pt x="26" y="0"/>
                    </a:cubicBezTo>
                    <a:cubicBezTo>
                      <a:pt x="33" y="0"/>
                      <a:pt x="40" y="3"/>
                      <a:pt x="44" y="10"/>
                    </a:cubicBezTo>
                    <a:cubicBezTo>
                      <a:pt x="49" y="17"/>
                      <a:pt x="51" y="26"/>
                      <a:pt x="51" y="38"/>
                    </a:cubicBezTo>
                    <a:close/>
                    <a:moveTo>
                      <a:pt x="38" y="38"/>
                    </a:moveTo>
                    <a:cubicBezTo>
                      <a:pt x="38" y="30"/>
                      <a:pt x="36" y="24"/>
                      <a:pt x="34" y="19"/>
                    </a:cubicBezTo>
                    <a:cubicBezTo>
                      <a:pt x="32" y="15"/>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4" y="56"/>
                    </a:cubicBezTo>
                    <a:cubicBezTo>
                      <a:pt x="36" y="51"/>
                      <a:pt x="38" y="45"/>
                      <a:pt x="38" y="38"/>
                    </a:cubicBez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39" name="Freeform 219"/>
              <p:cNvSpPr>
                <a:spLocks/>
              </p:cNvSpPr>
              <p:nvPr/>
            </p:nvSpPr>
            <p:spPr bwMode="auto">
              <a:xfrm>
                <a:off x="2929359" y="3605260"/>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40" name="Freeform 220"/>
              <p:cNvSpPr>
                <a:spLocks noEditPoints="1"/>
              </p:cNvSpPr>
              <p:nvPr/>
            </p:nvSpPr>
            <p:spPr bwMode="auto">
              <a:xfrm>
                <a:off x="2976235" y="3603694"/>
                <a:ext cx="62501" cy="90790"/>
              </a:xfrm>
              <a:custGeom>
                <a:avLst/>
                <a:gdLst/>
                <a:ahLst/>
                <a:cxnLst>
                  <a:cxn ang="0">
                    <a:pos x="52" y="38"/>
                  </a:cxn>
                  <a:cxn ang="0">
                    <a:pos x="45" y="65"/>
                  </a:cxn>
                  <a:cxn ang="0">
                    <a:pos x="26" y="76"/>
                  </a:cxn>
                  <a:cxn ang="0">
                    <a:pos x="7" y="65"/>
                  </a:cxn>
                  <a:cxn ang="0">
                    <a:pos x="0" y="38"/>
                  </a:cxn>
                  <a:cxn ang="0">
                    <a:pos x="7" y="10"/>
                  </a:cxn>
                  <a:cxn ang="0">
                    <a:pos x="26" y="0"/>
                  </a:cxn>
                  <a:cxn ang="0">
                    <a:pos x="45" y="10"/>
                  </a:cxn>
                  <a:cxn ang="0">
                    <a:pos x="52" y="38"/>
                  </a:cxn>
                  <a:cxn ang="0">
                    <a:pos x="38" y="38"/>
                  </a:cxn>
                  <a:cxn ang="0">
                    <a:pos x="34" y="19"/>
                  </a:cxn>
                  <a:cxn ang="0">
                    <a:pos x="26" y="12"/>
                  </a:cxn>
                  <a:cxn ang="0">
                    <a:pos x="17" y="19"/>
                  </a:cxn>
                  <a:cxn ang="0">
                    <a:pos x="14" y="38"/>
                  </a:cxn>
                  <a:cxn ang="0">
                    <a:pos x="17" y="56"/>
                  </a:cxn>
                  <a:cxn ang="0">
                    <a:pos x="26" y="63"/>
                  </a:cxn>
                  <a:cxn ang="0">
                    <a:pos x="35" y="56"/>
                  </a:cxn>
                  <a:cxn ang="0">
                    <a:pos x="38" y="38"/>
                  </a:cxn>
                </a:cxnLst>
                <a:rect l="0" t="0" r="r" b="b"/>
                <a:pathLst>
                  <a:path w="52" h="76">
                    <a:moveTo>
                      <a:pt x="52" y="38"/>
                    </a:moveTo>
                    <a:cubicBezTo>
                      <a:pt x="52" y="49"/>
                      <a:pt x="49" y="58"/>
                      <a:pt x="45" y="65"/>
                    </a:cubicBezTo>
                    <a:cubicBezTo>
                      <a:pt x="40" y="72"/>
                      <a:pt x="34" y="76"/>
                      <a:pt x="26" y="76"/>
                    </a:cubicBezTo>
                    <a:cubicBezTo>
                      <a:pt x="18" y="76"/>
                      <a:pt x="12" y="72"/>
                      <a:pt x="7" y="65"/>
                    </a:cubicBezTo>
                    <a:cubicBezTo>
                      <a:pt x="2" y="58"/>
                      <a:pt x="0" y="49"/>
                      <a:pt x="0" y="38"/>
                    </a:cubicBezTo>
                    <a:cubicBezTo>
                      <a:pt x="0" y="26"/>
                      <a:pt x="2" y="17"/>
                      <a:pt x="7" y="10"/>
                    </a:cubicBezTo>
                    <a:cubicBezTo>
                      <a:pt x="12" y="4"/>
                      <a:pt x="18" y="0"/>
                      <a:pt x="26" y="0"/>
                    </a:cubicBezTo>
                    <a:cubicBezTo>
                      <a:pt x="34" y="0"/>
                      <a:pt x="40" y="3"/>
                      <a:pt x="45" y="10"/>
                    </a:cubicBezTo>
                    <a:cubicBezTo>
                      <a:pt x="49" y="17"/>
                      <a:pt x="52" y="26"/>
                      <a:pt x="52" y="38"/>
                    </a:cubicBezTo>
                    <a:close/>
                    <a:moveTo>
                      <a:pt x="38" y="38"/>
                    </a:moveTo>
                    <a:cubicBezTo>
                      <a:pt x="38" y="30"/>
                      <a:pt x="37" y="24"/>
                      <a:pt x="34" y="19"/>
                    </a:cubicBezTo>
                    <a:cubicBezTo>
                      <a:pt x="32" y="15"/>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5" y="56"/>
                    </a:cubicBezTo>
                    <a:cubicBezTo>
                      <a:pt x="37" y="51"/>
                      <a:pt x="38" y="45"/>
                      <a:pt x="38" y="38"/>
                    </a:cubicBez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41" name="Freeform 221"/>
              <p:cNvSpPr>
                <a:spLocks/>
              </p:cNvSpPr>
              <p:nvPr/>
            </p:nvSpPr>
            <p:spPr bwMode="auto">
              <a:xfrm>
                <a:off x="3040299" y="3605260"/>
                <a:ext cx="32813" cy="87659"/>
              </a:xfrm>
              <a:custGeom>
                <a:avLst/>
                <a:gdLst/>
                <a:ahLst/>
                <a:cxnLst>
                  <a:cxn ang="0">
                    <a:pos x="21" y="56"/>
                  </a:cxn>
                  <a:cxn ang="0">
                    <a:pos x="11" y="56"/>
                  </a:cxn>
                  <a:cxn ang="0">
                    <a:pos x="11" y="9"/>
                  </a:cxn>
                  <a:cxn ang="0">
                    <a:pos x="0" y="9"/>
                  </a:cxn>
                  <a:cxn ang="0">
                    <a:pos x="5" y="0"/>
                  </a:cxn>
                  <a:cxn ang="0">
                    <a:pos x="21" y="0"/>
                  </a:cxn>
                  <a:cxn ang="0">
                    <a:pos x="21" y="56"/>
                  </a:cxn>
                </a:cxnLst>
                <a:rect l="0" t="0" r="r" b="b"/>
                <a:pathLst>
                  <a:path w="21" h="56">
                    <a:moveTo>
                      <a:pt x="21" y="56"/>
                    </a:moveTo>
                    <a:lnTo>
                      <a:pt x="11" y="56"/>
                    </a:lnTo>
                    <a:lnTo>
                      <a:pt x="11" y="9"/>
                    </a:lnTo>
                    <a:lnTo>
                      <a:pt x="0" y="9"/>
                    </a:lnTo>
                    <a:lnTo>
                      <a:pt x="5" y="0"/>
                    </a:lnTo>
                    <a:lnTo>
                      <a:pt x="21" y="0"/>
                    </a:lnTo>
                    <a:lnTo>
                      <a:pt x="21" y="56"/>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42" name="Freeform 222"/>
              <p:cNvSpPr>
                <a:spLocks/>
              </p:cNvSpPr>
              <p:nvPr/>
            </p:nvSpPr>
            <p:spPr bwMode="auto">
              <a:xfrm>
                <a:off x="3080924" y="3605260"/>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43" name="Freeform 223"/>
              <p:cNvSpPr>
                <a:spLocks/>
              </p:cNvSpPr>
              <p:nvPr/>
            </p:nvSpPr>
            <p:spPr bwMode="auto">
              <a:xfrm>
                <a:off x="3121550" y="3605260"/>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44" name="Freeform 234"/>
              <p:cNvSpPr>
                <a:spLocks noEditPoints="1"/>
              </p:cNvSpPr>
              <p:nvPr/>
            </p:nvSpPr>
            <p:spPr bwMode="auto">
              <a:xfrm>
                <a:off x="2360600" y="3741444"/>
                <a:ext cx="62501" cy="92355"/>
              </a:xfrm>
              <a:custGeom>
                <a:avLst/>
                <a:gdLst/>
                <a:ahLst/>
                <a:cxnLst>
                  <a:cxn ang="0">
                    <a:pos x="51" y="38"/>
                  </a:cxn>
                  <a:cxn ang="0">
                    <a:pos x="44" y="65"/>
                  </a:cxn>
                  <a:cxn ang="0">
                    <a:pos x="26" y="76"/>
                  </a:cxn>
                  <a:cxn ang="0">
                    <a:pos x="7" y="65"/>
                  </a:cxn>
                  <a:cxn ang="0">
                    <a:pos x="0" y="38"/>
                  </a:cxn>
                  <a:cxn ang="0">
                    <a:pos x="7" y="11"/>
                  </a:cxn>
                  <a:cxn ang="0">
                    <a:pos x="26" y="0"/>
                  </a:cxn>
                  <a:cxn ang="0">
                    <a:pos x="44" y="10"/>
                  </a:cxn>
                  <a:cxn ang="0">
                    <a:pos x="51" y="38"/>
                  </a:cxn>
                  <a:cxn ang="0">
                    <a:pos x="38" y="38"/>
                  </a:cxn>
                  <a:cxn ang="0">
                    <a:pos x="34" y="20"/>
                  </a:cxn>
                  <a:cxn ang="0">
                    <a:pos x="26" y="13"/>
                  </a:cxn>
                  <a:cxn ang="0">
                    <a:pos x="17" y="20"/>
                  </a:cxn>
                  <a:cxn ang="0">
                    <a:pos x="14" y="38"/>
                  </a:cxn>
                  <a:cxn ang="0">
                    <a:pos x="17" y="56"/>
                  </a:cxn>
                  <a:cxn ang="0">
                    <a:pos x="26" y="63"/>
                  </a:cxn>
                  <a:cxn ang="0">
                    <a:pos x="34" y="56"/>
                  </a:cxn>
                  <a:cxn ang="0">
                    <a:pos x="38" y="38"/>
                  </a:cxn>
                </a:cxnLst>
                <a:rect l="0" t="0" r="r" b="b"/>
                <a:pathLst>
                  <a:path w="51" h="76">
                    <a:moveTo>
                      <a:pt x="51" y="38"/>
                    </a:moveTo>
                    <a:cubicBezTo>
                      <a:pt x="51" y="49"/>
                      <a:pt x="49" y="58"/>
                      <a:pt x="44" y="65"/>
                    </a:cubicBezTo>
                    <a:cubicBezTo>
                      <a:pt x="40" y="72"/>
                      <a:pt x="33" y="76"/>
                      <a:pt x="26" y="76"/>
                    </a:cubicBezTo>
                    <a:cubicBezTo>
                      <a:pt x="18" y="76"/>
                      <a:pt x="11" y="72"/>
                      <a:pt x="7" y="65"/>
                    </a:cubicBezTo>
                    <a:cubicBezTo>
                      <a:pt x="2" y="59"/>
                      <a:pt x="0" y="49"/>
                      <a:pt x="0" y="38"/>
                    </a:cubicBezTo>
                    <a:cubicBezTo>
                      <a:pt x="0" y="27"/>
                      <a:pt x="2" y="17"/>
                      <a:pt x="7" y="11"/>
                    </a:cubicBezTo>
                    <a:cubicBezTo>
                      <a:pt x="11" y="4"/>
                      <a:pt x="18" y="0"/>
                      <a:pt x="26" y="0"/>
                    </a:cubicBezTo>
                    <a:cubicBezTo>
                      <a:pt x="33" y="0"/>
                      <a:pt x="40" y="4"/>
                      <a:pt x="44" y="10"/>
                    </a:cubicBezTo>
                    <a:cubicBezTo>
                      <a:pt x="49" y="17"/>
                      <a:pt x="51" y="26"/>
                      <a:pt x="51" y="38"/>
                    </a:cubicBezTo>
                    <a:close/>
                    <a:moveTo>
                      <a:pt x="38" y="38"/>
                    </a:moveTo>
                    <a:cubicBezTo>
                      <a:pt x="38" y="30"/>
                      <a:pt x="36" y="24"/>
                      <a:pt x="34" y="20"/>
                    </a:cubicBezTo>
                    <a:cubicBezTo>
                      <a:pt x="32" y="15"/>
                      <a:pt x="29" y="13"/>
                      <a:pt x="26" y="13"/>
                    </a:cubicBezTo>
                    <a:cubicBezTo>
                      <a:pt x="22" y="13"/>
                      <a:pt x="19" y="15"/>
                      <a:pt x="17" y="20"/>
                    </a:cubicBezTo>
                    <a:cubicBezTo>
                      <a:pt x="15" y="24"/>
                      <a:pt x="14" y="30"/>
                      <a:pt x="14" y="38"/>
                    </a:cubicBezTo>
                    <a:cubicBezTo>
                      <a:pt x="14" y="45"/>
                      <a:pt x="15" y="52"/>
                      <a:pt x="17" y="56"/>
                    </a:cubicBezTo>
                    <a:cubicBezTo>
                      <a:pt x="19" y="61"/>
                      <a:pt x="22" y="63"/>
                      <a:pt x="26" y="63"/>
                    </a:cubicBezTo>
                    <a:cubicBezTo>
                      <a:pt x="29" y="63"/>
                      <a:pt x="32" y="61"/>
                      <a:pt x="34" y="56"/>
                    </a:cubicBezTo>
                    <a:cubicBezTo>
                      <a:pt x="36" y="52"/>
                      <a:pt x="38" y="45"/>
                      <a:pt x="38" y="38"/>
                    </a:cubicBez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45" name="Freeform 235"/>
              <p:cNvSpPr>
                <a:spLocks/>
              </p:cNvSpPr>
              <p:nvPr/>
            </p:nvSpPr>
            <p:spPr bwMode="auto">
              <a:xfrm>
                <a:off x="2424664" y="3744575"/>
                <a:ext cx="32813" cy="86094"/>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46" name="Freeform 236"/>
              <p:cNvSpPr>
                <a:spLocks noEditPoints="1"/>
              </p:cNvSpPr>
              <p:nvPr/>
            </p:nvSpPr>
            <p:spPr bwMode="auto">
              <a:xfrm>
                <a:off x="2471540" y="3741444"/>
                <a:ext cx="62501" cy="92355"/>
              </a:xfrm>
              <a:custGeom>
                <a:avLst/>
                <a:gdLst/>
                <a:ahLst/>
                <a:cxnLst>
                  <a:cxn ang="0">
                    <a:pos x="52" y="38"/>
                  </a:cxn>
                  <a:cxn ang="0">
                    <a:pos x="45" y="65"/>
                  </a:cxn>
                  <a:cxn ang="0">
                    <a:pos x="26" y="76"/>
                  </a:cxn>
                  <a:cxn ang="0">
                    <a:pos x="7" y="65"/>
                  </a:cxn>
                  <a:cxn ang="0">
                    <a:pos x="0" y="38"/>
                  </a:cxn>
                  <a:cxn ang="0">
                    <a:pos x="7" y="11"/>
                  </a:cxn>
                  <a:cxn ang="0">
                    <a:pos x="26" y="0"/>
                  </a:cxn>
                  <a:cxn ang="0">
                    <a:pos x="45" y="10"/>
                  </a:cxn>
                  <a:cxn ang="0">
                    <a:pos x="52" y="38"/>
                  </a:cxn>
                  <a:cxn ang="0">
                    <a:pos x="38" y="38"/>
                  </a:cxn>
                  <a:cxn ang="0">
                    <a:pos x="34" y="20"/>
                  </a:cxn>
                  <a:cxn ang="0">
                    <a:pos x="26" y="13"/>
                  </a:cxn>
                  <a:cxn ang="0">
                    <a:pos x="17" y="20"/>
                  </a:cxn>
                  <a:cxn ang="0">
                    <a:pos x="14" y="38"/>
                  </a:cxn>
                  <a:cxn ang="0">
                    <a:pos x="17" y="56"/>
                  </a:cxn>
                  <a:cxn ang="0">
                    <a:pos x="26" y="63"/>
                  </a:cxn>
                  <a:cxn ang="0">
                    <a:pos x="35" y="56"/>
                  </a:cxn>
                  <a:cxn ang="0">
                    <a:pos x="38" y="38"/>
                  </a:cxn>
                </a:cxnLst>
                <a:rect l="0" t="0" r="r" b="b"/>
                <a:pathLst>
                  <a:path w="52" h="76">
                    <a:moveTo>
                      <a:pt x="52" y="38"/>
                    </a:moveTo>
                    <a:cubicBezTo>
                      <a:pt x="52" y="49"/>
                      <a:pt x="49" y="58"/>
                      <a:pt x="45" y="65"/>
                    </a:cubicBezTo>
                    <a:cubicBezTo>
                      <a:pt x="40" y="72"/>
                      <a:pt x="34" y="76"/>
                      <a:pt x="26" y="76"/>
                    </a:cubicBezTo>
                    <a:cubicBezTo>
                      <a:pt x="18" y="76"/>
                      <a:pt x="12" y="72"/>
                      <a:pt x="7" y="65"/>
                    </a:cubicBezTo>
                    <a:cubicBezTo>
                      <a:pt x="2" y="59"/>
                      <a:pt x="0" y="49"/>
                      <a:pt x="0" y="38"/>
                    </a:cubicBezTo>
                    <a:cubicBezTo>
                      <a:pt x="0" y="27"/>
                      <a:pt x="2" y="17"/>
                      <a:pt x="7" y="11"/>
                    </a:cubicBezTo>
                    <a:cubicBezTo>
                      <a:pt x="12" y="4"/>
                      <a:pt x="18" y="0"/>
                      <a:pt x="26" y="0"/>
                    </a:cubicBezTo>
                    <a:cubicBezTo>
                      <a:pt x="34" y="0"/>
                      <a:pt x="40" y="4"/>
                      <a:pt x="45" y="10"/>
                    </a:cubicBezTo>
                    <a:cubicBezTo>
                      <a:pt x="49" y="17"/>
                      <a:pt x="52" y="26"/>
                      <a:pt x="52" y="38"/>
                    </a:cubicBezTo>
                    <a:close/>
                    <a:moveTo>
                      <a:pt x="38" y="38"/>
                    </a:moveTo>
                    <a:cubicBezTo>
                      <a:pt x="38" y="30"/>
                      <a:pt x="37" y="24"/>
                      <a:pt x="34" y="20"/>
                    </a:cubicBezTo>
                    <a:cubicBezTo>
                      <a:pt x="32" y="15"/>
                      <a:pt x="29" y="13"/>
                      <a:pt x="26" y="13"/>
                    </a:cubicBezTo>
                    <a:cubicBezTo>
                      <a:pt x="22" y="13"/>
                      <a:pt x="19" y="15"/>
                      <a:pt x="17" y="20"/>
                    </a:cubicBezTo>
                    <a:cubicBezTo>
                      <a:pt x="15" y="24"/>
                      <a:pt x="14" y="30"/>
                      <a:pt x="14" y="38"/>
                    </a:cubicBezTo>
                    <a:cubicBezTo>
                      <a:pt x="14" y="45"/>
                      <a:pt x="15" y="52"/>
                      <a:pt x="17" y="56"/>
                    </a:cubicBezTo>
                    <a:cubicBezTo>
                      <a:pt x="19" y="61"/>
                      <a:pt x="22" y="63"/>
                      <a:pt x="26" y="63"/>
                    </a:cubicBezTo>
                    <a:cubicBezTo>
                      <a:pt x="29" y="63"/>
                      <a:pt x="32" y="61"/>
                      <a:pt x="35" y="56"/>
                    </a:cubicBezTo>
                    <a:cubicBezTo>
                      <a:pt x="37" y="52"/>
                      <a:pt x="38" y="45"/>
                      <a:pt x="38" y="38"/>
                    </a:cubicBez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47" name="Freeform 237"/>
              <p:cNvSpPr>
                <a:spLocks/>
              </p:cNvSpPr>
              <p:nvPr/>
            </p:nvSpPr>
            <p:spPr bwMode="auto">
              <a:xfrm>
                <a:off x="2535603" y="3744575"/>
                <a:ext cx="32813" cy="86094"/>
              </a:xfrm>
              <a:custGeom>
                <a:avLst/>
                <a:gdLst/>
                <a:ahLst/>
                <a:cxnLst>
                  <a:cxn ang="0">
                    <a:pos x="21" y="55"/>
                  </a:cxn>
                  <a:cxn ang="0">
                    <a:pos x="11" y="55"/>
                  </a:cxn>
                  <a:cxn ang="0">
                    <a:pos x="11" y="9"/>
                  </a:cxn>
                  <a:cxn ang="0">
                    <a:pos x="0" y="9"/>
                  </a:cxn>
                  <a:cxn ang="0">
                    <a:pos x="5" y="0"/>
                  </a:cxn>
                  <a:cxn ang="0">
                    <a:pos x="21" y="0"/>
                  </a:cxn>
                  <a:cxn ang="0">
                    <a:pos x="21" y="55"/>
                  </a:cxn>
                </a:cxnLst>
                <a:rect l="0" t="0" r="r" b="b"/>
                <a:pathLst>
                  <a:path w="21" h="55">
                    <a:moveTo>
                      <a:pt x="21" y="55"/>
                    </a:moveTo>
                    <a:lnTo>
                      <a:pt x="11" y="55"/>
                    </a:lnTo>
                    <a:lnTo>
                      <a:pt x="11" y="9"/>
                    </a:lnTo>
                    <a:lnTo>
                      <a:pt x="0" y="9"/>
                    </a:lnTo>
                    <a:lnTo>
                      <a:pt x="5" y="0"/>
                    </a:lnTo>
                    <a:lnTo>
                      <a:pt x="21" y="0"/>
                    </a:lnTo>
                    <a:lnTo>
                      <a:pt x="21" y="55"/>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48" name="Freeform 238"/>
              <p:cNvSpPr>
                <a:spLocks/>
              </p:cNvSpPr>
              <p:nvPr/>
            </p:nvSpPr>
            <p:spPr bwMode="auto">
              <a:xfrm>
                <a:off x="2576229" y="3744575"/>
                <a:ext cx="32813" cy="86094"/>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49" name="Freeform 239"/>
              <p:cNvSpPr>
                <a:spLocks/>
              </p:cNvSpPr>
              <p:nvPr/>
            </p:nvSpPr>
            <p:spPr bwMode="auto">
              <a:xfrm>
                <a:off x="2616855" y="3744575"/>
                <a:ext cx="32813" cy="86094"/>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50" name="Freeform 240"/>
              <p:cNvSpPr>
                <a:spLocks/>
              </p:cNvSpPr>
              <p:nvPr/>
            </p:nvSpPr>
            <p:spPr bwMode="auto">
              <a:xfrm>
                <a:off x="2657480" y="3744575"/>
                <a:ext cx="32813" cy="86094"/>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51" name="Freeform 241"/>
              <p:cNvSpPr>
                <a:spLocks noEditPoints="1"/>
              </p:cNvSpPr>
              <p:nvPr/>
            </p:nvSpPr>
            <p:spPr bwMode="auto">
              <a:xfrm>
                <a:off x="2704356" y="3741444"/>
                <a:ext cx="62501" cy="92355"/>
              </a:xfrm>
              <a:custGeom>
                <a:avLst/>
                <a:gdLst/>
                <a:ahLst/>
                <a:cxnLst>
                  <a:cxn ang="0">
                    <a:pos x="52" y="38"/>
                  </a:cxn>
                  <a:cxn ang="0">
                    <a:pos x="44" y="65"/>
                  </a:cxn>
                  <a:cxn ang="0">
                    <a:pos x="26" y="76"/>
                  </a:cxn>
                  <a:cxn ang="0">
                    <a:pos x="7" y="65"/>
                  </a:cxn>
                  <a:cxn ang="0">
                    <a:pos x="0" y="38"/>
                  </a:cxn>
                  <a:cxn ang="0">
                    <a:pos x="7" y="11"/>
                  </a:cxn>
                  <a:cxn ang="0">
                    <a:pos x="26" y="0"/>
                  </a:cxn>
                  <a:cxn ang="0">
                    <a:pos x="45" y="10"/>
                  </a:cxn>
                  <a:cxn ang="0">
                    <a:pos x="52" y="38"/>
                  </a:cxn>
                  <a:cxn ang="0">
                    <a:pos x="38" y="38"/>
                  </a:cxn>
                  <a:cxn ang="0">
                    <a:pos x="34" y="20"/>
                  </a:cxn>
                  <a:cxn ang="0">
                    <a:pos x="26" y="13"/>
                  </a:cxn>
                  <a:cxn ang="0">
                    <a:pos x="17" y="20"/>
                  </a:cxn>
                  <a:cxn ang="0">
                    <a:pos x="14" y="38"/>
                  </a:cxn>
                  <a:cxn ang="0">
                    <a:pos x="17" y="56"/>
                  </a:cxn>
                  <a:cxn ang="0">
                    <a:pos x="26" y="63"/>
                  </a:cxn>
                  <a:cxn ang="0">
                    <a:pos x="34" y="56"/>
                  </a:cxn>
                  <a:cxn ang="0">
                    <a:pos x="38" y="38"/>
                  </a:cxn>
                </a:cxnLst>
                <a:rect l="0" t="0" r="r" b="b"/>
                <a:pathLst>
                  <a:path w="52" h="76">
                    <a:moveTo>
                      <a:pt x="52" y="38"/>
                    </a:moveTo>
                    <a:cubicBezTo>
                      <a:pt x="52" y="49"/>
                      <a:pt x="49" y="58"/>
                      <a:pt x="44" y="65"/>
                    </a:cubicBezTo>
                    <a:cubicBezTo>
                      <a:pt x="40" y="72"/>
                      <a:pt x="33" y="76"/>
                      <a:pt x="26" y="76"/>
                    </a:cubicBezTo>
                    <a:cubicBezTo>
                      <a:pt x="18" y="76"/>
                      <a:pt x="12" y="72"/>
                      <a:pt x="7" y="65"/>
                    </a:cubicBezTo>
                    <a:cubicBezTo>
                      <a:pt x="2" y="59"/>
                      <a:pt x="0" y="49"/>
                      <a:pt x="0" y="38"/>
                    </a:cubicBezTo>
                    <a:cubicBezTo>
                      <a:pt x="0" y="27"/>
                      <a:pt x="2" y="17"/>
                      <a:pt x="7" y="11"/>
                    </a:cubicBezTo>
                    <a:cubicBezTo>
                      <a:pt x="12" y="4"/>
                      <a:pt x="18" y="0"/>
                      <a:pt x="26" y="0"/>
                    </a:cubicBezTo>
                    <a:cubicBezTo>
                      <a:pt x="34" y="0"/>
                      <a:pt x="40" y="4"/>
                      <a:pt x="45" y="10"/>
                    </a:cubicBezTo>
                    <a:cubicBezTo>
                      <a:pt x="49" y="17"/>
                      <a:pt x="52" y="26"/>
                      <a:pt x="52" y="38"/>
                    </a:cubicBezTo>
                    <a:close/>
                    <a:moveTo>
                      <a:pt x="38" y="38"/>
                    </a:moveTo>
                    <a:cubicBezTo>
                      <a:pt x="38" y="30"/>
                      <a:pt x="37" y="24"/>
                      <a:pt x="34" y="20"/>
                    </a:cubicBezTo>
                    <a:cubicBezTo>
                      <a:pt x="32" y="15"/>
                      <a:pt x="29" y="13"/>
                      <a:pt x="26" y="13"/>
                    </a:cubicBezTo>
                    <a:cubicBezTo>
                      <a:pt x="22" y="13"/>
                      <a:pt x="19" y="15"/>
                      <a:pt x="17" y="20"/>
                    </a:cubicBezTo>
                    <a:cubicBezTo>
                      <a:pt x="15" y="24"/>
                      <a:pt x="14" y="30"/>
                      <a:pt x="14" y="38"/>
                    </a:cubicBezTo>
                    <a:cubicBezTo>
                      <a:pt x="14" y="45"/>
                      <a:pt x="15" y="52"/>
                      <a:pt x="17" y="56"/>
                    </a:cubicBezTo>
                    <a:cubicBezTo>
                      <a:pt x="19" y="61"/>
                      <a:pt x="22" y="63"/>
                      <a:pt x="26" y="63"/>
                    </a:cubicBezTo>
                    <a:cubicBezTo>
                      <a:pt x="29" y="63"/>
                      <a:pt x="32" y="61"/>
                      <a:pt x="34" y="56"/>
                    </a:cubicBezTo>
                    <a:cubicBezTo>
                      <a:pt x="37" y="52"/>
                      <a:pt x="38" y="45"/>
                      <a:pt x="38" y="38"/>
                    </a:cubicBez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52" name="Freeform 242"/>
              <p:cNvSpPr>
                <a:spLocks noEditPoints="1"/>
              </p:cNvSpPr>
              <p:nvPr/>
            </p:nvSpPr>
            <p:spPr bwMode="auto">
              <a:xfrm>
                <a:off x="2771544" y="3741444"/>
                <a:ext cx="62501" cy="92355"/>
              </a:xfrm>
              <a:custGeom>
                <a:avLst/>
                <a:gdLst/>
                <a:ahLst/>
                <a:cxnLst>
                  <a:cxn ang="0">
                    <a:pos x="52" y="38"/>
                  </a:cxn>
                  <a:cxn ang="0">
                    <a:pos x="45" y="65"/>
                  </a:cxn>
                  <a:cxn ang="0">
                    <a:pos x="26" y="76"/>
                  </a:cxn>
                  <a:cxn ang="0">
                    <a:pos x="7" y="65"/>
                  </a:cxn>
                  <a:cxn ang="0">
                    <a:pos x="0" y="38"/>
                  </a:cxn>
                  <a:cxn ang="0">
                    <a:pos x="7" y="11"/>
                  </a:cxn>
                  <a:cxn ang="0">
                    <a:pos x="26" y="0"/>
                  </a:cxn>
                  <a:cxn ang="0">
                    <a:pos x="45" y="10"/>
                  </a:cxn>
                  <a:cxn ang="0">
                    <a:pos x="52" y="38"/>
                  </a:cxn>
                  <a:cxn ang="0">
                    <a:pos x="38" y="38"/>
                  </a:cxn>
                  <a:cxn ang="0">
                    <a:pos x="35" y="20"/>
                  </a:cxn>
                  <a:cxn ang="0">
                    <a:pos x="26" y="13"/>
                  </a:cxn>
                  <a:cxn ang="0">
                    <a:pos x="18" y="20"/>
                  </a:cxn>
                  <a:cxn ang="0">
                    <a:pos x="14" y="38"/>
                  </a:cxn>
                  <a:cxn ang="0">
                    <a:pos x="18" y="56"/>
                  </a:cxn>
                  <a:cxn ang="0">
                    <a:pos x="26" y="63"/>
                  </a:cxn>
                  <a:cxn ang="0">
                    <a:pos x="35" y="56"/>
                  </a:cxn>
                  <a:cxn ang="0">
                    <a:pos x="38" y="38"/>
                  </a:cxn>
                </a:cxnLst>
                <a:rect l="0" t="0" r="r" b="b"/>
                <a:pathLst>
                  <a:path w="52" h="76">
                    <a:moveTo>
                      <a:pt x="52" y="38"/>
                    </a:moveTo>
                    <a:cubicBezTo>
                      <a:pt x="52" y="49"/>
                      <a:pt x="50" y="58"/>
                      <a:pt x="45" y="65"/>
                    </a:cubicBezTo>
                    <a:cubicBezTo>
                      <a:pt x="40" y="72"/>
                      <a:pt x="34" y="76"/>
                      <a:pt x="26" y="76"/>
                    </a:cubicBezTo>
                    <a:cubicBezTo>
                      <a:pt x="18" y="76"/>
                      <a:pt x="12" y="72"/>
                      <a:pt x="7" y="65"/>
                    </a:cubicBezTo>
                    <a:cubicBezTo>
                      <a:pt x="3" y="59"/>
                      <a:pt x="0" y="49"/>
                      <a:pt x="0" y="38"/>
                    </a:cubicBezTo>
                    <a:cubicBezTo>
                      <a:pt x="0" y="27"/>
                      <a:pt x="3" y="17"/>
                      <a:pt x="7" y="11"/>
                    </a:cubicBezTo>
                    <a:cubicBezTo>
                      <a:pt x="12" y="4"/>
                      <a:pt x="18" y="0"/>
                      <a:pt x="26" y="0"/>
                    </a:cubicBezTo>
                    <a:cubicBezTo>
                      <a:pt x="34" y="0"/>
                      <a:pt x="40" y="4"/>
                      <a:pt x="45" y="10"/>
                    </a:cubicBezTo>
                    <a:cubicBezTo>
                      <a:pt x="50" y="17"/>
                      <a:pt x="52" y="26"/>
                      <a:pt x="52" y="38"/>
                    </a:cubicBezTo>
                    <a:close/>
                    <a:moveTo>
                      <a:pt x="38" y="38"/>
                    </a:moveTo>
                    <a:cubicBezTo>
                      <a:pt x="38" y="30"/>
                      <a:pt x="37" y="24"/>
                      <a:pt x="35" y="20"/>
                    </a:cubicBezTo>
                    <a:cubicBezTo>
                      <a:pt x="33" y="15"/>
                      <a:pt x="30" y="13"/>
                      <a:pt x="26" y="13"/>
                    </a:cubicBezTo>
                    <a:cubicBezTo>
                      <a:pt x="23" y="13"/>
                      <a:pt x="20" y="15"/>
                      <a:pt x="18" y="20"/>
                    </a:cubicBezTo>
                    <a:cubicBezTo>
                      <a:pt x="15" y="24"/>
                      <a:pt x="14" y="30"/>
                      <a:pt x="14" y="38"/>
                    </a:cubicBezTo>
                    <a:cubicBezTo>
                      <a:pt x="14" y="45"/>
                      <a:pt x="15" y="52"/>
                      <a:pt x="18" y="56"/>
                    </a:cubicBezTo>
                    <a:cubicBezTo>
                      <a:pt x="20" y="61"/>
                      <a:pt x="23" y="63"/>
                      <a:pt x="26" y="63"/>
                    </a:cubicBezTo>
                    <a:cubicBezTo>
                      <a:pt x="30" y="63"/>
                      <a:pt x="33" y="61"/>
                      <a:pt x="35" y="56"/>
                    </a:cubicBezTo>
                    <a:cubicBezTo>
                      <a:pt x="37" y="52"/>
                      <a:pt x="38" y="45"/>
                      <a:pt x="38" y="38"/>
                    </a:cubicBez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53" name="Freeform 243"/>
              <p:cNvSpPr>
                <a:spLocks/>
              </p:cNvSpPr>
              <p:nvPr/>
            </p:nvSpPr>
            <p:spPr bwMode="auto">
              <a:xfrm>
                <a:off x="2835608" y="3744575"/>
                <a:ext cx="32813" cy="86094"/>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54" name="Freeform 244"/>
              <p:cNvSpPr>
                <a:spLocks noEditPoints="1"/>
              </p:cNvSpPr>
              <p:nvPr/>
            </p:nvSpPr>
            <p:spPr bwMode="auto">
              <a:xfrm>
                <a:off x="2882484" y="3741444"/>
                <a:ext cx="62501" cy="92355"/>
              </a:xfrm>
              <a:custGeom>
                <a:avLst/>
                <a:gdLst/>
                <a:ahLst/>
                <a:cxnLst>
                  <a:cxn ang="0">
                    <a:pos x="51" y="38"/>
                  </a:cxn>
                  <a:cxn ang="0">
                    <a:pos x="44" y="65"/>
                  </a:cxn>
                  <a:cxn ang="0">
                    <a:pos x="25" y="76"/>
                  </a:cxn>
                  <a:cxn ang="0">
                    <a:pos x="7" y="65"/>
                  </a:cxn>
                  <a:cxn ang="0">
                    <a:pos x="0" y="38"/>
                  </a:cxn>
                  <a:cxn ang="0">
                    <a:pos x="7" y="11"/>
                  </a:cxn>
                  <a:cxn ang="0">
                    <a:pos x="25" y="0"/>
                  </a:cxn>
                  <a:cxn ang="0">
                    <a:pos x="44" y="10"/>
                  </a:cxn>
                  <a:cxn ang="0">
                    <a:pos x="51" y="38"/>
                  </a:cxn>
                  <a:cxn ang="0">
                    <a:pos x="38" y="38"/>
                  </a:cxn>
                  <a:cxn ang="0">
                    <a:pos x="34" y="20"/>
                  </a:cxn>
                  <a:cxn ang="0">
                    <a:pos x="25" y="13"/>
                  </a:cxn>
                  <a:cxn ang="0">
                    <a:pos x="17" y="20"/>
                  </a:cxn>
                  <a:cxn ang="0">
                    <a:pos x="14" y="38"/>
                  </a:cxn>
                  <a:cxn ang="0">
                    <a:pos x="17" y="56"/>
                  </a:cxn>
                  <a:cxn ang="0">
                    <a:pos x="25" y="63"/>
                  </a:cxn>
                  <a:cxn ang="0">
                    <a:pos x="34" y="56"/>
                  </a:cxn>
                  <a:cxn ang="0">
                    <a:pos x="38" y="38"/>
                  </a:cxn>
                </a:cxnLst>
                <a:rect l="0" t="0" r="r" b="b"/>
                <a:pathLst>
                  <a:path w="51" h="76">
                    <a:moveTo>
                      <a:pt x="51" y="38"/>
                    </a:moveTo>
                    <a:cubicBezTo>
                      <a:pt x="51" y="49"/>
                      <a:pt x="49" y="58"/>
                      <a:pt x="44" y="65"/>
                    </a:cubicBezTo>
                    <a:cubicBezTo>
                      <a:pt x="40" y="72"/>
                      <a:pt x="33" y="76"/>
                      <a:pt x="25" y="76"/>
                    </a:cubicBezTo>
                    <a:cubicBezTo>
                      <a:pt x="18" y="76"/>
                      <a:pt x="11" y="72"/>
                      <a:pt x="7" y="65"/>
                    </a:cubicBezTo>
                    <a:cubicBezTo>
                      <a:pt x="2" y="59"/>
                      <a:pt x="0" y="49"/>
                      <a:pt x="0" y="38"/>
                    </a:cubicBezTo>
                    <a:cubicBezTo>
                      <a:pt x="0" y="27"/>
                      <a:pt x="2" y="17"/>
                      <a:pt x="7" y="11"/>
                    </a:cubicBezTo>
                    <a:cubicBezTo>
                      <a:pt x="11" y="4"/>
                      <a:pt x="18" y="0"/>
                      <a:pt x="25" y="0"/>
                    </a:cubicBezTo>
                    <a:cubicBezTo>
                      <a:pt x="33" y="0"/>
                      <a:pt x="40" y="4"/>
                      <a:pt x="44" y="10"/>
                    </a:cubicBezTo>
                    <a:cubicBezTo>
                      <a:pt x="49" y="17"/>
                      <a:pt x="51" y="26"/>
                      <a:pt x="51" y="38"/>
                    </a:cubicBezTo>
                    <a:close/>
                    <a:moveTo>
                      <a:pt x="38" y="38"/>
                    </a:moveTo>
                    <a:cubicBezTo>
                      <a:pt x="38" y="30"/>
                      <a:pt x="36" y="24"/>
                      <a:pt x="34" y="20"/>
                    </a:cubicBezTo>
                    <a:cubicBezTo>
                      <a:pt x="32" y="15"/>
                      <a:pt x="29" y="13"/>
                      <a:pt x="25" y="13"/>
                    </a:cubicBezTo>
                    <a:cubicBezTo>
                      <a:pt x="22" y="13"/>
                      <a:pt x="19" y="15"/>
                      <a:pt x="17" y="20"/>
                    </a:cubicBezTo>
                    <a:cubicBezTo>
                      <a:pt x="15" y="24"/>
                      <a:pt x="14" y="30"/>
                      <a:pt x="14" y="38"/>
                    </a:cubicBezTo>
                    <a:cubicBezTo>
                      <a:pt x="14" y="45"/>
                      <a:pt x="15" y="52"/>
                      <a:pt x="17" y="56"/>
                    </a:cubicBezTo>
                    <a:cubicBezTo>
                      <a:pt x="19" y="61"/>
                      <a:pt x="22" y="63"/>
                      <a:pt x="25" y="63"/>
                    </a:cubicBezTo>
                    <a:cubicBezTo>
                      <a:pt x="29" y="63"/>
                      <a:pt x="32" y="61"/>
                      <a:pt x="34" y="56"/>
                    </a:cubicBezTo>
                    <a:cubicBezTo>
                      <a:pt x="36" y="52"/>
                      <a:pt x="38" y="45"/>
                      <a:pt x="38" y="38"/>
                    </a:cubicBez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55" name="Freeform 245"/>
              <p:cNvSpPr>
                <a:spLocks/>
              </p:cNvSpPr>
              <p:nvPr/>
            </p:nvSpPr>
            <p:spPr bwMode="auto">
              <a:xfrm>
                <a:off x="2944985" y="3744575"/>
                <a:ext cx="34376" cy="86094"/>
              </a:xfrm>
              <a:custGeom>
                <a:avLst/>
                <a:gdLst/>
                <a:ahLst/>
                <a:cxnLst>
                  <a:cxn ang="0">
                    <a:pos x="22" y="55"/>
                  </a:cxn>
                  <a:cxn ang="0">
                    <a:pos x="11" y="55"/>
                  </a:cxn>
                  <a:cxn ang="0">
                    <a:pos x="11" y="9"/>
                  </a:cxn>
                  <a:cxn ang="0">
                    <a:pos x="0" y="9"/>
                  </a:cxn>
                  <a:cxn ang="0">
                    <a:pos x="5" y="0"/>
                  </a:cxn>
                  <a:cxn ang="0">
                    <a:pos x="22" y="0"/>
                  </a:cxn>
                  <a:cxn ang="0">
                    <a:pos x="22" y="55"/>
                  </a:cxn>
                </a:cxnLst>
                <a:rect l="0" t="0" r="r" b="b"/>
                <a:pathLst>
                  <a:path w="22" h="55">
                    <a:moveTo>
                      <a:pt x="22" y="55"/>
                    </a:moveTo>
                    <a:lnTo>
                      <a:pt x="11" y="55"/>
                    </a:lnTo>
                    <a:lnTo>
                      <a:pt x="11" y="9"/>
                    </a:lnTo>
                    <a:lnTo>
                      <a:pt x="0" y="9"/>
                    </a:lnTo>
                    <a:lnTo>
                      <a:pt x="5" y="0"/>
                    </a:lnTo>
                    <a:lnTo>
                      <a:pt x="22" y="0"/>
                    </a:lnTo>
                    <a:lnTo>
                      <a:pt x="22" y="55"/>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56" name="Freeform 246"/>
              <p:cNvSpPr>
                <a:spLocks noEditPoints="1"/>
              </p:cNvSpPr>
              <p:nvPr/>
            </p:nvSpPr>
            <p:spPr bwMode="auto">
              <a:xfrm>
                <a:off x="2993423" y="3741444"/>
                <a:ext cx="62501" cy="92355"/>
              </a:xfrm>
              <a:custGeom>
                <a:avLst/>
                <a:gdLst/>
                <a:ahLst/>
                <a:cxnLst>
                  <a:cxn ang="0">
                    <a:pos x="52" y="38"/>
                  </a:cxn>
                  <a:cxn ang="0">
                    <a:pos x="44" y="65"/>
                  </a:cxn>
                  <a:cxn ang="0">
                    <a:pos x="26" y="76"/>
                  </a:cxn>
                  <a:cxn ang="0">
                    <a:pos x="7" y="65"/>
                  </a:cxn>
                  <a:cxn ang="0">
                    <a:pos x="0" y="38"/>
                  </a:cxn>
                  <a:cxn ang="0">
                    <a:pos x="7" y="11"/>
                  </a:cxn>
                  <a:cxn ang="0">
                    <a:pos x="26" y="0"/>
                  </a:cxn>
                  <a:cxn ang="0">
                    <a:pos x="45" y="10"/>
                  </a:cxn>
                  <a:cxn ang="0">
                    <a:pos x="52" y="38"/>
                  </a:cxn>
                  <a:cxn ang="0">
                    <a:pos x="38" y="38"/>
                  </a:cxn>
                  <a:cxn ang="0">
                    <a:pos x="34" y="20"/>
                  </a:cxn>
                  <a:cxn ang="0">
                    <a:pos x="26" y="13"/>
                  </a:cxn>
                  <a:cxn ang="0">
                    <a:pos x="17" y="20"/>
                  </a:cxn>
                  <a:cxn ang="0">
                    <a:pos x="14" y="38"/>
                  </a:cxn>
                  <a:cxn ang="0">
                    <a:pos x="17" y="56"/>
                  </a:cxn>
                  <a:cxn ang="0">
                    <a:pos x="26" y="63"/>
                  </a:cxn>
                  <a:cxn ang="0">
                    <a:pos x="34" y="56"/>
                  </a:cxn>
                  <a:cxn ang="0">
                    <a:pos x="38" y="38"/>
                  </a:cxn>
                </a:cxnLst>
                <a:rect l="0" t="0" r="r" b="b"/>
                <a:pathLst>
                  <a:path w="52" h="76">
                    <a:moveTo>
                      <a:pt x="52" y="38"/>
                    </a:moveTo>
                    <a:cubicBezTo>
                      <a:pt x="52" y="49"/>
                      <a:pt x="49" y="58"/>
                      <a:pt x="44" y="65"/>
                    </a:cubicBezTo>
                    <a:cubicBezTo>
                      <a:pt x="40" y="72"/>
                      <a:pt x="33" y="76"/>
                      <a:pt x="26" y="76"/>
                    </a:cubicBezTo>
                    <a:cubicBezTo>
                      <a:pt x="18" y="76"/>
                      <a:pt x="12" y="72"/>
                      <a:pt x="7" y="65"/>
                    </a:cubicBezTo>
                    <a:cubicBezTo>
                      <a:pt x="2" y="59"/>
                      <a:pt x="0" y="49"/>
                      <a:pt x="0" y="38"/>
                    </a:cubicBezTo>
                    <a:cubicBezTo>
                      <a:pt x="0" y="27"/>
                      <a:pt x="2" y="17"/>
                      <a:pt x="7" y="11"/>
                    </a:cubicBezTo>
                    <a:cubicBezTo>
                      <a:pt x="12" y="4"/>
                      <a:pt x="18" y="0"/>
                      <a:pt x="26" y="0"/>
                    </a:cubicBezTo>
                    <a:cubicBezTo>
                      <a:pt x="34" y="0"/>
                      <a:pt x="40" y="4"/>
                      <a:pt x="45" y="10"/>
                    </a:cubicBezTo>
                    <a:cubicBezTo>
                      <a:pt x="49" y="17"/>
                      <a:pt x="52" y="26"/>
                      <a:pt x="52" y="38"/>
                    </a:cubicBezTo>
                    <a:close/>
                    <a:moveTo>
                      <a:pt x="38" y="38"/>
                    </a:moveTo>
                    <a:cubicBezTo>
                      <a:pt x="38" y="30"/>
                      <a:pt x="37" y="24"/>
                      <a:pt x="34" y="20"/>
                    </a:cubicBezTo>
                    <a:cubicBezTo>
                      <a:pt x="32" y="15"/>
                      <a:pt x="29" y="13"/>
                      <a:pt x="26" y="13"/>
                    </a:cubicBezTo>
                    <a:cubicBezTo>
                      <a:pt x="22" y="13"/>
                      <a:pt x="19" y="15"/>
                      <a:pt x="17" y="20"/>
                    </a:cubicBezTo>
                    <a:cubicBezTo>
                      <a:pt x="15" y="24"/>
                      <a:pt x="14" y="30"/>
                      <a:pt x="14" y="38"/>
                    </a:cubicBezTo>
                    <a:cubicBezTo>
                      <a:pt x="14" y="45"/>
                      <a:pt x="15" y="52"/>
                      <a:pt x="17" y="56"/>
                    </a:cubicBezTo>
                    <a:cubicBezTo>
                      <a:pt x="19" y="61"/>
                      <a:pt x="22" y="63"/>
                      <a:pt x="26" y="63"/>
                    </a:cubicBezTo>
                    <a:cubicBezTo>
                      <a:pt x="29" y="63"/>
                      <a:pt x="32" y="61"/>
                      <a:pt x="34" y="56"/>
                    </a:cubicBezTo>
                    <a:cubicBezTo>
                      <a:pt x="37" y="52"/>
                      <a:pt x="38" y="45"/>
                      <a:pt x="38" y="38"/>
                    </a:cubicBez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57" name="Freeform 247"/>
              <p:cNvSpPr>
                <a:spLocks/>
              </p:cNvSpPr>
              <p:nvPr/>
            </p:nvSpPr>
            <p:spPr bwMode="auto">
              <a:xfrm>
                <a:off x="3057486" y="3744575"/>
                <a:ext cx="32813" cy="86094"/>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58" name="Freeform 248"/>
              <p:cNvSpPr>
                <a:spLocks/>
              </p:cNvSpPr>
              <p:nvPr/>
            </p:nvSpPr>
            <p:spPr bwMode="auto">
              <a:xfrm>
                <a:off x="3098112" y="3744575"/>
                <a:ext cx="32813" cy="86094"/>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59" name="Freeform 259"/>
              <p:cNvSpPr>
                <a:spLocks/>
              </p:cNvSpPr>
              <p:nvPr/>
            </p:nvSpPr>
            <p:spPr bwMode="auto">
              <a:xfrm>
                <a:off x="2366851" y="3882325"/>
                <a:ext cx="32813" cy="87659"/>
              </a:xfrm>
              <a:custGeom>
                <a:avLst/>
                <a:gdLst/>
                <a:ahLst/>
                <a:cxnLst>
                  <a:cxn ang="0">
                    <a:pos x="21" y="56"/>
                  </a:cxn>
                  <a:cxn ang="0">
                    <a:pos x="10" y="56"/>
                  </a:cxn>
                  <a:cxn ang="0">
                    <a:pos x="10" y="9"/>
                  </a:cxn>
                  <a:cxn ang="0">
                    <a:pos x="0" y="9"/>
                  </a:cxn>
                  <a:cxn ang="0">
                    <a:pos x="5" y="0"/>
                  </a:cxn>
                  <a:cxn ang="0">
                    <a:pos x="21" y="0"/>
                  </a:cxn>
                  <a:cxn ang="0">
                    <a:pos x="21" y="56"/>
                  </a:cxn>
                </a:cxnLst>
                <a:rect l="0" t="0" r="r" b="b"/>
                <a:pathLst>
                  <a:path w="21" h="56">
                    <a:moveTo>
                      <a:pt x="21" y="56"/>
                    </a:moveTo>
                    <a:lnTo>
                      <a:pt x="10" y="56"/>
                    </a:lnTo>
                    <a:lnTo>
                      <a:pt x="10" y="9"/>
                    </a:lnTo>
                    <a:lnTo>
                      <a:pt x="0" y="9"/>
                    </a:lnTo>
                    <a:lnTo>
                      <a:pt x="5" y="0"/>
                    </a:lnTo>
                    <a:lnTo>
                      <a:pt x="21" y="0"/>
                    </a:lnTo>
                    <a:lnTo>
                      <a:pt x="21" y="56"/>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60" name="Freeform 260"/>
              <p:cNvSpPr>
                <a:spLocks/>
              </p:cNvSpPr>
              <p:nvPr/>
            </p:nvSpPr>
            <p:spPr bwMode="auto">
              <a:xfrm>
                <a:off x="2407476" y="3882325"/>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61" name="Freeform 261"/>
              <p:cNvSpPr>
                <a:spLocks/>
              </p:cNvSpPr>
              <p:nvPr/>
            </p:nvSpPr>
            <p:spPr bwMode="auto">
              <a:xfrm>
                <a:off x="2449664" y="3882325"/>
                <a:ext cx="31250" cy="87659"/>
              </a:xfrm>
              <a:custGeom>
                <a:avLst/>
                <a:gdLst/>
                <a:ahLst/>
                <a:cxnLst>
                  <a:cxn ang="0">
                    <a:pos x="20" y="56"/>
                  </a:cxn>
                  <a:cxn ang="0">
                    <a:pos x="10" y="56"/>
                  </a:cxn>
                  <a:cxn ang="0">
                    <a:pos x="10" y="9"/>
                  </a:cxn>
                  <a:cxn ang="0">
                    <a:pos x="0" y="9"/>
                  </a:cxn>
                  <a:cxn ang="0">
                    <a:pos x="3" y="0"/>
                  </a:cxn>
                  <a:cxn ang="0">
                    <a:pos x="20" y="0"/>
                  </a:cxn>
                  <a:cxn ang="0">
                    <a:pos x="20" y="56"/>
                  </a:cxn>
                </a:cxnLst>
                <a:rect l="0" t="0" r="r" b="b"/>
                <a:pathLst>
                  <a:path w="20" h="56">
                    <a:moveTo>
                      <a:pt x="20" y="56"/>
                    </a:moveTo>
                    <a:lnTo>
                      <a:pt x="10" y="56"/>
                    </a:lnTo>
                    <a:lnTo>
                      <a:pt x="10" y="9"/>
                    </a:lnTo>
                    <a:lnTo>
                      <a:pt x="0" y="9"/>
                    </a:lnTo>
                    <a:lnTo>
                      <a:pt x="3" y="0"/>
                    </a:lnTo>
                    <a:lnTo>
                      <a:pt x="20" y="0"/>
                    </a:lnTo>
                    <a:lnTo>
                      <a:pt x="20" y="56"/>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62" name="Freeform 262"/>
              <p:cNvSpPr>
                <a:spLocks noEditPoints="1"/>
              </p:cNvSpPr>
              <p:nvPr/>
            </p:nvSpPr>
            <p:spPr bwMode="auto">
              <a:xfrm>
                <a:off x="2496540" y="3880759"/>
                <a:ext cx="62501" cy="90790"/>
              </a:xfrm>
              <a:custGeom>
                <a:avLst/>
                <a:gdLst/>
                <a:ahLst/>
                <a:cxnLst>
                  <a:cxn ang="0">
                    <a:pos x="52" y="38"/>
                  </a:cxn>
                  <a:cxn ang="0">
                    <a:pos x="45" y="66"/>
                  </a:cxn>
                  <a:cxn ang="0">
                    <a:pos x="26" y="76"/>
                  </a:cxn>
                  <a:cxn ang="0">
                    <a:pos x="7" y="66"/>
                  </a:cxn>
                  <a:cxn ang="0">
                    <a:pos x="0" y="38"/>
                  </a:cxn>
                  <a:cxn ang="0">
                    <a:pos x="7" y="11"/>
                  </a:cxn>
                  <a:cxn ang="0">
                    <a:pos x="26" y="0"/>
                  </a:cxn>
                  <a:cxn ang="0">
                    <a:pos x="45" y="11"/>
                  </a:cxn>
                  <a:cxn ang="0">
                    <a:pos x="52" y="38"/>
                  </a:cxn>
                  <a:cxn ang="0">
                    <a:pos x="38" y="38"/>
                  </a:cxn>
                  <a:cxn ang="0">
                    <a:pos x="34" y="20"/>
                  </a:cxn>
                  <a:cxn ang="0">
                    <a:pos x="26" y="13"/>
                  </a:cxn>
                  <a:cxn ang="0">
                    <a:pos x="17" y="20"/>
                  </a:cxn>
                  <a:cxn ang="0">
                    <a:pos x="14" y="38"/>
                  </a:cxn>
                  <a:cxn ang="0">
                    <a:pos x="17" y="57"/>
                  </a:cxn>
                  <a:cxn ang="0">
                    <a:pos x="26" y="64"/>
                  </a:cxn>
                  <a:cxn ang="0">
                    <a:pos x="34" y="57"/>
                  </a:cxn>
                  <a:cxn ang="0">
                    <a:pos x="38" y="38"/>
                  </a:cxn>
                </a:cxnLst>
                <a:rect l="0" t="0" r="r" b="b"/>
                <a:pathLst>
                  <a:path w="52" h="76">
                    <a:moveTo>
                      <a:pt x="52" y="38"/>
                    </a:moveTo>
                    <a:cubicBezTo>
                      <a:pt x="52" y="49"/>
                      <a:pt x="49" y="59"/>
                      <a:pt x="45" y="66"/>
                    </a:cubicBezTo>
                    <a:cubicBezTo>
                      <a:pt x="40" y="72"/>
                      <a:pt x="34" y="76"/>
                      <a:pt x="26" y="76"/>
                    </a:cubicBezTo>
                    <a:cubicBezTo>
                      <a:pt x="18" y="76"/>
                      <a:pt x="12" y="73"/>
                      <a:pt x="7" y="66"/>
                    </a:cubicBezTo>
                    <a:cubicBezTo>
                      <a:pt x="2" y="59"/>
                      <a:pt x="0" y="50"/>
                      <a:pt x="0" y="38"/>
                    </a:cubicBezTo>
                    <a:cubicBezTo>
                      <a:pt x="0" y="27"/>
                      <a:pt x="2" y="18"/>
                      <a:pt x="7" y="11"/>
                    </a:cubicBezTo>
                    <a:cubicBezTo>
                      <a:pt x="12" y="4"/>
                      <a:pt x="18" y="0"/>
                      <a:pt x="26" y="0"/>
                    </a:cubicBezTo>
                    <a:cubicBezTo>
                      <a:pt x="34" y="0"/>
                      <a:pt x="40" y="4"/>
                      <a:pt x="45" y="11"/>
                    </a:cubicBezTo>
                    <a:cubicBezTo>
                      <a:pt x="49" y="18"/>
                      <a:pt x="52" y="27"/>
                      <a:pt x="52" y="38"/>
                    </a:cubicBezTo>
                    <a:close/>
                    <a:moveTo>
                      <a:pt x="38" y="38"/>
                    </a:moveTo>
                    <a:cubicBezTo>
                      <a:pt x="38" y="31"/>
                      <a:pt x="37" y="24"/>
                      <a:pt x="34" y="20"/>
                    </a:cubicBezTo>
                    <a:cubicBezTo>
                      <a:pt x="32" y="15"/>
                      <a:pt x="29" y="13"/>
                      <a:pt x="26" y="13"/>
                    </a:cubicBezTo>
                    <a:cubicBezTo>
                      <a:pt x="22" y="13"/>
                      <a:pt x="19" y="15"/>
                      <a:pt x="17" y="20"/>
                    </a:cubicBezTo>
                    <a:cubicBezTo>
                      <a:pt x="15" y="25"/>
                      <a:pt x="14" y="31"/>
                      <a:pt x="14" y="38"/>
                    </a:cubicBezTo>
                    <a:cubicBezTo>
                      <a:pt x="14" y="46"/>
                      <a:pt x="15" y="52"/>
                      <a:pt x="17" y="57"/>
                    </a:cubicBezTo>
                    <a:cubicBezTo>
                      <a:pt x="19" y="61"/>
                      <a:pt x="22" y="64"/>
                      <a:pt x="26" y="64"/>
                    </a:cubicBezTo>
                    <a:cubicBezTo>
                      <a:pt x="29" y="64"/>
                      <a:pt x="32" y="61"/>
                      <a:pt x="34" y="57"/>
                    </a:cubicBezTo>
                    <a:cubicBezTo>
                      <a:pt x="37" y="52"/>
                      <a:pt x="38" y="46"/>
                      <a:pt x="38" y="38"/>
                    </a:cubicBez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63" name="Freeform 263"/>
              <p:cNvSpPr>
                <a:spLocks noEditPoints="1"/>
              </p:cNvSpPr>
              <p:nvPr/>
            </p:nvSpPr>
            <p:spPr bwMode="auto">
              <a:xfrm>
                <a:off x="2562166" y="3880759"/>
                <a:ext cx="62501" cy="90790"/>
              </a:xfrm>
              <a:custGeom>
                <a:avLst/>
                <a:gdLst/>
                <a:ahLst/>
                <a:cxnLst>
                  <a:cxn ang="0">
                    <a:pos x="52" y="38"/>
                  </a:cxn>
                  <a:cxn ang="0">
                    <a:pos x="45" y="66"/>
                  </a:cxn>
                  <a:cxn ang="0">
                    <a:pos x="26" y="76"/>
                  </a:cxn>
                  <a:cxn ang="0">
                    <a:pos x="7" y="66"/>
                  </a:cxn>
                  <a:cxn ang="0">
                    <a:pos x="0" y="38"/>
                  </a:cxn>
                  <a:cxn ang="0">
                    <a:pos x="7" y="11"/>
                  </a:cxn>
                  <a:cxn ang="0">
                    <a:pos x="26" y="0"/>
                  </a:cxn>
                  <a:cxn ang="0">
                    <a:pos x="45" y="11"/>
                  </a:cxn>
                  <a:cxn ang="0">
                    <a:pos x="52" y="38"/>
                  </a:cxn>
                  <a:cxn ang="0">
                    <a:pos x="38" y="38"/>
                  </a:cxn>
                  <a:cxn ang="0">
                    <a:pos x="35" y="20"/>
                  </a:cxn>
                  <a:cxn ang="0">
                    <a:pos x="26" y="13"/>
                  </a:cxn>
                  <a:cxn ang="0">
                    <a:pos x="18" y="20"/>
                  </a:cxn>
                  <a:cxn ang="0">
                    <a:pos x="14" y="38"/>
                  </a:cxn>
                  <a:cxn ang="0">
                    <a:pos x="18" y="57"/>
                  </a:cxn>
                  <a:cxn ang="0">
                    <a:pos x="26" y="64"/>
                  </a:cxn>
                  <a:cxn ang="0">
                    <a:pos x="35" y="57"/>
                  </a:cxn>
                  <a:cxn ang="0">
                    <a:pos x="38" y="38"/>
                  </a:cxn>
                </a:cxnLst>
                <a:rect l="0" t="0" r="r" b="b"/>
                <a:pathLst>
                  <a:path w="52" h="76">
                    <a:moveTo>
                      <a:pt x="52" y="38"/>
                    </a:moveTo>
                    <a:cubicBezTo>
                      <a:pt x="52" y="49"/>
                      <a:pt x="50" y="59"/>
                      <a:pt x="45" y="66"/>
                    </a:cubicBezTo>
                    <a:cubicBezTo>
                      <a:pt x="40" y="72"/>
                      <a:pt x="34" y="76"/>
                      <a:pt x="26" y="76"/>
                    </a:cubicBezTo>
                    <a:cubicBezTo>
                      <a:pt x="18" y="76"/>
                      <a:pt x="12" y="73"/>
                      <a:pt x="7" y="66"/>
                    </a:cubicBezTo>
                    <a:cubicBezTo>
                      <a:pt x="3" y="59"/>
                      <a:pt x="0" y="50"/>
                      <a:pt x="0" y="38"/>
                    </a:cubicBezTo>
                    <a:cubicBezTo>
                      <a:pt x="0" y="27"/>
                      <a:pt x="3" y="18"/>
                      <a:pt x="7" y="11"/>
                    </a:cubicBezTo>
                    <a:cubicBezTo>
                      <a:pt x="12" y="4"/>
                      <a:pt x="18" y="0"/>
                      <a:pt x="26" y="0"/>
                    </a:cubicBezTo>
                    <a:cubicBezTo>
                      <a:pt x="34" y="0"/>
                      <a:pt x="40" y="4"/>
                      <a:pt x="45" y="11"/>
                    </a:cubicBezTo>
                    <a:cubicBezTo>
                      <a:pt x="50" y="18"/>
                      <a:pt x="52" y="27"/>
                      <a:pt x="52" y="38"/>
                    </a:cubicBezTo>
                    <a:close/>
                    <a:moveTo>
                      <a:pt x="38" y="38"/>
                    </a:moveTo>
                    <a:cubicBezTo>
                      <a:pt x="38" y="31"/>
                      <a:pt x="37" y="24"/>
                      <a:pt x="35" y="20"/>
                    </a:cubicBezTo>
                    <a:cubicBezTo>
                      <a:pt x="33" y="15"/>
                      <a:pt x="30" y="13"/>
                      <a:pt x="26" y="13"/>
                    </a:cubicBezTo>
                    <a:cubicBezTo>
                      <a:pt x="23" y="13"/>
                      <a:pt x="20" y="15"/>
                      <a:pt x="18" y="20"/>
                    </a:cubicBezTo>
                    <a:cubicBezTo>
                      <a:pt x="15" y="25"/>
                      <a:pt x="14" y="31"/>
                      <a:pt x="14" y="38"/>
                    </a:cubicBezTo>
                    <a:cubicBezTo>
                      <a:pt x="14" y="46"/>
                      <a:pt x="15" y="52"/>
                      <a:pt x="18" y="57"/>
                    </a:cubicBezTo>
                    <a:cubicBezTo>
                      <a:pt x="20" y="61"/>
                      <a:pt x="23" y="64"/>
                      <a:pt x="26" y="64"/>
                    </a:cubicBezTo>
                    <a:cubicBezTo>
                      <a:pt x="30" y="64"/>
                      <a:pt x="33" y="61"/>
                      <a:pt x="35" y="57"/>
                    </a:cubicBezTo>
                    <a:cubicBezTo>
                      <a:pt x="37" y="52"/>
                      <a:pt x="38" y="46"/>
                      <a:pt x="38" y="38"/>
                    </a:cubicBez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64" name="Freeform 264"/>
              <p:cNvSpPr>
                <a:spLocks/>
              </p:cNvSpPr>
              <p:nvPr/>
            </p:nvSpPr>
            <p:spPr bwMode="auto">
              <a:xfrm>
                <a:off x="2626230" y="3882325"/>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65" name="Freeform 265"/>
              <p:cNvSpPr>
                <a:spLocks noEditPoints="1"/>
              </p:cNvSpPr>
              <p:nvPr/>
            </p:nvSpPr>
            <p:spPr bwMode="auto">
              <a:xfrm>
                <a:off x="2673105" y="3880759"/>
                <a:ext cx="62501" cy="90790"/>
              </a:xfrm>
              <a:custGeom>
                <a:avLst/>
                <a:gdLst/>
                <a:ahLst/>
                <a:cxnLst>
                  <a:cxn ang="0">
                    <a:pos x="51" y="38"/>
                  </a:cxn>
                  <a:cxn ang="0">
                    <a:pos x="44" y="66"/>
                  </a:cxn>
                  <a:cxn ang="0">
                    <a:pos x="25" y="76"/>
                  </a:cxn>
                  <a:cxn ang="0">
                    <a:pos x="7" y="66"/>
                  </a:cxn>
                  <a:cxn ang="0">
                    <a:pos x="0" y="38"/>
                  </a:cxn>
                  <a:cxn ang="0">
                    <a:pos x="7" y="11"/>
                  </a:cxn>
                  <a:cxn ang="0">
                    <a:pos x="25" y="0"/>
                  </a:cxn>
                  <a:cxn ang="0">
                    <a:pos x="44" y="11"/>
                  </a:cxn>
                  <a:cxn ang="0">
                    <a:pos x="51" y="38"/>
                  </a:cxn>
                  <a:cxn ang="0">
                    <a:pos x="38" y="38"/>
                  </a:cxn>
                  <a:cxn ang="0">
                    <a:pos x="34" y="20"/>
                  </a:cxn>
                  <a:cxn ang="0">
                    <a:pos x="25" y="13"/>
                  </a:cxn>
                  <a:cxn ang="0">
                    <a:pos x="17" y="20"/>
                  </a:cxn>
                  <a:cxn ang="0">
                    <a:pos x="14" y="38"/>
                  </a:cxn>
                  <a:cxn ang="0">
                    <a:pos x="17" y="57"/>
                  </a:cxn>
                  <a:cxn ang="0">
                    <a:pos x="25" y="64"/>
                  </a:cxn>
                  <a:cxn ang="0">
                    <a:pos x="34" y="57"/>
                  </a:cxn>
                  <a:cxn ang="0">
                    <a:pos x="38" y="38"/>
                  </a:cxn>
                </a:cxnLst>
                <a:rect l="0" t="0" r="r" b="b"/>
                <a:pathLst>
                  <a:path w="51" h="76">
                    <a:moveTo>
                      <a:pt x="51" y="38"/>
                    </a:moveTo>
                    <a:cubicBezTo>
                      <a:pt x="51" y="49"/>
                      <a:pt x="49" y="59"/>
                      <a:pt x="44" y="66"/>
                    </a:cubicBezTo>
                    <a:cubicBezTo>
                      <a:pt x="40" y="72"/>
                      <a:pt x="33" y="76"/>
                      <a:pt x="25" y="76"/>
                    </a:cubicBezTo>
                    <a:cubicBezTo>
                      <a:pt x="18" y="76"/>
                      <a:pt x="11" y="73"/>
                      <a:pt x="7" y="66"/>
                    </a:cubicBezTo>
                    <a:cubicBezTo>
                      <a:pt x="2" y="59"/>
                      <a:pt x="0" y="50"/>
                      <a:pt x="0" y="38"/>
                    </a:cubicBezTo>
                    <a:cubicBezTo>
                      <a:pt x="0" y="27"/>
                      <a:pt x="2" y="18"/>
                      <a:pt x="7" y="11"/>
                    </a:cubicBezTo>
                    <a:cubicBezTo>
                      <a:pt x="11" y="4"/>
                      <a:pt x="18" y="0"/>
                      <a:pt x="25" y="0"/>
                    </a:cubicBezTo>
                    <a:cubicBezTo>
                      <a:pt x="33" y="0"/>
                      <a:pt x="40" y="4"/>
                      <a:pt x="44" y="11"/>
                    </a:cubicBezTo>
                    <a:cubicBezTo>
                      <a:pt x="49" y="18"/>
                      <a:pt x="51" y="27"/>
                      <a:pt x="51" y="38"/>
                    </a:cubicBezTo>
                    <a:close/>
                    <a:moveTo>
                      <a:pt x="38" y="38"/>
                    </a:moveTo>
                    <a:cubicBezTo>
                      <a:pt x="38" y="31"/>
                      <a:pt x="36" y="24"/>
                      <a:pt x="34" y="20"/>
                    </a:cubicBezTo>
                    <a:cubicBezTo>
                      <a:pt x="32" y="15"/>
                      <a:pt x="29" y="13"/>
                      <a:pt x="25" y="13"/>
                    </a:cubicBezTo>
                    <a:cubicBezTo>
                      <a:pt x="22" y="13"/>
                      <a:pt x="19" y="15"/>
                      <a:pt x="17" y="20"/>
                    </a:cubicBezTo>
                    <a:cubicBezTo>
                      <a:pt x="15" y="25"/>
                      <a:pt x="14" y="31"/>
                      <a:pt x="14" y="38"/>
                    </a:cubicBezTo>
                    <a:cubicBezTo>
                      <a:pt x="14" y="46"/>
                      <a:pt x="15" y="52"/>
                      <a:pt x="17" y="57"/>
                    </a:cubicBezTo>
                    <a:cubicBezTo>
                      <a:pt x="19" y="61"/>
                      <a:pt x="22" y="64"/>
                      <a:pt x="25" y="64"/>
                    </a:cubicBezTo>
                    <a:cubicBezTo>
                      <a:pt x="29" y="64"/>
                      <a:pt x="32" y="61"/>
                      <a:pt x="34" y="57"/>
                    </a:cubicBezTo>
                    <a:cubicBezTo>
                      <a:pt x="36" y="52"/>
                      <a:pt x="38" y="46"/>
                      <a:pt x="38" y="38"/>
                    </a:cubicBez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66" name="Freeform 266"/>
              <p:cNvSpPr>
                <a:spLocks/>
              </p:cNvSpPr>
              <p:nvPr/>
            </p:nvSpPr>
            <p:spPr bwMode="auto">
              <a:xfrm>
                <a:off x="2737169" y="3882325"/>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67" name="Freeform 267"/>
              <p:cNvSpPr>
                <a:spLocks noEditPoints="1"/>
              </p:cNvSpPr>
              <p:nvPr/>
            </p:nvSpPr>
            <p:spPr bwMode="auto">
              <a:xfrm>
                <a:off x="2784045" y="3880759"/>
                <a:ext cx="62501" cy="90790"/>
              </a:xfrm>
              <a:custGeom>
                <a:avLst/>
                <a:gdLst/>
                <a:ahLst/>
                <a:cxnLst>
                  <a:cxn ang="0">
                    <a:pos x="52" y="38"/>
                  </a:cxn>
                  <a:cxn ang="0">
                    <a:pos x="45" y="66"/>
                  </a:cxn>
                  <a:cxn ang="0">
                    <a:pos x="26" y="76"/>
                  </a:cxn>
                  <a:cxn ang="0">
                    <a:pos x="7" y="66"/>
                  </a:cxn>
                  <a:cxn ang="0">
                    <a:pos x="0" y="38"/>
                  </a:cxn>
                  <a:cxn ang="0">
                    <a:pos x="7" y="11"/>
                  </a:cxn>
                  <a:cxn ang="0">
                    <a:pos x="26" y="0"/>
                  </a:cxn>
                  <a:cxn ang="0">
                    <a:pos x="45" y="11"/>
                  </a:cxn>
                  <a:cxn ang="0">
                    <a:pos x="52" y="38"/>
                  </a:cxn>
                  <a:cxn ang="0">
                    <a:pos x="38" y="38"/>
                  </a:cxn>
                  <a:cxn ang="0">
                    <a:pos x="34" y="20"/>
                  </a:cxn>
                  <a:cxn ang="0">
                    <a:pos x="26" y="13"/>
                  </a:cxn>
                  <a:cxn ang="0">
                    <a:pos x="17" y="20"/>
                  </a:cxn>
                  <a:cxn ang="0">
                    <a:pos x="14" y="38"/>
                  </a:cxn>
                  <a:cxn ang="0">
                    <a:pos x="17" y="57"/>
                  </a:cxn>
                  <a:cxn ang="0">
                    <a:pos x="26" y="64"/>
                  </a:cxn>
                  <a:cxn ang="0">
                    <a:pos x="34" y="57"/>
                  </a:cxn>
                  <a:cxn ang="0">
                    <a:pos x="38" y="38"/>
                  </a:cxn>
                </a:cxnLst>
                <a:rect l="0" t="0" r="r" b="b"/>
                <a:pathLst>
                  <a:path w="52" h="76">
                    <a:moveTo>
                      <a:pt x="52" y="38"/>
                    </a:moveTo>
                    <a:cubicBezTo>
                      <a:pt x="52" y="49"/>
                      <a:pt x="49" y="59"/>
                      <a:pt x="45" y="66"/>
                    </a:cubicBezTo>
                    <a:cubicBezTo>
                      <a:pt x="40" y="72"/>
                      <a:pt x="34" y="76"/>
                      <a:pt x="26" y="76"/>
                    </a:cubicBezTo>
                    <a:cubicBezTo>
                      <a:pt x="18" y="76"/>
                      <a:pt x="12" y="73"/>
                      <a:pt x="7" y="66"/>
                    </a:cubicBezTo>
                    <a:cubicBezTo>
                      <a:pt x="2" y="59"/>
                      <a:pt x="0" y="50"/>
                      <a:pt x="0" y="38"/>
                    </a:cubicBezTo>
                    <a:cubicBezTo>
                      <a:pt x="0" y="27"/>
                      <a:pt x="2" y="18"/>
                      <a:pt x="7" y="11"/>
                    </a:cubicBezTo>
                    <a:cubicBezTo>
                      <a:pt x="12" y="4"/>
                      <a:pt x="18" y="0"/>
                      <a:pt x="26" y="0"/>
                    </a:cubicBezTo>
                    <a:cubicBezTo>
                      <a:pt x="34" y="0"/>
                      <a:pt x="40" y="4"/>
                      <a:pt x="45" y="11"/>
                    </a:cubicBezTo>
                    <a:cubicBezTo>
                      <a:pt x="49" y="18"/>
                      <a:pt x="52" y="27"/>
                      <a:pt x="52" y="38"/>
                    </a:cubicBezTo>
                    <a:close/>
                    <a:moveTo>
                      <a:pt x="38" y="38"/>
                    </a:moveTo>
                    <a:cubicBezTo>
                      <a:pt x="38" y="31"/>
                      <a:pt x="37" y="24"/>
                      <a:pt x="34" y="20"/>
                    </a:cubicBezTo>
                    <a:cubicBezTo>
                      <a:pt x="32" y="15"/>
                      <a:pt x="29" y="13"/>
                      <a:pt x="26" y="13"/>
                    </a:cubicBezTo>
                    <a:cubicBezTo>
                      <a:pt x="22" y="13"/>
                      <a:pt x="19" y="15"/>
                      <a:pt x="17" y="20"/>
                    </a:cubicBezTo>
                    <a:cubicBezTo>
                      <a:pt x="15" y="25"/>
                      <a:pt x="14" y="31"/>
                      <a:pt x="14" y="38"/>
                    </a:cubicBezTo>
                    <a:cubicBezTo>
                      <a:pt x="14" y="46"/>
                      <a:pt x="15" y="52"/>
                      <a:pt x="17" y="57"/>
                    </a:cubicBezTo>
                    <a:cubicBezTo>
                      <a:pt x="19" y="61"/>
                      <a:pt x="22" y="64"/>
                      <a:pt x="26" y="64"/>
                    </a:cubicBezTo>
                    <a:cubicBezTo>
                      <a:pt x="29" y="64"/>
                      <a:pt x="32" y="61"/>
                      <a:pt x="34" y="57"/>
                    </a:cubicBezTo>
                    <a:cubicBezTo>
                      <a:pt x="37" y="52"/>
                      <a:pt x="38" y="46"/>
                      <a:pt x="38" y="38"/>
                    </a:cubicBez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68" name="Freeform 268"/>
              <p:cNvSpPr>
                <a:spLocks/>
              </p:cNvSpPr>
              <p:nvPr/>
            </p:nvSpPr>
            <p:spPr bwMode="auto">
              <a:xfrm>
                <a:off x="2848108" y="3882325"/>
                <a:ext cx="32813" cy="87659"/>
              </a:xfrm>
              <a:custGeom>
                <a:avLst/>
                <a:gdLst/>
                <a:ahLst/>
                <a:cxnLst>
                  <a:cxn ang="0">
                    <a:pos x="21" y="56"/>
                  </a:cxn>
                  <a:cxn ang="0">
                    <a:pos x="11" y="56"/>
                  </a:cxn>
                  <a:cxn ang="0">
                    <a:pos x="11" y="9"/>
                  </a:cxn>
                  <a:cxn ang="0">
                    <a:pos x="0" y="9"/>
                  </a:cxn>
                  <a:cxn ang="0">
                    <a:pos x="5" y="0"/>
                  </a:cxn>
                  <a:cxn ang="0">
                    <a:pos x="21" y="0"/>
                  </a:cxn>
                  <a:cxn ang="0">
                    <a:pos x="21" y="56"/>
                  </a:cxn>
                </a:cxnLst>
                <a:rect l="0" t="0" r="r" b="b"/>
                <a:pathLst>
                  <a:path w="21" h="56">
                    <a:moveTo>
                      <a:pt x="21" y="56"/>
                    </a:moveTo>
                    <a:lnTo>
                      <a:pt x="11" y="56"/>
                    </a:lnTo>
                    <a:lnTo>
                      <a:pt x="11" y="9"/>
                    </a:lnTo>
                    <a:lnTo>
                      <a:pt x="0" y="9"/>
                    </a:lnTo>
                    <a:lnTo>
                      <a:pt x="5" y="0"/>
                    </a:lnTo>
                    <a:lnTo>
                      <a:pt x="21" y="0"/>
                    </a:lnTo>
                    <a:lnTo>
                      <a:pt x="21" y="56"/>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69" name="Freeform 269"/>
              <p:cNvSpPr>
                <a:spLocks/>
              </p:cNvSpPr>
              <p:nvPr/>
            </p:nvSpPr>
            <p:spPr bwMode="auto">
              <a:xfrm>
                <a:off x="2888734" y="3882325"/>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70" name="Freeform 270"/>
              <p:cNvSpPr>
                <a:spLocks noEditPoints="1"/>
              </p:cNvSpPr>
              <p:nvPr/>
            </p:nvSpPr>
            <p:spPr bwMode="auto">
              <a:xfrm>
                <a:off x="2935610" y="3880759"/>
                <a:ext cx="62501" cy="90790"/>
              </a:xfrm>
              <a:custGeom>
                <a:avLst/>
                <a:gdLst/>
                <a:ahLst/>
                <a:cxnLst>
                  <a:cxn ang="0">
                    <a:pos x="52" y="38"/>
                  </a:cxn>
                  <a:cxn ang="0">
                    <a:pos x="45" y="66"/>
                  </a:cxn>
                  <a:cxn ang="0">
                    <a:pos x="26" y="76"/>
                  </a:cxn>
                  <a:cxn ang="0">
                    <a:pos x="7" y="66"/>
                  </a:cxn>
                  <a:cxn ang="0">
                    <a:pos x="0" y="38"/>
                  </a:cxn>
                  <a:cxn ang="0">
                    <a:pos x="7" y="11"/>
                  </a:cxn>
                  <a:cxn ang="0">
                    <a:pos x="26" y="0"/>
                  </a:cxn>
                  <a:cxn ang="0">
                    <a:pos x="45" y="11"/>
                  </a:cxn>
                  <a:cxn ang="0">
                    <a:pos x="52" y="38"/>
                  </a:cxn>
                  <a:cxn ang="0">
                    <a:pos x="38" y="38"/>
                  </a:cxn>
                  <a:cxn ang="0">
                    <a:pos x="35" y="20"/>
                  </a:cxn>
                  <a:cxn ang="0">
                    <a:pos x="26" y="13"/>
                  </a:cxn>
                  <a:cxn ang="0">
                    <a:pos x="17" y="20"/>
                  </a:cxn>
                  <a:cxn ang="0">
                    <a:pos x="14" y="38"/>
                  </a:cxn>
                  <a:cxn ang="0">
                    <a:pos x="17" y="57"/>
                  </a:cxn>
                  <a:cxn ang="0">
                    <a:pos x="26" y="64"/>
                  </a:cxn>
                  <a:cxn ang="0">
                    <a:pos x="35" y="57"/>
                  </a:cxn>
                  <a:cxn ang="0">
                    <a:pos x="38" y="38"/>
                  </a:cxn>
                </a:cxnLst>
                <a:rect l="0" t="0" r="r" b="b"/>
                <a:pathLst>
                  <a:path w="52" h="76">
                    <a:moveTo>
                      <a:pt x="52" y="38"/>
                    </a:moveTo>
                    <a:cubicBezTo>
                      <a:pt x="52" y="49"/>
                      <a:pt x="49" y="59"/>
                      <a:pt x="45" y="66"/>
                    </a:cubicBezTo>
                    <a:cubicBezTo>
                      <a:pt x="40" y="72"/>
                      <a:pt x="34" y="76"/>
                      <a:pt x="26" y="76"/>
                    </a:cubicBezTo>
                    <a:cubicBezTo>
                      <a:pt x="18" y="76"/>
                      <a:pt x="12" y="73"/>
                      <a:pt x="7" y="66"/>
                    </a:cubicBezTo>
                    <a:cubicBezTo>
                      <a:pt x="2" y="59"/>
                      <a:pt x="0" y="50"/>
                      <a:pt x="0" y="38"/>
                    </a:cubicBezTo>
                    <a:cubicBezTo>
                      <a:pt x="0" y="27"/>
                      <a:pt x="2" y="18"/>
                      <a:pt x="7" y="11"/>
                    </a:cubicBezTo>
                    <a:cubicBezTo>
                      <a:pt x="12" y="4"/>
                      <a:pt x="18" y="0"/>
                      <a:pt x="26" y="0"/>
                    </a:cubicBezTo>
                    <a:cubicBezTo>
                      <a:pt x="34" y="0"/>
                      <a:pt x="40" y="4"/>
                      <a:pt x="45" y="11"/>
                    </a:cubicBezTo>
                    <a:cubicBezTo>
                      <a:pt x="49" y="18"/>
                      <a:pt x="52" y="27"/>
                      <a:pt x="52" y="38"/>
                    </a:cubicBezTo>
                    <a:close/>
                    <a:moveTo>
                      <a:pt x="38" y="38"/>
                    </a:moveTo>
                    <a:cubicBezTo>
                      <a:pt x="38" y="31"/>
                      <a:pt x="37" y="24"/>
                      <a:pt x="35" y="20"/>
                    </a:cubicBezTo>
                    <a:cubicBezTo>
                      <a:pt x="32" y="15"/>
                      <a:pt x="29" y="13"/>
                      <a:pt x="26" y="13"/>
                    </a:cubicBezTo>
                    <a:cubicBezTo>
                      <a:pt x="22" y="13"/>
                      <a:pt x="19" y="15"/>
                      <a:pt x="17" y="20"/>
                    </a:cubicBezTo>
                    <a:cubicBezTo>
                      <a:pt x="15" y="25"/>
                      <a:pt x="14" y="31"/>
                      <a:pt x="14" y="38"/>
                    </a:cubicBezTo>
                    <a:cubicBezTo>
                      <a:pt x="14" y="46"/>
                      <a:pt x="15" y="52"/>
                      <a:pt x="17" y="57"/>
                    </a:cubicBezTo>
                    <a:cubicBezTo>
                      <a:pt x="19" y="61"/>
                      <a:pt x="22" y="64"/>
                      <a:pt x="26" y="64"/>
                    </a:cubicBezTo>
                    <a:cubicBezTo>
                      <a:pt x="29" y="64"/>
                      <a:pt x="32" y="61"/>
                      <a:pt x="35" y="57"/>
                    </a:cubicBezTo>
                    <a:cubicBezTo>
                      <a:pt x="37" y="52"/>
                      <a:pt x="38" y="46"/>
                      <a:pt x="38" y="38"/>
                    </a:cubicBez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71" name="Freeform 271"/>
              <p:cNvSpPr>
                <a:spLocks noEditPoints="1"/>
              </p:cNvSpPr>
              <p:nvPr/>
            </p:nvSpPr>
            <p:spPr bwMode="auto">
              <a:xfrm>
                <a:off x="3002798" y="3880759"/>
                <a:ext cx="62501" cy="90790"/>
              </a:xfrm>
              <a:custGeom>
                <a:avLst/>
                <a:gdLst/>
                <a:ahLst/>
                <a:cxnLst>
                  <a:cxn ang="0">
                    <a:pos x="51" y="38"/>
                  </a:cxn>
                  <a:cxn ang="0">
                    <a:pos x="44" y="66"/>
                  </a:cxn>
                  <a:cxn ang="0">
                    <a:pos x="25" y="76"/>
                  </a:cxn>
                  <a:cxn ang="0">
                    <a:pos x="7" y="66"/>
                  </a:cxn>
                  <a:cxn ang="0">
                    <a:pos x="0" y="38"/>
                  </a:cxn>
                  <a:cxn ang="0">
                    <a:pos x="7" y="11"/>
                  </a:cxn>
                  <a:cxn ang="0">
                    <a:pos x="25" y="0"/>
                  </a:cxn>
                  <a:cxn ang="0">
                    <a:pos x="44" y="11"/>
                  </a:cxn>
                  <a:cxn ang="0">
                    <a:pos x="51" y="38"/>
                  </a:cxn>
                  <a:cxn ang="0">
                    <a:pos x="37" y="38"/>
                  </a:cxn>
                  <a:cxn ang="0">
                    <a:pos x="34" y="20"/>
                  </a:cxn>
                  <a:cxn ang="0">
                    <a:pos x="25" y="13"/>
                  </a:cxn>
                  <a:cxn ang="0">
                    <a:pos x="17" y="20"/>
                  </a:cxn>
                  <a:cxn ang="0">
                    <a:pos x="13" y="38"/>
                  </a:cxn>
                  <a:cxn ang="0">
                    <a:pos x="17" y="57"/>
                  </a:cxn>
                  <a:cxn ang="0">
                    <a:pos x="25" y="64"/>
                  </a:cxn>
                  <a:cxn ang="0">
                    <a:pos x="34" y="57"/>
                  </a:cxn>
                  <a:cxn ang="0">
                    <a:pos x="37" y="38"/>
                  </a:cxn>
                </a:cxnLst>
                <a:rect l="0" t="0" r="r" b="b"/>
                <a:pathLst>
                  <a:path w="51" h="76">
                    <a:moveTo>
                      <a:pt x="51" y="38"/>
                    </a:moveTo>
                    <a:cubicBezTo>
                      <a:pt x="51" y="49"/>
                      <a:pt x="49" y="59"/>
                      <a:pt x="44" y="66"/>
                    </a:cubicBezTo>
                    <a:cubicBezTo>
                      <a:pt x="39" y="72"/>
                      <a:pt x="33" y="76"/>
                      <a:pt x="25" y="76"/>
                    </a:cubicBezTo>
                    <a:cubicBezTo>
                      <a:pt x="18" y="76"/>
                      <a:pt x="11" y="73"/>
                      <a:pt x="7" y="66"/>
                    </a:cubicBezTo>
                    <a:cubicBezTo>
                      <a:pt x="2" y="59"/>
                      <a:pt x="0" y="50"/>
                      <a:pt x="0" y="38"/>
                    </a:cubicBezTo>
                    <a:cubicBezTo>
                      <a:pt x="0" y="27"/>
                      <a:pt x="2" y="18"/>
                      <a:pt x="7" y="11"/>
                    </a:cubicBezTo>
                    <a:cubicBezTo>
                      <a:pt x="11" y="4"/>
                      <a:pt x="18" y="0"/>
                      <a:pt x="25" y="0"/>
                    </a:cubicBezTo>
                    <a:cubicBezTo>
                      <a:pt x="33" y="0"/>
                      <a:pt x="40" y="4"/>
                      <a:pt x="44" y="11"/>
                    </a:cubicBezTo>
                    <a:cubicBezTo>
                      <a:pt x="49" y="18"/>
                      <a:pt x="51" y="27"/>
                      <a:pt x="51" y="38"/>
                    </a:cubicBezTo>
                    <a:close/>
                    <a:moveTo>
                      <a:pt x="37" y="38"/>
                    </a:moveTo>
                    <a:cubicBezTo>
                      <a:pt x="37" y="31"/>
                      <a:pt x="36" y="24"/>
                      <a:pt x="34" y="20"/>
                    </a:cubicBezTo>
                    <a:cubicBezTo>
                      <a:pt x="32" y="15"/>
                      <a:pt x="29" y="13"/>
                      <a:pt x="25" y="13"/>
                    </a:cubicBezTo>
                    <a:cubicBezTo>
                      <a:pt x="22" y="13"/>
                      <a:pt x="19" y="15"/>
                      <a:pt x="17" y="20"/>
                    </a:cubicBezTo>
                    <a:cubicBezTo>
                      <a:pt x="15" y="25"/>
                      <a:pt x="13" y="31"/>
                      <a:pt x="13" y="38"/>
                    </a:cubicBezTo>
                    <a:cubicBezTo>
                      <a:pt x="13" y="46"/>
                      <a:pt x="15" y="52"/>
                      <a:pt x="17" y="57"/>
                    </a:cubicBezTo>
                    <a:cubicBezTo>
                      <a:pt x="19" y="61"/>
                      <a:pt x="22" y="64"/>
                      <a:pt x="25" y="64"/>
                    </a:cubicBezTo>
                    <a:cubicBezTo>
                      <a:pt x="29" y="64"/>
                      <a:pt x="32" y="61"/>
                      <a:pt x="34" y="57"/>
                    </a:cubicBezTo>
                    <a:cubicBezTo>
                      <a:pt x="36" y="52"/>
                      <a:pt x="37" y="46"/>
                      <a:pt x="37" y="38"/>
                    </a:cubicBez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72" name="Freeform 272"/>
              <p:cNvSpPr>
                <a:spLocks/>
              </p:cNvSpPr>
              <p:nvPr/>
            </p:nvSpPr>
            <p:spPr bwMode="auto">
              <a:xfrm>
                <a:off x="3065299" y="3882325"/>
                <a:ext cx="34376" cy="87659"/>
              </a:xfrm>
              <a:custGeom>
                <a:avLst/>
                <a:gdLst/>
                <a:ahLst/>
                <a:cxnLst>
                  <a:cxn ang="0">
                    <a:pos x="22" y="56"/>
                  </a:cxn>
                  <a:cxn ang="0">
                    <a:pos x="11" y="56"/>
                  </a:cxn>
                  <a:cxn ang="0">
                    <a:pos x="11" y="9"/>
                  </a:cxn>
                  <a:cxn ang="0">
                    <a:pos x="0" y="9"/>
                  </a:cxn>
                  <a:cxn ang="0">
                    <a:pos x="5" y="0"/>
                  </a:cxn>
                  <a:cxn ang="0">
                    <a:pos x="22" y="0"/>
                  </a:cxn>
                  <a:cxn ang="0">
                    <a:pos x="22" y="56"/>
                  </a:cxn>
                </a:cxnLst>
                <a:rect l="0" t="0" r="r" b="b"/>
                <a:pathLst>
                  <a:path w="22" h="56">
                    <a:moveTo>
                      <a:pt x="22" y="56"/>
                    </a:moveTo>
                    <a:lnTo>
                      <a:pt x="11" y="56"/>
                    </a:lnTo>
                    <a:lnTo>
                      <a:pt x="11" y="9"/>
                    </a:lnTo>
                    <a:lnTo>
                      <a:pt x="0" y="9"/>
                    </a:lnTo>
                    <a:lnTo>
                      <a:pt x="5" y="0"/>
                    </a:lnTo>
                    <a:lnTo>
                      <a:pt x="22" y="0"/>
                    </a:lnTo>
                    <a:lnTo>
                      <a:pt x="22" y="56"/>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73" name="Freeform 273"/>
              <p:cNvSpPr>
                <a:spLocks/>
              </p:cNvSpPr>
              <p:nvPr/>
            </p:nvSpPr>
            <p:spPr bwMode="auto">
              <a:xfrm>
                <a:off x="3105925" y="3882325"/>
                <a:ext cx="34376" cy="87659"/>
              </a:xfrm>
              <a:custGeom>
                <a:avLst/>
                <a:gdLst/>
                <a:ahLst/>
                <a:cxnLst>
                  <a:cxn ang="0">
                    <a:pos x="22" y="56"/>
                  </a:cxn>
                  <a:cxn ang="0">
                    <a:pos x="11" y="56"/>
                  </a:cxn>
                  <a:cxn ang="0">
                    <a:pos x="11" y="9"/>
                  </a:cxn>
                  <a:cxn ang="0">
                    <a:pos x="0" y="9"/>
                  </a:cxn>
                  <a:cxn ang="0">
                    <a:pos x="5" y="0"/>
                  </a:cxn>
                  <a:cxn ang="0">
                    <a:pos x="22" y="0"/>
                  </a:cxn>
                  <a:cxn ang="0">
                    <a:pos x="22" y="56"/>
                  </a:cxn>
                </a:cxnLst>
                <a:rect l="0" t="0" r="r" b="b"/>
                <a:pathLst>
                  <a:path w="22" h="56">
                    <a:moveTo>
                      <a:pt x="22" y="56"/>
                    </a:moveTo>
                    <a:lnTo>
                      <a:pt x="11" y="56"/>
                    </a:lnTo>
                    <a:lnTo>
                      <a:pt x="11" y="9"/>
                    </a:lnTo>
                    <a:lnTo>
                      <a:pt x="0" y="9"/>
                    </a:lnTo>
                    <a:lnTo>
                      <a:pt x="5" y="0"/>
                    </a:lnTo>
                    <a:lnTo>
                      <a:pt x="22" y="0"/>
                    </a:lnTo>
                    <a:lnTo>
                      <a:pt x="22" y="56"/>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75" name="Freeform 284"/>
              <p:cNvSpPr>
                <a:spLocks/>
              </p:cNvSpPr>
              <p:nvPr/>
            </p:nvSpPr>
            <p:spPr bwMode="auto">
              <a:xfrm>
                <a:off x="2384038" y="402164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76" name="Freeform 285"/>
              <p:cNvSpPr>
                <a:spLocks/>
              </p:cNvSpPr>
              <p:nvPr/>
            </p:nvSpPr>
            <p:spPr bwMode="auto">
              <a:xfrm>
                <a:off x="2424664" y="402164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77" name="Freeform 286"/>
              <p:cNvSpPr>
                <a:spLocks/>
              </p:cNvSpPr>
              <p:nvPr/>
            </p:nvSpPr>
            <p:spPr bwMode="auto">
              <a:xfrm>
                <a:off x="2465290" y="402164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78" name="Freeform 287"/>
              <p:cNvSpPr>
                <a:spLocks/>
              </p:cNvSpPr>
              <p:nvPr/>
            </p:nvSpPr>
            <p:spPr bwMode="auto">
              <a:xfrm>
                <a:off x="2505915" y="4021640"/>
                <a:ext cx="32813" cy="87659"/>
              </a:xfrm>
              <a:custGeom>
                <a:avLst/>
                <a:gdLst/>
                <a:ahLst/>
                <a:cxnLst>
                  <a:cxn ang="0">
                    <a:pos x="21" y="56"/>
                  </a:cxn>
                  <a:cxn ang="0">
                    <a:pos x="11" y="56"/>
                  </a:cxn>
                  <a:cxn ang="0">
                    <a:pos x="11" y="10"/>
                  </a:cxn>
                  <a:cxn ang="0">
                    <a:pos x="0" y="10"/>
                  </a:cxn>
                  <a:cxn ang="0">
                    <a:pos x="4" y="0"/>
                  </a:cxn>
                  <a:cxn ang="0">
                    <a:pos x="21" y="0"/>
                  </a:cxn>
                  <a:cxn ang="0">
                    <a:pos x="21" y="56"/>
                  </a:cxn>
                </a:cxnLst>
                <a:rect l="0" t="0" r="r" b="b"/>
                <a:pathLst>
                  <a:path w="21" h="56">
                    <a:moveTo>
                      <a:pt x="21" y="56"/>
                    </a:moveTo>
                    <a:lnTo>
                      <a:pt x="11" y="56"/>
                    </a:lnTo>
                    <a:lnTo>
                      <a:pt x="11" y="10"/>
                    </a:lnTo>
                    <a:lnTo>
                      <a:pt x="0" y="10"/>
                    </a:lnTo>
                    <a:lnTo>
                      <a:pt x="4" y="0"/>
                    </a:lnTo>
                    <a:lnTo>
                      <a:pt x="21" y="0"/>
                    </a:lnTo>
                    <a:lnTo>
                      <a:pt x="21" y="56"/>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79" name="Freeform 288"/>
              <p:cNvSpPr>
                <a:spLocks noEditPoints="1"/>
              </p:cNvSpPr>
              <p:nvPr/>
            </p:nvSpPr>
            <p:spPr bwMode="auto">
              <a:xfrm>
                <a:off x="2554354" y="4020075"/>
                <a:ext cx="60938" cy="90790"/>
              </a:xfrm>
              <a:custGeom>
                <a:avLst/>
                <a:gdLst/>
                <a:ahLst/>
                <a:cxnLst>
                  <a:cxn ang="0">
                    <a:pos x="51" y="37"/>
                  </a:cxn>
                  <a:cxn ang="0">
                    <a:pos x="44" y="65"/>
                  </a:cxn>
                  <a:cxn ang="0">
                    <a:pos x="26" y="75"/>
                  </a:cxn>
                  <a:cxn ang="0">
                    <a:pos x="7" y="65"/>
                  </a:cxn>
                  <a:cxn ang="0">
                    <a:pos x="0" y="37"/>
                  </a:cxn>
                  <a:cxn ang="0">
                    <a:pos x="7" y="10"/>
                  </a:cxn>
                  <a:cxn ang="0">
                    <a:pos x="26" y="0"/>
                  </a:cxn>
                  <a:cxn ang="0">
                    <a:pos x="44" y="10"/>
                  </a:cxn>
                  <a:cxn ang="0">
                    <a:pos x="51" y="37"/>
                  </a:cxn>
                  <a:cxn ang="0">
                    <a:pos x="38" y="37"/>
                  </a:cxn>
                  <a:cxn ang="0">
                    <a:pos x="34" y="19"/>
                  </a:cxn>
                  <a:cxn ang="0">
                    <a:pos x="26" y="12"/>
                  </a:cxn>
                  <a:cxn ang="0">
                    <a:pos x="17" y="19"/>
                  </a:cxn>
                  <a:cxn ang="0">
                    <a:pos x="14" y="37"/>
                  </a:cxn>
                  <a:cxn ang="0">
                    <a:pos x="17" y="56"/>
                  </a:cxn>
                  <a:cxn ang="0">
                    <a:pos x="26" y="63"/>
                  </a:cxn>
                  <a:cxn ang="0">
                    <a:pos x="34" y="56"/>
                  </a:cxn>
                  <a:cxn ang="0">
                    <a:pos x="38" y="37"/>
                  </a:cxn>
                </a:cxnLst>
                <a:rect l="0" t="0" r="r" b="b"/>
                <a:pathLst>
                  <a:path w="51" h="75">
                    <a:moveTo>
                      <a:pt x="51" y="37"/>
                    </a:moveTo>
                    <a:cubicBezTo>
                      <a:pt x="51" y="49"/>
                      <a:pt x="49" y="58"/>
                      <a:pt x="44" y="65"/>
                    </a:cubicBezTo>
                    <a:cubicBezTo>
                      <a:pt x="40" y="72"/>
                      <a:pt x="33" y="75"/>
                      <a:pt x="26" y="75"/>
                    </a:cubicBezTo>
                    <a:cubicBezTo>
                      <a:pt x="18" y="75"/>
                      <a:pt x="11" y="72"/>
                      <a:pt x="7" y="65"/>
                    </a:cubicBezTo>
                    <a:cubicBezTo>
                      <a:pt x="2" y="58"/>
                      <a:pt x="0" y="49"/>
                      <a:pt x="0" y="37"/>
                    </a:cubicBezTo>
                    <a:cubicBezTo>
                      <a:pt x="0" y="26"/>
                      <a:pt x="2" y="17"/>
                      <a:pt x="7" y="10"/>
                    </a:cubicBezTo>
                    <a:cubicBezTo>
                      <a:pt x="11" y="3"/>
                      <a:pt x="18" y="0"/>
                      <a:pt x="26" y="0"/>
                    </a:cubicBezTo>
                    <a:cubicBezTo>
                      <a:pt x="33" y="0"/>
                      <a:pt x="40" y="3"/>
                      <a:pt x="44" y="10"/>
                    </a:cubicBezTo>
                    <a:cubicBezTo>
                      <a:pt x="49" y="17"/>
                      <a:pt x="51" y="26"/>
                      <a:pt x="51" y="37"/>
                    </a:cubicBezTo>
                    <a:close/>
                    <a:moveTo>
                      <a:pt x="38" y="37"/>
                    </a:moveTo>
                    <a:cubicBezTo>
                      <a:pt x="38" y="30"/>
                      <a:pt x="37" y="24"/>
                      <a:pt x="34" y="19"/>
                    </a:cubicBezTo>
                    <a:cubicBezTo>
                      <a:pt x="32" y="14"/>
                      <a:pt x="29" y="12"/>
                      <a:pt x="26" y="12"/>
                    </a:cubicBezTo>
                    <a:cubicBezTo>
                      <a:pt x="22" y="12"/>
                      <a:pt x="19" y="14"/>
                      <a:pt x="17" y="19"/>
                    </a:cubicBezTo>
                    <a:cubicBezTo>
                      <a:pt x="15" y="24"/>
                      <a:pt x="14" y="30"/>
                      <a:pt x="14" y="37"/>
                    </a:cubicBezTo>
                    <a:cubicBezTo>
                      <a:pt x="14" y="45"/>
                      <a:pt x="15" y="51"/>
                      <a:pt x="17" y="56"/>
                    </a:cubicBezTo>
                    <a:cubicBezTo>
                      <a:pt x="19" y="60"/>
                      <a:pt x="22" y="63"/>
                      <a:pt x="26" y="63"/>
                    </a:cubicBezTo>
                    <a:cubicBezTo>
                      <a:pt x="29" y="63"/>
                      <a:pt x="32" y="61"/>
                      <a:pt x="34" y="56"/>
                    </a:cubicBezTo>
                    <a:cubicBezTo>
                      <a:pt x="37" y="51"/>
                      <a:pt x="38" y="45"/>
                      <a:pt x="38" y="37"/>
                    </a:cubicBez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80" name="Freeform 289"/>
              <p:cNvSpPr>
                <a:spLocks noEditPoints="1"/>
              </p:cNvSpPr>
              <p:nvPr/>
            </p:nvSpPr>
            <p:spPr bwMode="auto">
              <a:xfrm>
                <a:off x="2619980" y="4020075"/>
                <a:ext cx="62501" cy="90790"/>
              </a:xfrm>
              <a:custGeom>
                <a:avLst/>
                <a:gdLst/>
                <a:ahLst/>
                <a:cxnLst>
                  <a:cxn ang="0">
                    <a:pos x="52" y="37"/>
                  </a:cxn>
                  <a:cxn ang="0">
                    <a:pos x="45" y="65"/>
                  </a:cxn>
                  <a:cxn ang="0">
                    <a:pos x="26" y="75"/>
                  </a:cxn>
                  <a:cxn ang="0">
                    <a:pos x="7" y="65"/>
                  </a:cxn>
                  <a:cxn ang="0">
                    <a:pos x="0" y="37"/>
                  </a:cxn>
                  <a:cxn ang="0">
                    <a:pos x="7" y="10"/>
                  </a:cxn>
                  <a:cxn ang="0">
                    <a:pos x="26" y="0"/>
                  </a:cxn>
                  <a:cxn ang="0">
                    <a:pos x="45" y="10"/>
                  </a:cxn>
                  <a:cxn ang="0">
                    <a:pos x="52" y="37"/>
                  </a:cxn>
                  <a:cxn ang="0">
                    <a:pos x="38" y="37"/>
                  </a:cxn>
                  <a:cxn ang="0">
                    <a:pos x="35" y="19"/>
                  </a:cxn>
                  <a:cxn ang="0">
                    <a:pos x="26" y="12"/>
                  </a:cxn>
                  <a:cxn ang="0">
                    <a:pos x="17" y="19"/>
                  </a:cxn>
                  <a:cxn ang="0">
                    <a:pos x="14" y="37"/>
                  </a:cxn>
                  <a:cxn ang="0">
                    <a:pos x="17" y="56"/>
                  </a:cxn>
                  <a:cxn ang="0">
                    <a:pos x="26" y="63"/>
                  </a:cxn>
                  <a:cxn ang="0">
                    <a:pos x="35" y="56"/>
                  </a:cxn>
                  <a:cxn ang="0">
                    <a:pos x="38" y="37"/>
                  </a:cxn>
                </a:cxnLst>
                <a:rect l="0" t="0" r="r" b="b"/>
                <a:pathLst>
                  <a:path w="52" h="75">
                    <a:moveTo>
                      <a:pt x="52" y="37"/>
                    </a:moveTo>
                    <a:cubicBezTo>
                      <a:pt x="52" y="49"/>
                      <a:pt x="50" y="58"/>
                      <a:pt x="45" y="65"/>
                    </a:cubicBezTo>
                    <a:cubicBezTo>
                      <a:pt x="40" y="72"/>
                      <a:pt x="34" y="75"/>
                      <a:pt x="26" y="75"/>
                    </a:cubicBezTo>
                    <a:cubicBezTo>
                      <a:pt x="18" y="75"/>
                      <a:pt x="12" y="72"/>
                      <a:pt x="7" y="65"/>
                    </a:cubicBezTo>
                    <a:cubicBezTo>
                      <a:pt x="3" y="58"/>
                      <a:pt x="0" y="49"/>
                      <a:pt x="0" y="37"/>
                    </a:cubicBezTo>
                    <a:cubicBezTo>
                      <a:pt x="0" y="26"/>
                      <a:pt x="3" y="17"/>
                      <a:pt x="7" y="10"/>
                    </a:cubicBezTo>
                    <a:cubicBezTo>
                      <a:pt x="12" y="3"/>
                      <a:pt x="18" y="0"/>
                      <a:pt x="26" y="0"/>
                    </a:cubicBezTo>
                    <a:cubicBezTo>
                      <a:pt x="34" y="0"/>
                      <a:pt x="40" y="3"/>
                      <a:pt x="45" y="10"/>
                    </a:cubicBezTo>
                    <a:cubicBezTo>
                      <a:pt x="50" y="17"/>
                      <a:pt x="52" y="26"/>
                      <a:pt x="52" y="37"/>
                    </a:cubicBezTo>
                    <a:close/>
                    <a:moveTo>
                      <a:pt x="38" y="37"/>
                    </a:moveTo>
                    <a:cubicBezTo>
                      <a:pt x="38" y="30"/>
                      <a:pt x="37" y="24"/>
                      <a:pt x="35" y="19"/>
                    </a:cubicBezTo>
                    <a:cubicBezTo>
                      <a:pt x="33" y="14"/>
                      <a:pt x="30" y="12"/>
                      <a:pt x="26" y="12"/>
                    </a:cubicBezTo>
                    <a:cubicBezTo>
                      <a:pt x="22" y="12"/>
                      <a:pt x="20" y="14"/>
                      <a:pt x="17" y="19"/>
                    </a:cubicBezTo>
                    <a:cubicBezTo>
                      <a:pt x="15" y="24"/>
                      <a:pt x="14" y="30"/>
                      <a:pt x="14" y="37"/>
                    </a:cubicBezTo>
                    <a:cubicBezTo>
                      <a:pt x="14" y="45"/>
                      <a:pt x="15" y="51"/>
                      <a:pt x="17" y="56"/>
                    </a:cubicBezTo>
                    <a:cubicBezTo>
                      <a:pt x="20" y="60"/>
                      <a:pt x="23" y="63"/>
                      <a:pt x="26" y="63"/>
                    </a:cubicBezTo>
                    <a:cubicBezTo>
                      <a:pt x="30" y="63"/>
                      <a:pt x="33" y="61"/>
                      <a:pt x="35" y="56"/>
                    </a:cubicBezTo>
                    <a:cubicBezTo>
                      <a:pt x="37" y="51"/>
                      <a:pt x="38" y="45"/>
                      <a:pt x="38" y="37"/>
                    </a:cubicBez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81" name="Freeform 290"/>
              <p:cNvSpPr>
                <a:spLocks/>
              </p:cNvSpPr>
              <p:nvPr/>
            </p:nvSpPr>
            <p:spPr bwMode="auto">
              <a:xfrm>
                <a:off x="2684043" y="402164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82" name="Freeform 291"/>
              <p:cNvSpPr>
                <a:spLocks noEditPoints="1"/>
              </p:cNvSpPr>
              <p:nvPr/>
            </p:nvSpPr>
            <p:spPr bwMode="auto">
              <a:xfrm>
                <a:off x="2730919" y="4020075"/>
                <a:ext cx="62501" cy="90790"/>
              </a:xfrm>
              <a:custGeom>
                <a:avLst/>
                <a:gdLst/>
                <a:ahLst/>
                <a:cxnLst>
                  <a:cxn ang="0">
                    <a:pos x="51" y="37"/>
                  </a:cxn>
                  <a:cxn ang="0">
                    <a:pos x="44" y="65"/>
                  </a:cxn>
                  <a:cxn ang="0">
                    <a:pos x="25" y="75"/>
                  </a:cxn>
                  <a:cxn ang="0">
                    <a:pos x="7" y="65"/>
                  </a:cxn>
                  <a:cxn ang="0">
                    <a:pos x="0" y="37"/>
                  </a:cxn>
                  <a:cxn ang="0">
                    <a:pos x="7" y="10"/>
                  </a:cxn>
                  <a:cxn ang="0">
                    <a:pos x="25" y="0"/>
                  </a:cxn>
                  <a:cxn ang="0">
                    <a:pos x="44" y="10"/>
                  </a:cxn>
                  <a:cxn ang="0">
                    <a:pos x="51" y="37"/>
                  </a:cxn>
                  <a:cxn ang="0">
                    <a:pos x="37" y="37"/>
                  </a:cxn>
                  <a:cxn ang="0">
                    <a:pos x="34" y="19"/>
                  </a:cxn>
                  <a:cxn ang="0">
                    <a:pos x="25" y="12"/>
                  </a:cxn>
                  <a:cxn ang="0">
                    <a:pos x="17" y="19"/>
                  </a:cxn>
                  <a:cxn ang="0">
                    <a:pos x="13" y="37"/>
                  </a:cxn>
                  <a:cxn ang="0">
                    <a:pos x="17" y="56"/>
                  </a:cxn>
                  <a:cxn ang="0">
                    <a:pos x="25" y="63"/>
                  </a:cxn>
                  <a:cxn ang="0">
                    <a:pos x="34" y="56"/>
                  </a:cxn>
                  <a:cxn ang="0">
                    <a:pos x="37" y="37"/>
                  </a:cxn>
                </a:cxnLst>
                <a:rect l="0" t="0" r="r" b="b"/>
                <a:pathLst>
                  <a:path w="51" h="75">
                    <a:moveTo>
                      <a:pt x="51" y="37"/>
                    </a:moveTo>
                    <a:cubicBezTo>
                      <a:pt x="51" y="49"/>
                      <a:pt x="49" y="58"/>
                      <a:pt x="44" y="65"/>
                    </a:cubicBezTo>
                    <a:cubicBezTo>
                      <a:pt x="39" y="72"/>
                      <a:pt x="33" y="75"/>
                      <a:pt x="25" y="75"/>
                    </a:cubicBezTo>
                    <a:cubicBezTo>
                      <a:pt x="17" y="75"/>
                      <a:pt x="11" y="72"/>
                      <a:pt x="7" y="65"/>
                    </a:cubicBezTo>
                    <a:cubicBezTo>
                      <a:pt x="2" y="58"/>
                      <a:pt x="0" y="49"/>
                      <a:pt x="0" y="37"/>
                    </a:cubicBezTo>
                    <a:cubicBezTo>
                      <a:pt x="0" y="26"/>
                      <a:pt x="2" y="17"/>
                      <a:pt x="7" y="10"/>
                    </a:cubicBezTo>
                    <a:cubicBezTo>
                      <a:pt x="11" y="3"/>
                      <a:pt x="17" y="0"/>
                      <a:pt x="25" y="0"/>
                    </a:cubicBezTo>
                    <a:cubicBezTo>
                      <a:pt x="33" y="0"/>
                      <a:pt x="39" y="3"/>
                      <a:pt x="44" y="10"/>
                    </a:cubicBezTo>
                    <a:cubicBezTo>
                      <a:pt x="49" y="17"/>
                      <a:pt x="51" y="26"/>
                      <a:pt x="51" y="37"/>
                    </a:cubicBezTo>
                    <a:close/>
                    <a:moveTo>
                      <a:pt x="37" y="37"/>
                    </a:moveTo>
                    <a:cubicBezTo>
                      <a:pt x="37" y="30"/>
                      <a:pt x="36" y="24"/>
                      <a:pt x="34" y="19"/>
                    </a:cubicBezTo>
                    <a:cubicBezTo>
                      <a:pt x="32" y="14"/>
                      <a:pt x="29" y="12"/>
                      <a:pt x="25" y="12"/>
                    </a:cubicBezTo>
                    <a:cubicBezTo>
                      <a:pt x="22" y="12"/>
                      <a:pt x="19" y="14"/>
                      <a:pt x="17" y="19"/>
                    </a:cubicBezTo>
                    <a:cubicBezTo>
                      <a:pt x="14" y="24"/>
                      <a:pt x="13" y="30"/>
                      <a:pt x="13" y="37"/>
                    </a:cubicBezTo>
                    <a:cubicBezTo>
                      <a:pt x="13" y="45"/>
                      <a:pt x="14" y="51"/>
                      <a:pt x="17" y="56"/>
                    </a:cubicBezTo>
                    <a:cubicBezTo>
                      <a:pt x="19" y="60"/>
                      <a:pt x="22" y="63"/>
                      <a:pt x="25" y="63"/>
                    </a:cubicBezTo>
                    <a:cubicBezTo>
                      <a:pt x="29" y="63"/>
                      <a:pt x="32" y="61"/>
                      <a:pt x="34" y="56"/>
                    </a:cubicBezTo>
                    <a:cubicBezTo>
                      <a:pt x="36" y="51"/>
                      <a:pt x="37" y="45"/>
                      <a:pt x="37" y="37"/>
                    </a:cubicBez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83" name="Freeform 292"/>
              <p:cNvSpPr>
                <a:spLocks/>
              </p:cNvSpPr>
              <p:nvPr/>
            </p:nvSpPr>
            <p:spPr bwMode="auto">
              <a:xfrm>
                <a:off x="2793420" y="4021640"/>
                <a:ext cx="34376" cy="87659"/>
              </a:xfrm>
              <a:custGeom>
                <a:avLst/>
                <a:gdLst/>
                <a:ahLst/>
                <a:cxnLst>
                  <a:cxn ang="0">
                    <a:pos x="22" y="56"/>
                  </a:cxn>
                  <a:cxn ang="0">
                    <a:pos x="11" y="56"/>
                  </a:cxn>
                  <a:cxn ang="0">
                    <a:pos x="11" y="10"/>
                  </a:cxn>
                  <a:cxn ang="0">
                    <a:pos x="0" y="10"/>
                  </a:cxn>
                  <a:cxn ang="0">
                    <a:pos x="5" y="0"/>
                  </a:cxn>
                  <a:cxn ang="0">
                    <a:pos x="22" y="0"/>
                  </a:cxn>
                  <a:cxn ang="0">
                    <a:pos x="22" y="56"/>
                  </a:cxn>
                </a:cxnLst>
                <a:rect l="0" t="0" r="r" b="b"/>
                <a:pathLst>
                  <a:path w="22" h="56">
                    <a:moveTo>
                      <a:pt x="22" y="56"/>
                    </a:moveTo>
                    <a:lnTo>
                      <a:pt x="11" y="56"/>
                    </a:lnTo>
                    <a:lnTo>
                      <a:pt x="11" y="10"/>
                    </a:lnTo>
                    <a:lnTo>
                      <a:pt x="0" y="10"/>
                    </a:lnTo>
                    <a:lnTo>
                      <a:pt x="5" y="0"/>
                    </a:lnTo>
                    <a:lnTo>
                      <a:pt x="22" y="0"/>
                    </a:lnTo>
                    <a:lnTo>
                      <a:pt x="22" y="56"/>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84" name="Freeform 293"/>
              <p:cNvSpPr>
                <a:spLocks/>
              </p:cNvSpPr>
              <p:nvPr/>
            </p:nvSpPr>
            <p:spPr bwMode="auto">
              <a:xfrm>
                <a:off x="2835608" y="402164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85" name="Freeform 294"/>
              <p:cNvSpPr>
                <a:spLocks noEditPoints="1"/>
              </p:cNvSpPr>
              <p:nvPr/>
            </p:nvSpPr>
            <p:spPr bwMode="auto">
              <a:xfrm>
                <a:off x="2882484" y="4020075"/>
                <a:ext cx="62501" cy="90790"/>
              </a:xfrm>
              <a:custGeom>
                <a:avLst/>
                <a:gdLst/>
                <a:ahLst/>
                <a:cxnLst>
                  <a:cxn ang="0">
                    <a:pos x="51" y="37"/>
                  </a:cxn>
                  <a:cxn ang="0">
                    <a:pos x="44" y="65"/>
                  </a:cxn>
                  <a:cxn ang="0">
                    <a:pos x="25" y="75"/>
                  </a:cxn>
                  <a:cxn ang="0">
                    <a:pos x="7" y="65"/>
                  </a:cxn>
                  <a:cxn ang="0">
                    <a:pos x="0" y="37"/>
                  </a:cxn>
                  <a:cxn ang="0">
                    <a:pos x="7" y="10"/>
                  </a:cxn>
                  <a:cxn ang="0">
                    <a:pos x="25" y="0"/>
                  </a:cxn>
                  <a:cxn ang="0">
                    <a:pos x="44" y="10"/>
                  </a:cxn>
                  <a:cxn ang="0">
                    <a:pos x="51" y="37"/>
                  </a:cxn>
                  <a:cxn ang="0">
                    <a:pos x="38" y="37"/>
                  </a:cxn>
                  <a:cxn ang="0">
                    <a:pos x="34" y="19"/>
                  </a:cxn>
                  <a:cxn ang="0">
                    <a:pos x="25" y="12"/>
                  </a:cxn>
                  <a:cxn ang="0">
                    <a:pos x="17" y="19"/>
                  </a:cxn>
                  <a:cxn ang="0">
                    <a:pos x="14" y="37"/>
                  </a:cxn>
                  <a:cxn ang="0">
                    <a:pos x="17" y="56"/>
                  </a:cxn>
                  <a:cxn ang="0">
                    <a:pos x="25" y="63"/>
                  </a:cxn>
                  <a:cxn ang="0">
                    <a:pos x="34" y="56"/>
                  </a:cxn>
                  <a:cxn ang="0">
                    <a:pos x="38" y="37"/>
                  </a:cxn>
                </a:cxnLst>
                <a:rect l="0" t="0" r="r" b="b"/>
                <a:pathLst>
                  <a:path w="51" h="75">
                    <a:moveTo>
                      <a:pt x="51" y="37"/>
                    </a:moveTo>
                    <a:cubicBezTo>
                      <a:pt x="51" y="49"/>
                      <a:pt x="49" y="58"/>
                      <a:pt x="44" y="65"/>
                    </a:cubicBezTo>
                    <a:cubicBezTo>
                      <a:pt x="40" y="72"/>
                      <a:pt x="33" y="75"/>
                      <a:pt x="25" y="75"/>
                    </a:cubicBezTo>
                    <a:cubicBezTo>
                      <a:pt x="18" y="75"/>
                      <a:pt x="11" y="72"/>
                      <a:pt x="7" y="65"/>
                    </a:cubicBezTo>
                    <a:cubicBezTo>
                      <a:pt x="2" y="58"/>
                      <a:pt x="0" y="49"/>
                      <a:pt x="0" y="37"/>
                    </a:cubicBezTo>
                    <a:cubicBezTo>
                      <a:pt x="0" y="26"/>
                      <a:pt x="2" y="17"/>
                      <a:pt x="7" y="10"/>
                    </a:cubicBezTo>
                    <a:cubicBezTo>
                      <a:pt x="11" y="3"/>
                      <a:pt x="18" y="0"/>
                      <a:pt x="25" y="0"/>
                    </a:cubicBezTo>
                    <a:cubicBezTo>
                      <a:pt x="33" y="0"/>
                      <a:pt x="40" y="3"/>
                      <a:pt x="44" y="10"/>
                    </a:cubicBezTo>
                    <a:cubicBezTo>
                      <a:pt x="49" y="17"/>
                      <a:pt x="51" y="26"/>
                      <a:pt x="51" y="37"/>
                    </a:cubicBezTo>
                    <a:close/>
                    <a:moveTo>
                      <a:pt x="38" y="37"/>
                    </a:moveTo>
                    <a:cubicBezTo>
                      <a:pt x="38" y="30"/>
                      <a:pt x="36" y="24"/>
                      <a:pt x="34" y="19"/>
                    </a:cubicBezTo>
                    <a:cubicBezTo>
                      <a:pt x="32" y="14"/>
                      <a:pt x="29" y="12"/>
                      <a:pt x="25" y="12"/>
                    </a:cubicBezTo>
                    <a:cubicBezTo>
                      <a:pt x="22" y="12"/>
                      <a:pt x="19" y="14"/>
                      <a:pt x="17" y="19"/>
                    </a:cubicBezTo>
                    <a:cubicBezTo>
                      <a:pt x="15" y="24"/>
                      <a:pt x="14" y="30"/>
                      <a:pt x="14" y="37"/>
                    </a:cubicBezTo>
                    <a:cubicBezTo>
                      <a:pt x="14" y="45"/>
                      <a:pt x="15" y="51"/>
                      <a:pt x="17" y="56"/>
                    </a:cubicBezTo>
                    <a:cubicBezTo>
                      <a:pt x="19" y="60"/>
                      <a:pt x="22" y="63"/>
                      <a:pt x="25" y="63"/>
                    </a:cubicBezTo>
                    <a:cubicBezTo>
                      <a:pt x="29" y="63"/>
                      <a:pt x="32" y="61"/>
                      <a:pt x="34" y="56"/>
                    </a:cubicBezTo>
                    <a:cubicBezTo>
                      <a:pt x="36" y="51"/>
                      <a:pt x="38" y="45"/>
                      <a:pt x="38" y="37"/>
                    </a:cubicBez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86" name="Freeform 295"/>
              <p:cNvSpPr>
                <a:spLocks/>
              </p:cNvSpPr>
              <p:nvPr/>
            </p:nvSpPr>
            <p:spPr bwMode="auto">
              <a:xfrm>
                <a:off x="2944985" y="4021640"/>
                <a:ext cx="34376" cy="87659"/>
              </a:xfrm>
              <a:custGeom>
                <a:avLst/>
                <a:gdLst/>
                <a:ahLst/>
                <a:cxnLst>
                  <a:cxn ang="0">
                    <a:pos x="22" y="56"/>
                  </a:cxn>
                  <a:cxn ang="0">
                    <a:pos x="11" y="56"/>
                  </a:cxn>
                  <a:cxn ang="0">
                    <a:pos x="11" y="10"/>
                  </a:cxn>
                  <a:cxn ang="0">
                    <a:pos x="0" y="10"/>
                  </a:cxn>
                  <a:cxn ang="0">
                    <a:pos x="5" y="0"/>
                  </a:cxn>
                  <a:cxn ang="0">
                    <a:pos x="22" y="0"/>
                  </a:cxn>
                  <a:cxn ang="0">
                    <a:pos x="22" y="56"/>
                  </a:cxn>
                </a:cxnLst>
                <a:rect l="0" t="0" r="r" b="b"/>
                <a:pathLst>
                  <a:path w="22" h="56">
                    <a:moveTo>
                      <a:pt x="22" y="56"/>
                    </a:moveTo>
                    <a:lnTo>
                      <a:pt x="11" y="56"/>
                    </a:lnTo>
                    <a:lnTo>
                      <a:pt x="11" y="10"/>
                    </a:lnTo>
                    <a:lnTo>
                      <a:pt x="0" y="10"/>
                    </a:lnTo>
                    <a:lnTo>
                      <a:pt x="5" y="0"/>
                    </a:lnTo>
                    <a:lnTo>
                      <a:pt x="22" y="0"/>
                    </a:lnTo>
                    <a:lnTo>
                      <a:pt x="22" y="56"/>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87" name="Freeform 296"/>
              <p:cNvSpPr>
                <a:spLocks noEditPoints="1"/>
              </p:cNvSpPr>
              <p:nvPr/>
            </p:nvSpPr>
            <p:spPr bwMode="auto">
              <a:xfrm>
                <a:off x="2993423" y="4020075"/>
                <a:ext cx="62501" cy="90790"/>
              </a:xfrm>
              <a:custGeom>
                <a:avLst/>
                <a:gdLst/>
                <a:ahLst/>
                <a:cxnLst>
                  <a:cxn ang="0">
                    <a:pos x="52" y="37"/>
                  </a:cxn>
                  <a:cxn ang="0">
                    <a:pos x="44" y="65"/>
                  </a:cxn>
                  <a:cxn ang="0">
                    <a:pos x="26" y="75"/>
                  </a:cxn>
                  <a:cxn ang="0">
                    <a:pos x="7" y="65"/>
                  </a:cxn>
                  <a:cxn ang="0">
                    <a:pos x="0" y="37"/>
                  </a:cxn>
                  <a:cxn ang="0">
                    <a:pos x="7" y="10"/>
                  </a:cxn>
                  <a:cxn ang="0">
                    <a:pos x="26" y="0"/>
                  </a:cxn>
                  <a:cxn ang="0">
                    <a:pos x="45" y="10"/>
                  </a:cxn>
                  <a:cxn ang="0">
                    <a:pos x="52" y="37"/>
                  </a:cxn>
                  <a:cxn ang="0">
                    <a:pos x="38" y="37"/>
                  </a:cxn>
                  <a:cxn ang="0">
                    <a:pos x="34" y="19"/>
                  </a:cxn>
                  <a:cxn ang="0">
                    <a:pos x="26" y="12"/>
                  </a:cxn>
                  <a:cxn ang="0">
                    <a:pos x="17" y="19"/>
                  </a:cxn>
                  <a:cxn ang="0">
                    <a:pos x="14" y="37"/>
                  </a:cxn>
                  <a:cxn ang="0">
                    <a:pos x="17" y="56"/>
                  </a:cxn>
                  <a:cxn ang="0">
                    <a:pos x="26" y="63"/>
                  </a:cxn>
                  <a:cxn ang="0">
                    <a:pos x="34" y="56"/>
                  </a:cxn>
                  <a:cxn ang="0">
                    <a:pos x="38" y="37"/>
                  </a:cxn>
                </a:cxnLst>
                <a:rect l="0" t="0" r="r" b="b"/>
                <a:pathLst>
                  <a:path w="52" h="75">
                    <a:moveTo>
                      <a:pt x="52" y="37"/>
                    </a:moveTo>
                    <a:cubicBezTo>
                      <a:pt x="52" y="49"/>
                      <a:pt x="49" y="58"/>
                      <a:pt x="44" y="65"/>
                    </a:cubicBezTo>
                    <a:cubicBezTo>
                      <a:pt x="40" y="72"/>
                      <a:pt x="33" y="75"/>
                      <a:pt x="26" y="75"/>
                    </a:cubicBezTo>
                    <a:cubicBezTo>
                      <a:pt x="18" y="75"/>
                      <a:pt x="12" y="72"/>
                      <a:pt x="7" y="65"/>
                    </a:cubicBezTo>
                    <a:cubicBezTo>
                      <a:pt x="2" y="58"/>
                      <a:pt x="0" y="49"/>
                      <a:pt x="0" y="37"/>
                    </a:cubicBezTo>
                    <a:cubicBezTo>
                      <a:pt x="0" y="26"/>
                      <a:pt x="2" y="17"/>
                      <a:pt x="7" y="10"/>
                    </a:cubicBezTo>
                    <a:cubicBezTo>
                      <a:pt x="12" y="3"/>
                      <a:pt x="18" y="0"/>
                      <a:pt x="26" y="0"/>
                    </a:cubicBezTo>
                    <a:cubicBezTo>
                      <a:pt x="34" y="0"/>
                      <a:pt x="40" y="3"/>
                      <a:pt x="45" y="10"/>
                    </a:cubicBezTo>
                    <a:cubicBezTo>
                      <a:pt x="49" y="17"/>
                      <a:pt x="52" y="26"/>
                      <a:pt x="52" y="37"/>
                    </a:cubicBezTo>
                    <a:close/>
                    <a:moveTo>
                      <a:pt x="38" y="37"/>
                    </a:moveTo>
                    <a:cubicBezTo>
                      <a:pt x="38" y="30"/>
                      <a:pt x="37" y="24"/>
                      <a:pt x="34" y="19"/>
                    </a:cubicBezTo>
                    <a:cubicBezTo>
                      <a:pt x="32" y="14"/>
                      <a:pt x="29" y="12"/>
                      <a:pt x="26" y="12"/>
                    </a:cubicBezTo>
                    <a:cubicBezTo>
                      <a:pt x="22" y="12"/>
                      <a:pt x="19" y="14"/>
                      <a:pt x="17" y="19"/>
                    </a:cubicBezTo>
                    <a:cubicBezTo>
                      <a:pt x="15" y="24"/>
                      <a:pt x="14" y="30"/>
                      <a:pt x="14" y="37"/>
                    </a:cubicBezTo>
                    <a:cubicBezTo>
                      <a:pt x="14" y="45"/>
                      <a:pt x="15" y="51"/>
                      <a:pt x="17" y="56"/>
                    </a:cubicBezTo>
                    <a:cubicBezTo>
                      <a:pt x="19" y="60"/>
                      <a:pt x="22" y="63"/>
                      <a:pt x="26" y="63"/>
                    </a:cubicBezTo>
                    <a:cubicBezTo>
                      <a:pt x="29" y="63"/>
                      <a:pt x="32" y="61"/>
                      <a:pt x="34" y="56"/>
                    </a:cubicBezTo>
                    <a:cubicBezTo>
                      <a:pt x="37" y="51"/>
                      <a:pt x="38" y="45"/>
                      <a:pt x="38" y="37"/>
                    </a:cubicBez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88" name="Freeform 297"/>
              <p:cNvSpPr>
                <a:spLocks/>
              </p:cNvSpPr>
              <p:nvPr/>
            </p:nvSpPr>
            <p:spPr bwMode="auto">
              <a:xfrm>
                <a:off x="3057486" y="402164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89" name="Freeform 298"/>
              <p:cNvSpPr>
                <a:spLocks/>
              </p:cNvSpPr>
              <p:nvPr/>
            </p:nvSpPr>
            <p:spPr bwMode="auto">
              <a:xfrm>
                <a:off x="3098112" y="402164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91" name="Freeform 310"/>
              <p:cNvSpPr>
                <a:spLocks/>
              </p:cNvSpPr>
              <p:nvPr/>
            </p:nvSpPr>
            <p:spPr bwMode="auto">
              <a:xfrm>
                <a:off x="2424664" y="415939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92" name="Freeform 311"/>
              <p:cNvSpPr>
                <a:spLocks noEditPoints="1"/>
              </p:cNvSpPr>
              <p:nvPr/>
            </p:nvSpPr>
            <p:spPr bwMode="auto">
              <a:xfrm>
                <a:off x="2471540" y="4159390"/>
                <a:ext cx="62501" cy="89224"/>
              </a:xfrm>
              <a:custGeom>
                <a:avLst/>
                <a:gdLst/>
                <a:ahLst/>
                <a:cxnLst>
                  <a:cxn ang="0">
                    <a:pos x="52" y="38"/>
                  </a:cxn>
                  <a:cxn ang="0">
                    <a:pos x="45" y="65"/>
                  </a:cxn>
                  <a:cxn ang="0">
                    <a:pos x="26" y="75"/>
                  </a:cxn>
                  <a:cxn ang="0">
                    <a:pos x="7" y="65"/>
                  </a:cxn>
                  <a:cxn ang="0">
                    <a:pos x="0" y="38"/>
                  </a:cxn>
                  <a:cxn ang="0">
                    <a:pos x="7" y="10"/>
                  </a:cxn>
                  <a:cxn ang="0">
                    <a:pos x="26" y="0"/>
                  </a:cxn>
                  <a:cxn ang="0">
                    <a:pos x="45" y="10"/>
                  </a:cxn>
                  <a:cxn ang="0">
                    <a:pos x="52" y="38"/>
                  </a:cxn>
                  <a:cxn ang="0">
                    <a:pos x="38" y="37"/>
                  </a:cxn>
                  <a:cxn ang="0">
                    <a:pos x="34" y="19"/>
                  </a:cxn>
                  <a:cxn ang="0">
                    <a:pos x="26" y="12"/>
                  </a:cxn>
                  <a:cxn ang="0">
                    <a:pos x="17" y="19"/>
                  </a:cxn>
                  <a:cxn ang="0">
                    <a:pos x="14" y="38"/>
                  </a:cxn>
                  <a:cxn ang="0">
                    <a:pos x="17" y="56"/>
                  </a:cxn>
                  <a:cxn ang="0">
                    <a:pos x="26" y="63"/>
                  </a:cxn>
                  <a:cxn ang="0">
                    <a:pos x="35" y="56"/>
                  </a:cxn>
                  <a:cxn ang="0">
                    <a:pos x="38" y="37"/>
                  </a:cxn>
                </a:cxnLst>
                <a:rect l="0" t="0" r="r" b="b"/>
                <a:pathLst>
                  <a:path w="52" h="75">
                    <a:moveTo>
                      <a:pt x="52" y="38"/>
                    </a:moveTo>
                    <a:cubicBezTo>
                      <a:pt x="52" y="49"/>
                      <a:pt x="49" y="58"/>
                      <a:pt x="45" y="65"/>
                    </a:cubicBezTo>
                    <a:cubicBezTo>
                      <a:pt x="40" y="72"/>
                      <a:pt x="34" y="75"/>
                      <a:pt x="26" y="75"/>
                    </a:cubicBezTo>
                    <a:cubicBezTo>
                      <a:pt x="18" y="75"/>
                      <a:pt x="12" y="72"/>
                      <a:pt x="7" y="65"/>
                    </a:cubicBezTo>
                    <a:cubicBezTo>
                      <a:pt x="2" y="58"/>
                      <a:pt x="0" y="49"/>
                      <a:pt x="0" y="38"/>
                    </a:cubicBezTo>
                    <a:cubicBezTo>
                      <a:pt x="0" y="26"/>
                      <a:pt x="2" y="17"/>
                      <a:pt x="7" y="10"/>
                    </a:cubicBezTo>
                    <a:cubicBezTo>
                      <a:pt x="12" y="3"/>
                      <a:pt x="18" y="0"/>
                      <a:pt x="26" y="0"/>
                    </a:cubicBezTo>
                    <a:cubicBezTo>
                      <a:pt x="34" y="0"/>
                      <a:pt x="40" y="3"/>
                      <a:pt x="45" y="10"/>
                    </a:cubicBezTo>
                    <a:cubicBezTo>
                      <a:pt x="49" y="17"/>
                      <a:pt x="52" y="26"/>
                      <a:pt x="52" y="38"/>
                    </a:cubicBezTo>
                    <a:close/>
                    <a:moveTo>
                      <a:pt x="38" y="37"/>
                    </a:moveTo>
                    <a:cubicBezTo>
                      <a:pt x="38" y="30"/>
                      <a:pt x="37" y="24"/>
                      <a:pt x="34" y="19"/>
                    </a:cubicBezTo>
                    <a:cubicBezTo>
                      <a:pt x="32" y="14"/>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5" y="56"/>
                    </a:cubicBezTo>
                    <a:cubicBezTo>
                      <a:pt x="37" y="51"/>
                      <a:pt x="38" y="45"/>
                      <a:pt x="38" y="37"/>
                    </a:cubicBez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93" name="Freeform 312"/>
              <p:cNvSpPr>
                <a:spLocks/>
              </p:cNvSpPr>
              <p:nvPr/>
            </p:nvSpPr>
            <p:spPr bwMode="auto">
              <a:xfrm>
                <a:off x="2535603" y="4159390"/>
                <a:ext cx="32813" cy="87659"/>
              </a:xfrm>
              <a:custGeom>
                <a:avLst/>
                <a:gdLst/>
                <a:ahLst/>
                <a:cxnLst>
                  <a:cxn ang="0">
                    <a:pos x="21" y="56"/>
                  </a:cxn>
                  <a:cxn ang="0">
                    <a:pos x="11" y="56"/>
                  </a:cxn>
                  <a:cxn ang="0">
                    <a:pos x="11" y="10"/>
                  </a:cxn>
                  <a:cxn ang="0">
                    <a:pos x="0" y="10"/>
                  </a:cxn>
                  <a:cxn ang="0">
                    <a:pos x="5" y="0"/>
                  </a:cxn>
                  <a:cxn ang="0">
                    <a:pos x="21" y="0"/>
                  </a:cxn>
                  <a:cxn ang="0">
                    <a:pos x="21" y="56"/>
                  </a:cxn>
                </a:cxnLst>
                <a:rect l="0" t="0" r="r" b="b"/>
                <a:pathLst>
                  <a:path w="21" h="56">
                    <a:moveTo>
                      <a:pt x="21" y="56"/>
                    </a:moveTo>
                    <a:lnTo>
                      <a:pt x="11" y="56"/>
                    </a:lnTo>
                    <a:lnTo>
                      <a:pt x="11" y="10"/>
                    </a:lnTo>
                    <a:lnTo>
                      <a:pt x="0" y="10"/>
                    </a:lnTo>
                    <a:lnTo>
                      <a:pt x="5" y="0"/>
                    </a:lnTo>
                    <a:lnTo>
                      <a:pt x="21" y="0"/>
                    </a:lnTo>
                    <a:lnTo>
                      <a:pt x="21" y="56"/>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94" name="Freeform 313"/>
              <p:cNvSpPr>
                <a:spLocks/>
              </p:cNvSpPr>
              <p:nvPr/>
            </p:nvSpPr>
            <p:spPr bwMode="auto">
              <a:xfrm>
                <a:off x="2576229" y="415939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95" name="Freeform 314"/>
              <p:cNvSpPr>
                <a:spLocks/>
              </p:cNvSpPr>
              <p:nvPr/>
            </p:nvSpPr>
            <p:spPr bwMode="auto">
              <a:xfrm>
                <a:off x="2616855" y="415939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96" name="Freeform 315"/>
              <p:cNvSpPr>
                <a:spLocks/>
              </p:cNvSpPr>
              <p:nvPr/>
            </p:nvSpPr>
            <p:spPr bwMode="auto">
              <a:xfrm>
                <a:off x="2657480" y="415939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97" name="Freeform 316"/>
              <p:cNvSpPr>
                <a:spLocks noEditPoints="1"/>
              </p:cNvSpPr>
              <p:nvPr/>
            </p:nvSpPr>
            <p:spPr bwMode="auto">
              <a:xfrm>
                <a:off x="2704356" y="4159390"/>
                <a:ext cx="62501" cy="89224"/>
              </a:xfrm>
              <a:custGeom>
                <a:avLst/>
                <a:gdLst/>
                <a:ahLst/>
                <a:cxnLst>
                  <a:cxn ang="0">
                    <a:pos x="52" y="38"/>
                  </a:cxn>
                  <a:cxn ang="0">
                    <a:pos x="44" y="65"/>
                  </a:cxn>
                  <a:cxn ang="0">
                    <a:pos x="26" y="75"/>
                  </a:cxn>
                  <a:cxn ang="0">
                    <a:pos x="7" y="65"/>
                  </a:cxn>
                  <a:cxn ang="0">
                    <a:pos x="0" y="38"/>
                  </a:cxn>
                  <a:cxn ang="0">
                    <a:pos x="7" y="10"/>
                  </a:cxn>
                  <a:cxn ang="0">
                    <a:pos x="26" y="0"/>
                  </a:cxn>
                  <a:cxn ang="0">
                    <a:pos x="45" y="10"/>
                  </a:cxn>
                  <a:cxn ang="0">
                    <a:pos x="52" y="38"/>
                  </a:cxn>
                  <a:cxn ang="0">
                    <a:pos x="38" y="37"/>
                  </a:cxn>
                  <a:cxn ang="0">
                    <a:pos x="34" y="19"/>
                  </a:cxn>
                  <a:cxn ang="0">
                    <a:pos x="26" y="12"/>
                  </a:cxn>
                  <a:cxn ang="0">
                    <a:pos x="17" y="19"/>
                  </a:cxn>
                  <a:cxn ang="0">
                    <a:pos x="14" y="38"/>
                  </a:cxn>
                  <a:cxn ang="0">
                    <a:pos x="17" y="56"/>
                  </a:cxn>
                  <a:cxn ang="0">
                    <a:pos x="26" y="63"/>
                  </a:cxn>
                  <a:cxn ang="0">
                    <a:pos x="34" y="56"/>
                  </a:cxn>
                  <a:cxn ang="0">
                    <a:pos x="38" y="37"/>
                  </a:cxn>
                </a:cxnLst>
                <a:rect l="0" t="0" r="r" b="b"/>
                <a:pathLst>
                  <a:path w="52" h="75">
                    <a:moveTo>
                      <a:pt x="52" y="38"/>
                    </a:moveTo>
                    <a:cubicBezTo>
                      <a:pt x="52" y="49"/>
                      <a:pt x="49" y="58"/>
                      <a:pt x="44" y="65"/>
                    </a:cubicBezTo>
                    <a:cubicBezTo>
                      <a:pt x="40" y="72"/>
                      <a:pt x="33" y="75"/>
                      <a:pt x="26" y="75"/>
                    </a:cubicBezTo>
                    <a:cubicBezTo>
                      <a:pt x="18" y="75"/>
                      <a:pt x="12" y="72"/>
                      <a:pt x="7" y="65"/>
                    </a:cubicBezTo>
                    <a:cubicBezTo>
                      <a:pt x="2" y="58"/>
                      <a:pt x="0" y="49"/>
                      <a:pt x="0" y="38"/>
                    </a:cubicBezTo>
                    <a:cubicBezTo>
                      <a:pt x="0" y="26"/>
                      <a:pt x="2" y="17"/>
                      <a:pt x="7" y="10"/>
                    </a:cubicBezTo>
                    <a:cubicBezTo>
                      <a:pt x="12" y="3"/>
                      <a:pt x="18" y="0"/>
                      <a:pt x="26" y="0"/>
                    </a:cubicBezTo>
                    <a:cubicBezTo>
                      <a:pt x="34" y="0"/>
                      <a:pt x="40" y="3"/>
                      <a:pt x="45" y="10"/>
                    </a:cubicBezTo>
                    <a:cubicBezTo>
                      <a:pt x="49" y="17"/>
                      <a:pt x="52" y="26"/>
                      <a:pt x="52" y="38"/>
                    </a:cubicBezTo>
                    <a:close/>
                    <a:moveTo>
                      <a:pt x="38" y="37"/>
                    </a:moveTo>
                    <a:cubicBezTo>
                      <a:pt x="38" y="30"/>
                      <a:pt x="37" y="24"/>
                      <a:pt x="34" y="19"/>
                    </a:cubicBezTo>
                    <a:cubicBezTo>
                      <a:pt x="32" y="14"/>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4" y="56"/>
                    </a:cubicBezTo>
                    <a:cubicBezTo>
                      <a:pt x="37" y="51"/>
                      <a:pt x="38" y="45"/>
                      <a:pt x="38" y="37"/>
                    </a:cubicBez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98" name="Freeform 317"/>
              <p:cNvSpPr>
                <a:spLocks noEditPoints="1"/>
              </p:cNvSpPr>
              <p:nvPr/>
            </p:nvSpPr>
            <p:spPr bwMode="auto">
              <a:xfrm>
                <a:off x="2771544" y="4159390"/>
                <a:ext cx="62501" cy="89224"/>
              </a:xfrm>
              <a:custGeom>
                <a:avLst/>
                <a:gdLst/>
                <a:ahLst/>
                <a:cxnLst>
                  <a:cxn ang="0">
                    <a:pos x="52" y="38"/>
                  </a:cxn>
                  <a:cxn ang="0">
                    <a:pos x="45" y="65"/>
                  </a:cxn>
                  <a:cxn ang="0">
                    <a:pos x="26" y="75"/>
                  </a:cxn>
                  <a:cxn ang="0">
                    <a:pos x="7" y="65"/>
                  </a:cxn>
                  <a:cxn ang="0">
                    <a:pos x="0" y="38"/>
                  </a:cxn>
                  <a:cxn ang="0">
                    <a:pos x="7" y="10"/>
                  </a:cxn>
                  <a:cxn ang="0">
                    <a:pos x="26" y="0"/>
                  </a:cxn>
                  <a:cxn ang="0">
                    <a:pos x="45" y="10"/>
                  </a:cxn>
                  <a:cxn ang="0">
                    <a:pos x="52" y="38"/>
                  </a:cxn>
                  <a:cxn ang="0">
                    <a:pos x="38" y="37"/>
                  </a:cxn>
                  <a:cxn ang="0">
                    <a:pos x="35" y="19"/>
                  </a:cxn>
                  <a:cxn ang="0">
                    <a:pos x="26" y="12"/>
                  </a:cxn>
                  <a:cxn ang="0">
                    <a:pos x="18" y="19"/>
                  </a:cxn>
                  <a:cxn ang="0">
                    <a:pos x="14" y="38"/>
                  </a:cxn>
                  <a:cxn ang="0">
                    <a:pos x="18" y="56"/>
                  </a:cxn>
                  <a:cxn ang="0">
                    <a:pos x="26" y="63"/>
                  </a:cxn>
                  <a:cxn ang="0">
                    <a:pos x="35" y="56"/>
                  </a:cxn>
                  <a:cxn ang="0">
                    <a:pos x="38" y="37"/>
                  </a:cxn>
                </a:cxnLst>
                <a:rect l="0" t="0" r="r" b="b"/>
                <a:pathLst>
                  <a:path w="52" h="75">
                    <a:moveTo>
                      <a:pt x="52" y="38"/>
                    </a:moveTo>
                    <a:cubicBezTo>
                      <a:pt x="52" y="49"/>
                      <a:pt x="50" y="58"/>
                      <a:pt x="45" y="65"/>
                    </a:cubicBezTo>
                    <a:cubicBezTo>
                      <a:pt x="40" y="72"/>
                      <a:pt x="34" y="75"/>
                      <a:pt x="26" y="75"/>
                    </a:cubicBezTo>
                    <a:cubicBezTo>
                      <a:pt x="18" y="75"/>
                      <a:pt x="12" y="72"/>
                      <a:pt x="7" y="65"/>
                    </a:cubicBezTo>
                    <a:cubicBezTo>
                      <a:pt x="3" y="58"/>
                      <a:pt x="0" y="49"/>
                      <a:pt x="0" y="38"/>
                    </a:cubicBezTo>
                    <a:cubicBezTo>
                      <a:pt x="0" y="26"/>
                      <a:pt x="3" y="17"/>
                      <a:pt x="7" y="10"/>
                    </a:cubicBezTo>
                    <a:cubicBezTo>
                      <a:pt x="12" y="3"/>
                      <a:pt x="18" y="0"/>
                      <a:pt x="26" y="0"/>
                    </a:cubicBezTo>
                    <a:cubicBezTo>
                      <a:pt x="34" y="0"/>
                      <a:pt x="40" y="3"/>
                      <a:pt x="45" y="10"/>
                    </a:cubicBezTo>
                    <a:cubicBezTo>
                      <a:pt x="50" y="17"/>
                      <a:pt x="52" y="26"/>
                      <a:pt x="52" y="38"/>
                    </a:cubicBezTo>
                    <a:close/>
                    <a:moveTo>
                      <a:pt x="38" y="37"/>
                    </a:moveTo>
                    <a:cubicBezTo>
                      <a:pt x="38" y="30"/>
                      <a:pt x="37" y="24"/>
                      <a:pt x="35" y="19"/>
                    </a:cubicBezTo>
                    <a:cubicBezTo>
                      <a:pt x="33" y="14"/>
                      <a:pt x="30" y="12"/>
                      <a:pt x="26" y="12"/>
                    </a:cubicBezTo>
                    <a:cubicBezTo>
                      <a:pt x="23" y="12"/>
                      <a:pt x="20" y="15"/>
                      <a:pt x="18" y="19"/>
                    </a:cubicBezTo>
                    <a:cubicBezTo>
                      <a:pt x="15" y="24"/>
                      <a:pt x="14" y="30"/>
                      <a:pt x="14" y="38"/>
                    </a:cubicBezTo>
                    <a:cubicBezTo>
                      <a:pt x="14" y="45"/>
                      <a:pt x="15" y="51"/>
                      <a:pt x="18" y="56"/>
                    </a:cubicBezTo>
                    <a:cubicBezTo>
                      <a:pt x="20" y="61"/>
                      <a:pt x="23" y="63"/>
                      <a:pt x="26" y="63"/>
                    </a:cubicBezTo>
                    <a:cubicBezTo>
                      <a:pt x="30" y="63"/>
                      <a:pt x="33" y="61"/>
                      <a:pt x="35" y="56"/>
                    </a:cubicBezTo>
                    <a:cubicBezTo>
                      <a:pt x="37" y="51"/>
                      <a:pt x="38" y="45"/>
                      <a:pt x="38" y="37"/>
                    </a:cubicBez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399" name="Freeform 318"/>
              <p:cNvSpPr>
                <a:spLocks/>
              </p:cNvSpPr>
              <p:nvPr/>
            </p:nvSpPr>
            <p:spPr bwMode="auto">
              <a:xfrm>
                <a:off x="2835608" y="415939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400" name="Freeform 319"/>
              <p:cNvSpPr>
                <a:spLocks noEditPoints="1"/>
              </p:cNvSpPr>
              <p:nvPr/>
            </p:nvSpPr>
            <p:spPr bwMode="auto">
              <a:xfrm>
                <a:off x="2882484" y="4159390"/>
                <a:ext cx="62501" cy="89224"/>
              </a:xfrm>
              <a:custGeom>
                <a:avLst/>
                <a:gdLst/>
                <a:ahLst/>
                <a:cxnLst>
                  <a:cxn ang="0">
                    <a:pos x="51" y="38"/>
                  </a:cxn>
                  <a:cxn ang="0">
                    <a:pos x="44" y="65"/>
                  </a:cxn>
                  <a:cxn ang="0">
                    <a:pos x="25" y="75"/>
                  </a:cxn>
                  <a:cxn ang="0">
                    <a:pos x="7" y="65"/>
                  </a:cxn>
                  <a:cxn ang="0">
                    <a:pos x="0" y="38"/>
                  </a:cxn>
                  <a:cxn ang="0">
                    <a:pos x="7" y="10"/>
                  </a:cxn>
                  <a:cxn ang="0">
                    <a:pos x="25" y="0"/>
                  </a:cxn>
                  <a:cxn ang="0">
                    <a:pos x="44" y="10"/>
                  </a:cxn>
                  <a:cxn ang="0">
                    <a:pos x="51" y="38"/>
                  </a:cxn>
                  <a:cxn ang="0">
                    <a:pos x="38" y="37"/>
                  </a:cxn>
                  <a:cxn ang="0">
                    <a:pos x="34" y="19"/>
                  </a:cxn>
                  <a:cxn ang="0">
                    <a:pos x="25" y="12"/>
                  </a:cxn>
                  <a:cxn ang="0">
                    <a:pos x="17" y="19"/>
                  </a:cxn>
                  <a:cxn ang="0">
                    <a:pos x="14" y="38"/>
                  </a:cxn>
                  <a:cxn ang="0">
                    <a:pos x="17" y="56"/>
                  </a:cxn>
                  <a:cxn ang="0">
                    <a:pos x="25" y="63"/>
                  </a:cxn>
                  <a:cxn ang="0">
                    <a:pos x="34" y="56"/>
                  </a:cxn>
                  <a:cxn ang="0">
                    <a:pos x="38" y="37"/>
                  </a:cxn>
                </a:cxnLst>
                <a:rect l="0" t="0" r="r" b="b"/>
                <a:pathLst>
                  <a:path w="51" h="75">
                    <a:moveTo>
                      <a:pt x="51" y="38"/>
                    </a:moveTo>
                    <a:cubicBezTo>
                      <a:pt x="51" y="49"/>
                      <a:pt x="49" y="58"/>
                      <a:pt x="44" y="65"/>
                    </a:cubicBezTo>
                    <a:cubicBezTo>
                      <a:pt x="40" y="72"/>
                      <a:pt x="33" y="75"/>
                      <a:pt x="25" y="75"/>
                    </a:cubicBezTo>
                    <a:cubicBezTo>
                      <a:pt x="18" y="75"/>
                      <a:pt x="11" y="72"/>
                      <a:pt x="7" y="65"/>
                    </a:cubicBezTo>
                    <a:cubicBezTo>
                      <a:pt x="2" y="58"/>
                      <a:pt x="0" y="49"/>
                      <a:pt x="0" y="38"/>
                    </a:cubicBezTo>
                    <a:cubicBezTo>
                      <a:pt x="0" y="26"/>
                      <a:pt x="2" y="17"/>
                      <a:pt x="7" y="10"/>
                    </a:cubicBezTo>
                    <a:cubicBezTo>
                      <a:pt x="11" y="3"/>
                      <a:pt x="18" y="0"/>
                      <a:pt x="25" y="0"/>
                    </a:cubicBezTo>
                    <a:cubicBezTo>
                      <a:pt x="33" y="0"/>
                      <a:pt x="40" y="3"/>
                      <a:pt x="44" y="10"/>
                    </a:cubicBezTo>
                    <a:cubicBezTo>
                      <a:pt x="49" y="17"/>
                      <a:pt x="51" y="26"/>
                      <a:pt x="51" y="38"/>
                    </a:cubicBezTo>
                    <a:close/>
                    <a:moveTo>
                      <a:pt x="38" y="37"/>
                    </a:moveTo>
                    <a:cubicBezTo>
                      <a:pt x="38" y="30"/>
                      <a:pt x="36" y="24"/>
                      <a:pt x="34" y="19"/>
                    </a:cubicBezTo>
                    <a:cubicBezTo>
                      <a:pt x="32" y="14"/>
                      <a:pt x="29" y="12"/>
                      <a:pt x="25" y="12"/>
                    </a:cubicBezTo>
                    <a:cubicBezTo>
                      <a:pt x="22" y="12"/>
                      <a:pt x="19" y="15"/>
                      <a:pt x="17" y="19"/>
                    </a:cubicBezTo>
                    <a:cubicBezTo>
                      <a:pt x="15" y="24"/>
                      <a:pt x="14" y="30"/>
                      <a:pt x="14" y="38"/>
                    </a:cubicBezTo>
                    <a:cubicBezTo>
                      <a:pt x="14" y="45"/>
                      <a:pt x="15" y="51"/>
                      <a:pt x="17" y="56"/>
                    </a:cubicBezTo>
                    <a:cubicBezTo>
                      <a:pt x="19" y="61"/>
                      <a:pt x="22" y="63"/>
                      <a:pt x="25" y="63"/>
                    </a:cubicBezTo>
                    <a:cubicBezTo>
                      <a:pt x="29" y="63"/>
                      <a:pt x="32" y="61"/>
                      <a:pt x="34" y="56"/>
                    </a:cubicBezTo>
                    <a:cubicBezTo>
                      <a:pt x="36" y="51"/>
                      <a:pt x="38" y="45"/>
                      <a:pt x="38" y="37"/>
                    </a:cubicBez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401" name="Freeform 320"/>
              <p:cNvSpPr>
                <a:spLocks/>
              </p:cNvSpPr>
              <p:nvPr/>
            </p:nvSpPr>
            <p:spPr bwMode="auto">
              <a:xfrm>
                <a:off x="2944985" y="4159390"/>
                <a:ext cx="34376" cy="87659"/>
              </a:xfrm>
              <a:custGeom>
                <a:avLst/>
                <a:gdLst/>
                <a:ahLst/>
                <a:cxnLst>
                  <a:cxn ang="0">
                    <a:pos x="22" y="56"/>
                  </a:cxn>
                  <a:cxn ang="0">
                    <a:pos x="11" y="56"/>
                  </a:cxn>
                  <a:cxn ang="0">
                    <a:pos x="11" y="10"/>
                  </a:cxn>
                  <a:cxn ang="0">
                    <a:pos x="0" y="10"/>
                  </a:cxn>
                  <a:cxn ang="0">
                    <a:pos x="5" y="0"/>
                  </a:cxn>
                  <a:cxn ang="0">
                    <a:pos x="22" y="0"/>
                  </a:cxn>
                  <a:cxn ang="0">
                    <a:pos x="22" y="56"/>
                  </a:cxn>
                </a:cxnLst>
                <a:rect l="0" t="0" r="r" b="b"/>
                <a:pathLst>
                  <a:path w="22" h="56">
                    <a:moveTo>
                      <a:pt x="22" y="56"/>
                    </a:moveTo>
                    <a:lnTo>
                      <a:pt x="11" y="56"/>
                    </a:lnTo>
                    <a:lnTo>
                      <a:pt x="11" y="10"/>
                    </a:lnTo>
                    <a:lnTo>
                      <a:pt x="0" y="10"/>
                    </a:lnTo>
                    <a:lnTo>
                      <a:pt x="5" y="0"/>
                    </a:lnTo>
                    <a:lnTo>
                      <a:pt x="22" y="0"/>
                    </a:lnTo>
                    <a:lnTo>
                      <a:pt x="22" y="56"/>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402" name="Freeform 321"/>
              <p:cNvSpPr>
                <a:spLocks noEditPoints="1"/>
              </p:cNvSpPr>
              <p:nvPr/>
            </p:nvSpPr>
            <p:spPr bwMode="auto">
              <a:xfrm>
                <a:off x="2993423" y="4159390"/>
                <a:ext cx="62501" cy="89224"/>
              </a:xfrm>
              <a:custGeom>
                <a:avLst/>
                <a:gdLst/>
                <a:ahLst/>
                <a:cxnLst>
                  <a:cxn ang="0">
                    <a:pos x="52" y="38"/>
                  </a:cxn>
                  <a:cxn ang="0">
                    <a:pos x="44" y="65"/>
                  </a:cxn>
                  <a:cxn ang="0">
                    <a:pos x="26" y="75"/>
                  </a:cxn>
                  <a:cxn ang="0">
                    <a:pos x="7" y="65"/>
                  </a:cxn>
                  <a:cxn ang="0">
                    <a:pos x="0" y="38"/>
                  </a:cxn>
                  <a:cxn ang="0">
                    <a:pos x="7" y="10"/>
                  </a:cxn>
                  <a:cxn ang="0">
                    <a:pos x="26" y="0"/>
                  </a:cxn>
                  <a:cxn ang="0">
                    <a:pos x="45" y="10"/>
                  </a:cxn>
                  <a:cxn ang="0">
                    <a:pos x="52" y="38"/>
                  </a:cxn>
                  <a:cxn ang="0">
                    <a:pos x="38" y="37"/>
                  </a:cxn>
                  <a:cxn ang="0">
                    <a:pos x="34" y="19"/>
                  </a:cxn>
                  <a:cxn ang="0">
                    <a:pos x="26" y="12"/>
                  </a:cxn>
                  <a:cxn ang="0">
                    <a:pos x="17" y="19"/>
                  </a:cxn>
                  <a:cxn ang="0">
                    <a:pos x="14" y="38"/>
                  </a:cxn>
                  <a:cxn ang="0">
                    <a:pos x="17" y="56"/>
                  </a:cxn>
                  <a:cxn ang="0">
                    <a:pos x="26" y="63"/>
                  </a:cxn>
                  <a:cxn ang="0">
                    <a:pos x="34" y="56"/>
                  </a:cxn>
                  <a:cxn ang="0">
                    <a:pos x="38" y="37"/>
                  </a:cxn>
                </a:cxnLst>
                <a:rect l="0" t="0" r="r" b="b"/>
                <a:pathLst>
                  <a:path w="52" h="75">
                    <a:moveTo>
                      <a:pt x="52" y="38"/>
                    </a:moveTo>
                    <a:cubicBezTo>
                      <a:pt x="52" y="49"/>
                      <a:pt x="49" y="58"/>
                      <a:pt x="44" y="65"/>
                    </a:cubicBezTo>
                    <a:cubicBezTo>
                      <a:pt x="40" y="72"/>
                      <a:pt x="33" y="75"/>
                      <a:pt x="26" y="75"/>
                    </a:cubicBezTo>
                    <a:cubicBezTo>
                      <a:pt x="18" y="75"/>
                      <a:pt x="12" y="72"/>
                      <a:pt x="7" y="65"/>
                    </a:cubicBezTo>
                    <a:cubicBezTo>
                      <a:pt x="2" y="58"/>
                      <a:pt x="0" y="49"/>
                      <a:pt x="0" y="38"/>
                    </a:cubicBezTo>
                    <a:cubicBezTo>
                      <a:pt x="0" y="26"/>
                      <a:pt x="2" y="17"/>
                      <a:pt x="7" y="10"/>
                    </a:cubicBezTo>
                    <a:cubicBezTo>
                      <a:pt x="12" y="3"/>
                      <a:pt x="18" y="0"/>
                      <a:pt x="26" y="0"/>
                    </a:cubicBezTo>
                    <a:cubicBezTo>
                      <a:pt x="34" y="0"/>
                      <a:pt x="40" y="3"/>
                      <a:pt x="45" y="10"/>
                    </a:cubicBezTo>
                    <a:cubicBezTo>
                      <a:pt x="49" y="17"/>
                      <a:pt x="52" y="26"/>
                      <a:pt x="52" y="38"/>
                    </a:cubicBezTo>
                    <a:close/>
                    <a:moveTo>
                      <a:pt x="38" y="37"/>
                    </a:moveTo>
                    <a:cubicBezTo>
                      <a:pt x="38" y="30"/>
                      <a:pt x="37" y="24"/>
                      <a:pt x="34" y="19"/>
                    </a:cubicBezTo>
                    <a:cubicBezTo>
                      <a:pt x="32" y="14"/>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4" y="56"/>
                    </a:cubicBezTo>
                    <a:cubicBezTo>
                      <a:pt x="37" y="51"/>
                      <a:pt x="38" y="45"/>
                      <a:pt x="38" y="37"/>
                    </a:cubicBez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403" name="Freeform 322"/>
              <p:cNvSpPr>
                <a:spLocks/>
              </p:cNvSpPr>
              <p:nvPr/>
            </p:nvSpPr>
            <p:spPr bwMode="auto">
              <a:xfrm>
                <a:off x="3057486" y="415939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sp>
            <p:nvSpPr>
              <p:cNvPr id="404" name="Freeform 323"/>
              <p:cNvSpPr>
                <a:spLocks/>
              </p:cNvSpPr>
              <p:nvPr/>
            </p:nvSpPr>
            <p:spPr bwMode="auto">
              <a:xfrm>
                <a:off x="3098112" y="415939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solidFill>
                    <a:prstClr val="black"/>
                  </a:solidFill>
                  <a:latin typeface="微软雅黑" pitchFamily="34" charset="-122"/>
                  <a:ea typeface="微软雅黑" pitchFamily="34" charset="-122"/>
                </a:endParaRPr>
              </a:p>
            </p:txBody>
          </p:sp>
        </p:grpSp>
        <p:sp>
          <p:nvSpPr>
            <p:cNvPr id="431" name="Right Arrow 430"/>
            <p:cNvSpPr/>
            <p:nvPr/>
          </p:nvSpPr>
          <p:spPr>
            <a:xfrm rot="5400000">
              <a:off x="4596424" y="2103395"/>
              <a:ext cx="1036557" cy="312517"/>
            </a:xfrm>
            <a:prstGeom prst="rightArrow">
              <a:avLst>
                <a:gd name="adj1" fmla="val 42593"/>
                <a:gd name="adj2" fmla="val 87037"/>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微软雅黑" pitchFamily="34" charset="-122"/>
                <a:ea typeface="微软雅黑" pitchFamily="34" charset="-122"/>
              </a:endParaRPr>
            </a:p>
          </p:txBody>
        </p:sp>
        <p:grpSp>
          <p:nvGrpSpPr>
            <p:cNvPr id="265" name="Group 264"/>
            <p:cNvGrpSpPr/>
            <p:nvPr/>
          </p:nvGrpSpPr>
          <p:grpSpPr>
            <a:xfrm>
              <a:off x="4592950" y="1949920"/>
              <a:ext cx="1043504" cy="321946"/>
              <a:chOff x="161386" y="1052961"/>
              <a:chExt cx="314542" cy="387627"/>
            </a:xfrm>
          </p:grpSpPr>
          <p:sp>
            <p:nvSpPr>
              <p:cNvPr id="266" name="Round Diagonal Corner Rectangle 265"/>
              <p:cNvSpPr/>
              <p:nvPr/>
            </p:nvSpPr>
            <p:spPr>
              <a:xfrm flipV="1">
                <a:off x="171035" y="1052961"/>
                <a:ext cx="291924" cy="387627"/>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00" dirty="0">
                  <a:solidFill>
                    <a:prstClr val="white"/>
                  </a:solidFill>
                  <a:latin typeface="微软雅黑" pitchFamily="34" charset="-122"/>
                  <a:ea typeface="微软雅黑" pitchFamily="34" charset="-122"/>
                </a:endParaRPr>
              </a:p>
            </p:txBody>
          </p:sp>
          <p:sp>
            <p:nvSpPr>
              <p:cNvPr id="267" name="Round Diagonal Corner Rectangle 266"/>
              <p:cNvSpPr/>
              <p:nvPr/>
            </p:nvSpPr>
            <p:spPr>
              <a:xfrm>
                <a:off x="161386" y="1052962"/>
                <a:ext cx="314542" cy="387626"/>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2300" dirty="0">
                    <a:solidFill>
                      <a:prstClr val="white"/>
                    </a:solidFill>
                    <a:latin typeface="微软雅黑" pitchFamily="34" charset="-122"/>
                    <a:ea typeface="微软雅黑" pitchFamily="34" charset="-122"/>
                  </a:rPr>
                  <a:t>发现</a:t>
                </a:r>
                <a:endParaRPr lang="en-US" sz="2300" dirty="0">
                  <a:solidFill>
                    <a:prstClr val="white"/>
                  </a:solidFill>
                  <a:latin typeface="微软雅黑" pitchFamily="34" charset="-122"/>
                  <a:ea typeface="微软雅黑" pitchFamily="34" charset="-122"/>
                </a:endParaRPr>
              </a:p>
            </p:txBody>
          </p:sp>
        </p:grpSp>
      </p:grpSp>
      <p:sp>
        <p:nvSpPr>
          <p:cNvPr id="3" name="Title 2"/>
          <p:cNvSpPr>
            <a:spLocks noGrp="1"/>
          </p:cNvSpPr>
          <p:nvPr>
            <p:ph type="title"/>
          </p:nvPr>
        </p:nvSpPr>
        <p:spPr>
          <a:xfrm>
            <a:off x="470676" y="334314"/>
            <a:ext cx="12513487" cy="612817"/>
          </a:xfrm>
        </p:spPr>
        <p:txBody>
          <a:bodyPr/>
          <a:lstStyle/>
          <a:p>
            <a:r>
              <a:rPr lang="zh-CN" altLang="en-US" dirty="0" smtClean="0">
                <a:solidFill>
                  <a:srgbClr val="C00000"/>
                </a:solidFill>
                <a:latin typeface="微软雅黑" pitchFamily="34" charset="-122"/>
                <a:ea typeface="微软雅黑" pitchFamily="34" charset="-122"/>
              </a:rPr>
              <a:t>黑客生态系统</a:t>
            </a:r>
            <a:endParaRPr lang="en-US" b="0" dirty="0">
              <a:solidFill>
                <a:srgbClr val="C00000"/>
              </a:solidFill>
              <a:latin typeface="微软雅黑" pitchFamily="34" charset="-122"/>
              <a:ea typeface="微软雅黑" pitchFamily="34" charset="-122"/>
            </a:endParaRPr>
          </a:p>
        </p:txBody>
      </p:sp>
      <p:sp>
        <p:nvSpPr>
          <p:cNvPr id="428" name="Freeform 575"/>
          <p:cNvSpPr>
            <a:spLocks noEditPoints="1"/>
          </p:cNvSpPr>
          <p:nvPr/>
        </p:nvSpPr>
        <p:spPr bwMode="auto">
          <a:xfrm>
            <a:off x="8350556" y="4476947"/>
            <a:ext cx="1053058" cy="2129222"/>
          </a:xfrm>
          <a:custGeom>
            <a:avLst/>
            <a:gdLst>
              <a:gd name="T0" fmla="*/ 156 w 180"/>
              <a:gd name="T1" fmla="*/ 0 h 364"/>
              <a:gd name="T2" fmla="*/ 0 w 180"/>
              <a:gd name="T3" fmla="*/ 0 h 364"/>
              <a:gd name="T4" fmla="*/ 0 w 180"/>
              <a:gd name="T5" fmla="*/ 340 h 364"/>
              <a:gd name="T6" fmla="*/ 24 w 180"/>
              <a:gd name="T7" fmla="*/ 364 h 364"/>
              <a:gd name="T8" fmla="*/ 180 w 180"/>
              <a:gd name="T9" fmla="*/ 364 h 364"/>
              <a:gd name="T10" fmla="*/ 180 w 180"/>
              <a:gd name="T11" fmla="*/ 24 h 364"/>
              <a:gd name="T12" fmla="*/ 156 w 180"/>
              <a:gd name="T13" fmla="*/ 0 h 364"/>
              <a:gd name="T14" fmla="*/ 76 w 180"/>
              <a:gd name="T15" fmla="*/ 292 h 364"/>
              <a:gd name="T16" fmla="*/ 28 w 180"/>
              <a:gd name="T17" fmla="*/ 292 h 364"/>
              <a:gd name="T18" fmla="*/ 28 w 180"/>
              <a:gd name="T19" fmla="*/ 244 h 364"/>
              <a:gd name="T20" fmla="*/ 76 w 180"/>
              <a:gd name="T21" fmla="*/ 244 h 364"/>
              <a:gd name="T22" fmla="*/ 76 w 180"/>
              <a:gd name="T23" fmla="*/ 292 h 364"/>
              <a:gd name="T24" fmla="*/ 76 w 180"/>
              <a:gd name="T25" fmla="*/ 220 h 364"/>
              <a:gd name="T26" fmla="*/ 28 w 180"/>
              <a:gd name="T27" fmla="*/ 220 h 364"/>
              <a:gd name="T28" fmla="*/ 28 w 180"/>
              <a:gd name="T29" fmla="*/ 172 h 364"/>
              <a:gd name="T30" fmla="*/ 76 w 180"/>
              <a:gd name="T31" fmla="*/ 172 h 364"/>
              <a:gd name="T32" fmla="*/ 76 w 180"/>
              <a:gd name="T33" fmla="*/ 220 h 364"/>
              <a:gd name="T34" fmla="*/ 76 w 180"/>
              <a:gd name="T35" fmla="*/ 148 h 364"/>
              <a:gd name="T36" fmla="*/ 28 w 180"/>
              <a:gd name="T37" fmla="*/ 148 h 364"/>
              <a:gd name="T38" fmla="*/ 28 w 180"/>
              <a:gd name="T39" fmla="*/ 100 h 364"/>
              <a:gd name="T40" fmla="*/ 76 w 180"/>
              <a:gd name="T41" fmla="*/ 100 h 364"/>
              <a:gd name="T42" fmla="*/ 76 w 180"/>
              <a:gd name="T43" fmla="*/ 148 h 364"/>
              <a:gd name="T44" fmla="*/ 76 w 180"/>
              <a:gd name="T45" fmla="*/ 76 h 364"/>
              <a:gd name="T46" fmla="*/ 28 w 180"/>
              <a:gd name="T47" fmla="*/ 76 h 364"/>
              <a:gd name="T48" fmla="*/ 28 w 180"/>
              <a:gd name="T49" fmla="*/ 28 h 364"/>
              <a:gd name="T50" fmla="*/ 76 w 180"/>
              <a:gd name="T51" fmla="*/ 28 h 364"/>
              <a:gd name="T52" fmla="*/ 76 w 180"/>
              <a:gd name="T53" fmla="*/ 76 h 364"/>
              <a:gd name="T54" fmla="*/ 152 w 180"/>
              <a:gd name="T55" fmla="*/ 220 h 364"/>
              <a:gd name="T56" fmla="*/ 104 w 180"/>
              <a:gd name="T57" fmla="*/ 220 h 364"/>
              <a:gd name="T58" fmla="*/ 104 w 180"/>
              <a:gd name="T59" fmla="*/ 172 h 364"/>
              <a:gd name="T60" fmla="*/ 152 w 180"/>
              <a:gd name="T61" fmla="*/ 172 h 364"/>
              <a:gd name="T62" fmla="*/ 152 w 180"/>
              <a:gd name="T63" fmla="*/ 220 h 364"/>
              <a:gd name="T64" fmla="*/ 152 w 180"/>
              <a:gd name="T65" fmla="*/ 148 h 364"/>
              <a:gd name="T66" fmla="*/ 104 w 180"/>
              <a:gd name="T67" fmla="*/ 148 h 364"/>
              <a:gd name="T68" fmla="*/ 104 w 180"/>
              <a:gd name="T69" fmla="*/ 100 h 364"/>
              <a:gd name="T70" fmla="*/ 152 w 180"/>
              <a:gd name="T71" fmla="*/ 100 h 364"/>
              <a:gd name="T72" fmla="*/ 152 w 180"/>
              <a:gd name="T73" fmla="*/ 148 h 364"/>
              <a:gd name="T74" fmla="*/ 152 w 180"/>
              <a:gd name="T75" fmla="*/ 76 h 364"/>
              <a:gd name="T76" fmla="*/ 104 w 180"/>
              <a:gd name="T77" fmla="*/ 76 h 364"/>
              <a:gd name="T78" fmla="*/ 104 w 180"/>
              <a:gd name="T79" fmla="*/ 28 h 364"/>
              <a:gd name="T80" fmla="*/ 152 w 180"/>
              <a:gd name="T81" fmla="*/ 28 h 364"/>
              <a:gd name="T82" fmla="*/ 152 w 180"/>
              <a:gd name="T83" fmla="*/ 76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0" h="364">
                <a:moveTo>
                  <a:pt x="156" y="0"/>
                </a:moveTo>
                <a:cubicBezTo>
                  <a:pt x="0" y="0"/>
                  <a:pt x="0" y="0"/>
                  <a:pt x="0" y="0"/>
                </a:cubicBezTo>
                <a:cubicBezTo>
                  <a:pt x="0" y="340"/>
                  <a:pt x="0" y="340"/>
                  <a:pt x="0" y="340"/>
                </a:cubicBezTo>
                <a:cubicBezTo>
                  <a:pt x="0" y="353"/>
                  <a:pt x="10" y="364"/>
                  <a:pt x="24" y="364"/>
                </a:cubicBezTo>
                <a:cubicBezTo>
                  <a:pt x="180" y="364"/>
                  <a:pt x="180" y="364"/>
                  <a:pt x="180" y="364"/>
                </a:cubicBezTo>
                <a:cubicBezTo>
                  <a:pt x="180" y="24"/>
                  <a:pt x="180" y="24"/>
                  <a:pt x="180" y="24"/>
                </a:cubicBezTo>
                <a:cubicBezTo>
                  <a:pt x="180" y="11"/>
                  <a:pt x="169" y="0"/>
                  <a:pt x="156" y="0"/>
                </a:cubicBezTo>
                <a:moveTo>
                  <a:pt x="76" y="292"/>
                </a:moveTo>
                <a:cubicBezTo>
                  <a:pt x="28" y="292"/>
                  <a:pt x="28" y="292"/>
                  <a:pt x="28" y="292"/>
                </a:cubicBezTo>
                <a:cubicBezTo>
                  <a:pt x="28" y="244"/>
                  <a:pt x="28" y="244"/>
                  <a:pt x="28" y="244"/>
                </a:cubicBezTo>
                <a:cubicBezTo>
                  <a:pt x="76" y="244"/>
                  <a:pt x="76" y="244"/>
                  <a:pt x="76" y="244"/>
                </a:cubicBezTo>
                <a:lnTo>
                  <a:pt x="76" y="292"/>
                </a:lnTo>
                <a:close/>
                <a:moveTo>
                  <a:pt x="76" y="220"/>
                </a:moveTo>
                <a:cubicBezTo>
                  <a:pt x="28" y="220"/>
                  <a:pt x="28" y="220"/>
                  <a:pt x="28" y="220"/>
                </a:cubicBezTo>
                <a:cubicBezTo>
                  <a:pt x="28" y="172"/>
                  <a:pt x="28" y="172"/>
                  <a:pt x="28" y="172"/>
                </a:cubicBezTo>
                <a:cubicBezTo>
                  <a:pt x="76" y="172"/>
                  <a:pt x="76" y="172"/>
                  <a:pt x="76" y="172"/>
                </a:cubicBezTo>
                <a:lnTo>
                  <a:pt x="76" y="220"/>
                </a:lnTo>
                <a:close/>
                <a:moveTo>
                  <a:pt x="76" y="148"/>
                </a:moveTo>
                <a:cubicBezTo>
                  <a:pt x="28" y="148"/>
                  <a:pt x="28" y="148"/>
                  <a:pt x="28" y="148"/>
                </a:cubicBezTo>
                <a:cubicBezTo>
                  <a:pt x="28" y="100"/>
                  <a:pt x="28" y="100"/>
                  <a:pt x="28" y="100"/>
                </a:cubicBezTo>
                <a:cubicBezTo>
                  <a:pt x="76" y="100"/>
                  <a:pt x="76" y="100"/>
                  <a:pt x="76" y="100"/>
                </a:cubicBezTo>
                <a:lnTo>
                  <a:pt x="76" y="148"/>
                </a:lnTo>
                <a:close/>
                <a:moveTo>
                  <a:pt x="76" y="76"/>
                </a:moveTo>
                <a:cubicBezTo>
                  <a:pt x="28" y="76"/>
                  <a:pt x="28" y="76"/>
                  <a:pt x="28" y="76"/>
                </a:cubicBezTo>
                <a:cubicBezTo>
                  <a:pt x="28" y="28"/>
                  <a:pt x="28" y="28"/>
                  <a:pt x="28" y="28"/>
                </a:cubicBezTo>
                <a:cubicBezTo>
                  <a:pt x="76" y="28"/>
                  <a:pt x="76" y="28"/>
                  <a:pt x="76" y="28"/>
                </a:cubicBezTo>
                <a:lnTo>
                  <a:pt x="76" y="76"/>
                </a:lnTo>
                <a:close/>
                <a:moveTo>
                  <a:pt x="152" y="220"/>
                </a:moveTo>
                <a:cubicBezTo>
                  <a:pt x="104" y="220"/>
                  <a:pt x="104" y="220"/>
                  <a:pt x="104" y="220"/>
                </a:cubicBezTo>
                <a:cubicBezTo>
                  <a:pt x="104" y="172"/>
                  <a:pt x="104" y="172"/>
                  <a:pt x="104" y="172"/>
                </a:cubicBezTo>
                <a:cubicBezTo>
                  <a:pt x="152" y="172"/>
                  <a:pt x="152" y="172"/>
                  <a:pt x="152" y="172"/>
                </a:cubicBezTo>
                <a:lnTo>
                  <a:pt x="152" y="220"/>
                </a:lnTo>
                <a:close/>
                <a:moveTo>
                  <a:pt x="152" y="148"/>
                </a:moveTo>
                <a:cubicBezTo>
                  <a:pt x="104" y="148"/>
                  <a:pt x="104" y="148"/>
                  <a:pt x="104" y="148"/>
                </a:cubicBezTo>
                <a:cubicBezTo>
                  <a:pt x="104" y="100"/>
                  <a:pt x="104" y="100"/>
                  <a:pt x="104" y="100"/>
                </a:cubicBezTo>
                <a:cubicBezTo>
                  <a:pt x="152" y="100"/>
                  <a:pt x="152" y="100"/>
                  <a:pt x="152" y="100"/>
                </a:cubicBezTo>
                <a:lnTo>
                  <a:pt x="152" y="148"/>
                </a:lnTo>
                <a:close/>
                <a:moveTo>
                  <a:pt x="152" y="76"/>
                </a:moveTo>
                <a:cubicBezTo>
                  <a:pt x="104" y="76"/>
                  <a:pt x="104" y="76"/>
                  <a:pt x="104" y="76"/>
                </a:cubicBezTo>
                <a:cubicBezTo>
                  <a:pt x="104" y="28"/>
                  <a:pt x="104" y="28"/>
                  <a:pt x="104" y="28"/>
                </a:cubicBezTo>
                <a:cubicBezTo>
                  <a:pt x="152" y="28"/>
                  <a:pt x="152" y="28"/>
                  <a:pt x="152" y="28"/>
                </a:cubicBezTo>
                <a:lnTo>
                  <a:pt x="152" y="76"/>
                </a:lnTo>
                <a:close/>
              </a:path>
            </a:pathLst>
          </a:custGeom>
          <a:solidFill>
            <a:schemeClr val="accent4">
              <a:lumMod val="40000"/>
              <a:lumOff val="60000"/>
            </a:schemeClr>
          </a:solidFill>
          <a:ln>
            <a:noFill/>
          </a:ln>
        </p:spPr>
        <p:txBody>
          <a:bodyPr vert="horz" wrap="square" lIns="129909" tIns="64954" rIns="129909" bIns="64954" numCol="1" anchor="t" anchorCtr="0" compatLnSpc="1">
            <a:prstTxWarp prst="textNoShape">
              <a:avLst/>
            </a:prstTxWarp>
          </a:bodyPr>
          <a:lstStyle/>
          <a:p>
            <a:endParaRPr lang="en-US">
              <a:solidFill>
                <a:prstClr val="black"/>
              </a:solidFill>
              <a:latin typeface="微软雅黑" pitchFamily="34" charset="-122"/>
              <a:ea typeface="微软雅黑" pitchFamily="34" charset="-122"/>
            </a:endParaRPr>
          </a:p>
        </p:txBody>
      </p:sp>
      <p:grpSp>
        <p:nvGrpSpPr>
          <p:cNvPr id="6" name="Group 5"/>
          <p:cNvGrpSpPr/>
          <p:nvPr/>
        </p:nvGrpSpPr>
        <p:grpSpPr>
          <a:xfrm>
            <a:off x="3000810" y="1414046"/>
            <a:ext cx="1481740" cy="1221955"/>
            <a:chOff x="2113298" y="994251"/>
            <a:chExt cx="1043504" cy="859187"/>
          </a:xfrm>
        </p:grpSpPr>
        <p:grpSp>
          <p:nvGrpSpPr>
            <p:cNvPr id="405" name="Group 404"/>
            <p:cNvGrpSpPr/>
            <p:nvPr/>
          </p:nvGrpSpPr>
          <p:grpSpPr>
            <a:xfrm>
              <a:off x="2113298" y="994251"/>
              <a:ext cx="1043504" cy="321946"/>
              <a:chOff x="161386" y="954156"/>
              <a:chExt cx="314542" cy="387627"/>
            </a:xfrm>
          </p:grpSpPr>
          <p:sp>
            <p:nvSpPr>
              <p:cNvPr id="406" name="Round Diagonal Corner Rectangle 405"/>
              <p:cNvSpPr/>
              <p:nvPr/>
            </p:nvSpPr>
            <p:spPr>
              <a:xfrm flipV="1">
                <a:off x="171035" y="954156"/>
                <a:ext cx="291924" cy="387626"/>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00" dirty="0">
                  <a:solidFill>
                    <a:prstClr val="white"/>
                  </a:solidFill>
                  <a:latin typeface="微软雅黑" pitchFamily="34" charset="-122"/>
                  <a:ea typeface="微软雅黑" pitchFamily="34" charset="-122"/>
                </a:endParaRPr>
              </a:p>
            </p:txBody>
          </p:sp>
          <p:sp>
            <p:nvSpPr>
              <p:cNvPr id="407" name="Round Diagonal Corner Rectangle 406"/>
              <p:cNvSpPr/>
              <p:nvPr/>
            </p:nvSpPr>
            <p:spPr>
              <a:xfrm>
                <a:off x="161386" y="954157"/>
                <a:ext cx="314542" cy="387626"/>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2300" dirty="0">
                    <a:solidFill>
                      <a:prstClr val="white"/>
                    </a:solidFill>
                    <a:latin typeface="微软雅黑" pitchFamily="34" charset="-122"/>
                    <a:ea typeface="微软雅黑" pitchFamily="34" charset="-122"/>
                  </a:rPr>
                  <a:t>研究</a:t>
                </a:r>
                <a:endParaRPr lang="en-US" sz="2300" dirty="0">
                  <a:solidFill>
                    <a:prstClr val="white"/>
                  </a:solidFill>
                  <a:latin typeface="微软雅黑" pitchFamily="34" charset="-122"/>
                  <a:ea typeface="微软雅黑" pitchFamily="34" charset="-122"/>
                </a:endParaRPr>
              </a:p>
            </p:txBody>
          </p:sp>
        </p:grpSp>
        <p:sp>
          <p:nvSpPr>
            <p:cNvPr id="422" name="Freeform 248"/>
            <p:cNvSpPr>
              <a:spLocks noEditPoints="1"/>
            </p:cNvSpPr>
            <p:nvPr/>
          </p:nvSpPr>
          <p:spPr bwMode="auto">
            <a:xfrm>
              <a:off x="2246142" y="1370083"/>
              <a:ext cx="492004" cy="483355"/>
            </a:xfrm>
            <a:custGeom>
              <a:avLst/>
              <a:gdLst>
                <a:gd name="T0" fmla="*/ 136 w 216"/>
                <a:gd name="T1" fmla="*/ 134 h 212"/>
                <a:gd name="T2" fmla="*/ 116 w 216"/>
                <a:gd name="T3" fmla="*/ 130 h 212"/>
                <a:gd name="T4" fmla="*/ 87 w 216"/>
                <a:gd name="T5" fmla="*/ 101 h 212"/>
                <a:gd name="T6" fmla="*/ 83 w 216"/>
                <a:gd name="T7" fmla="*/ 81 h 212"/>
                <a:gd name="T8" fmla="*/ 136 w 216"/>
                <a:gd name="T9" fmla="*/ 28 h 212"/>
                <a:gd name="T10" fmla="*/ 189 w 216"/>
                <a:gd name="T11" fmla="*/ 81 h 212"/>
                <a:gd name="T12" fmla="*/ 136 w 216"/>
                <a:gd name="T13" fmla="*/ 134 h 212"/>
                <a:gd name="T14" fmla="*/ 136 w 216"/>
                <a:gd name="T15" fmla="*/ 0 h 212"/>
                <a:gd name="T16" fmla="*/ 56 w 216"/>
                <a:gd name="T17" fmla="*/ 81 h 212"/>
                <a:gd name="T18" fmla="*/ 67 w 216"/>
                <a:gd name="T19" fmla="*/ 121 h 212"/>
                <a:gd name="T20" fmla="*/ 15 w 216"/>
                <a:gd name="T21" fmla="*/ 173 h 212"/>
                <a:gd name="T22" fmla="*/ 15 w 216"/>
                <a:gd name="T23" fmla="*/ 173 h 212"/>
                <a:gd name="T24" fmla="*/ 0 w 216"/>
                <a:gd name="T25" fmla="*/ 189 h 212"/>
                <a:gd name="T26" fmla="*/ 17 w 216"/>
                <a:gd name="T27" fmla="*/ 207 h 212"/>
                <a:gd name="T28" fmla="*/ 39 w 216"/>
                <a:gd name="T29" fmla="*/ 207 h 212"/>
                <a:gd name="T30" fmla="*/ 96 w 216"/>
                <a:gd name="T31" fmla="*/ 150 h 212"/>
                <a:gd name="T32" fmla="*/ 136 w 216"/>
                <a:gd name="T33" fmla="*/ 161 h 212"/>
                <a:gd name="T34" fmla="*/ 216 w 216"/>
                <a:gd name="T35" fmla="*/ 81 h 212"/>
                <a:gd name="T36" fmla="*/ 136 w 216"/>
                <a:gd name="T3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6" h="212">
                  <a:moveTo>
                    <a:pt x="136" y="134"/>
                  </a:moveTo>
                  <a:cubicBezTo>
                    <a:pt x="129" y="134"/>
                    <a:pt x="122" y="132"/>
                    <a:pt x="116" y="130"/>
                  </a:cubicBezTo>
                  <a:cubicBezTo>
                    <a:pt x="103" y="124"/>
                    <a:pt x="93" y="114"/>
                    <a:pt x="87" y="101"/>
                  </a:cubicBezTo>
                  <a:cubicBezTo>
                    <a:pt x="84" y="95"/>
                    <a:pt x="83" y="88"/>
                    <a:pt x="83" y="81"/>
                  </a:cubicBezTo>
                  <a:cubicBezTo>
                    <a:pt x="83" y="51"/>
                    <a:pt x="107" y="28"/>
                    <a:pt x="136" y="28"/>
                  </a:cubicBezTo>
                  <a:cubicBezTo>
                    <a:pt x="165" y="28"/>
                    <a:pt x="189" y="51"/>
                    <a:pt x="189" y="81"/>
                  </a:cubicBezTo>
                  <a:cubicBezTo>
                    <a:pt x="189" y="110"/>
                    <a:pt x="165" y="134"/>
                    <a:pt x="136" y="134"/>
                  </a:cubicBezTo>
                  <a:moveTo>
                    <a:pt x="136" y="0"/>
                  </a:moveTo>
                  <a:cubicBezTo>
                    <a:pt x="92" y="0"/>
                    <a:pt x="56" y="36"/>
                    <a:pt x="56" y="81"/>
                  </a:cubicBezTo>
                  <a:cubicBezTo>
                    <a:pt x="56" y="95"/>
                    <a:pt x="60" y="109"/>
                    <a:pt x="67" y="121"/>
                  </a:cubicBezTo>
                  <a:cubicBezTo>
                    <a:pt x="15" y="173"/>
                    <a:pt x="15" y="173"/>
                    <a:pt x="15" y="173"/>
                  </a:cubicBezTo>
                  <a:cubicBezTo>
                    <a:pt x="15" y="173"/>
                    <a:pt x="15" y="173"/>
                    <a:pt x="15" y="173"/>
                  </a:cubicBezTo>
                  <a:cubicBezTo>
                    <a:pt x="0" y="189"/>
                    <a:pt x="0" y="189"/>
                    <a:pt x="0" y="189"/>
                  </a:cubicBezTo>
                  <a:cubicBezTo>
                    <a:pt x="17" y="207"/>
                    <a:pt x="17" y="207"/>
                    <a:pt x="17" y="207"/>
                  </a:cubicBezTo>
                  <a:cubicBezTo>
                    <a:pt x="23" y="212"/>
                    <a:pt x="33" y="212"/>
                    <a:pt x="39" y="207"/>
                  </a:cubicBezTo>
                  <a:cubicBezTo>
                    <a:pt x="96" y="150"/>
                    <a:pt x="96" y="150"/>
                    <a:pt x="96" y="150"/>
                  </a:cubicBezTo>
                  <a:cubicBezTo>
                    <a:pt x="108" y="157"/>
                    <a:pt x="121" y="161"/>
                    <a:pt x="136" y="161"/>
                  </a:cubicBezTo>
                  <a:cubicBezTo>
                    <a:pt x="180" y="161"/>
                    <a:pt x="216" y="125"/>
                    <a:pt x="216" y="81"/>
                  </a:cubicBezTo>
                  <a:cubicBezTo>
                    <a:pt x="216" y="36"/>
                    <a:pt x="180" y="0"/>
                    <a:pt x="136" y="0"/>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微软雅黑" pitchFamily="34" charset="-122"/>
                <a:ea typeface="微软雅黑" pitchFamily="34" charset="-122"/>
              </a:endParaRPr>
            </a:p>
          </p:txBody>
        </p:sp>
      </p:grpSp>
      <p:grpSp>
        <p:nvGrpSpPr>
          <p:cNvPr id="432" name="Group 431"/>
          <p:cNvGrpSpPr/>
          <p:nvPr/>
        </p:nvGrpSpPr>
        <p:grpSpPr>
          <a:xfrm>
            <a:off x="3055350" y="5170062"/>
            <a:ext cx="1004809" cy="1200649"/>
            <a:chOff x="4008438" y="1887538"/>
            <a:chExt cx="1135063" cy="1354138"/>
          </a:xfrm>
          <a:solidFill>
            <a:srgbClr val="000000"/>
          </a:solidFill>
        </p:grpSpPr>
        <p:sp>
          <p:nvSpPr>
            <p:cNvPr id="433" name="Oval 796"/>
            <p:cNvSpPr>
              <a:spLocks noChangeArrowheads="1"/>
            </p:cNvSpPr>
            <p:nvPr/>
          </p:nvSpPr>
          <p:spPr bwMode="auto">
            <a:xfrm>
              <a:off x="4094163" y="2252663"/>
              <a:ext cx="184150" cy="195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微软雅黑" pitchFamily="34" charset="-122"/>
                <a:ea typeface="微软雅黑" pitchFamily="34" charset="-122"/>
              </a:endParaRPr>
            </a:p>
          </p:txBody>
        </p:sp>
        <p:sp>
          <p:nvSpPr>
            <p:cNvPr id="434" name="Freeform 797"/>
            <p:cNvSpPr>
              <a:spLocks/>
            </p:cNvSpPr>
            <p:nvPr/>
          </p:nvSpPr>
          <p:spPr bwMode="auto">
            <a:xfrm>
              <a:off x="4008438" y="2478088"/>
              <a:ext cx="357188" cy="665163"/>
            </a:xfrm>
            <a:custGeom>
              <a:avLst/>
              <a:gdLst>
                <a:gd name="T0" fmla="*/ 75 w 95"/>
                <a:gd name="T1" fmla="*/ 0 h 177"/>
                <a:gd name="T2" fmla="*/ 48 w 95"/>
                <a:gd name="T3" fmla="*/ 0 h 177"/>
                <a:gd name="T4" fmla="*/ 20 w 95"/>
                <a:gd name="T5" fmla="*/ 0 h 177"/>
                <a:gd name="T6" fmla="*/ 0 w 95"/>
                <a:gd name="T7" fmla="*/ 21 h 177"/>
                <a:gd name="T8" fmla="*/ 0 w 95"/>
                <a:gd name="T9" fmla="*/ 24 h 177"/>
                <a:gd name="T10" fmla="*/ 0 w 95"/>
                <a:gd name="T11" fmla="*/ 40 h 177"/>
                <a:gd name="T12" fmla="*/ 0 w 95"/>
                <a:gd name="T13" fmla="*/ 55 h 177"/>
                <a:gd name="T14" fmla="*/ 0 w 95"/>
                <a:gd name="T15" fmla="*/ 83 h 177"/>
                <a:gd name="T16" fmla="*/ 0 w 95"/>
                <a:gd name="T17" fmla="*/ 83 h 177"/>
                <a:gd name="T18" fmla="*/ 8 w 95"/>
                <a:gd name="T19" fmla="*/ 91 h 177"/>
                <a:gd name="T20" fmla="*/ 16 w 95"/>
                <a:gd name="T21" fmla="*/ 84 h 177"/>
                <a:gd name="T22" fmla="*/ 16 w 95"/>
                <a:gd name="T23" fmla="*/ 83 h 177"/>
                <a:gd name="T24" fmla="*/ 16 w 95"/>
                <a:gd name="T25" fmla="*/ 27 h 177"/>
                <a:gd name="T26" fmla="*/ 18 w 95"/>
                <a:gd name="T27" fmla="*/ 25 h 177"/>
                <a:gd name="T28" fmla="*/ 20 w 95"/>
                <a:gd name="T29" fmla="*/ 27 h 177"/>
                <a:gd name="T30" fmla="*/ 20 w 95"/>
                <a:gd name="T31" fmla="*/ 87 h 177"/>
                <a:gd name="T32" fmla="*/ 20 w 95"/>
                <a:gd name="T33" fmla="*/ 95 h 177"/>
                <a:gd name="T34" fmla="*/ 20 w 95"/>
                <a:gd name="T35" fmla="*/ 96 h 177"/>
                <a:gd name="T36" fmla="*/ 20 w 95"/>
                <a:gd name="T37" fmla="*/ 96 h 177"/>
                <a:gd name="T38" fmla="*/ 26 w 95"/>
                <a:gd name="T39" fmla="*/ 163 h 177"/>
                <a:gd name="T40" fmla="*/ 40 w 95"/>
                <a:gd name="T41" fmla="*/ 177 h 177"/>
                <a:gd name="T42" fmla="*/ 48 w 95"/>
                <a:gd name="T43" fmla="*/ 177 h 177"/>
                <a:gd name="T44" fmla="*/ 55 w 95"/>
                <a:gd name="T45" fmla="*/ 177 h 177"/>
                <a:gd name="T46" fmla="*/ 69 w 95"/>
                <a:gd name="T47" fmla="*/ 163 h 177"/>
                <a:gd name="T48" fmla="*/ 75 w 95"/>
                <a:gd name="T49" fmla="*/ 96 h 177"/>
                <a:gd name="T50" fmla="*/ 75 w 95"/>
                <a:gd name="T51" fmla="*/ 96 h 177"/>
                <a:gd name="T52" fmla="*/ 75 w 95"/>
                <a:gd name="T53" fmla="*/ 95 h 177"/>
                <a:gd name="T54" fmla="*/ 75 w 95"/>
                <a:gd name="T55" fmla="*/ 87 h 177"/>
                <a:gd name="T56" fmla="*/ 75 w 95"/>
                <a:gd name="T57" fmla="*/ 27 h 177"/>
                <a:gd name="T58" fmla="*/ 77 w 95"/>
                <a:gd name="T59" fmla="*/ 25 h 177"/>
                <a:gd name="T60" fmla="*/ 79 w 95"/>
                <a:gd name="T61" fmla="*/ 27 h 177"/>
                <a:gd name="T62" fmla="*/ 79 w 95"/>
                <a:gd name="T63" fmla="*/ 83 h 177"/>
                <a:gd name="T64" fmla="*/ 79 w 95"/>
                <a:gd name="T65" fmla="*/ 84 h 177"/>
                <a:gd name="T66" fmla="*/ 87 w 95"/>
                <a:gd name="T67" fmla="*/ 91 h 177"/>
                <a:gd name="T68" fmla="*/ 95 w 95"/>
                <a:gd name="T69" fmla="*/ 83 h 177"/>
                <a:gd name="T70" fmla="*/ 95 w 95"/>
                <a:gd name="T71" fmla="*/ 83 h 177"/>
                <a:gd name="T72" fmla="*/ 95 w 95"/>
                <a:gd name="T73" fmla="*/ 40 h 177"/>
                <a:gd name="T74" fmla="*/ 95 w 95"/>
                <a:gd name="T75" fmla="*/ 24 h 177"/>
                <a:gd name="T76" fmla="*/ 95 w 95"/>
                <a:gd name="T77" fmla="*/ 21 h 177"/>
                <a:gd name="T78" fmla="*/ 75 w 95"/>
                <a:gd name="T79"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5" h="177">
                  <a:moveTo>
                    <a:pt x="75" y="0"/>
                  </a:moveTo>
                  <a:cubicBezTo>
                    <a:pt x="48" y="0"/>
                    <a:pt x="48" y="0"/>
                    <a:pt x="48" y="0"/>
                  </a:cubicBezTo>
                  <a:cubicBezTo>
                    <a:pt x="20" y="0"/>
                    <a:pt x="20" y="0"/>
                    <a:pt x="20" y="0"/>
                  </a:cubicBezTo>
                  <a:cubicBezTo>
                    <a:pt x="7" y="0"/>
                    <a:pt x="0" y="6"/>
                    <a:pt x="0" y="21"/>
                  </a:cubicBezTo>
                  <a:cubicBezTo>
                    <a:pt x="0" y="24"/>
                    <a:pt x="0" y="24"/>
                    <a:pt x="0" y="24"/>
                  </a:cubicBezTo>
                  <a:cubicBezTo>
                    <a:pt x="0" y="40"/>
                    <a:pt x="0" y="40"/>
                    <a:pt x="0" y="40"/>
                  </a:cubicBezTo>
                  <a:cubicBezTo>
                    <a:pt x="0" y="55"/>
                    <a:pt x="0" y="55"/>
                    <a:pt x="0" y="55"/>
                  </a:cubicBezTo>
                  <a:cubicBezTo>
                    <a:pt x="0" y="83"/>
                    <a:pt x="0" y="83"/>
                    <a:pt x="0" y="83"/>
                  </a:cubicBezTo>
                  <a:cubicBezTo>
                    <a:pt x="0" y="83"/>
                    <a:pt x="0" y="83"/>
                    <a:pt x="0" y="83"/>
                  </a:cubicBezTo>
                  <a:cubicBezTo>
                    <a:pt x="0" y="88"/>
                    <a:pt x="4" y="91"/>
                    <a:pt x="8" y="91"/>
                  </a:cubicBezTo>
                  <a:cubicBezTo>
                    <a:pt x="12" y="91"/>
                    <a:pt x="15" y="88"/>
                    <a:pt x="16" y="84"/>
                  </a:cubicBezTo>
                  <a:cubicBezTo>
                    <a:pt x="16" y="84"/>
                    <a:pt x="16" y="84"/>
                    <a:pt x="16" y="83"/>
                  </a:cubicBezTo>
                  <a:cubicBezTo>
                    <a:pt x="16" y="27"/>
                    <a:pt x="16" y="27"/>
                    <a:pt x="16" y="27"/>
                  </a:cubicBezTo>
                  <a:cubicBezTo>
                    <a:pt x="16" y="26"/>
                    <a:pt x="17" y="25"/>
                    <a:pt x="18" y="25"/>
                  </a:cubicBezTo>
                  <a:cubicBezTo>
                    <a:pt x="19" y="25"/>
                    <a:pt x="20" y="26"/>
                    <a:pt x="20" y="27"/>
                  </a:cubicBezTo>
                  <a:cubicBezTo>
                    <a:pt x="20" y="87"/>
                    <a:pt x="20" y="87"/>
                    <a:pt x="20" y="87"/>
                  </a:cubicBezTo>
                  <a:cubicBezTo>
                    <a:pt x="20" y="87"/>
                    <a:pt x="20" y="92"/>
                    <a:pt x="20" y="95"/>
                  </a:cubicBezTo>
                  <a:cubicBezTo>
                    <a:pt x="20" y="96"/>
                    <a:pt x="20" y="96"/>
                    <a:pt x="20" y="96"/>
                  </a:cubicBezTo>
                  <a:cubicBezTo>
                    <a:pt x="20" y="96"/>
                    <a:pt x="20" y="96"/>
                    <a:pt x="20" y="96"/>
                  </a:cubicBezTo>
                  <a:cubicBezTo>
                    <a:pt x="26" y="163"/>
                    <a:pt x="26" y="163"/>
                    <a:pt x="26" y="163"/>
                  </a:cubicBezTo>
                  <a:cubicBezTo>
                    <a:pt x="27" y="173"/>
                    <a:pt x="31" y="177"/>
                    <a:pt x="40" y="177"/>
                  </a:cubicBezTo>
                  <a:cubicBezTo>
                    <a:pt x="48" y="177"/>
                    <a:pt x="48" y="177"/>
                    <a:pt x="48" y="177"/>
                  </a:cubicBezTo>
                  <a:cubicBezTo>
                    <a:pt x="55" y="177"/>
                    <a:pt x="55" y="177"/>
                    <a:pt x="55" y="177"/>
                  </a:cubicBezTo>
                  <a:cubicBezTo>
                    <a:pt x="64" y="177"/>
                    <a:pt x="68" y="173"/>
                    <a:pt x="69" y="163"/>
                  </a:cubicBezTo>
                  <a:cubicBezTo>
                    <a:pt x="75" y="96"/>
                    <a:pt x="75" y="96"/>
                    <a:pt x="75" y="96"/>
                  </a:cubicBezTo>
                  <a:cubicBezTo>
                    <a:pt x="75" y="96"/>
                    <a:pt x="75" y="96"/>
                    <a:pt x="75" y="96"/>
                  </a:cubicBezTo>
                  <a:cubicBezTo>
                    <a:pt x="75" y="95"/>
                    <a:pt x="75" y="95"/>
                    <a:pt x="75" y="95"/>
                  </a:cubicBezTo>
                  <a:cubicBezTo>
                    <a:pt x="75" y="92"/>
                    <a:pt x="75" y="87"/>
                    <a:pt x="75" y="87"/>
                  </a:cubicBezTo>
                  <a:cubicBezTo>
                    <a:pt x="75" y="27"/>
                    <a:pt x="75" y="27"/>
                    <a:pt x="75" y="27"/>
                  </a:cubicBezTo>
                  <a:cubicBezTo>
                    <a:pt x="75" y="26"/>
                    <a:pt x="76" y="25"/>
                    <a:pt x="77" y="25"/>
                  </a:cubicBezTo>
                  <a:cubicBezTo>
                    <a:pt x="78" y="25"/>
                    <a:pt x="79" y="26"/>
                    <a:pt x="79" y="27"/>
                  </a:cubicBezTo>
                  <a:cubicBezTo>
                    <a:pt x="79" y="83"/>
                    <a:pt x="79" y="83"/>
                    <a:pt x="79" y="83"/>
                  </a:cubicBezTo>
                  <a:cubicBezTo>
                    <a:pt x="79" y="84"/>
                    <a:pt x="79" y="84"/>
                    <a:pt x="79" y="84"/>
                  </a:cubicBezTo>
                  <a:cubicBezTo>
                    <a:pt x="80" y="88"/>
                    <a:pt x="83" y="91"/>
                    <a:pt x="87" y="91"/>
                  </a:cubicBezTo>
                  <a:cubicBezTo>
                    <a:pt x="91" y="91"/>
                    <a:pt x="95" y="88"/>
                    <a:pt x="95" y="83"/>
                  </a:cubicBezTo>
                  <a:cubicBezTo>
                    <a:pt x="95" y="83"/>
                    <a:pt x="95" y="83"/>
                    <a:pt x="95" y="83"/>
                  </a:cubicBezTo>
                  <a:cubicBezTo>
                    <a:pt x="95" y="40"/>
                    <a:pt x="95" y="40"/>
                    <a:pt x="95" y="40"/>
                  </a:cubicBezTo>
                  <a:cubicBezTo>
                    <a:pt x="95" y="24"/>
                    <a:pt x="95" y="24"/>
                    <a:pt x="95" y="24"/>
                  </a:cubicBezTo>
                  <a:cubicBezTo>
                    <a:pt x="95" y="21"/>
                    <a:pt x="95" y="21"/>
                    <a:pt x="95" y="21"/>
                  </a:cubicBezTo>
                  <a:cubicBezTo>
                    <a:pt x="95" y="6"/>
                    <a:pt x="88" y="0"/>
                    <a:pt x="7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微软雅黑" pitchFamily="34" charset="-122"/>
                <a:ea typeface="微软雅黑" pitchFamily="34" charset="-122"/>
              </a:endParaRPr>
            </a:p>
          </p:txBody>
        </p:sp>
        <p:sp>
          <p:nvSpPr>
            <p:cNvPr id="435" name="Oval 798"/>
            <p:cNvSpPr>
              <a:spLocks noChangeArrowheads="1"/>
            </p:cNvSpPr>
            <p:nvPr/>
          </p:nvSpPr>
          <p:spPr bwMode="auto">
            <a:xfrm>
              <a:off x="4778376" y="2041526"/>
              <a:ext cx="249238" cy="2667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微软雅黑" pitchFamily="34" charset="-122"/>
                <a:ea typeface="微软雅黑" pitchFamily="34" charset="-122"/>
              </a:endParaRPr>
            </a:p>
          </p:txBody>
        </p:sp>
        <p:sp>
          <p:nvSpPr>
            <p:cNvPr id="436" name="Freeform 799"/>
            <p:cNvSpPr>
              <a:spLocks/>
            </p:cNvSpPr>
            <p:nvPr/>
          </p:nvSpPr>
          <p:spPr bwMode="auto">
            <a:xfrm>
              <a:off x="4157663" y="1887538"/>
              <a:ext cx="771525" cy="250825"/>
            </a:xfrm>
            <a:custGeom>
              <a:avLst/>
              <a:gdLst>
                <a:gd name="T0" fmla="*/ 16 w 205"/>
                <a:gd name="T1" fmla="*/ 16 h 67"/>
                <a:gd name="T2" fmla="*/ 104 w 205"/>
                <a:gd name="T3" fmla="*/ 16 h 67"/>
                <a:gd name="T4" fmla="*/ 104 w 205"/>
                <a:gd name="T5" fmla="*/ 67 h 67"/>
                <a:gd name="T6" fmla="*/ 120 w 205"/>
                <a:gd name="T7" fmla="*/ 67 h 67"/>
                <a:gd name="T8" fmla="*/ 120 w 205"/>
                <a:gd name="T9" fmla="*/ 16 h 67"/>
                <a:gd name="T10" fmla="*/ 189 w 205"/>
                <a:gd name="T11" fmla="*/ 16 h 67"/>
                <a:gd name="T12" fmla="*/ 189 w 205"/>
                <a:gd name="T13" fmla="*/ 32 h 67"/>
                <a:gd name="T14" fmla="*/ 198 w 205"/>
                <a:gd name="T15" fmla="*/ 32 h 67"/>
                <a:gd name="T16" fmla="*/ 205 w 205"/>
                <a:gd name="T17" fmla="*/ 32 h 67"/>
                <a:gd name="T18" fmla="*/ 205 w 205"/>
                <a:gd name="T19" fmla="*/ 0 h 67"/>
                <a:gd name="T20" fmla="*/ 0 w 205"/>
                <a:gd name="T21" fmla="*/ 0 h 67"/>
                <a:gd name="T22" fmla="*/ 0 w 205"/>
                <a:gd name="T23" fmla="*/ 67 h 67"/>
                <a:gd name="T24" fmla="*/ 16 w 205"/>
                <a:gd name="T25" fmla="*/ 67 h 67"/>
                <a:gd name="T26" fmla="*/ 16 w 205"/>
                <a:gd name="T27" fmla="*/ 16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5" h="67">
                  <a:moveTo>
                    <a:pt x="16" y="16"/>
                  </a:moveTo>
                  <a:cubicBezTo>
                    <a:pt x="104" y="16"/>
                    <a:pt x="104" y="16"/>
                    <a:pt x="104" y="16"/>
                  </a:cubicBezTo>
                  <a:cubicBezTo>
                    <a:pt x="104" y="67"/>
                    <a:pt x="104" y="67"/>
                    <a:pt x="104" y="67"/>
                  </a:cubicBezTo>
                  <a:cubicBezTo>
                    <a:pt x="120" y="67"/>
                    <a:pt x="120" y="67"/>
                    <a:pt x="120" y="67"/>
                  </a:cubicBezTo>
                  <a:cubicBezTo>
                    <a:pt x="120" y="16"/>
                    <a:pt x="120" y="16"/>
                    <a:pt x="120" y="16"/>
                  </a:cubicBezTo>
                  <a:cubicBezTo>
                    <a:pt x="189" y="16"/>
                    <a:pt x="189" y="16"/>
                    <a:pt x="189" y="16"/>
                  </a:cubicBezTo>
                  <a:cubicBezTo>
                    <a:pt x="189" y="32"/>
                    <a:pt x="189" y="32"/>
                    <a:pt x="189" y="32"/>
                  </a:cubicBezTo>
                  <a:cubicBezTo>
                    <a:pt x="192" y="32"/>
                    <a:pt x="195" y="32"/>
                    <a:pt x="198" y="32"/>
                  </a:cubicBezTo>
                  <a:cubicBezTo>
                    <a:pt x="201" y="32"/>
                    <a:pt x="203" y="32"/>
                    <a:pt x="205" y="32"/>
                  </a:cubicBezTo>
                  <a:cubicBezTo>
                    <a:pt x="205" y="0"/>
                    <a:pt x="205" y="0"/>
                    <a:pt x="205" y="0"/>
                  </a:cubicBezTo>
                  <a:cubicBezTo>
                    <a:pt x="0" y="0"/>
                    <a:pt x="0" y="0"/>
                    <a:pt x="0" y="0"/>
                  </a:cubicBezTo>
                  <a:cubicBezTo>
                    <a:pt x="0" y="67"/>
                    <a:pt x="0" y="67"/>
                    <a:pt x="0" y="67"/>
                  </a:cubicBezTo>
                  <a:cubicBezTo>
                    <a:pt x="16" y="67"/>
                    <a:pt x="16" y="67"/>
                    <a:pt x="16" y="67"/>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微软雅黑" pitchFamily="34" charset="-122"/>
                <a:ea typeface="微软雅黑" pitchFamily="34" charset="-122"/>
              </a:endParaRPr>
            </a:p>
          </p:txBody>
        </p:sp>
        <p:sp>
          <p:nvSpPr>
            <p:cNvPr id="437" name="Freeform 800"/>
            <p:cNvSpPr>
              <a:spLocks/>
            </p:cNvSpPr>
            <p:nvPr/>
          </p:nvSpPr>
          <p:spPr bwMode="auto">
            <a:xfrm>
              <a:off x="4489451" y="2252663"/>
              <a:ext cx="184150" cy="195263"/>
            </a:xfrm>
            <a:custGeom>
              <a:avLst/>
              <a:gdLst>
                <a:gd name="T0" fmla="*/ 0 w 49"/>
                <a:gd name="T1" fmla="*/ 26 h 52"/>
                <a:gd name="T2" fmla="*/ 25 w 49"/>
                <a:gd name="T3" fmla="*/ 52 h 52"/>
                <a:gd name="T4" fmla="*/ 38 w 49"/>
                <a:gd name="T5" fmla="*/ 50 h 52"/>
                <a:gd name="T6" fmla="*/ 49 w 49"/>
                <a:gd name="T7" fmla="*/ 25 h 52"/>
                <a:gd name="T8" fmla="*/ 25 w 49"/>
                <a:gd name="T9" fmla="*/ 0 h 52"/>
                <a:gd name="T10" fmla="*/ 0 w 49"/>
                <a:gd name="T11" fmla="*/ 26 h 52"/>
              </a:gdLst>
              <a:ahLst/>
              <a:cxnLst>
                <a:cxn ang="0">
                  <a:pos x="T0" y="T1"/>
                </a:cxn>
                <a:cxn ang="0">
                  <a:pos x="T2" y="T3"/>
                </a:cxn>
                <a:cxn ang="0">
                  <a:pos x="T4" y="T5"/>
                </a:cxn>
                <a:cxn ang="0">
                  <a:pos x="T6" y="T7"/>
                </a:cxn>
                <a:cxn ang="0">
                  <a:pos x="T8" y="T9"/>
                </a:cxn>
                <a:cxn ang="0">
                  <a:pos x="T10" y="T11"/>
                </a:cxn>
              </a:cxnLst>
              <a:rect l="0" t="0" r="r" b="b"/>
              <a:pathLst>
                <a:path w="49" h="52">
                  <a:moveTo>
                    <a:pt x="0" y="26"/>
                  </a:moveTo>
                  <a:cubicBezTo>
                    <a:pt x="0" y="45"/>
                    <a:pt x="7" y="52"/>
                    <a:pt x="25" y="52"/>
                  </a:cubicBezTo>
                  <a:cubicBezTo>
                    <a:pt x="30" y="52"/>
                    <a:pt x="35" y="52"/>
                    <a:pt x="38" y="50"/>
                  </a:cubicBezTo>
                  <a:cubicBezTo>
                    <a:pt x="39" y="39"/>
                    <a:pt x="43" y="30"/>
                    <a:pt x="49" y="25"/>
                  </a:cubicBezTo>
                  <a:cubicBezTo>
                    <a:pt x="49" y="7"/>
                    <a:pt x="42" y="0"/>
                    <a:pt x="25" y="0"/>
                  </a:cubicBezTo>
                  <a:cubicBezTo>
                    <a:pt x="7" y="0"/>
                    <a:pt x="0" y="7"/>
                    <a:pt x="0" y="2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微软雅黑" pitchFamily="34" charset="-122"/>
                <a:ea typeface="微软雅黑" pitchFamily="34" charset="-122"/>
              </a:endParaRPr>
            </a:p>
          </p:txBody>
        </p:sp>
        <p:sp>
          <p:nvSpPr>
            <p:cNvPr id="438" name="Freeform 801"/>
            <p:cNvSpPr>
              <a:spLocks/>
            </p:cNvSpPr>
            <p:nvPr/>
          </p:nvSpPr>
          <p:spPr bwMode="auto">
            <a:xfrm>
              <a:off x="4402138" y="2478088"/>
              <a:ext cx="282575" cy="665163"/>
            </a:xfrm>
            <a:custGeom>
              <a:avLst/>
              <a:gdLst>
                <a:gd name="T0" fmla="*/ 61 w 75"/>
                <a:gd name="T1" fmla="*/ 77 h 177"/>
                <a:gd name="T2" fmla="*/ 61 w 75"/>
                <a:gd name="T3" fmla="*/ 0 h 177"/>
                <a:gd name="T4" fmla="*/ 48 w 75"/>
                <a:gd name="T5" fmla="*/ 0 h 177"/>
                <a:gd name="T6" fmla="*/ 20 w 75"/>
                <a:gd name="T7" fmla="*/ 0 h 177"/>
                <a:gd name="T8" fmla="*/ 0 w 75"/>
                <a:gd name="T9" fmla="*/ 21 h 177"/>
                <a:gd name="T10" fmla="*/ 0 w 75"/>
                <a:gd name="T11" fmla="*/ 24 h 177"/>
                <a:gd name="T12" fmla="*/ 0 w 75"/>
                <a:gd name="T13" fmla="*/ 40 h 177"/>
                <a:gd name="T14" fmla="*/ 0 w 75"/>
                <a:gd name="T15" fmla="*/ 55 h 177"/>
                <a:gd name="T16" fmla="*/ 0 w 75"/>
                <a:gd name="T17" fmla="*/ 83 h 177"/>
                <a:gd name="T18" fmla="*/ 0 w 75"/>
                <a:gd name="T19" fmla="*/ 83 h 177"/>
                <a:gd name="T20" fmla="*/ 8 w 75"/>
                <a:gd name="T21" fmla="*/ 91 h 177"/>
                <a:gd name="T22" fmla="*/ 16 w 75"/>
                <a:gd name="T23" fmla="*/ 84 h 177"/>
                <a:gd name="T24" fmla="*/ 16 w 75"/>
                <a:gd name="T25" fmla="*/ 83 h 177"/>
                <a:gd name="T26" fmla="*/ 16 w 75"/>
                <a:gd name="T27" fmla="*/ 27 h 177"/>
                <a:gd name="T28" fmla="*/ 18 w 75"/>
                <a:gd name="T29" fmla="*/ 25 h 177"/>
                <a:gd name="T30" fmla="*/ 20 w 75"/>
                <a:gd name="T31" fmla="*/ 27 h 177"/>
                <a:gd name="T32" fmla="*/ 20 w 75"/>
                <a:gd name="T33" fmla="*/ 87 h 177"/>
                <a:gd name="T34" fmla="*/ 20 w 75"/>
                <a:gd name="T35" fmla="*/ 95 h 177"/>
                <a:gd name="T36" fmla="*/ 20 w 75"/>
                <a:gd name="T37" fmla="*/ 96 h 177"/>
                <a:gd name="T38" fmla="*/ 20 w 75"/>
                <a:gd name="T39" fmla="*/ 96 h 177"/>
                <a:gd name="T40" fmla="*/ 27 w 75"/>
                <a:gd name="T41" fmla="*/ 163 h 177"/>
                <a:gd name="T42" fmla="*/ 40 w 75"/>
                <a:gd name="T43" fmla="*/ 177 h 177"/>
                <a:gd name="T44" fmla="*/ 48 w 75"/>
                <a:gd name="T45" fmla="*/ 177 h 177"/>
                <a:gd name="T46" fmla="*/ 55 w 75"/>
                <a:gd name="T47" fmla="*/ 177 h 177"/>
                <a:gd name="T48" fmla="*/ 69 w 75"/>
                <a:gd name="T49" fmla="*/ 163 h 177"/>
                <a:gd name="T50" fmla="*/ 75 w 75"/>
                <a:gd name="T51" fmla="*/ 96 h 177"/>
                <a:gd name="T52" fmla="*/ 75 w 75"/>
                <a:gd name="T53" fmla="*/ 96 h 177"/>
                <a:gd name="T54" fmla="*/ 75 w 75"/>
                <a:gd name="T55" fmla="*/ 95 h 177"/>
                <a:gd name="T56" fmla="*/ 75 w 75"/>
                <a:gd name="T57" fmla="*/ 95 h 177"/>
                <a:gd name="T58" fmla="*/ 61 w 75"/>
                <a:gd name="T59" fmla="*/ 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5" h="177">
                  <a:moveTo>
                    <a:pt x="61" y="77"/>
                  </a:moveTo>
                  <a:cubicBezTo>
                    <a:pt x="61" y="0"/>
                    <a:pt x="61" y="0"/>
                    <a:pt x="61" y="0"/>
                  </a:cubicBezTo>
                  <a:cubicBezTo>
                    <a:pt x="48" y="0"/>
                    <a:pt x="48" y="0"/>
                    <a:pt x="48" y="0"/>
                  </a:cubicBezTo>
                  <a:cubicBezTo>
                    <a:pt x="20" y="0"/>
                    <a:pt x="20" y="0"/>
                    <a:pt x="20" y="0"/>
                  </a:cubicBezTo>
                  <a:cubicBezTo>
                    <a:pt x="7" y="0"/>
                    <a:pt x="0" y="6"/>
                    <a:pt x="0" y="21"/>
                  </a:cubicBezTo>
                  <a:cubicBezTo>
                    <a:pt x="0" y="24"/>
                    <a:pt x="0" y="24"/>
                    <a:pt x="0" y="24"/>
                  </a:cubicBezTo>
                  <a:cubicBezTo>
                    <a:pt x="0" y="40"/>
                    <a:pt x="0" y="40"/>
                    <a:pt x="0" y="40"/>
                  </a:cubicBezTo>
                  <a:cubicBezTo>
                    <a:pt x="0" y="55"/>
                    <a:pt x="0" y="55"/>
                    <a:pt x="0" y="55"/>
                  </a:cubicBezTo>
                  <a:cubicBezTo>
                    <a:pt x="0" y="83"/>
                    <a:pt x="0" y="83"/>
                    <a:pt x="0" y="83"/>
                  </a:cubicBezTo>
                  <a:cubicBezTo>
                    <a:pt x="0" y="83"/>
                    <a:pt x="0" y="83"/>
                    <a:pt x="0" y="83"/>
                  </a:cubicBezTo>
                  <a:cubicBezTo>
                    <a:pt x="0" y="88"/>
                    <a:pt x="4" y="91"/>
                    <a:pt x="8" y="91"/>
                  </a:cubicBezTo>
                  <a:cubicBezTo>
                    <a:pt x="12" y="91"/>
                    <a:pt x="15" y="88"/>
                    <a:pt x="16" y="84"/>
                  </a:cubicBezTo>
                  <a:cubicBezTo>
                    <a:pt x="16" y="84"/>
                    <a:pt x="16" y="84"/>
                    <a:pt x="16" y="83"/>
                  </a:cubicBezTo>
                  <a:cubicBezTo>
                    <a:pt x="16" y="27"/>
                    <a:pt x="16" y="27"/>
                    <a:pt x="16" y="27"/>
                  </a:cubicBezTo>
                  <a:cubicBezTo>
                    <a:pt x="16" y="26"/>
                    <a:pt x="17" y="25"/>
                    <a:pt x="18" y="25"/>
                  </a:cubicBezTo>
                  <a:cubicBezTo>
                    <a:pt x="19" y="25"/>
                    <a:pt x="20" y="26"/>
                    <a:pt x="20" y="27"/>
                  </a:cubicBezTo>
                  <a:cubicBezTo>
                    <a:pt x="20" y="87"/>
                    <a:pt x="20" y="87"/>
                    <a:pt x="20" y="87"/>
                  </a:cubicBezTo>
                  <a:cubicBezTo>
                    <a:pt x="20" y="87"/>
                    <a:pt x="20" y="92"/>
                    <a:pt x="20" y="95"/>
                  </a:cubicBezTo>
                  <a:cubicBezTo>
                    <a:pt x="20" y="96"/>
                    <a:pt x="20" y="96"/>
                    <a:pt x="20" y="96"/>
                  </a:cubicBezTo>
                  <a:cubicBezTo>
                    <a:pt x="20" y="96"/>
                    <a:pt x="20" y="96"/>
                    <a:pt x="20" y="96"/>
                  </a:cubicBezTo>
                  <a:cubicBezTo>
                    <a:pt x="27" y="163"/>
                    <a:pt x="27" y="163"/>
                    <a:pt x="27" y="163"/>
                  </a:cubicBezTo>
                  <a:cubicBezTo>
                    <a:pt x="28" y="173"/>
                    <a:pt x="31" y="177"/>
                    <a:pt x="40" y="177"/>
                  </a:cubicBezTo>
                  <a:cubicBezTo>
                    <a:pt x="48" y="177"/>
                    <a:pt x="48" y="177"/>
                    <a:pt x="48" y="177"/>
                  </a:cubicBezTo>
                  <a:cubicBezTo>
                    <a:pt x="55" y="177"/>
                    <a:pt x="55" y="177"/>
                    <a:pt x="55" y="177"/>
                  </a:cubicBezTo>
                  <a:cubicBezTo>
                    <a:pt x="64" y="177"/>
                    <a:pt x="68" y="173"/>
                    <a:pt x="69" y="163"/>
                  </a:cubicBezTo>
                  <a:cubicBezTo>
                    <a:pt x="75" y="96"/>
                    <a:pt x="75" y="96"/>
                    <a:pt x="75" y="96"/>
                  </a:cubicBezTo>
                  <a:cubicBezTo>
                    <a:pt x="75" y="96"/>
                    <a:pt x="75" y="96"/>
                    <a:pt x="75" y="96"/>
                  </a:cubicBezTo>
                  <a:cubicBezTo>
                    <a:pt x="75" y="95"/>
                    <a:pt x="75" y="95"/>
                    <a:pt x="75" y="95"/>
                  </a:cubicBezTo>
                  <a:cubicBezTo>
                    <a:pt x="75" y="95"/>
                    <a:pt x="75" y="95"/>
                    <a:pt x="75" y="95"/>
                  </a:cubicBezTo>
                  <a:cubicBezTo>
                    <a:pt x="67" y="93"/>
                    <a:pt x="61" y="85"/>
                    <a:pt x="61" y="7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微软雅黑" pitchFamily="34" charset="-122"/>
                <a:ea typeface="微软雅黑" pitchFamily="34" charset="-122"/>
              </a:endParaRPr>
            </a:p>
          </p:txBody>
        </p:sp>
        <p:sp>
          <p:nvSpPr>
            <p:cNvPr id="439" name="Freeform 802"/>
            <p:cNvSpPr>
              <a:spLocks/>
            </p:cNvSpPr>
            <p:nvPr/>
          </p:nvSpPr>
          <p:spPr bwMode="auto">
            <a:xfrm>
              <a:off x="4662488" y="2346326"/>
              <a:ext cx="481013" cy="895350"/>
            </a:xfrm>
            <a:custGeom>
              <a:avLst/>
              <a:gdLst>
                <a:gd name="T0" fmla="*/ 101 w 128"/>
                <a:gd name="T1" fmla="*/ 0 h 238"/>
                <a:gd name="T2" fmla="*/ 64 w 128"/>
                <a:gd name="T3" fmla="*/ 0 h 238"/>
                <a:gd name="T4" fmla="*/ 27 w 128"/>
                <a:gd name="T5" fmla="*/ 0 h 238"/>
                <a:gd name="T6" fmla="*/ 0 w 128"/>
                <a:gd name="T7" fmla="*/ 29 h 238"/>
                <a:gd name="T8" fmla="*/ 0 w 128"/>
                <a:gd name="T9" fmla="*/ 32 h 238"/>
                <a:gd name="T10" fmla="*/ 0 w 128"/>
                <a:gd name="T11" fmla="*/ 54 h 238"/>
                <a:gd name="T12" fmla="*/ 0 w 128"/>
                <a:gd name="T13" fmla="*/ 74 h 238"/>
                <a:gd name="T14" fmla="*/ 0 w 128"/>
                <a:gd name="T15" fmla="*/ 112 h 238"/>
                <a:gd name="T16" fmla="*/ 0 w 128"/>
                <a:gd name="T17" fmla="*/ 112 h 238"/>
                <a:gd name="T18" fmla="*/ 11 w 128"/>
                <a:gd name="T19" fmla="*/ 122 h 238"/>
                <a:gd name="T20" fmla="*/ 21 w 128"/>
                <a:gd name="T21" fmla="*/ 113 h 238"/>
                <a:gd name="T22" fmla="*/ 21 w 128"/>
                <a:gd name="T23" fmla="*/ 112 h 238"/>
                <a:gd name="T24" fmla="*/ 21 w 128"/>
                <a:gd name="T25" fmla="*/ 36 h 238"/>
                <a:gd name="T26" fmla="*/ 24 w 128"/>
                <a:gd name="T27" fmla="*/ 33 h 238"/>
                <a:gd name="T28" fmla="*/ 27 w 128"/>
                <a:gd name="T29" fmla="*/ 36 h 238"/>
                <a:gd name="T30" fmla="*/ 27 w 128"/>
                <a:gd name="T31" fmla="*/ 116 h 238"/>
                <a:gd name="T32" fmla="*/ 27 w 128"/>
                <a:gd name="T33" fmla="*/ 128 h 238"/>
                <a:gd name="T34" fmla="*/ 27 w 128"/>
                <a:gd name="T35" fmla="*/ 128 h 238"/>
                <a:gd name="T36" fmla="*/ 27 w 128"/>
                <a:gd name="T37" fmla="*/ 128 h 238"/>
                <a:gd name="T38" fmla="*/ 36 w 128"/>
                <a:gd name="T39" fmla="*/ 219 h 238"/>
                <a:gd name="T40" fmla="*/ 54 w 128"/>
                <a:gd name="T41" fmla="*/ 238 h 238"/>
                <a:gd name="T42" fmla="*/ 64 w 128"/>
                <a:gd name="T43" fmla="*/ 238 h 238"/>
                <a:gd name="T44" fmla="*/ 74 w 128"/>
                <a:gd name="T45" fmla="*/ 238 h 238"/>
                <a:gd name="T46" fmla="*/ 92 w 128"/>
                <a:gd name="T47" fmla="*/ 219 h 238"/>
                <a:gd name="T48" fmla="*/ 101 w 128"/>
                <a:gd name="T49" fmla="*/ 128 h 238"/>
                <a:gd name="T50" fmla="*/ 101 w 128"/>
                <a:gd name="T51" fmla="*/ 128 h 238"/>
                <a:gd name="T52" fmla="*/ 101 w 128"/>
                <a:gd name="T53" fmla="*/ 128 h 238"/>
                <a:gd name="T54" fmla="*/ 101 w 128"/>
                <a:gd name="T55" fmla="*/ 116 h 238"/>
                <a:gd name="T56" fmla="*/ 101 w 128"/>
                <a:gd name="T57" fmla="*/ 36 h 238"/>
                <a:gd name="T58" fmla="*/ 104 w 128"/>
                <a:gd name="T59" fmla="*/ 33 h 238"/>
                <a:gd name="T60" fmla="*/ 106 w 128"/>
                <a:gd name="T61" fmla="*/ 36 h 238"/>
                <a:gd name="T62" fmla="*/ 106 w 128"/>
                <a:gd name="T63" fmla="*/ 112 h 238"/>
                <a:gd name="T64" fmla="*/ 107 w 128"/>
                <a:gd name="T65" fmla="*/ 113 h 238"/>
                <a:gd name="T66" fmla="*/ 117 w 128"/>
                <a:gd name="T67" fmla="*/ 122 h 238"/>
                <a:gd name="T68" fmla="*/ 128 w 128"/>
                <a:gd name="T69" fmla="*/ 112 h 238"/>
                <a:gd name="T70" fmla="*/ 128 w 128"/>
                <a:gd name="T71" fmla="*/ 112 h 238"/>
                <a:gd name="T72" fmla="*/ 128 w 128"/>
                <a:gd name="T73" fmla="*/ 54 h 238"/>
                <a:gd name="T74" fmla="*/ 128 w 128"/>
                <a:gd name="T75" fmla="*/ 32 h 238"/>
                <a:gd name="T76" fmla="*/ 128 w 128"/>
                <a:gd name="T77" fmla="*/ 29 h 238"/>
                <a:gd name="T78" fmla="*/ 101 w 128"/>
                <a:gd name="T79"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238">
                  <a:moveTo>
                    <a:pt x="101" y="0"/>
                  </a:moveTo>
                  <a:cubicBezTo>
                    <a:pt x="64" y="0"/>
                    <a:pt x="64" y="0"/>
                    <a:pt x="64" y="0"/>
                  </a:cubicBezTo>
                  <a:cubicBezTo>
                    <a:pt x="27" y="0"/>
                    <a:pt x="27" y="0"/>
                    <a:pt x="27" y="0"/>
                  </a:cubicBezTo>
                  <a:cubicBezTo>
                    <a:pt x="10" y="0"/>
                    <a:pt x="0" y="8"/>
                    <a:pt x="0" y="29"/>
                  </a:cubicBezTo>
                  <a:cubicBezTo>
                    <a:pt x="0" y="32"/>
                    <a:pt x="0" y="32"/>
                    <a:pt x="0" y="32"/>
                  </a:cubicBezTo>
                  <a:cubicBezTo>
                    <a:pt x="0" y="54"/>
                    <a:pt x="0" y="54"/>
                    <a:pt x="0" y="54"/>
                  </a:cubicBezTo>
                  <a:cubicBezTo>
                    <a:pt x="0" y="74"/>
                    <a:pt x="0" y="74"/>
                    <a:pt x="0" y="74"/>
                  </a:cubicBezTo>
                  <a:cubicBezTo>
                    <a:pt x="0" y="112"/>
                    <a:pt x="0" y="112"/>
                    <a:pt x="0" y="112"/>
                  </a:cubicBezTo>
                  <a:cubicBezTo>
                    <a:pt x="0" y="112"/>
                    <a:pt x="0" y="112"/>
                    <a:pt x="0" y="112"/>
                  </a:cubicBezTo>
                  <a:cubicBezTo>
                    <a:pt x="0" y="118"/>
                    <a:pt x="5" y="122"/>
                    <a:pt x="11" y="122"/>
                  </a:cubicBezTo>
                  <a:cubicBezTo>
                    <a:pt x="16" y="122"/>
                    <a:pt x="20" y="119"/>
                    <a:pt x="21" y="113"/>
                  </a:cubicBezTo>
                  <a:cubicBezTo>
                    <a:pt x="21" y="113"/>
                    <a:pt x="21" y="112"/>
                    <a:pt x="21" y="112"/>
                  </a:cubicBezTo>
                  <a:cubicBezTo>
                    <a:pt x="21" y="36"/>
                    <a:pt x="21" y="36"/>
                    <a:pt x="21" y="36"/>
                  </a:cubicBezTo>
                  <a:cubicBezTo>
                    <a:pt x="21" y="34"/>
                    <a:pt x="23" y="33"/>
                    <a:pt x="24" y="33"/>
                  </a:cubicBezTo>
                  <a:cubicBezTo>
                    <a:pt x="26" y="33"/>
                    <a:pt x="27" y="34"/>
                    <a:pt x="27" y="36"/>
                  </a:cubicBezTo>
                  <a:cubicBezTo>
                    <a:pt x="27" y="116"/>
                    <a:pt x="27" y="116"/>
                    <a:pt x="27" y="116"/>
                  </a:cubicBezTo>
                  <a:cubicBezTo>
                    <a:pt x="27" y="116"/>
                    <a:pt x="27" y="123"/>
                    <a:pt x="27" y="128"/>
                  </a:cubicBezTo>
                  <a:cubicBezTo>
                    <a:pt x="27" y="128"/>
                    <a:pt x="27" y="128"/>
                    <a:pt x="27" y="128"/>
                  </a:cubicBezTo>
                  <a:cubicBezTo>
                    <a:pt x="27" y="128"/>
                    <a:pt x="27" y="128"/>
                    <a:pt x="27" y="128"/>
                  </a:cubicBezTo>
                  <a:cubicBezTo>
                    <a:pt x="36" y="219"/>
                    <a:pt x="36" y="219"/>
                    <a:pt x="36" y="219"/>
                  </a:cubicBezTo>
                  <a:cubicBezTo>
                    <a:pt x="37" y="233"/>
                    <a:pt x="42" y="238"/>
                    <a:pt x="54" y="238"/>
                  </a:cubicBezTo>
                  <a:cubicBezTo>
                    <a:pt x="64" y="238"/>
                    <a:pt x="64" y="238"/>
                    <a:pt x="64" y="238"/>
                  </a:cubicBezTo>
                  <a:cubicBezTo>
                    <a:pt x="74" y="238"/>
                    <a:pt x="74" y="238"/>
                    <a:pt x="74" y="238"/>
                  </a:cubicBezTo>
                  <a:cubicBezTo>
                    <a:pt x="86" y="238"/>
                    <a:pt x="91" y="233"/>
                    <a:pt x="92" y="219"/>
                  </a:cubicBezTo>
                  <a:cubicBezTo>
                    <a:pt x="101" y="128"/>
                    <a:pt x="101" y="128"/>
                    <a:pt x="101" y="128"/>
                  </a:cubicBezTo>
                  <a:cubicBezTo>
                    <a:pt x="101" y="128"/>
                    <a:pt x="101" y="128"/>
                    <a:pt x="101" y="128"/>
                  </a:cubicBezTo>
                  <a:cubicBezTo>
                    <a:pt x="101" y="128"/>
                    <a:pt x="101" y="128"/>
                    <a:pt x="101" y="128"/>
                  </a:cubicBezTo>
                  <a:cubicBezTo>
                    <a:pt x="101" y="123"/>
                    <a:pt x="101" y="116"/>
                    <a:pt x="101" y="116"/>
                  </a:cubicBezTo>
                  <a:cubicBezTo>
                    <a:pt x="101" y="36"/>
                    <a:pt x="101" y="36"/>
                    <a:pt x="101" y="36"/>
                  </a:cubicBezTo>
                  <a:cubicBezTo>
                    <a:pt x="101" y="34"/>
                    <a:pt x="102" y="33"/>
                    <a:pt x="104" y="33"/>
                  </a:cubicBezTo>
                  <a:cubicBezTo>
                    <a:pt x="105" y="33"/>
                    <a:pt x="106" y="34"/>
                    <a:pt x="106" y="36"/>
                  </a:cubicBezTo>
                  <a:cubicBezTo>
                    <a:pt x="106" y="112"/>
                    <a:pt x="106" y="112"/>
                    <a:pt x="106" y="112"/>
                  </a:cubicBezTo>
                  <a:cubicBezTo>
                    <a:pt x="106" y="112"/>
                    <a:pt x="107" y="113"/>
                    <a:pt x="107" y="113"/>
                  </a:cubicBezTo>
                  <a:cubicBezTo>
                    <a:pt x="107" y="119"/>
                    <a:pt x="112" y="122"/>
                    <a:pt x="117" y="122"/>
                  </a:cubicBezTo>
                  <a:cubicBezTo>
                    <a:pt x="123" y="122"/>
                    <a:pt x="128" y="118"/>
                    <a:pt x="128" y="112"/>
                  </a:cubicBezTo>
                  <a:cubicBezTo>
                    <a:pt x="128" y="112"/>
                    <a:pt x="128" y="112"/>
                    <a:pt x="128" y="112"/>
                  </a:cubicBezTo>
                  <a:cubicBezTo>
                    <a:pt x="128" y="54"/>
                    <a:pt x="128" y="54"/>
                    <a:pt x="128" y="54"/>
                  </a:cubicBezTo>
                  <a:cubicBezTo>
                    <a:pt x="128" y="32"/>
                    <a:pt x="128" y="32"/>
                    <a:pt x="128" y="32"/>
                  </a:cubicBezTo>
                  <a:cubicBezTo>
                    <a:pt x="128" y="29"/>
                    <a:pt x="128" y="29"/>
                    <a:pt x="128" y="29"/>
                  </a:cubicBezTo>
                  <a:cubicBezTo>
                    <a:pt x="128" y="8"/>
                    <a:pt x="118" y="0"/>
                    <a:pt x="10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微软雅黑" pitchFamily="34" charset="-122"/>
                <a:ea typeface="微软雅黑" pitchFamily="34" charset="-122"/>
              </a:endParaRPr>
            </a:p>
          </p:txBody>
        </p:sp>
      </p:grpSp>
      <p:grpSp>
        <p:nvGrpSpPr>
          <p:cNvPr id="452" name="Group 451"/>
          <p:cNvGrpSpPr/>
          <p:nvPr/>
        </p:nvGrpSpPr>
        <p:grpSpPr>
          <a:xfrm>
            <a:off x="2756746" y="4588742"/>
            <a:ext cx="1540924" cy="480994"/>
            <a:chOff x="2541226" y="2809769"/>
            <a:chExt cx="1282879" cy="399811"/>
          </a:xfrm>
        </p:grpSpPr>
        <p:grpSp>
          <p:nvGrpSpPr>
            <p:cNvPr id="440" name="Group 439"/>
            <p:cNvGrpSpPr/>
            <p:nvPr/>
          </p:nvGrpSpPr>
          <p:grpSpPr>
            <a:xfrm>
              <a:off x="2541226" y="2809769"/>
              <a:ext cx="399347" cy="399811"/>
              <a:chOff x="3879851" y="1882776"/>
              <a:chExt cx="1368425" cy="1370013"/>
            </a:xfrm>
            <a:solidFill>
              <a:srgbClr val="000000"/>
            </a:solidFill>
          </p:grpSpPr>
          <p:sp>
            <p:nvSpPr>
              <p:cNvPr id="441" name="Freeform 513"/>
              <p:cNvSpPr>
                <a:spLocks noEditPoints="1"/>
              </p:cNvSpPr>
              <p:nvPr/>
            </p:nvSpPr>
            <p:spPr bwMode="auto">
              <a:xfrm>
                <a:off x="3879851" y="1882776"/>
                <a:ext cx="1368425" cy="1370013"/>
              </a:xfrm>
              <a:custGeom>
                <a:avLst/>
                <a:gdLst>
                  <a:gd name="T0" fmla="*/ 342 w 364"/>
                  <a:gd name="T1" fmla="*/ 0 h 364"/>
                  <a:gd name="T2" fmla="*/ 0 w 364"/>
                  <a:gd name="T3" fmla="*/ 0 h 364"/>
                  <a:gd name="T4" fmla="*/ 0 w 364"/>
                  <a:gd name="T5" fmla="*/ 341 h 364"/>
                  <a:gd name="T6" fmla="*/ 22 w 364"/>
                  <a:gd name="T7" fmla="*/ 364 h 364"/>
                  <a:gd name="T8" fmla="*/ 364 w 364"/>
                  <a:gd name="T9" fmla="*/ 364 h 364"/>
                  <a:gd name="T10" fmla="*/ 364 w 364"/>
                  <a:gd name="T11" fmla="*/ 25 h 364"/>
                  <a:gd name="T12" fmla="*/ 342 w 364"/>
                  <a:gd name="T13" fmla="*/ 0 h 364"/>
                  <a:gd name="T14" fmla="*/ 255 w 364"/>
                  <a:gd name="T15" fmla="*/ 259 h 364"/>
                  <a:gd name="T16" fmla="*/ 242 w 364"/>
                  <a:gd name="T17" fmla="*/ 280 h 364"/>
                  <a:gd name="T18" fmla="*/ 219 w 364"/>
                  <a:gd name="T19" fmla="*/ 292 h 364"/>
                  <a:gd name="T20" fmla="*/ 188 w 364"/>
                  <a:gd name="T21" fmla="*/ 296 h 364"/>
                  <a:gd name="T22" fmla="*/ 185 w 364"/>
                  <a:gd name="T23" fmla="*/ 330 h 364"/>
                  <a:gd name="T24" fmla="*/ 168 w 364"/>
                  <a:gd name="T25" fmla="*/ 330 h 364"/>
                  <a:gd name="T26" fmla="*/ 161 w 364"/>
                  <a:gd name="T27" fmla="*/ 327 h 364"/>
                  <a:gd name="T28" fmla="*/ 159 w 364"/>
                  <a:gd name="T29" fmla="*/ 320 h 364"/>
                  <a:gd name="T30" fmla="*/ 161 w 364"/>
                  <a:gd name="T31" fmla="*/ 296 h 364"/>
                  <a:gd name="T32" fmla="*/ 140 w 364"/>
                  <a:gd name="T33" fmla="*/ 294 h 364"/>
                  <a:gd name="T34" fmla="*/ 124 w 364"/>
                  <a:gd name="T35" fmla="*/ 290 h 364"/>
                  <a:gd name="T36" fmla="*/ 114 w 364"/>
                  <a:gd name="T37" fmla="*/ 284 h 364"/>
                  <a:gd name="T38" fmla="*/ 111 w 364"/>
                  <a:gd name="T39" fmla="*/ 275 h 364"/>
                  <a:gd name="T40" fmla="*/ 111 w 364"/>
                  <a:gd name="T41" fmla="*/ 251 h 364"/>
                  <a:gd name="T42" fmla="*/ 124 w 364"/>
                  <a:gd name="T43" fmla="*/ 252 h 364"/>
                  <a:gd name="T44" fmla="*/ 138 w 364"/>
                  <a:gd name="T45" fmla="*/ 252 h 364"/>
                  <a:gd name="T46" fmla="*/ 152 w 364"/>
                  <a:gd name="T47" fmla="*/ 253 h 364"/>
                  <a:gd name="T48" fmla="*/ 165 w 364"/>
                  <a:gd name="T49" fmla="*/ 253 h 364"/>
                  <a:gd name="T50" fmla="*/ 169 w 364"/>
                  <a:gd name="T51" fmla="*/ 202 h 364"/>
                  <a:gd name="T52" fmla="*/ 141 w 364"/>
                  <a:gd name="T53" fmla="*/ 191 h 364"/>
                  <a:gd name="T54" fmla="*/ 122 w 364"/>
                  <a:gd name="T55" fmla="*/ 176 h 364"/>
                  <a:gd name="T56" fmla="*/ 112 w 364"/>
                  <a:gd name="T57" fmla="*/ 159 h 364"/>
                  <a:gd name="T58" fmla="*/ 109 w 364"/>
                  <a:gd name="T59" fmla="*/ 137 h 364"/>
                  <a:gd name="T60" fmla="*/ 114 w 364"/>
                  <a:gd name="T61" fmla="*/ 106 h 364"/>
                  <a:gd name="T62" fmla="*/ 128 w 364"/>
                  <a:gd name="T63" fmla="*/ 85 h 364"/>
                  <a:gd name="T64" fmla="*/ 150 w 364"/>
                  <a:gd name="T65" fmla="*/ 74 h 364"/>
                  <a:gd name="T66" fmla="*/ 179 w 364"/>
                  <a:gd name="T67" fmla="*/ 69 h 364"/>
                  <a:gd name="T68" fmla="*/ 181 w 364"/>
                  <a:gd name="T69" fmla="*/ 37 h 364"/>
                  <a:gd name="T70" fmla="*/ 198 w 364"/>
                  <a:gd name="T71" fmla="*/ 37 h 364"/>
                  <a:gd name="T72" fmla="*/ 206 w 364"/>
                  <a:gd name="T73" fmla="*/ 40 h 364"/>
                  <a:gd name="T74" fmla="*/ 207 w 364"/>
                  <a:gd name="T75" fmla="*/ 48 h 364"/>
                  <a:gd name="T76" fmla="*/ 206 w 364"/>
                  <a:gd name="T77" fmla="*/ 69 h 364"/>
                  <a:gd name="T78" fmla="*/ 226 w 364"/>
                  <a:gd name="T79" fmla="*/ 71 h 364"/>
                  <a:gd name="T80" fmla="*/ 240 w 364"/>
                  <a:gd name="T81" fmla="*/ 75 h 364"/>
                  <a:gd name="T82" fmla="*/ 250 w 364"/>
                  <a:gd name="T83" fmla="*/ 83 h 364"/>
                  <a:gd name="T84" fmla="*/ 252 w 364"/>
                  <a:gd name="T85" fmla="*/ 93 h 364"/>
                  <a:gd name="T86" fmla="*/ 252 w 364"/>
                  <a:gd name="T87" fmla="*/ 114 h 364"/>
                  <a:gd name="T88" fmla="*/ 227 w 364"/>
                  <a:gd name="T89" fmla="*/ 112 h 364"/>
                  <a:gd name="T90" fmla="*/ 202 w 364"/>
                  <a:gd name="T91" fmla="*/ 111 h 364"/>
                  <a:gd name="T92" fmla="*/ 198 w 364"/>
                  <a:gd name="T93" fmla="*/ 161 h 364"/>
                  <a:gd name="T94" fmla="*/ 227 w 364"/>
                  <a:gd name="T95" fmla="*/ 173 h 364"/>
                  <a:gd name="T96" fmla="*/ 246 w 364"/>
                  <a:gd name="T97" fmla="*/ 185 h 364"/>
                  <a:gd name="T98" fmla="*/ 257 w 364"/>
                  <a:gd name="T99" fmla="*/ 203 h 364"/>
                  <a:gd name="T100" fmla="*/ 260 w 364"/>
                  <a:gd name="T101" fmla="*/ 227 h 364"/>
                  <a:gd name="T102" fmla="*/ 255 w 364"/>
                  <a:gd name="T103" fmla="*/ 25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4" h="364">
                    <a:moveTo>
                      <a:pt x="342" y="0"/>
                    </a:moveTo>
                    <a:cubicBezTo>
                      <a:pt x="0" y="0"/>
                      <a:pt x="0" y="0"/>
                      <a:pt x="0" y="0"/>
                    </a:cubicBezTo>
                    <a:cubicBezTo>
                      <a:pt x="0" y="341"/>
                      <a:pt x="0" y="341"/>
                      <a:pt x="0" y="341"/>
                    </a:cubicBezTo>
                    <a:cubicBezTo>
                      <a:pt x="0" y="354"/>
                      <a:pt x="10" y="364"/>
                      <a:pt x="22" y="364"/>
                    </a:cubicBezTo>
                    <a:cubicBezTo>
                      <a:pt x="364" y="364"/>
                      <a:pt x="364" y="364"/>
                      <a:pt x="364" y="364"/>
                    </a:cubicBezTo>
                    <a:cubicBezTo>
                      <a:pt x="364" y="25"/>
                      <a:pt x="364" y="25"/>
                      <a:pt x="364" y="25"/>
                    </a:cubicBezTo>
                    <a:cubicBezTo>
                      <a:pt x="364" y="12"/>
                      <a:pt x="354" y="0"/>
                      <a:pt x="342" y="0"/>
                    </a:cubicBezTo>
                    <a:moveTo>
                      <a:pt x="255" y="259"/>
                    </a:moveTo>
                    <a:cubicBezTo>
                      <a:pt x="252" y="267"/>
                      <a:pt x="248" y="274"/>
                      <a:pt x="242" y="280"/>
                    </a:cubicBezTo>
                    <a:cubicBezTo>
                      <a:pt x="236" y="285"/>
                      <a:pt x="228" y="289"/>
                      <a:pt x="219" y="292"/>
                    </a:cubicBezTo>
                    <a:cubicBezTo>
                      <a:pt x="210" y="294"/>
                      <a:pt x="200" y="296"/>
                      <a:pt x="188" y="296"/>
                    </a:cubicBezTo>
                    <a:cubicBezTo>
                      <a:pt x="185" y="330"/>
                      <a:pt x="185" y="330"/>
                      <a:pt x="185" y="330"/>
                    </a:cubicBezTo>
                    <a:cubicBezTo>
                      <a:pt x="168" y="330"/>
                      <a:pt x="168" y="330"/>
                      <a:pt x="168" y="330"/>
                    </a:cubicBezTo>
                    <a:cubicBezTo>
                      <a:pt x="164" y="330"/>
                      <a:pt x="162" y="329"/>
                      <a:pt x="161" y="327"/>
                    </a:cubicBezTo>
                    <a:cubicBezTo>
                      <a:pt x="160" y="325"/>
                      <a:pt x="159" y="323"/>
                      <a:pt x="159" y="320"/>
                    </a:cubicBezTo>
                    <a:cubicBezTo>
                      <a:pt x="161" y="296"/>
                      <a:pt x="161" y="296"/>
                      <a:pt x="161" y="296"/>
                    </a:cubicBezTo>
                    <a:cubicBezTo>
                      <a:pt x="153" y="296"/>
                      <a:pt x="146" y="295"/>
                      <a:pt x="140" y="294"/>
                    </a:cubicBezTo>
                    <a:cubicBezTo>
                      <a:pt x="133" y="293"/>
                      <a:pt x="128" y="292"/>
                      <a:pt x="124" y="290"/>
                    </a:cubicBezTo>
                    <a:cubicBezTo>
                      <a:pt x="119" y="288"/>
                      <a:pt x="116" y="286"/>
                      <a:pt x="114" y="284"/>
                    </a:cubicBezTo>
                    <a:cubicBezTo>
                      <a:pt x="112" y="281"/>
                      <a:pt x="111" y="278"/>
                      <a:pt x="111" y="275"/>
                    </a:cubicBezTo>
                    <a:cubicBezTo>
                      <a:pt x="111" y="251"/>
                      <a:pt x="111" y="251"/>
                      <a:pt x="111" y="251"/>
                    </a:cubicBezTo>
                    <a:cubicBezTo>
                      <a:pt x="115" y="251"/>
                      <a:pt x="119" y="251"/>
                      <a:pt x="124" y="252"/>
                    </a:cubicBezTo>
                    <a:cubicBezTo>
                      <a:pt x="129" y="252"/>
                      <a:pt x="134" y="252"/>
                      <a:pt x="138" y="252"/>
                    </a:cubicBezTo>
                    <a:cubicBezTo>
                      <a:pt x="143" y="252"/>
                      <a:pt x="148" y="253"/>
                      <a:pt x="152" y="253"/>
                    </a:cubicBezTo>
                    <a:cubicBezTo>
                      <a:pt x="157" y="253"/>
                      <a:pt x="161" y="253"/>
                      <a:pt x="165" y="253"/>
                    </a:cubicBezTo>
                    <a:cubicBezTo>
                      <a:pt x="169" y="202"/>
                      <a:pt x="169" y="202"/>
                      <a:pt x="169" y="202"/>
                    </a:cubicBezTo>
                    <a:cubicBezTo>
                      <a:pt x="158" y="198"/>
                      <a:pt x="149" y="195"/>
                      <a:pt x="141" y="191"/>
                    </a:cubicBezTo>
                    <a:cubicBezTo>
                      <a:pt x="133" y="186"/>
                      <a:pt x="127" y="182"/>
                      <a:pt x="122" y="176"/>
                    </a:cubicBezTo>
                    <a:cubicBezTo>
                      <a:pt x="117" y="171"/>
                      <a:pt x="114" y="165"/>
                      <a:pt x="112" y="159"/>
                    </a:cubicBezTo>
                    <a:cubicBezTo>
                      <a:pt x="110" y="152"/>
                      <a:pt x="109" y="145"/>
                      <a:pt x="109" y="137"/>
                    </a:cubicBezTo>
                    <a:cubicBezTo>
                      <a:pt x="109" y="124"/>
                      <a:pt x="110" y="114"/>
                      <a:pt x="114" y="106"/>
                    </a:cubicBezTo>
                    <a:cubicBezTo>
                      <a:pt x="117" y="97"/>
                      <a:pt x="122" y="90"/>
                      <a:pt x="128" y="85"/>
                    </a:cubicBezTo>
                    <a:cubicBezTo>
                      <a:pt x="134" y="80"/>
                      <a:pt x="142" y="76"/>
                      <a:pt x="150" y="74"/>
                    </a:cubicBezTo>
                    <a:cubicBezTo>
                      <a:pt x="159" y="71"/>
                      <a:pt x="168" y="70"/>
                      <a:pt x="179" y="69"/>
                    </a:cubicBezTo>
                    <a:cubicBezTo>
                      <a:pt x="181" y="37"/>
                      <a:pt x="181" y="37"/>
                      <a:pt x="181" y="37"/>
                    </a:cubicBezTo>
                    <a:cubicBezTo>
                      <a:pt x="198" y="37"/>
                      <a:pt x="198" y="37"/>
                      <a:pt x="198" y="37"/>
                    </a:cubicBezTo>
                    <a:cubicBezTo>
                      <a:pt x="202" y="37"/>
                      <a:pt x="205" y="38"/>
                      <a:pt x="206" y="40"/>
                    </a:cubicBezTo>
                    <a:cubicBezTo>
                      <a:pt x="207" y="42"/>
                      <a:pt x="207" y="45"/>
                      <a:pt x="207" y="48"/>
                    </a:cubicBezTo>
                    <a:cubicBezTo>
                      <a:pt x="206" y="69"/>
                      <a:pt x="206" y="69"/>
                      <a:pt x="206" y="69"/>
                    </a:cubicBezTo>
                    <a:cubicBezTo>
                      <a:pt x="213" y="69"/>
                      <a:pt x="220" y="70"/>
                      <a:pt x="226" y="71"/>
                    </a:cubicBezTo>
                    <a:cubicBezTo>
                      <a:pt x="231" y="73"/>
                      <a:pt x="236" y="74"/>
                      <a:pt x="240" y="75"/>
                    </a:cubicBezTo>
                    <a:cubicBezTo>
                      <a:pt x="246" y="78"/>
                      <a:pt x="249" y="80"/>
                      <a:pt x="250" y="83"/>
                    </a:cubicBezTo>
                    <a:cubicBezTo>
                      <a:pt x="251" y="87"/>
                      <a:pt x="252" y="90"/>
                      <a:pt x="252" y="93"/>
                    </a:cubicBezTo>
                    <a:cubicBezTo>
                      <a:pt x="252" y="114"/>
                      <a:pt x="252" y="114"/>
                      <a:pt x="252" y="114"/>
                    </a:cubicBezTo>
                    <a:cubicBezTo>
                      <a:pt x="244" y="113"/>
                      <a:pt x="236" y="112"/>
                      <a:pt x="227" y="112"/>
                    </a:cubicBezTo>
                    <a:cubicBezTo>
                      <a:pt x="219" y="112"/>
                      <a:pt x="211" y="111"/>
                      <a:pt x="202" y="111"/>
                    </a:cubicBezTo>
                    <a:cubicBezTo>
                      <a:pt x="198" y="161"/>
                      <a:pt x="198" y="161"/>
                      <a:pt x="198" y="161"/>
                    </a:cubicBezTo>
                    <a:cubicBezTo>
                      <a:pt x="210" y="165"/>
                      <a:pt x="219" y="169"/>
                      <a:pt x="227" y="173"/>
                    </a:cubicBezTo>
                    <a:cubicBezTo>
                      <a:pt x="235" y="176"/>
                      <a:pt x="241" y="180"/>
                      <a:pt x="246" y="185"/>
                    </a:cubicBezTo>
                    <a:cubicBezTo>
                      <a:pt x="251" y="190"/>
                      <a:pt x="254" y="196"/>
                      <a:pt x="257" y="203"/>
                    </a:cubicBezTo>
                    <a:cubicBezTo>
                      <a:pt x="259" y="209"/>
                      <a:pt x="260" y="218"/>
                      <a:pt x="260" y="227"/>
                    </a:cubicBezTo>
                    <a:cubicBezTo>
                      <a:pt x="260" y="240"/>
                      <a:pt x="258" y="250"/>
                      <a:pt x="255" y="2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微软雅黑" pitchFamily="34" charset="-122"/>
                  <a:ea typeface="微软雅黑" pitchFamily="34" charset="-122"/>
                </a:endParaRPr>
              </a:p>
            </p:txBody>
          </p:sp>
          <p:sp>
            <p:nvSpPr>
              <p:cNvPr id="442" name="Freeform 514"/>
              <p:cNvSpPr>
                <a:spLocks/>
              </p:cNvSpPr>
              <p:nvPr/>
            </p:nvSpPr>
            <p:spPr bwMode="auto">
              <a:xfrm>
                <a:off x="4459288" y="2305051"/>
                <a:ext cx="79375" cy="165100"/>
              </a:xfrm>
              <a:custGeom>
                <a:avLst/>
                <a:gdLst>
                  <a:gd name="T0" fmla="*/ 4 w 21"/>
                  <a:gd name="T1" fmla="*/ 6 h 44"/>
                  <a:gd name="T2" fmla="*/ 0 w 21"/>
                  <a:gd name="T3" fmla="*/ 22 h 44"/>
                  <a:gd name="T4" fmla="*/ 4 w 21"/>
                  <a:gd name="T5" fmla="*/ 36 h 44"/>
                  <a:gd name="T6" fmla="*/ 18 w 21"/>
                  <a:gd name="T7" fmla="*/ 44 h 44"/>
                  <a:gd name="T8" fmla="*/ 21 w 21"/>
                  <a:gd name="T9" fmla="*/ 0 h 44"/>
                  <a:gd name="T10" fmla="*/ 4 w 21"/>
                  <a:gd name="T11" fmla="*/ 6 h 44"/>
                </a:gdLst>
                <a:ahLst/>
                <a:cxnLst>
                  <a:cxn ang="0">
                    <a:pos x="T0" y="T1"/>
                  </a:cxn>
                  <a:cxn ang="0">
                    <a:pos x="T2" y="T3"/>
                  </a:cxn>
                  <a:cxn ang="0">
                    <a:pos x="T4" y="T5"/>
                  </a:cxn>
                  <a:cxn ang="0">
                    <a:pos x="T6" y="T7"/>
                  </a:cxn>
                  <a:cxn ang="0">
                    <a:pos x="T8" y="T9"/>
                  </a:cxn>
                  <a:cxn ang="0">
                    <a:pos x="T10" y="T11"/>
                  </a:cxn>
                </a:cxnLst>
                <a:rect l="0" t="0" r="r" b="b"/>
                <a:pathLst>
                  <a:path w="21" h="44">
                    <a:moveTo>
                      <a:pt x="4" y="6"/>
                    </a:moveTo>
                    <a:cubicBezTo>
                      <a:pt x="1" y="10"/>
                      <a:pt x="0" y="15"/>
                      <a:pt x="0" y="22"/>
                    </a:cubicBezTo>
                    <a:cubicBezTo>
                      <a:pt x="0" y="28"/>
                      <a:pt x="1" y="33"/>
                      <a:pt x="4" y="36"/>
                    </a:cubicBezTo>
                    <a:cubicBezTo>
                      <a:pt x="7" y="39"/>
                      <a:pt x="11" y="42"/>
                      <a:pt x="18" y="44"/>
                    </a:cubicBezTo>
                    <a:cubicBezTo>
                      <a:pt x="21" y="0"/>
                      <a:pt x="21" y="0"/>
                      <a:pt x="21" y="0"/>
                    </a:cubicBezTo>
                    <a:cubicBezTo>
                      <a:pt x="13" y="0"/>
                      <a:pt x="7" y="3"/>
                      <a:pt x="4"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微软雅黑" pitchFamily="34" charset="-122"/>
                  <a:ea typeface="微软雅黑" pitchFamily="34" charset="-122"/>
                </a:endParaRPr>
              </a:p>
            </p:txBody>
          </p:sp>
          <p:sp>
            <p:nvSpPr>
              <p:cNvPr id="443" name="Freeform 515"/>
              <p:cNvSpPr>
                <a:spLocks/>
              </p:cNvSpPr>
              <p:nvPr/>
            </p:nvSpPr>
            <p:spPr bwMode="auto">
              <a:xfrm>
                <a:off x="4598988" y="2662238"/>
                <a:ext cx="82550" cy="173038"/>
              </a:xfrm>
              <a:custGeom>
                <a:avLst/>
                <a:gdLst>
                  <a:gd name="T0" fmla="*/ 4 w 22"/>
                  <a:gd name="T1" fmla="*/ 0 h 46"/>
                  <a:gd name="T2" fmla="*/ 0 w 22"/>
                  <a:gd name="T3" fmla="*/ 46 h 46"/>
                  <a:gd name="T4" fmla="*/ 18 w 22"/>
                  <a:gd name="T5" fmla="*/ 39 h 46"/>
                  <a:gd name="T6" fmla="*/ 22 w 22"/>
                  <a:gd name="T7" fmla="*/ 23 h 46"/>
                  <a:gd name="T8" fmla="*/ 18 w 22"/>
                  <a:gd name="T9" fmla="*/ 7 h 46"/>
                  <a:gd name="T10" fmla="*/ 4 w 22"/>
                  <a:gd name="T11" fmla="*/ 0 h 46"/>
                </a:gdLst>
                <a:ahLst/>
                <a:cxnLst>
                  <a:cxn ang="0">
                    <a:pos x="T0" y="T1"/>
                  </a:cxn>
                  <a:cxn ang="0">
                    <a:pos x="T2" y="T3"/>
                  </a:cxn>
                  <a:cxn ang="0">
                    <a:pos x="T4" y="T5"/>
                  </a:cxn>
                  <a:cxn ang="0">
                    <a:pos x="T6" y="T7"/>
                  </a:cxn>
                  <a:cxn ang="0">
                    <a:pos x="T8" y="T9"/>
                  </a:cxn>
                  <a:cxn ang="0">
                    <a:pos x="T10" y="T11"/>
                  </a:cxn>
                </a:cxnLst>
                <a:rect l="0" t="0" r="r" b="b"/>
                <a:pathLst>
                  <a:path w="22" h="46">
                    <a:moveTo>
                      <a:pt x="4" y="0"/>
                    </a:moveTo>
                    <a:cubicBezTo>
                      <a:pt x="0" y="46"/>
                      <a:pt x="0" y="46"/>
                      <a:pt x="0" y="46"/>
                    </a:cubicBezTo>
                    <a:cubicBezTo>
                      <a:pt x="9" y="45"/>
                      <a:pt x="14" y="43"/>
                      <a:pt x="18" y="39"/>
                    </a:cubicBezTo>
                    <a:cubicBezTo>
                      <a:pt x="21" y="35"/>
                      <a:pt x="22" y="30"/>
                      <a:pt x="22" y="23"/>
                    </a:cubicBezTo>
                    <a:cubicBezTo>
                      <a:pt x="22" y="15"/>
                      <a:pt x="21" y="10"/>
                      <a:pt x="18" y="7"/>
                    </a:cubicBezTo>
                    <a:cubicBezTo>
                      <a:pt x="15" y="5"/>
                      <a:pt x="10"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微软雅黑" pitchFamily="34" charset="-122"/>
                  <a:ea typeface="微软雅黑" pitchFamily="34" charset="-122"/>
                </a:endParaRPr>
              </a:p>
            </p:txBody>
          </p:sp>
        </p:grpSp>
        <p:grpSp>
          <p:nvGrpSpPr>
            <p:cNvPr id="444" name="Group 443"/>
            <p:cNvGrpSpPr/>
            <p:nvPr/>
          </p:nvGrpSpPr>
          <p:grpSpPr>
            <a:xfrm>
              <a:off x="2982992" y="2809769"/>
              <a:ext cx="399347" cy="399811"/>
              <a:chOff x="3879851" y="1882776"/>
              <a:chExt cx="1368425" cy="1370013"/>
            </a:xfrm>
            <a:solidFill>
              <a:srgbClr val="000000"/>
            </a:solidFill>
          </p:grpSpPr>
          <p:sp>
            <p:nvSpPr>
              <p:cNvPr id="445" name="Freeform 513"/>
              <p:cNvSpPr>
                <a:spLocks noEditPoints="1"/>
              </p:cNvSpPr>
              <p:nvPr/>
            </p:nvSpPr>
            <p:spPr bwMode="auto">
              <a:xfrm>
                <a:off x="3879851" y="1882776"/>
                <a:ext cx="1368425" cy="1370013"/>
              </a:xfrm>
              <a:custGeom>
                <a:avLst/>
                <a:gdLst>
                  <a:gd name="T0" fmla="*/ 342 w 364"/>
                  <a:gd name="T1" fmla="*/ 0 h 364"/>
                  <a:gd name="T2" fmla="*/ 0 w 364"/>
                  <a:gd name="T3" fmla="*/ 0 h 364"/>
                  <a:gd name="T4" fmla="*/ 0 w 364"/>
                  <a:gd name="T5" fmla="*/ 341 h 364"/>
                  <a:gd name="T6" fmla="*/ 22 w 364"/>
                  <a:gd name="T7" fmla="*/ 364 h 364"/>
                  <a:gd name="T8" fmla="*/ 364 w 364"/>
                  <a:gd name="T9" fmla="*/ 364 h 364"/>
                  <a:gd name="T10" fmla="*/ 364 w 364"/>
                  <a:gd name="T11" fmla="*/ 25 h 364"/>
                  <a:gd name="T12" fmla="*/ 342 w 364"/>
                  <a:gd name="T13" fmla="*/ 0 h 364"/>
                  <a:gd name="T14" fmla="*/ 255 w 364"/>
                  <a:gd name="T15" fmla="*/ 259 h 364"/>
                  <a:gd name="T16" fmla="*/ 242 w 364"/>
                  <a:gd name="T17" fmla="*/ 280 h 364"/>
                  <a:gd name="T18" fmla="*/ 219 w 364"/>
                  <a:gd name="T19" fmla="*/ 292 h 364"/>
                  <a:gd name="T20" fmla="*/ 188 w 364"/>
                  <a:gd name="T21" fmla="*/ 296 h 364"/>
                  <a:gd name="T22" fmla="*/ 185 w 364"/>
                  <a:gd name="T23" fmla="*/ 330 h 364"/>
                  <a:gd name="T24" fmla="*/ 168 w 364"/>
                  <a:gd name="T25" fmla="*/ 330 h 364"/>
                  <a:gd name="T26" fmla="*/ 161 w 364"/>
                  <a:gd name="T27" fmla="*/ 327 h 364"/>
                  <a:gd name="T28" fmla="*/ 159 w 364"/>
                  <a:gd name="T29" fmla="*/ 320 h 364"/>
                  <a:gd name="T30" fmla="*/ 161 w 364"/>
                  <a:gd name="T31" fmla="*/ 296 h 364"/>
                  <a:gd name="T32" fmla="*/ 140 w 364"/>
                  <a:gd name="T33" fmla="*/ 294 h 364"/>
                  <a:gd name="T34" fmla="*/ 124 w 364"/>
                  <a:gd name="T35" fmla="*/ 290 h 364"/>
                  <a:gd name="T36" fmla="*/ 114 w 364"/>
                  <a:gd name="T37" fmla="*/ 284 h 364"/>
                  <a:gd name="T38" fmla="*/ 111 w 364"/>
                  <a:gd name="T39" fmla="*/ 275 h 364"/>
                  <a:gd name="T40" fmla="*/ 111 w 364"/>
                  <a:gd name="T41" fmla="*/ 251 h 364"/>
                  <a:gd name="T42" fmla="*/ 124 w 364"/>
                  <a:gd name="T43" fmla="*/ 252 h 364"/>
                  <a:gd name="T44" fmla="*/ 138 w 364"/>
                  <a:gd name="T45" fmla="*/ 252 h 364"/>
                  <a:gd name="T46" fmla="*/ 152 w 364"/>
                  <a:gd name="T47" fmla="*/ 253 h 364"/>
                  <a:gd name="T48" fmla="*/ 165 w 364"/>
                  <a:gd name="T49" fmla="*/ 253 h 364"/>
                  <a:gd name="T50" fmla="*/ 169 w 364"/>
                  <a:gd name="T51" fmla="*/ 202 h 364"/>
                  <a:gd name="T52" fmla="*/ 141 w 364"/>
                  <a:gd name="T53" fmla="*/ 191 h 364"/>
                  <a:gd name="T54" fmla="*/ 122 w 364"/>
                  <a:gd name="T55" fmla="*/ 176 h 364"/>
                  <a:gd name="T56" fmla="*/ 112 w 364"/>
                  <a:gd name="T57" fmla="*/ 159 h 364"/>
                  <a:gd name="T58" fmla="*/ 109 w 364"/>
                  <a:gd name="T59" fmla="*/ 137 h 364"/>
                  <a:gd name="T60" fmla="*/ 114 w 364"/>
                  <a:gd name="T61" fmla="*/ 106 h 364"/>
                  <a:gd name="T62" fmla="*/ 128 w 364"/>
                  <a:gd name="T63" fmla="*/ 85 h 364"/>
                  <a:gd name="T64" fmla="*/ 150 w 364"/>
                  <a:gd name="T65" fmla="*/ 74 h 364"/>
                  <a:gd name="T66" fmla="*/ 179 w 364"/>
                  <a:gd name="T67" fmla="*/ 69 h 364"/>
                  <a:gd name="T68" fmla="*/ 181 w 364"/>
                  <a:gd name="T69" fmla="*/ 37 h 364"/>
                  <a:gd name="T70" fmla="*/ 198 w 364"/>
                  <a:gd name="T71" fmla="*/ 37 h 364"/>
                  <a:gd name="T72" fmla="*/ 206 w 364"/>
                  <a:gd name="T73" fmla="*/ 40 h 364"/>
                  <a:gd name="T74" fmla="*/ 207 w 364"/>
                  <a:gd name="T75" fmla="*/ 48 h 364"/>
                  <a:gd name="T76" fmla="*/ 206 w 364"/>
                  <a:gd name="T77" fmla="*/ 69 h 364"/>
                  <a:gd name="T78" fmla="*/ 226 w 364"/>
                  <a:gd name="T79" fmla="*/ 71 h 364"/>
                  <a:gd name="T80" fmla="*/ 240 w 364"/>
                  <a:gd name="T81" fmla="*/ 75 h 364"/>
                  <a:gd name="T82" fmla="*/ 250 w 364"/>
                  <a:gd name="T83" fmla="*/ 83 h 364"/>
                  <a:gd name="T84" fmla="*/ 252 w 364"/>
                  <a:gd name="T85" fmla="*/ 93 h 364"/>
                  <a:gd name="T86" fmla="*/ 252 w 364"/>
                  <a:gd name="T87" fmla="*/ 114 h 364"/>
                  <a:gd name="T88" fmla="*/ 227 w 364"/>
                  <a:gd name="T89" fmla="*/ 112 h 364"/>
                  <a:gd name="T90" fmla="*/ 202 w 364"/>
                  <a:gd name="T91" fmla="*/ 111 h 364"/>
                  <a:gd name="T92" fmla="*/ 198 w 364"/>
                  <a:gd name="T93" fmla="*/ 161 h 364"/>
                  <a:gd name="T94" fmla="*/ 227 w 364"/>
                  <a:gd name="T95" fmla="*/ 173 h 364"/>
                  <a:gd name="T96" fmla="*/ 246 w 364"/>
                  <a:gd name="T97" fmla="*/ 185 h 364"/>
                  <a:gd name="T98" fmla="*/ 257 w 364"/>
                  <a:gd name="T99" fmla="*/ 203 h 364"/>
                  <a:gd name="T100" fmla="*/ 260 w 364"/>
                  <a:gd name="T101" fmla="*/ 227 h 364"/>
                  <a:gd name="T102" fmla="*/ 255 w 364"/>
                  <a:gd name="T103" fmla="*/ 25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4" h="364">
                    <a:moveTo>
                      <a:pt x="342" y="0"/>
                    </a:moveTo>
                    <a:cubicBezTo>
                      <a:pt x="0" y="0"/>
                      <a:pt x="0" y="0"/>
                      <a:pt x="0" y="0"/>
                    </a:cubicBezTo>
                    <a:cubicBezTo>
                      <a:pt x="0" y="341"/>
                      <a:pt x="0" y="341"/>
                      <a:pt x="0" y="341"/>
                    </a:cubicBezTo>
                    <a:cubicBezTo>
                      <a:pt x="0" y="354"/>
                      <a:pt x="10" y="364"/>
                      <a:pt x="22" y="364"/>
                    </a:cubicBezTo>
                    <a:cubicBezTo>
                      <a:pt x="364" y="364"/>
                      <a:pt x="364" y="364"/>
                      <a:pt x="364" y="364"/>
                    </a:cubicBezTo>
                    <a:cubicBezTo>
                      <a:pt x="364" y="25"/>
                      <a:pt x="364" y="25"/>
                      <a:pt x="364" y="25"/>
                    </a:cubicBezTo>
                    <a:cubicBezTo>
                      <a:pt x="364" y="12"/>
                      <a:pt x="354" y="0"/>
                      <a:pt x="342" y="0"/>
                    </a:cubicBezTo>
                    <a:moveTo>
                      <a:pt x="255" y="259"/>
                    </a:moveTo>
                    <a:cubicBezTo>
                      <a:pt x="252" y="267"/>
                      <a:pt x="248" y="274"/>
                      <a:pt x="242" y="280"/>
                    </a:cubicBezTo>
                    <a:cubicBezTo>
                      <a:pt x="236" y="285"/>
                      <a:pt x="228" y="289"/>
                      <a:pt x="219" y="292"/>
                    </a:cubicBezTo>
                    <a:cubicBezTo>
                      <a:pt x="210" y="294"/>
                      <a:pt x="200" y="296"/>
                      <a:pt x="188" y="296"/>
                    </a:cubicBezTo>
                    <a:cubicBezTo>
                      <a:pt x="185" y="330"/>
                      <a:pt x="185" y="330"/>
                      <a:pt x="185" y="330"/>
                    </a:cubicBezTo>
                    <a:cubicBezTo>
                      <a:pt x="168" y="330"/>
                      <a:pt x="168" y="330"/>
                      <a:pt x="168" y="330"/>
                    </a:cubicBezTo>
                    <a:cubicBezTo>
                      <a:pt x="164" y="330"/>
                      <a:pt x="162" y="329"/>
                      <a:pt x="161" y="327"/>
                    </a:cubicBezTo>
                    <a:cubicBezTo>
                      <a:pt x="160" y="325"/>
                      <a:pt x="159" y="323"/>
                      <a:pt x="159" y="320"/>
                    </a:cubicBezTo>
                    <a:cubicBezTo>
                      <a:pt x="161" y="296"/>
                      <a:pt x="161" y="296"/>
                      <a:pt x="161" y="296"/>
                    </a:cubicBezTo>
                    <a:cubicBezTo>
                      <a:pt x="153" y="296"/>
                      <a:pt x="146" y="295"/>
                      <a:pt x="140" y="294"/>
                    </a:cubicBezTo>
                    <a:cubicBezTo>
                      <a:pt x="133" y="293"/>
                      <a:pt x="128" y="292"/>
                      <a:pt x="124" y="290"/>
                    </a:cubicBezTo>
                    <a:cubicBezTo>
                      <a:pt x="119" y="288"/>
                      <a:pt x="116" y="286"/>
                      <a:pt x="114" y="284"/>
                    </a:cubicBezTo>
                    <a:cubicBezTo>
                      <a:pt x="112" y="281"/>
                      <a:pt x="111" y="278"/>
                      <a:pt x="111" y="275"/>
                    </a:cubicBezTo>
                    <a:cubicBezTo>
                      <a:pt x="111" y="251"/>
                      <a:pt x="111" y="251"/>
                      <a:pt x="111" y="251"/>
                    </a:cubicBezTo>
                    <a:cubicBezTo>
                      <a:pt x="115" y="251"/>
                      <a:pt x="119" y="251"/>
                      <a:pt x="124" y="252"/>
                    </a:cubicBezTo>
                    <a:cubicBezTo>
                      <a:pt x="129" y="252"/>
                      <a:pt x="134" y="252"/>
                      <a:pt x="138" y="252"/>
                    </a:cubicBezTo>
                    <a:cubicBezTo>
                      <a:pt x="143" y="252"/>
                      <a:pt x="148" y="253"/>
                      <a:pt x="152" y="253"/>
                    </a:cubicBezTo>
                    <a:cubicBezTo>
                      <a:pt x="157" y="253"/>
                      <a:pt x="161" y="253"/>
                      <a:pt x="165" y="253"/>
                    </a:cubicBezTo>
                    <a:cubicBezTo>
                      <a:pt x="169" y="202"/>
                      <a:pt x="169" y="202"/>
                      <a:pt x="169" y="202"/>
                    </a:cubicBezTo>
                    <a:cubicBezTo>
                      <a:pt x="158" y="198"/>
                      <a:pt x="149" y="195"/>
                      <a:pt x="141" y="191"/>
                    </a:cubicBezTo>
                    <a:cubicBezTo>
                      <a:pt x="133" y="186"/>
                      <a:pt x="127" y="182"/>
                      <a:pt x="122" y="176"/>
                    </a:cubicBezTo>
                    <a:cubicBezTo>
                      <a:pt x="117" y="171"/>
                      <a:pt x="114" y="165"/>
                      <a:pt x="112" y="159"/>
                    </a:cubicBezTo>
                    <a:cubicBezTo>
                      <a:pt x="110" y="152"/>
                      <a:pt x="109" y="145"/>
                      <a:pt x="109" y="137"/>
                    </a:cubicBezTo>
                    <a:cubicBezTo>
                      <a:pt x="109" y="124"/>
                      <a:pt x="110" y="114"/>
                      <a:pt x="114" y="106"/>
                    </a:cubicBezTo>
                    <a:cubicBezTo>
                      <a:pt x="117" y="97"/>
                      <a:pt x="122" y="90"/>
                      <a:pt x="128" y="85"/>
                    </a:cubicBezTo>
                    <a:cubicBezTo>
                      <a:pt x="134" y="80"/>
                      <a:pt x="142" y="76"/>
                      <a:pt x="150" y="74"/>
                    </a:cubicBezTo>
                    <a:cubicBezTo>
                      <a:pt x="159" y="71"/>
                      <a:pt x="168" y="70"/>
                      <a:pt x="179" y="69"/>
                    </a:cubicBezTo>
                    <a:cubicBezTo>
                      <a:pt x="181" y="37"/>
                      <a:pt x="181" y="37"/>
                      <a:pt x="181" y="37"/>
                    </a:cubicBezTo>
                    <a:cubicBezTo>
                      <a:pt x="198" y="37"/>
                      <a:pt x="198" y="37"/>
                      <a:pt x="198" y="37"/>
                    </a:cubicBezTo>
                    <a:cubicBezTo>
                      <a:pt x="202" y="37"/>
                      <a:pt x="205" y="38"/>
                      <a:pt x="206" y="40"/>
                    </a:cubicBezTo>
                    <a:cubicBezTo>
                      <a:pt x="207" y="42"/>
                      <a:pt x="207" y="45"/>
                      <a:pt x="207" y="48"/>
                    </a:cubicBezTo>
                    <a:cubicBezTo>
                      <a:pt x="206" y="69"/>
                      <a:pt x="206" y="69"/>
                      <a:pt x="206" y="69"/>
                    </a:cubicBezTo>
                    <a:cubicBezTo>
                      <a:pt x="213" y="69"/>
                      <a:pt x="220" y="70"/>
                      <a:pt x="226" y="71"/>
                    </a:cubicBezTo>
                    <a:cubicBezTo>
                      <a:pt x="231" y="73"/>
                      <a:pt x="236" y="74"/>
                      <a:pt x="240" y="75"/>
                    </a:cubicBezTo>
                    <a:cubicBezTo>
                      <a:pt x="246" y="78"/>
                      <a:pt x="249" y="80"/>
                      <a:pt x="250" y="83"/>
                    </a:cubicBezTo>
                    <a:cubicBezTo>
                      <a:pt x="251" y="87"/>
                      <a:pt x="252" y="90"/>
                      <a:pt x="252" y="93"/>
                    </a:cubicBezTo>
                    <a:cubicBezTo>
                      <a:pt x="252" y="114"/>
                      <a:pt x="252" y="114"/>
                      <a:pt x="252" y="114"/>
                    </a:cubicBezTo>
                    <a:cubicBezTo>
                      <a:pt x="244" y="113"/>
                      <a:pt x="236" y="112"/>
                      <a:pt x="227" y="112"/>
                    </a:cubicBezTo>
                    <a:cubicBezTo>
                      <a:pt x="219" y="112"/>
                      <a:pt x="211" y="111"/>
                      <a:pt x="202" y="111"/>
                    </a:cubicBezTo>
                    <a:cubicBezTo>
                      <a:pt x="198" y="161"/>
                      <a:pt x="198" y="161"/>
                      <a:pt x="198" y="161"/>
                    </a:cubicBezTo>
                    <a:cubicBezTo>
                      <a:pt x="210" y="165"/>
                      <a:pt x="219" y="169"/>
                      <a:pt x="227" y="173"/>
                    </a:cubicBezTo>
                    <a:cubicBezTo>
                      <a:pt x="235" y="176"/>
                      <a:pt x="241" y="180"/>
                      <a:pt x="246" y="185"/>
                    </a:cubicBezTo>
                    <a:cubicBezTo>
                      <a:pt x="251" y="190"/>
                      <a:pt x="254" y="196"/>
                      <a:pt x="257" y="203"/>
                    </a:cubicBezTo>
                    <a:cubicBezTo>
                      <a:pt x="259" y="209"/>
                      <a:pt x="260" y="218"/>
                      <a:pt x="260" y="227"/>
                    </a:cubicBezTo>
                    <a:cubicBezTo>
                      <a:pt x="260" y="240"/>
                      <a:pt x="258" y="250"/>
                      <a:pt x="255" y="2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微软雅黑" pitchFamily="34" charset="-122"/>
                  <a:ea typeface="微软雅黑" pitchFamily="34" charset="-122"/>
                </a:endParaRPr>
              </a:p>
            </p:txBody>
          </p:sp>
          <p:sp>
            <p:nvSpPr>
              <p:cNvPr id="446" name="Freeform 514"/>
              <p:cNvSpPr>
                <a:spLocks/>
              </p:cNvSpPr>
              <p:nvPr/>
            </p:nvSpPr>
            <p:spPr bwMode="auto">
              <a:xfrm>
                <a:off x="4459288" y="2305051"/>
                <a:ext cx="79375" cy="165100"/>
              </a:xfrm>
              <a:custGeom>
                <a:avLst/>
                <a:gdLst>
                  <a:gd name="T0" fmla="*/ 4 w 21"/>
                  <a:gd name="T1" fmla="*/ 6 h 44"/>
                  <a:gd name="T2" fmla="*/ 0 w 21"/>
                  <a:gd name="T3" fmla="*/ 22 h 44"/>
                  <a:gd name="T4" fmla="*/ 4 w 21"/>
                  <a:gd name="T5" fmla="*/ 36 h 44"/>
                  <a:gd name="T6" fmla="*/ 18 w 21"/>
                  <a:gd name="T7" fmla="*/ 44 h 44"/>
                  <a:gd name="T8" fmla="*/ 21 w 21"/>
                  <a:gd name="T9" fmla="*/ 0 h 44"/>
                  <a:gd name="T10" fmla="*/ 4 w 21"/>
                  <a:gd name="T11" fmla="*/ 6 h 44"/>
                </a:gdLst>
                <a:ahLst/>
                <a:cxnLst>
                  <a:cxn ang="0">
                    <a:pos x="T0" y="T1"/>
                  </a:cxn>
                  <a:cxn ang="0">
                    <a:pos x="T2" y="T3"/>
                  </a:cxn>
                  <a:cxn ang="0">
                    <a:pos x="T4" y="T5"/>
                  </a:cxn>
                  <a:cxn ang="0">
                    <a:pos x="T6" y="T7"/>
                  </a:cxn>
                  <a:cxn ang="0">
                    <a:pos x="T8" y="T9"/>
                  </a:cxn>
                  <a:cxn ang="0">
                    <a:pos x="T10" y="T11"/>
                  </a:cxn>
                </a:cxnLst>
                <a:rect l="0" t="0" r="r" b="b"/>
                <a:pathLst>
                  <a:path w="21" h="44">
                    <a:moveTo>
                      <a:pt x="4" y="6"/>
                    </a:moveTo>
                    <a:cubicBezTo>
                      <a:pt x="1" y="10"/>
                      <a:pt x="0" y="15"/>
                      <a:pt x="0" y="22"/>
                    </a:cubicBezTo>
                    <a:cubicBezTo>
                      <a:pt x="0" y="28"/>
                      <a:pt x="1" y="33"/>
                      <a:pt x="4" y="36"/>
                    </a:cubicBezTo>
                    <a:cubicBezTo>
                      <a:pt x="7" y="39"/>
                      <a:pt x="11" y="42"/>
                      <a:pt x="18" y="44"/>
                    </a:cubicBezTo>
                    <a:cubicBezTo>
                      <a:pt x="21" y="0"/>
                      <a:pt x="21" y="0"/>
                      <a:pt x="21" y="0"/>
                    </a:cubicBezTo>
                    <a:cubicBezTo>
                      <a:pt x="13" y="0"/>
                      <a:pt x="7" y="3"/>
                      <a:pt x="4"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微软雅黑" pitchFamily="34" charset="-122"/>
                  <a:ea typeface="微软雅黑" pitchFamily="34" charset="-122"/>
                </a:endParaRPr>
              </a:p>
            </p:txBody>
          </p:sp>
          <p:sp>
            <p:nvSpPr>
              <p:cNvPr id="447" name="Freeform 515"/>
              <p:cNvSpPr>
                <a:spLocks/>
              </p:cNvSpPr>
              <p:nvPr/>
            </p:nvSpPr>
            <p:spPr bwMode="auto">
              <a:xfrm>
                <a:off x="4598988" y="2662238"/>
                <a:ext cx="82550" cy="173038"/>
              </a:xfrm>
              <a:custGeom>
                <a:avLst/>
                <a:gdLst>
                  <a:gd name="T0" fmla="*/ 4 w 22"/>
                  <a:gd name="T1" fmla="*/ 0 h 46"/>
                  <a:gd name="T2" fmla="*/ 0 w 22"/>
                  <a:gd name="T3" fmla="*/ 46 h 46"/>
                  <a:gd name="T4" fmla="*/ 18 w 22"/>
                  <a:gd name="T5" fmla="*/ 39 h 46"/>
                  <a:gd name="T6" fmla="*/ 22 w 22"/>
                  <a:gd name="T7" fmla="*/ 23 h 46"/>
                  <a:gd name="T8" fmla="*/ 18 w 22"/>
                  <a:gd name="T9" fmla="*/ 7 h 46"/>
                  <a:gd name="T10" fmla="*/ 4 w 22"/>
                  <a:gd name="T11" fmla="*/ 0 h 46"/>
                </a:gdLst>
                <a:ahLst/>
                <a:cxnLst>
                  <a:cxn ang="0">
                    <a:pos x="T0" y="T1"/>
                  </a:cxn>
                  <a:cxn ang="0">
                    <a:pos x="T2" y="T3"/>
                  </a:cxn>
                  <a:cxn ang="0">
                    <a:pos x="T4" y="T5"/>
                  </a:cxn>
                  <a:cxn ang="0">
                    <a:pos x="T6" y="T7"/>
                  </a:cxn>
                  <a:cxn ang="0">
                    <a:pos x="T8" y="T9"/>
                  </a:cxn>
                  <a:cxn ang="0">
                    <a:pos x="T10" y="T11"/>
                  </a:cxn>
                </a:cxnLst>
                <a:rect l="0" t="0" r="r" b="b"/>
                <a:pathLst>
                  <a:path w="22" h="46">
                    <a:moveTo>
                      <a:pt x="4" y="0"/>
                    </a:moveTo>
                    <a:cubicBezTo>
                      <a:pt x="0" y="46"/>
                      <a:pt x="0" y="46"/>
                      <a:pt x="0" y="46"/>
                    </a:cubicBezTo>
                    <a:cubicBezTo>
                      <a:pt x="9" y="45"/>
                      <a:pt x="14" y="43"/>
                      <a:pt x="18" y="39"/>
                    </a:cubicBezTo>
                    <a:cubicBezTo>
                      <a:pt x="21" y="35"/>
                      <a:pt x="22" y="30"/>
                      <a:pt x="22" y="23"/>
                    </a:cubicBezTo>
                    <a:cubicBezTo>
                      <a:pt x="22" y="15"/>
                      <a:pt x="21" y="10"/>
                      <a:pt x="18" y="7"/>
                    </a:cubicBezTo>
                    <a:cubicBezTo>
                      <a:pt x="15" y="5"/>
                      <a:pt x="10"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微软雅黑" pitchFamily="34" charset="-122"/>
                  <a:ea typeface="微软雅黑" pitchFamily="34" charset="-122"/>
                </a:endParaRPr>
              </a:p>
            </p:txBody>
          </p:sp>
        </p:grpSp>
        <p:grpSp>
          <p:nvGrpSpPr>
            <p:cNvPr id="448" name="Group 447"/>
            <p:cNvGrpSpPr/>
            <p:nvPr/>
          </p:nvGrpSpPr>
          <p:grpSpPr>
            <a:xfrm>
              <a:off x="3424758" y="2809769"/>
              <a:ext cx="399347" cy="399811"/>
              <a:chOff x="3879851" y="1882776"/>
              <a:chExt cx="1368425" cy="1370013"/>
            </a:xfrm>
            <a:solidFill>
              <a:srgbClr val="000000"/>
            </a:solidFill>
          </p:grpSpPr>
          <p:sp>
            <p:nvSpPr>
              <p:cNvPr id="449" name="Freeform 513"/>
              <p:cNvSpPr>
                <a:spLocks noEditPoints="1"/>
              </p:cNvSpPr>
              <p:nvPr/>
            </p:nvSpPr>
            <p:spPr bwMode="auto">
              <a:xfrm>
                <a:off x="3879851" y="1882776"/>
                <a:ext cx="1368425" cy="1370013"/>
              </a:xfrm>
              <a:custGeom>
                <a:avLst/>
                <a:gdLst>
                  <a:gd name="T0" fmla="*/ 342 w 364"/>
                  <a:gd name="T1" fmla="*/ 0 h 364"/>
                  <a:gd name="T2" fmla="*/ 0 w 364"/>
                  <a:gd name="T3" fmla="*/ 0 h 364"/>
                  <a:gd name="T4" fmla="*/ 0 w 364"/>
                  <a:gd name="T5" fmla="*/ 341 h 364"/>
                  <a:gd name="T6" fmla="*/ 22 w 364"/>
                  <a:gd name="T7" fmla="*/ 364 h 364"/>
                  <a:gd name="T8" fmla="*/ 364 w 364"/>
                  <a:gd name="T9" fmla="*/ 364 h 364"/>
                  <a:gd name="T10" fmla="*/ 364 w 364"/>
                  <a:gd name="T11" fmla="*/ 25 h 364"/>
                  <a:gd name="T12" fmla="*/ 342 w 364"/>
                  <a:gd name="T13" fmla="*/ 0 h 364"/>
                  <a:gd name="T14" fmla="*/ 255 w 364"/>
                  <a:gd name="T15" fmla="*/ 259 h 364"/>
                  <a:gd name="T16" fmla="*/ 242 w 364"/>
                  <a:gd name="T17" fmla="*/ 280 h 364"/>
                  <a:gd name="T18" fmla="*/ 219 w 364"/>
                  <a:gd name="T19" fmla="*/ 292 h 364"/>
                  <a:gd name="T20" fmla="*/ 188 w 364"/>
                  <a:gd name="T21" fmla="*/ 296 h 364"/>
                  <a:gd name="T22" fmla="*/ 185 w 364"/>
                  <a:gd name="T23" fmla="*/ 330 h 364"/>
                  <a:gd name="T24" fmla="*/ 168 w 364"/>
                  <a:gd name="T25" fmla="*/ 330 h 364"/>
                  <a:gd name="T26" fmla="*/ 161 w 364"/>
                  <a:gd name="T27" fmla="*/ 327 h 364"/>
                  <a:gd name="T28" fmla="*/ 159 w 364"/>
                  <a:gd name="T29" fmla="*/ 320 h 364"/>
                  <a:gd name="T30" fmla="*/ 161 w 364"/>
                  <a:gd name="T31" fmla="*/ 296 h 364"/>
                  <a:gd name="T32" fmla="*/ 140 w 364"/>
                  <a:gd name="T33" fmla="*/ 294 h 364"/>
                  <a:gd name="T34" fmla="*/ 124 w 364"/>
                  <a:gd name="T35" fmla="*/ 290 h 364"/>
                  <a:gd name="T36" fmla="*/ 114 w 364"/>
                  <a:gd name="T37" fmla="*/ 284 h 364"/>
                  <a:gd name="T38" fmla="*/ 111 w 364"/>
                  <a:gd name="T39" fmla="*/ 275 h 364"/>
                  <a:gd name="T40" fmla="*/ 111 w 364"/>
                  <a:gd name="T41" fmla="*/ 251 h 364"/>
                  <a:gd name="T42" fmla="*/ 124 w 364"/>
                  <a:gd name="T43" fmla="*/ 252 h 364"/>
                  <a:gd name="T44" fmla="*/ 138 w 364"/>
                  <a:gd name="T45" fmla="*/ 252 h 364"/>
                  <a:gd name="T46" fmla="*/ 152 w 364"/>
                  <a:gd name="T47" fmla="*/ 253 h 364"/>
                  <a:gd name="T48" fmla="*/ 165 w 364"/>
                  <a:gd name="T49" fmla="*/ 253 h 364"/>
                  <a:gd name="T50" fmla="*/ 169 w 364"/>
                  <a:gd name="T51" fmla="*/ 202 h 364"/>
                  <a:gd name="T52" fmla="*/ 141 w 364"/>
                  <a:gd name="T53" fmla="*/ 191 h 364"/>
                  <a:gd name="T54" fmla="*/ 122 w 364"/>
                  <a:gd name="T55" fmla="*/ 176 h 364"/>
                  <a:gd name="T56" fmla="*/ 112 w 364"/>
                  <a:gd name="T57" fmla="*/ 159 h 364"/>
                  <a:gd name="T58" fmla="*/ 109 w 364"/>
                  <a:gd name="T59" fmla="*/ 137 h 364"/>
                  <a:gd name="T60" fmla="*/ 114 w 364"/>
                  <a:gd name="T61" fmla="*/ 106 h 364"/>
                  <a:gd name="T62" fmla="*/ 128 w 364"/>
                  <a:gd name="T63" fmla="*/ 85 h 364"/>
                  <a:gd name="T64" fmla="*/ 150 w 364"/>
                  <a:gd name="T65" fmla="*/ 74 h 364"/>
                  <a:gd name="T66" fmla="*/ 179 w 364"/>
                  <a:gd name="T67" fmla="*/ 69 h 364"/>
                  <a:gd name="T68" fmla="*/ 181 w 364"/>
                  <a:gd name="T69" fmla="*/ 37 h 364"/>
                  <a:gd name="T70" fmla="*/ 198 w 364"/>
                  <a:gd name="T71" fmla="*/ 37 h 364"/>
                  <a:gd name="T72" fmla="*/ 206 w 364"/>
                  <a:gd name="T73" fmla="*/ 40 h 364"/>
                  <a:gd name="T74" fmla="*/ 207 w 364"/>
                  <a:gd name="T75" fmla="*/ 48 h 364"/>
                  <a:gd name="T76" fmla="*/ 206 w 364"/>
                  <a:gd name="T77" fmla="*/ 69 h 364"/>
                  <a:gd name="T78" fmla="*/ 226 w 364"/>
                  <a:gd name="T79" fmla="*/ 71 h 364"/>
                  <a:gd name="T80" fmla="*/ 240 w 364"/>
                  <a:gd name="T81" fmla="*/ 75 h 364"/>
                  <a:gd name="T82" fmla="*/ 250 w 364"/>
                  <a:gd name="T83" fmla="*/ 83 h 364"/>
                  <a:gd name="T84" fmla="*/ 252 w 364"/>
                  <a:gd name="T85" fmla="*/ 93 h 364"/>
                  <a:gd name="T86" fmla="*/ 252 w 364"/>
                  <a:gd name="T87" fmla="*/ 114 h 364"/>
                  <a:gd name="T88" fmla="*/ 227 w 364"/>
                  <a:gd name="T89" fmla="*/ 112 h 364"/>
                  <a:gd name="T90" fmla="*/ 202 w 364"/>
                  <a:gd name="T91" fmla="*/ 111 h 364"/>
                  <a:gd name="T92" fmla="*/ 198 w 364"/>
                  <a:gd name="T93" fmla="*/ 161 h 364"/>
                  <a:gd name="T94" fmla="*/ 227 w 364"/>
                  <a:gd name="T95" fmla="*/ 173 h 364"/>
                  <a:gd name="T96" fmla="*/ 246 w 364"/>
                  <a:gd name="T97" fmla="*/ 185 h 364"/>
                  <a:gd name="T98" fmla="*/ 257 w 364"/>
                  <a:gd name="T99" fmla="*/ 203 h 364"/>
                  <a:gd name="T100" fmla="*/ 260 w 364"/>
                  <a:gd name="T101" fmla="*/ 227 h 364"/>
                  <a:gd name="T102" fmla="*/ 255 w 364"/>
                  <a:gd name="T103" fmla="*/ 25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4" h="364">
                    <a:moveTo>
                      <a:pt x="342" y="0"/>
                    </a:moveTo>
                    <a:cubicBezTo>
                      <a:pt x="0" y="0"/>
                      <a:pt x="0" y="0"/>
                      <a:pt x="0" y="0"/>
                    </a:cubicBezTo>
                    <a:cubicBezTo>
                      <a:pt x="0" y="341"/>
                      <a:pt x="0" y="341"/>
                      <a:pt x="0" y="341"/>
                    </a:cubicBezTo>
                    <a:cubicBezTo>
                      <a:pt x="0" y="354"/>
                      <a:pt x="10" y="364"/>
                      <a:pt x="22" y="364"/>
                    </a:cubicBezTo>
                    <a:cubicBezTo>
                      <a:pt x="364" y="364"/>
                      <a:pt x="364" y="364"/>
                      <a:pt x="364" y="364"/>
                    </a:cubicBezTo>
                    <a:cubicBezTo>
                      <a:pt x="364" y="25"/>
                      <a:pt x="364" y="25"/>
                      <a:pt x="364" y="25"/>
                    </a:cubicBezTo>
                    <a:cubicBezTo>
                      <a:pt x="364" y="12"/>
                      <a:pt x="354" y="0"/>
                      <a:pt x="342" y="0"/>
                    </a:cubicBezTo>
                    <a:moveTo>
                      <a:pt x="255" y="259"/>
                    </a:moveTo>
                    <a:cubicBezTo>
                      <a:pt x="252" y="267"/>
                      <a:pt x="248" y="274"/>
                      <a:pt x="242" y="280"/>
                    </a:cubicBezTo>
                    <a:cubicBezTo>
                      <a:pt x="236" y="285"/>
                      <a:pt x="228" y="289"/>
                      <a:pt x="219" y="292"/>
                    </a:cubicBezTo>
                    <a:cubicBezTo>
                      <a:pt x="210" y="294"/>
                      <a:pt x="200" y="296"/>
                      <a:pt x="188" y="296"/>
                    </a:cubicBezTo>
                    <a:cubicBezTo>
                      <a:pt x="185" y="330"/>
                      <a:pt x="185" y="330"/>
                      <a:pt x="185" y="330"/>
                    </a:cubicBezTo>
                    <a:cubicBezTo>
                      <a:pt x="168" y="330"/>
                      <a:pt x="168" y="330"/>
                      <a:pt x="168" y="330"/>
                    </a:cubicBezTo>
                    <a:cubicBezTo>
                      <a:pt x="164" y="330"/>
                      <a:pt x="162" y="329"/>
                      <a:pt x="161" y="327"/>
                    </a:cubicBezTo>
                    <a:cubicBezTo>
                      <a:pt x="160" y="325"/>
                      <a:pt x="159" y="323"/>
                      <a:pt x="159" y="320"/>
                    </a:cubicBezTo>
                    <a:cubicBezTo>
                      <a:pt x="161" y="296"/>
                      <a:pt x="161" y="296"/>
                      <a:pt x="161" y="296"/>
                    </a:cubicBezTo>
                    <a:cubicBezTo>
                      <a:pt x="153" y="296"/>
                      <a:pt x="146" y="295"/>
                      <a:pt x="140" y="294"/>
                    </a:cubicBezTo>
                    <a:cubicBezTo>
                      <a:pt x="133" y="293"/>
                      <a:pt x="128" y="292"/>
                      <a:pt x="124" y="290"/>
                    </a:cubicBezTo>
                    <a:cubicBezTo>
                      <a:pt x="119" y="288"/>
                      <a:pt x="116" y="286"/>
                      <a:pt x="114" y="284"/>
                    </a:cubicBezTo>
                    <a:cubicBezTo>
                      <a:pt x="112" y="281"/>
                      <a:pt x="111" y="278"/>
                      <a:pt x="111" y="275"/>
                    </a:cubicBezTo>
                    <a:cubicBezTo>
                      <a:pt x="111" y="251"/>
                      <a:pt x="111" y="251"/>
                      <a:pt x="111" y="251"/>
                    </a:cubicBezTo>
                    <a:cubicBezTo>
                      <a:pt x="115" y="251"/>
                      <a:pt x="119" y="251"/>
                      <a:pt x="124" y="252"/>
                    </a:cubicBezTo>
                    <a:cubicBezTo>
                      <a:pt x="129" y="252"/>
                      <a:pt x="134" y="252"/>
                      <a:pt x="138" y="252"/>
                    </a:cubicBezTo>
                    <a:cubicBezTo>
                      <a:pt x="143" y="252"/>
                      <a:pt x="148" y="253"/>
                      <a:pt x="152" y="253"/>
                    </a:cubicBezTo>
                    <a:cubicBezTo>
                      <a:pt x="157" y="253"/>
                      <a:pt x="161" y="253"/>
                      <a:pt x="165" y="253"/>
                    </a:cubicBezTo>
                    <a:cubicBezTo>
                      <a:pt x="169" y="202"/>
                      <a:pt x="169" y="202"/>
                      <a:pt x="169" y="202"/>
                    </a:cubicBezTo>
                    <a:cubicBezTo>
                      <a:pt x="158" y="198"/>
                      <a:pt x="149" y="195"/>
                      <a:pt x="141" y="191"/>
                    </a:cubicBezTo>
                    <a:cubicBezTo>
                      <a:pt x="133" y="186"/>
                      <a:pt x="127" y="182"/>
                      <a:pt x="122" y="176"/>
                    </a:cubicBezTo>
                    <a:cubicBezTo>
                      <a:pt x="117" y="171"/>
                      <a:pt x="114" y="165"/>
                      <a:pt x="112" y="159"/>
                    </a:cubicBezTo>
                    <a:cubicBezTo>
                      <a:pt x="110" y="152"/>
                      <a:pt x="109" y="145"/>
                      <a:pt x="109" y="137"/>
                    </a:cubicBezTo>
                    <a:cubicBezTo>
                      <a:pt x="109" y="124"/>
                      <a:pt x="110" y="114"/>
                      <a:pt x="114" y="106"/>
                    </a:cubicBezTo>
                    <a:cubicBezTo>
                      <a:pt x="117" y="97"/>
                      <a:pt x="122" y="90"/>
                      <a:pt x="128" y="85"/>
                    </a:cubicBezTo>
                    <a:cubicBezTo>
                      <a:pt x="134" y="80"/>
                      <a:pt x="142" y="76"/>
                      <a:pt x="150" y="74"/>
                    </a:cubicBezTo>
                    <a:cubicBezTo>
                      <a:pt x="159" y="71"/>
                      <a:pt x="168" y="70"/>
                      <a:pt x="179" y="69"/>
                    </a:cubicBezTo>
                    <a:cubicBezTo>
                      <a:pt x="181" y="37"/>
                      <a:pt x="181" y="37"/>
                      <a:pt x="181" y="37"/>
                    </a:cubicBezTo>
                    <a:cubicBezTo>
                      <a:pt x="198" y="37"/>
                      <a:pt x="198" y="37"/>
                      <a:pt x="198" y="37"/>
                    </a:cubicBezTo>
                    <a:cubicBezTo>
                      <a:pt x="202" y="37"/>
                      <a:pt x="205" y="38"/>
                      <a:pt x="206" y="40"/>
                    </a:cubicBezTo>
                    <a:cubicBezTo>
                      <a:pt x="207" y="42"/>
                      <a:pt x="207" y="45"/>
                      <a:pt x="207" y="48"/>
                    </a:cubicBezTo>
                    <a:cubicBezTo>
                      <a:pt x="206" y="69"/>
                      <a:pt x="206" y="69"/>
                      <a:pt x="206" y="69"/>
                    </a:cubicBezTo>
                    <a:cubicBezTo>
                      <a:pt x="213" y="69"/>
                      <a:pt x="220" y="70"/>
                      <a:pt x="226" y="71"/>
                    </a:cubicBezTo>
                    <a:cubicBezTo>
                      <a:pt x="231" y="73"/>
                      <a:pt x="236" y="74"/>
                      <a:pt x="240" y="75"/>
                    </a:cubicBezTo>
                    <a:cubicBezTo>
                      <a:pt x="246" y="78"/>
                      <a:pt x="249" y="80"/>
                      <a:pt x="250" y="83"/>
                    </a:cubicBezTo>
                    <a:cubicBezTo>
                      <a:pt x="251" y="87"/>
                      <a:pt x="252" y="90"/>
                      <a:pt x="252" y="93"/>
                    </a:cubicBezTo>
                    <a:cubicBezTo>
                      <a:pt x="252" y="114"/>
                      <a:pt x="252" y="114"/>
                      <a:pt x="252" y="114"/>
                    </a:cubicBezTo>
                    <a:cubicBezTo>
                      <a:pt x="244" y="113"/>
                      <a:pt x="236" y="112"/>
                      <a:pt x="227" y="112"/>
                    </a:cubicBezTo>
                    <a:cubicBezTo>
                      <a:pt x="219" y="112"/>
                      <a:pt x="211" y="111"/>
                      <a:pt x="202" y="111"/>
                    </a:cubicBezTo>
                    <a:cubicBezTo>
                      <a:pt x="198" y="161"/>
                      <a:pt x="198" y="161"/>
                      <a:pt x="198" y="161"/>
                    </a:cubicBezTo>
                    <a:cubicBezTo>
                      <a:pt x="210" y="165"/>
                      <a:pt x="219" y="169"/>
                      <a:pt x="227" y="173"/>
                    </a:cubicBezTo>
                    <a:cubicBezTo>
                      <a:pt x="235" y="176"/>
                      <a:pt x="241" y="180"/>
                      <a:pt x="246" y="185"/>
                    </a:cubicBezTo>
                    <a:cubicBezTo>
                      <a:pt x="251" y="190"/>
                      <a:pt x="254" y="196"/>
                      <a:pt x="257" y="203"/>
                    </a:cubicBezTo>
                    <a:cubicBezTo>
                      <a:pt x="259" y="209"/>
                      <a:pt x="260" y="218"/>
                      <a:pt x="260" y="227"/>
                    </a:cubicBezTo>
                    <a:cubicBezTo>
                      <a:pt x="260" y="240"/>
                      <a:pt x="258" y="250"/>
                      <a:pt x="255" y="2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微软雅黑" pitchFamily="34" charset="-122"/>
                  <a:ea typeface="微软雅黑" pitchFamily="34" charset="-122"/>
                </a:endParaRPr>
              </a:p>
            </p:txBody>
          </p:sp>
          <p:sp>
            <p:nvSpPr>
              <p:cNvPr id="450" name="Freeform 514"/>
              <p:cNvSpPr>
                <a:spLocks/>
              </p:cNvSpPr>
              <p:nvPr/>
            </p:nvSpPr>
            <p:spPr bwMode="auto">
              <a:xfrm>
                <a:off x="4459288" y="2305051"/>
                <a:ext cx="79375" cy="165100"/>
              </a:xfrm>
              <a:custGeom>
                <a:avLst/>
                <a:gdLst>
                  <a:gd name="T0" fmla="*/ 4 w 21"/>
                  <a:gd name="T1" fmla="*/ 6 h 44"/>
                  <a:gd name="T2" fmla="*/ 0 w 21"/>
                  <a:gd name="T3" fmla="*/ 22 h 44"/>
                  <a:gd name="T4" fmla="*/ 4 w 21"/>
                  <a:gd name="T5" fmla="*/ 36 h 44"/>
                  <a:gd name="T6" fmla="*/ 18 w 21"/>
                  <a:gd name="T7" fmla="*/ 44 h 44"/>
                  <a:gd name="T8" fmla="*/ 21 w 21"/>
                  <a:gd name="T9" fmla="*/ 0 h 44"/>
                  <a:gd name="T10" fmla="*/ 4 w 21"/>
                  <a:gd name="T11" fmla="*/ 6 h 44"/>
                </a:gdLst>
                <a:ahLst/>
                <a:cxnLst>
                  <a:cxn ang="0">
                    <a:pos x="T0" y="T1"/>
                  </a:cxn>
                  <a:cxn ang="0">
                    <a:pos x="T2" y="T3"/>
                  </a:cxn>
                  <a:cxn ang="0">
                    <a:pos x="T4" y="T5"/>
                  </a:cxn>
                  <a:cxn ang="0">
                    <a:pos x="T6" y="T7"/>
                  </a:cxn>
                  <a:cxn ang="0">
                    <a:pos x="T8" y="T9"/>
                  </a:cxn>
                  <a:cxn ang="0">
                    <a:pos x="T10" y="T11"/>
                  </a:cxn>
                </a:cxnLst>
                <a:rect l="0" t="0" r="r" b="b"/>
                <a:pathLst>
                  <a:path w="21" h="44">
                    <a:moveTo>
                      <a:pt x="4" y="6"/>
                    </a:moveTo>
                    <a:cubicBezTo>
                      <a:pt x="1" y="10"/>
                      <a:pt x="0" y="15"/>
                      <a:pt x="0" y="22"/>
                    </a:cubicBezTo>
                    <a:cubicBezTo>
                      <a:pt x="0" y="28"/>
                      <a:pt x="1" y="33"/>
                      <a:pt x="4" y="36"/>
                    </a:cubicBezTo>
                    <a:cubicBezTo>
                      <a:pt x="7" y="39"/>
                      <a:pt x="11" y="42"/>
                      <a:pt x="18" y="44"/>
                    </a:cubicBezTo>
                    <a:cubicBezTo>
                      <a:pt x="21" y="0"/>
                      <a:pt x="21" y="0"/>
                      <a:pt x="21" y="0"/>
                    </a:cubicBezTo>
                    <a:cubicBezTo>
                      <a:pt x="13" y="0"/>
                      <a:pt x="7" y="3"/>
                      <a:pt x="4"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微软雅黑" pitchFamily="34" charset="-122"/>
                  <a:ea typeface="微软雅黑" pitchFamily="34" charset="-122"/>
                </a:endParaRPr>
              </a:p>
            </p:txBody>
          </p:sp>
          <p:sp>
            <p:nvSpPr>
              <p:cNvPr id="451" name="Freeform 515"/>
              <p:cNvSpPr>
                <a:spLocks/>
              </p:cNvSpPr>
              <p:nvPr/>
            </p:nvSpPr>
            <p:spPr bwMode="auto">
              <a:xfrm>
                <a:off x="4598988" y="2662238"/>
                <a:ext cx="82550" cy="173038"/>
              </a:xfrm>
              <a:custGeom>
                <a:avLst/>
                <a:gdLst>
                  <a:gd name="T0" fmla="*/ 4 w 22"/>
                  <a:gd name="T1" fmla="*/ 0 h 46"/>
                  <a:gd name="T2" fmla="*/ 0 w 22"/>
                  <a:gd name="T3" fmla="*/ 46 h 46"/>
                  <a:gd name="T4" fmla="*/ 18 w 22"/>
                  <a:gd name="T5" fmla="*/ 39 h 46"/>
                  <a:gd name="T6" fmla="*/ 22 w 22"/>
                  <a:gd name="T7" fmla="*/ 23 h 46"/>
                  <a:gd name="T8" fmla="*/ 18 w 22"/>
                  <a:gd name="T9" fmla="*/ 7 h 46"/>
                  <a:gd name="T10" fmla="*/ 4 w 22"/>
                  <a:gd name="T11" fmla="*/ 0 h 46"/>
                </a:gdLst>
                <a:ahLst/>
                <a:cxnLst>
                  <a:cxn ang="0">
                    <a:pos x="T0" y="T1"/>
                  </a:cxn>
                  <a:cxn ang="0">
                    <a:pos x="T2" y="T3"/>
                  </a:cxn>
                  <a:cxn ang="0">
                    <a:pos x="T4" y="T5"/>
                  </a:cxn>
                  <a:cxn ang="0">
                    <a:pos x="T6" y="T7"/>
                  </a:cxn>
                  <a:cxn ang="0">
                    <a:pos x="T8" y="T9"/>
                  </a:cxn>
                  <a:cxn ang="0">
                    <a:pos x="T10" y="T11"/>
                  </a:cxn>
                </a:cxnLst>
                <a:rect l="0" t="0" r="r" b="b"/>
                <a:pathLst>
                  <a:path w="22" h="46">
                    <a:moveTo>
                      <a:pt x="4" y="0"/>
                    </a:moveTo>
                    <a:cubicBezTo>
                      <a:pt x="0" y="46"/>
                      <a:pt x="0" y="46"/>
                      <a:pt x="0" y="46"/>
                    </a:cubicBezTo>
                    <a:cubicBezTo>
                      <a:pt x="9" y="45"/>
                      <a:pt x="14" y="43"/>
                      <a:pt x="18" y="39"/>
                    </a:cubicBezTo>
                    <a:cubicBezTo>
                      <a:pt x="21" y="35"/>
                      <a:pt x="22" y="30"/>
                      <a:pt x="22" y="23"/>
                    </a:cubicBezTo>
                    <a:cubicBezTo>
                      <a:pt x="22" y="15"/>
                      <a:pt x="21" y="10"/>
                      <a:pt x="18" y="7"/>
                    </a:cubicBezTo>
                    <a:cubicBezTo>
                      <a:pt x="15" y="5"/>
                      <a:pt x="10"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微软雅黑" pitchFamily="34" charset="-122"/>
                  <a:ea typeface="微软雅黑" pitchFamily="34" charset="-122"/>
                </a:endParaRPr>
              </a:p>
            </p:txBody>
          </p:sp>
        </p:grpSp>
      </p:grpSp>
      <p:sp>
        <p:nvSpPr>
          <p:cNvPr id="453" name="TextBox 452"/>
          <p:cNvSpPr txBox="1"/>
          <p:nvPr/>
        </p:nvSpPr>
        <p:spPr>
          <a:xfrm>
            <a:off x="8313785" y="3523523"/>
            <a:ext cx="2028685" cy="377398"/>
          </a:xfrm>
          <a:prstGeom prst="rect">
            <a:avLst/>
          </a:prstGeom>
          <a:noFill/>
        </p:spPr>
        <p:txBody>
          <a:bodyPr wrap="square" lIns="129909" tIns="64954" rIns="129909" bIns="64954" rtlCol="0">
            <a:spAutoFit/>
          </a:bodyPr>
          <a:lstStyle/>
          <a:p>
            <a:pPr defTabSz="611204">
              <a:spcAft>
                <a:spcPts val="568"/>
              </a:spcAft>
              <a:buSzPct val="100000"/>
            </a:pPr>
            <a:r>
              <a:rPr lang="zh-CN" altLang="en-US" b="1" dirty="0" smtClean="0">
                <a:solidFill>
                  <a:srgbClr val="000000"/>
                </a:solidFill>
                <a:latin typeface="微软雅黑" pitchFamily="34" charset="-122"/>
                <a:ea typeface="微软雅黑" pitchFamily="34" charset="-122"/>
                <a:cs typeface="HP Simplified" pitchFamily="34" charset="0"/>
              </a:rPr>
              <a:t>企业</a:t>
            </a:r>
            <a:endParaRPr lang="en-US" b="1" dirty="0" smtClean="0">
              <a:solidFill>
                <a:srgbClr val="000000"/>
              </a:solidFill>
              <a:latin typeface="微软雅黑" pitchFamily="34" charset="-122"/>
              <a:ea typeface="微软雅黑" pitchFamily="34" charset="-122"/>
              <a:cs typeface="HP Simplified" pitchFamily="34" charset="0"/>
            </a:endParaRPr>
          </a:p>
        </p:txBody>
      </p:sp>
      <p:sp>
        <p:nvSpPr>
          <p:cNvPr id="455" name="TextBox 454"/>
          <p:cNvSpPr txBox="1"/>
          <p:nvPr/>
        </p:nvSpPr>
        <p:spPr>
          <a:xfrm>
            <a:off x="2641694" y="3523523"/>
            <a:ext cx="2462650" cy="700563"/>
          </a:xfrm>
          <a:prstGeom prst="rect">
            <a:avLst/>
          </a:prstGeom>
          <a:noFill/>
        </p:spPr>
        <p:txBody>
          <a:bodyPr wrap="square" lIns="129909" tIns="64954" rIns="129909" bIns="64954" rtlCol="0">
            <a:spAutoFit/>
          </a:bodyPr>
          <a:lstStyle/>
          <a:p>
            <a:pPr defTabSz="611204">
              <a:spcAft>
                <a:spcPts val="568"/>
              </a:spcAft>
              <a:buSzPct val="100000"/>
            </a:pPr>
            <a:r>
              <a:rPr lang="zh-CN" altLang="en-US" b="1" dirty="0" smtClean="0">
                <a:solidFill>
                  <a:srgbClr val="000000"/>
                </a:solidFill>
                <a:latin typeface="微软雅黑" pitchFamily="34" charset="-122"/>
                <a:ea typeface="微软雅黑" pitchFamily="34" charset="-122"/>
                <a:cs typeface="HP Simplified" pitchFamily="34" charset="0"/>
              </a:rPr>
              <a:t>黑客生</a:t>
            </a:r>
            <a:endParaRPr lang="en-US" altLang="zh-CN" b="1" dirty="0" smtClean="0">
              <a:solidFill>
                <a:srgbClr val="000000"/>
              </a:solidFill>
              <a:latin typeface="微软雅黑" pitchFamily="34" charset="-122"/>
              <a:ea typeface="微软雅黑" pitchFamily="34" charset="-122"/>
              <a:cs typeface="HP Simplified" pitchFamily="34" charset="0"/>
            </a:endParaRPr>
          </a:p>
          <a:p>
            <a:pPr defTabSz="611204">
              <a:spcAft>
                <a:spcPts val="568"/>
              </a:spcAft>
              <a:buSzPct val="100000"/>
            </a:pPr>
            <a:r>
              <a:rPr lang="zh-CN" altLang="en-US" b="1" dirty="0" smtClean="0">
                <a:solidFill>
                  <a:srgbClr val="000000"/>
                </a:solidFill>
                <a:latin typeface="微软雅黑" pitchFamily="34" charset="-122"/>
                <a:ea typeface="微软雅黑" pitchFamily="34" charset="-122"/>
                <a:cs typeface="HP Simplified" pitchFamily="34" charset="0"/>
              </a:rPr>
              <a:t>态系统</a:t>
            </a:r>
            <a:endParaRPr lang="en-US" b="1" dirty="0" smtClean="0">
              <a:solidFill>
                <a:srgbClr val="000000"/>
              </a:solidFill>
              <a:latin typeface="微软雅黑" pitchFamily="34" charset="-122"/>
              <a:ea typeface="微软雅黑" pitchFamily="34" charset="-122"/>
              <a:cs typeface="HP Simplified" pitchFamily="34" charset="0"/>
            </a:endParaRPr>
          </a:p>
        </p:txBody>
      </p:sp>
      <p:grpSp>
        <p:nvGrpSpPr>
          <p:cNvPr id="2" name="Group 1"/>
          <p:cNvGrpSpPr/>
          <p:nvPr/>
        </p:nvGrpSpPr>
        <p:grpSpPr>
          <a:xfrm>
            <a:off x="5395404" y="1084107"/>
            <a:ext cx="510443" cy="5578311"/>
            <a:chOff x="5326950" y="727538"/>
            <a:chExt cx="385877" cy="4210312"/>
          </a:xfrm>
          <a:solidFill>
            <a:schemeClr val="accent3"/>
          </a:solidFill>
        </p:grpSpPr>
        <p:grpSp>
          <p:nvGrpSpPr>
            <p:cNvPr id="206" name="Group 205"/>
            <p:cNvGrpSpPr/>
            <p:nvPr/>
          </p:nvGrpSpPr>
          <p:grpSpPr>
            <a:xfrm>
              <a:off x="5478169" y="960699"/>
              <a:ext cx="83439" cy="3576577"/>
              <a:chOff x="5396292" y="1038173"/>
              <a:chExt cx="120650" cy="3594099"/>
            </a:xfrm>
            <a:grpFill/>
          </p:grpSpPr>
          <p:sp>
            <p:nvSpPr>
              <p:cNvPr id="219" name="Rectangle 218"/>
              <p:cNvSpPr/>
              <p:nvPr/>
            </p:nvSpPr>
            <p:spPr bwMode="gray">
              <a:xfrm>
                <a:off x="5396292" y="1038173"/>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solidFill>
                    <a:prstClr val="white"/>
                  </a:solidFill>
                  <a:latin typeface="微软雅黑" pitchFamily="34" charset="-122"/>
                  <a:ea typeface="微软雅黑" pitchFamily="34" charset="-122"/>
                  <a:cs typeface="Arial" charset="0"/>
                </a:endParaRPr>
              </a:p>
            </p:txBody>
          </p:sp>
          <p:sp>
            <p:nvSpPr>
              <p:cNvPr id="220" name="Rectangle 219"/>
              <p:cNvSpPr/>
              <p:nvPr/>
            </p:nvSpPr>
            <p:spPr bwMode="gray">
              <a:xfrm>
                <a:off x="5396292" y="1281202"/>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solidFill>
                    <a:prstClr val="white"/>
                  </a:solidFill>
                  <a:latin typeface="微软雅黑" pitchFamily="34" charset="-122"/>
                  <a:ea typeface="微软雅黑" pitchFamily="34" charset="-122"/>
                  <a:cs typeface="Arial" charset="0"/>
                </a:endParaRPr>
              </a:p>
            </p:txBody>
          </p:sp>
          <p:sp>
            <p:nvSpPr>
              <p:cNvPr id="221" name="Rectangle 220"/>
              <p:cNvSpPr/>
              <p:nvPr/>
            </p:nvSpPr>
            <p:spPr bwMode="gray">
              <a:xfrm>
                <a:off x="5396292" y="1524231"/>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solidFill>
                    <a:prstClr val="white"/>
                  </a:solidFill>
                  <a:latin typeface="微软雅黑" pitchFamily="34" charset="-122"/>
                  <a:ea typeface="微软雅黑" pitchFamily="34" charset="-122"/>
                  <a:cs typeface="Arial" charset="0"/>
                </a:endParaRPr>
              </a:p>
            </p:txBody>
          </p:sp>
          <p:sp>
            <p:nvSpPr>
              <p:cNvPr id="222" name="Rectangle 221"/>
              <p:cNvSpPr/>
              <p:nvPr/>
            </p:nvSpPr>
            <p:spPr bwMode="gray">
              <a:xfrm>
                <a:off x="5396292" y="1767260"/>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solidFill>
                    <a:prstClr val="white"/>
                  </a:solidFill>
                  <a:latin typeface="微软雅黑" pitchFamily="34" charset="-122"/>
                  <a:ea typeface="微软雅黑" pitchFamily="34" charset="-122"/>
                  <a:cs typeface="Arial" charset="0"/>
                </a:endParaRPr>
              </a:p>
            </p:txBody>
          </p:sp>
          <p:sp>
            <p:nvSpPr>
              <p:cNvPr id="223" name="Rectangle 222"/>
              <p:cNvSpPr/>
              <p:nvPr/>
            </p:nvSpPr>
            <p:spPr bwMode="gray">
              <a:xfrm>
                <a:off x="5396292" y="2010289"/>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solidFill>
                    <a:prstClr val="white"/>
                  </a:solidFill>
                  <a:latin typeface="微软雅黑" pitchFamily="34" charset="-122"/>
                  <a:ea typeface="微软雅黑" pitchFamily="34" charset="-122"/>
                  <a:cs typeface="Arial" charset="0"/>
                </a:endParaRPr>
              </a:p>
            </p:txBody>
          </p:sp>
          <p:sp>
            <p:nvSpPr>
              <p:cNvPr id="224" name="Rectangle 223"/>
              <p:cNvSpPr/>
              <p:nvPr/>
            </p:nvSpPr>
            <p:spPr bwMode="gray">
              <a:xfrm>
                <a:off x="5396292" y="2253319"/>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solidFill>
                    <a:prstClr val="white"/>
                  </a:solidFill>
                  <a:latin typeface="微软雅黑" pitchFamily="34" charset="-122"/>
                  <a:ea typeface="微软雅黑" pitchFamily="34" charset="-122"/>
                  <a:cs typeface="Arial" charset="0"/>
                </a:endParaRPr>
              </a:p>
            </p:txBody>
          </p:sp>
          <p:sp>
            <p:nvSpPr>
              <p:cNvPr id="225" name="Rectangle 224"/>
              <p:cNvSpPr/>
              <p:nvPr/>
            </p:nvSpPr>
            <p:spPr bwMode="gray">
              <a:xfrm>
                <a:off x="5396292" y="2496349"/>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solidFill>
                    <a:prstClr val="white"/>
                  </a:solidFill>
                  <a:latin typeface="微软雅黑" pitchFamily="34" charset="-122"/>
                  <a:ea typeface="微软雅黑" pitchFamily="34" charset="-122"/>
                  <a:cs typeface="Arial" charset="0"/>
                </a:endParaRPr>
              </a:p>
            </p:txBody>
          </p:sp>
          <p:sp>
            <p:nvSpPr>
              <p:cNvPr id="226" name="Rectangle 225"/>
              <p:cNvSpPr/>
              <p:nvPr/>
            </p:nvSpPr>
            <p:spPr bwMode="gray">
              <a:xfrm>
                <a:off x="5396292" y="2739379"/>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solidFill>
                    <a:prstClr val="white"/>
                  </a:solidFill>
                  <a:latin typeface="微软雅黑" pitchFamily="34" charset="-122"/>
                  <a:ea typeface="微软雅黑" pitchFamily="34" charset="-122"/>
                  <a:cs typeface="Arial" charset="0"/>
                </a:endParaRPr>
              </a:p>
            </p:txBody>
          </p:sp>
          <p:sp>
            <p:nvSpPr>
              <p:cNvPr id="227" name="Rectangle 226"/>
              <p:cNvSpPr/>
              <p:nvPr/>
            </p:nvSpPr>
            <p:spPr bwMode="gray">
              <a:xfrm>
                <a:off x="5396292" y="2982408"/>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solidFill>
                    <a:prstClr val="white"/>
                  </a:solidFill>
                  <a:latin typeface="微软雅黑" pitchFamily="34" charset="-122"/>
                  <a:ea typeface="微软雅黑" pitchFamily="34" charset="-122"/>
                  <a:cs typeface="Arial" charset="0"/>
                </a:endParaRPr>
              </a:p>
            </p:txBody>
          </p:sp>
          <p:sp>
            <p:nvSpPr>
              <p:cNvPr id="228" name="Rectangle 227"/>
              <p:cNvSpPr/>
              <p:nvPr/>
            </p:nvSpPr>
            <p:spPr bwMode="gray">
              <a:xfrm>
                <a:off x="5396292" y="3225437"/>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solidFill>
                    <a:prstClr val="white"/>
                  </a:solidFill>
                  <a:latin typeface="微软雅黑" pitchFamily="34" charset="-122"/>
                  <a:ea typeface="微软雅黑" pitchFamily="34" charset="-122"/>
                  <a:cs typeface="Arial" charset="0"/>
                </a:endParaRPr>
              </a:p>
            </p:txBody>
          </p:sp>
          <p:sp>
            <p:nvSpPr>
              <p:cNvPr id="229" name="Rectangle 228"/>
              <p:cNvSpPr/>
              <p:nvPr/>
            </p:nvSpPr>
            <p:spPr bwMode="gray">
              <a:xfrm>
                <a:off x="5396292" y="3468466"/>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solidFill>
                    <a:prstClr val="white"/>
                  </a:solidFill>
                  <a:latin typeface="微软雅黑" pitchFamily="34" charset="-122"/>
                  <a:ea typeface="微软雅黑" pitchFamily="34" charset="-122"/>
                  <a:cs typeface="Arial" charset="0"/>
                </a:endParaRPr>
              </a:p>
            </p:txBody>
          </p:sp>
          <p:sp>
            <p:nvSpPr>
              <p:cNvPr id="230" name="Rectangle 229"/>
              <p:cNvSpPr/>
              <p:nvPr/>
            </p:nvSpPr>
            <p:spPr bwMode="gray">
              <a:xfrm>
                <a:off x="5396292" y="3711496"/>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solidFill>
                    <a:prstClr val="white"/>
                  </a:solidFill>
                  <a:latin typeface="微软雅黑" pitchFamily="34" charset="-122"/>
                  <a:ea typeface="微软雅黑" pitchFamily="34" charset="-122"/>
                  <a:cs typeface="Arial" charset="0"/>
                </a:endParaRPr>
              </a:p>
            </p:txBody>
          </p:sp>
          <p:sp>
            <p:nvSpPr>
              <p:cNvPr id="231" name="Rectangle 230"/>
              <p:cNvSpPr/>
              <p:nvPr/>
            </p:nvSpPr>
            <p:spPr bwMode="gray">
              <a:xfrm>
                <a:off x="5396292" y="3954526"/>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solidFill>
                    <a:prstClr val="white"/>
                  </a:solidFill>
                  <a:latin typeface="微软雅黑" pitchFamily="34" charset="-122"/>
                  <a:ea typeface="微软雅黑" pitchFamily="34" charset="-122"/>
                  <a:cs typeface="Arial" charset="0"/>
                </a:endParaRPr>
              </a:p>
            </p:txBody>
          </p:sp>
          <p:sp>
            <p:nvSpPr>
              <p:cNvPr id="241" name="Rectangle 240"/>
              <p:cNvSpPr/>
              <p:nvPr/>
            </p:nvSpPr>
            <p:spPr bwMode="gray">
              <a:xfrm>
                <a:off x="5396292" y="4197555"/>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solidFill>
                    <a:prstClr val="white"/>
                  </a:solidFill>
                  <a:latin typeface="微软雅黑" pitchFamily="34" charset="-122"/>
                  <a:ea typeface="微软雅黑" pitchFamily="34" charset="-122"/>
                  <a:cs typeface="Arial" charset="0"/>
                </a:endParaRPr>
              </a:p>
            </p:txBody>
          </p:sp>
          <p:sp>
            <p:nvSpPr>
              <p:cNvPr id="242" name="Rectangle 241"/>
              <p:cNvSpPr/>
              <p:nvPr/>
            </p:nvSpPr>
            <p:spPr bwMode="gray">
              <a:xfrm>
                <a:off x="5396292" y="4440581"/>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solidFill>
                    <a:prstClr val="white"/>
                  </a:solidFill>
                  <a:latin typeface="微软雅黑" pitchFamily="34" charset="-122"/>
                  <a:ea typeface="微软雅黑" pitchFamily="34" charset="-122"/>
                  <a:cs typeface="Arial" charset="0"/>
                </a:endParaRPr>
              </a:p>
            </p:txBody>
          </p:sp>
        </p:grpSp>
        <p:sp>
          <p:nvSpPr>
            <p:cNvPr id="457" name="Freeform 745"/>
            <p:cNvSpPr>
              <a:spLocks noEditPoints="1"/>
            </p:cNvSpPr>
            <p:nvPr/>
          </p:nvSpPr>
          <p:spPr bwMode="auto">
            <a:xfrm>
              <a:off x="5326950" y="727538"/>
              <a:ext cx="385877" cy="460375"/>
            </a:xfrm>
            <a:custGeom>
              <a:avLst/>
              <a:gdLst>
                <a:gd name="T0" fmla="*/ 259 w 280"/>
                <a:gd name="T1" fmla="*/ 153 h 334"/>
                <a:gd name="T2" fmla="*/ 238 w 280"/>
                <a:gd name="T3" fmla="*/ 153 h 334"/>
                <a:gd name="T4" fmla="*/ 238 w 280"/>
                <a:gd name="T5" fmla="*/ 99 h 334"/>
                <a:gd name="T6" fmla="*/ 138 w 280"/>
                <a:gd name="T7" fmla="*/ 0 h 334"/>
                <a:gd name="T8" fmla="*/ 39 w 280"/>
                <a:gd name="T9" fmla="*/ 99 h 334"/>
                <a:gd name="T10" fmla="*/ 39 w 280"/>
                <a:gd name="T11" fmla="*/ 153 h 334"/>
                <a:gd name="T12" fmla="*/ 0 w 280"/>
                <a:gd name="T13" fmla="*/ 153 h 334"/>
                <a:gd name="T14" fmla="*/ 0 w 280"/>
                <a:gd name="T15" fmla="*/ 312 h 334"/>
                <a:gd name="T16" fmla="*/ 21 w 280"/>
                <a:gd name="T17" fmla="*/ 334 h 334"/>
                <a:gd name="T18" fmla="*/ 280 w 280"/>
                <a:gd name="T19" fmla="*/ 334 h 334"/>
                <a:gd name="T20" fmla="*/ 280 w 280"/>
                <a:gd name="T21" fmla="*/ 174 h 334"/>
                <a:gd name="T22" fmla="*/ 259 w 280"/>
                <a:gd name="T23" fmla="*/ 153 h 334"/>
                <a:gd name="T24" fmla="*/ 81 w 280"/>
                <a:gd name="T25" fmla="*/ 99 h 334"/>
                <a:gd name="T26" fmla="*/ 138 w 280"/>
                <a:gd name="T27" fmla="*/ 43 h 334"/>
                <a:gd name="T28" fmla="*/ 195 w 280"/>
                <a:gd name="T29" fmla="*/ 99 h 334"/>
                <a:gd name="T30" fmla="*/ 195 w 280"/>
                <a:gd name="T31" fmla="*/ 153 h 334"/>
                <a:gd name="T32" fmla="*/ 81 w 280"/>
                <a:gd name="T33" fmla="*/ 153 h 334"/>
                <a:gd name="T34" fmla="*/ 81 w 280"/>
                <a:gd name="T35" fmla="*/ 9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0" h="334">
                  <a:moveTo>
                    <a:pt x="259" y="153"/>
                  </a:moveTo>
                  <a:cubicBezTo>
                    <a:pt x="238" y="153"/>
                    <a:pt x="238" y="153"/>
                    <a:pt x="238" y="153"/>
                  </a:cubicBezTo>
                  <a:cubicBezTo>
                    <a:pt x="238" y="99"/>
                    <a:pt x="238" y="99"/>
                    <a:pt x="238" y="99"/>
                  </a:cubicBezTo>
                  <a:cubicBezTo>
                    <a:pt x="238" y="45"/>
                    <a:pt x="193" y="0"/>
                    <a:pt x="138" y="0"/>
                  </a:cubicBezTo>
                  <a:cubicBezTo>
                    <a:pt x="83" y="0"/>
                    <a:pt x="39" y="45"/>
                    <a:pt x="39" y="99"/>
                  </a:cubicBezTo>
                  <a:cubicBezTo>
                    <a:pt x="39" y="153"/>
                    <a:pt x="39" y="153"/>
                    <a:pt x="39" y="153"/>
                  </a:cubicBezTo>
                  <a:cubicBezTo>
                    <a:pt x="0" y="153"/>
                    <a:pt x="0" y="153"/>
                    <a:pt x="0" y="153"/>
                  </a:cubicBezTo>
                  <a:cubicBezTo>
                    <a:pt x="0" y="312"/>
                    <a:pt x="0" y="312"/>
                    <a:pt x="0" y="312"/>
                  </a:cubicBezTo>
                  <a:cubicBezTo>
                    <a:pt x="0" y="324"/>
                    <a:pt x="9" y="334"/>
                    <a:pt x="21" y="334"/>
                  </a:cubicBezTo>
                  <a:cubicBezTo>
                    <a:pt x="280" y="334"/>
                    <a:pt x="280" y="334"/>
                    <a:pt x="280" y="334"/>
                  </a:cubicBezTo>
                  <a:cubicBezTo>
                    <a:pt x="280" y="174"/>
                    <a:pt x="280" y="174"/>
                    <a:pt x="280" y="174"/>
                  </a:cubicBezTo>
                  <a:cubicBezTo>
                    <a:pt x="280" y="162"/>
                    <a:pt x="271" y="153"/>
                    <a:pt x="259" y="153"/>
                  </a:cubicBezTo>
                  <a:moveTo>
                    <a:pt x="81" y="99"/>
                  </a:moveTo>
                  <a:cubicBezTo>
                    <a:pt x="81" y="68"/>
                    <a:pt x="107" y="43"/>
                    <a:pt x="138" y="43"/>
                  </a:cubicBezTo>
                  <a:cubicBezTo>
                    <a:pt x="169" y="43"/>
                    <a:pt x="195" y="68"/>
                    <a:pt x="195" y="99"/>
                  </a:cubicBezTo>
                  <a:cubicBezTo>
                    <a:pt x="195" y="153"/>
                    <a:pt x="195" y="153"/>
                    <a:pt x="195" y="153"/>
                  </a:cubicBezTo>
                  <a:cubicBezTo>
                    <a:pt x="81" y="153"/>
                    <a:pt x="81" y="153"/>
                    <a:pt x="81" y="153"/>
                  </a:cubicBezTo>
                  <a:lnTo>
                    <a:pt x="81" y="99"/>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微软雅黑" pitchFamily="34" charset="-122"/>
                <a:ea typeface="微软雅黑" pitchFamily="34" charset="-122"/>
              </a:endParaRPr>
            </a:p>
          </p:txBody>
        </p:sp>
        <p:sp>
          <p:nvSpPr>
            <p:cNvPr id="216" name="Freeform 745"/>
            <p:cNvSpPr>
              <a:spLocks noEditPoints="1"/>
            </p:cNvSpPr>
            <p:nvPr/>
          </p:nvSpPr>
          <p:spPr bwMode="auto">
            <a:xfrm>
              <a:off x="5326950" y="4477475"/>
              <a:ext cx="385877" cy="460375"/>
            </a:xfrm>
            <a:custGeom>
              <a:avLst/>
              <a:gdLst>
                <a:gd name="T0" fmla="*/ 259 w 280"/>
                <a:gd name="T1" fmla="*/ 153 h 334"/>
                <a:gd name="T2" fmla="*/ 238 w 280"/>
                <a:gd name="T3" fmla="*/ 153 h 334"/>
                <a:gd name="T4" fmla="*/ 238 w 280"/>
                <a:gd name="T5" fmla="*/ 99 h 334"/>
                <a:gd name="T6" fmla="*/ 138 w 280"/>
                <a:gd name="T7" fmla="*/ 0 h 334"/>
                <a:gd name="T8" fmla="*/ 39 w 280"/>
                <a:gd name="T9" fmla="*/ 99 h 334"/>
                <a:gd name="T10" fmla="*/ 39 w 280"/>
                <a:gd name="T11" fmla="*/ 153 h 334"/>
                <a:gd name="T12" fmla="*/ 0 w 280"/>
                <a:gd name="T13" fmla="*/ 153 h 334"/>
                <a:gd name="T14" fmla="*/ 0 w 280"/>
                <a:gd name="T15" fmla="*/ 312 h 334"/>
                <a:gd name="T16" fmla="*/ 21 w 280"/>
                <a:gd name="T17" fmla="*/ 334 h 334"/>
                <a:gd name="T18" fmla="*/ 280 w 280"/>
                <a:gd name="T19" fmla="*/ 334 h 334"/>
                <a:gd name="T20" fmla="*/ 280 w 280"/>
                <a:gd name="T21" fmla="*/ 174 h 334"/>
                <a:gd name="T22" fmla="*/ 259 w 280"/>
                <a:gd name="T23" fmla="*/ 153 h 334"/>
                <a:gd name="T24" fmla="*/ 81 w 280"/>
                <a:gd name="T25" fmla="*/ 99 h 334"/>
                <a:gd name="T26" fmla="*/ 138 w 280"/>
                <a:gd name="T27" fmla="*/ 43 h 334"/>
                <a:gd name="T28" fmla="*/ 195 w 280"/>
                <a:gd name="T29" fmla="*/ 99 h 334"/>
                <a:gd name="T30" fmla="*/ 195 w 280"/>
                <a:gd name="T31" fmla="*/ 153 h 334"/>
                <a:gd name="T32" fmla="*/ 81 w 280"/>
                <a:gd name="T33" fmla="*/ 153 h 334"/>
                <a:gd name="T34" fmla="*/ 81 w 280"/>
                <a:gd name="T35" fmla="*/ 9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0" h="334">
                  <a:moveTo>
                    <a:pt x="259" y="153"/>
                  </a:moveTo>
                  <a:cubicBezTo>
                    <a:pt x="238" y="153"/>
                    <a:pt x="238" y="153"/>
                    <a:pt x="238" y="153"/>
                  </a:cubicBezTo>
                  <a:cubicBezTo>
                    <a:pt x="238" y="99"/>
                    <a:pt x="238" y="99"/>
                    <a:pt x="238" y="99"/>
                  </a:cubicBezTo>
                  <a:cubicBezTo>
                    <a:pt x="238" y="45"/>
                    <a:pt x="193" y="0"/>
                    <a:pt x="138" y="0"/>
                  </a:cubicBezTo>
                  <a:cubicBezTo>
                    <a:pt x="83" y="0"/>
                    <a:pt x="39" y="45"/>
                    <a:pt x="39" y="99"/>
                  </a:cubicBezTo>
                  <a:cubicBezTo>
                    <a:pt x="39" y="153"/>
                    <a:pt x="39" y="153"/>
                    <a:pt x="39" y="153"/>
                  </a:cubicBezTo>
                  <a:cubicBezTo>
                    <a:pt x="0" y="153"/>
                    <a:pt x="0" y="153"/>
                    <a:pt x="0" y="153"/>
                  </a:cubicBezTo>
                  <a:cubicBezTo>
                    <a:pt x="0" y="312"/>
                    <a:pt x="0" y="312"/>
                    <a:pt x="0" y="312"/>
                  </a:cubicBezTo>
                  <a:cubicBezTo>
                    <a:pt x="0" y="324"/>
                    <a:pt x="9" y="334"/>
                    <a:pt x="21" y="334"/>
                  </a:cubicBezTo>
                  <a:cubicBezTo>
                    <a:pt x="280" y="334"/>
                    <a:pt x="280" y="334"/>
                    <a:pt x="280" y="334"/>
                  </a:cubicBezTo>
                  <a:cubicBezTo>
                    <a:pt x="280" y="174"/>
                    <a:pt x="280" y="174"/>
                    <a:pt x="280" y="174"/>
                  </a:cubicBezTo>
                  <a:cubicBezTo>
                    <a:pt x="280" y="162"/>
                    <a:pt x="271" y="153"/>
                    <a:pt x="259" y="153"/>
                  </a:cubicBezTo>
                  <a:moveTo>
                    <a:pt x="81" y="99"/>
                  </a:moveTo>
                  <a:cubicBezTo>
                    <a:pt x="81" y="68"/>
                    <a:pt x="107" y="43"/>
                    <a:pt x="138" y="43"/>
                  </a:cubicBezTo>
                  <a:cubicBezTo>
                    <a:pt x="169" y="43"/>
                    <a:pt x="195" y="68"/>
                    <a:pt x="195" y="99"/>
                  </a:cubicBezTo>
                  <a:cubicBezTo>
                    <a:pt x="195" y="153"/>
                    <a:pt x="195" y="153"/>
                    <a:pt x="195" y="153"/>
                  </a:cubicBezTo>
                  <a:cubicBezTo>
                    <a:pt x="81" y="153"/>
                    <a:pt x="81" y="153"/>
                    <a:pt x="81" y="153"/>
                  </a:cubicBezTo>
                  <a:lnTo>
                    <a:pt x="81" y="99"/>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微软雅黑" pitchFamily="34" charset="-122"/>
                <a:ea typeface="微软雅黑" pitchFamily="34" charset="-122"/>
              </a:endParaRPr>
            </a:p>
          </p:txBody>
        </p:sp>
      </p:grpSp>
      <p:grpSp>
        <p:nvGrpSpPr>
          <p:cNvPr id="4" name="Group 3"/>
          <p:cNvGrpSpPr/>
          <p:nvPr/>
        </p:nvGrpSpPr>
        <p:grpSpPr>
          <a:xfrm>
            <a:off x="2850414" y="2650350"/>
            <a:ext cx="1008667" cy="701163"/>
            <a:chOff x="3687587" y="1770927"/>
            <a:chExt cx="710346" cy="493005"/>
          </a:xfrm>
        </p:grpSpPr>
        <p:grpSp>
          <p:nvGrpSpPr>
            <p:cNvPr id="217" name="Group 216"/>
            <p:cNvGrpSpPr/>
            <p:nvPr/>
          </p:nvGrpSpPr>
          <p:grpSpPr>
            <a:xfrm>
              <a:off x="3687587" y="1770927"/>
              <a:ext cx="197202" cy="493005"/>
              <a:chOff x="4305301" y="1846263"/>
              <a:chExt cx="568325" cy="1420813"/>
            </a:xfrm>
            <a:solidFill>
              <a:srgbClr val="000000"/>
            </a:solidFill>
          </p:grpSpPr>
          <p:sp>
            <p:nvSpPr>
              <p:cNvPr id="218" name="Oval 633"/>
              <p:cNvSpPr>
                <a:spLocks noChangeArrowheads="1"/>
              </p:cNvSpPr>
              <p:nvPr/>
            </p:nvSpPr>
            <p:spPr bwMode="auto">
              <a:xfrm>
                <a:off x="4440238" y="1846263"/>
                <a:ext cx="296863" cy="3111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微软雅黑" pitchFamily="34" charset="-122"/>
                  <a:ea typeface="微软雅黑" pitchFamily="34" charset="-122"/>
                </a:endParaRPr>
              </a:p>
            </p:txBody>
          </p:sp>
          <p:sp>
            <p:nvSpPr>
              <p:cNvPr id="232" name="Freeform 634"/>
              <p:cNvSpPr>
                <a:spLocks/>
              </p:cNvSpPr>
              <p:nvPr/>
            </p:nvSpPr>
            <p:spPr bwMode="auto">
              <a:xfrm>
                <a:off x="4305301" y="2203451"/>
                <a:ext cx="568325" cy="1063625"/>
              </a:xfrm>
              <a:custGeom>
                <a:avLst/>
                <a:gdLst>
                  <a:gd name="T0" fmla="*/ 119 w 151"/>
                  <a:gd name="T1" fmla="*/ 0 h 283"/>
                  <a:gd name="T2" fmla="*/ 75 w 151"/>
                  <a:gd name="T3" fmla="*/ 0 h 283"/>
                  <a:gd name="T4" fmla="*/ 32 w 151"/>
                  <a:gd name="T5" fmla="*/ 0 h 283"/>
                  <a:gd name="T6" fmla="*/ 0 w 151"/>
                  <a:gd name="T7" fmla="*/ 34 h 283"/>
                  <a:gd name="T8" fmla="*/ 0 w 151"/>
                  <a:gd name="T9" fmla="*/ 39 h 283"/>
                  <a:gd name="T10" fmla="*/ 0 w 151"/>
                  <a:gd name="T11" fmla="*/ 65 h 283"/>
                  <a:gd name="T12" fmla="*/ 0 w 151"/>
                  <a:gd name="T13" fmla="*/ 88 h 283"/>
                  <a:gd name="T14" fmla="*/ 0 w 151"/>
                  <a:gd name="T15" fmla="*/ 133 h 283"/>
                  <a:gd name="T16" fmla="*/ 0 w 151"/>
                  <a:gd name="T17" fmla="*/ 133 h 283"/>
                  <a:gd name="T18" fmla="*/ 12 w 151"/>
                  <a:gd name="T19" fmla="*/ 145 h 283"/>
                  <a:gd name="T20" fmla="*/ 25 w 151"/>
                  <a:gd name="T21" fmla="*/ 135 h 283"/>
                  <a:gd name="T22" fmla="*/ 25 w 151"/>
                  <a:gd name="T23" fmla="*/ 133 h 283"/>
                  <a:gd name="T24" fmla="*/ 25 w 151"/>
                  <a:gd name="T25" fmla="*/ 43 h 283"/>
                  <a:gd name="T26" fmla="*/ 28 w 151"/>
                  <a:gd name="T27" fmla="*/ 39 h 283"/>
                  <a:gd name="T28" fmla="*/ 31 w 151"/>
                  <a:gd name="T29" fmla="*/ 43 h 283"/>
                  <a:gd name="T30" fmla="*/ 31 w 151"/>
                  <a:gd name="T31" fmla="*/ 138 h 283"/>
                  <a:gd name="T32" fmla="*/ 32 w 151"/>
                  <a:gd name="T33" fmla="*/ 152 h 283"/>
                  <a:gd name="T34" fmla="*/ 32 w 151"/>
                  <a:gd name="T35" fmla="*/ 152 h 283"/>
                  <a:gd name="T36" fmla="*/ 32 w 151"/>
                  <a:gd name="T37" fmla="*/ 152 h 283"/>
                  <a:gd name="T38" fmla="*/ 42 w 151"/>
                  <a:gd name="T39" fmla="*/ 260 h 283"/>
                  <a:gd name="T40" fmla="*/ 64 w 151"/>
                  <a:gd name="T41" fmla="*/ 283 h 283"/>
                  <a:gd name="T42" fmla="*/ 75 w 151"/>
                  <a:gd name="T43" fmla="*/ 283 h 283"/>
                  <a:gd name="T44" fmla="*/ 87 w 151"/>
                  <a:gd name="T45" fmla="*/ 283 h 283"/>
                  <a:gd name="T46" fmla="*/ 109 w 151"/>
                  <a:gd name="T47" fmla="*/ 260 h 283"/>
                  <a:gd name="T48" fmla="*/ 119 w 151"/>
                  <a:gd name="T49" fmla="*/ 152 h 283"/>
                  <a:gd name="T50" fmla="*/ 119 w 151"/>
                  <a:gd name="T51" fmla="*/ 152 h 283"/>
                  <a:gd name="T52" fmla="*/ 119 w 151"/>
                  <a:gd name="T53" fmla="*/ 152 h 283"/>
                  <a:gd name="T54" fmla="*/ 119 w 151"/>
                  <a:gd name="T55" fmla="*/ 138 h 283"/>
                  <a:gd name="T56" fmla="*/ 119 w 151"/>
                  <a:gd name="T57" fmla="*/ 43 h 283"/>
                  <a:gd name="T58" fmla="*/ 123 w 151"/>
                  <a:gd name="T59" fmla="*/ 39 h 283"/>
                  <a:gd name="T60" fmla="*/ 126 w 151"/>
                  <a:gd name="T61" fmla="*/ 43 h 283"/>
                  <a:gd name="T62" fmla="*/ 126 w 151"/>
                  <a:gd name="T63" fmla="*/ 133 h 283"/>
                  <a:gd name="T64" fmla="*/ 126 w 151"/>
                  <a:gd name="T65" fmla="*/ 135 h 283"/>
                  <a:gd name="T66" fmla="*/ 139 w 151"/>
                  <a:gd name="T67" fmla="*/ 145 h 283"/>
                  <a:gd name="T68" fmla="*/ 151 w 151"/>
                  <a:gd name="T69" fmla="*/ 133 h 283"/>
                  <a:gd name="T70" fmla="*/ 151 w 151"/>
                  <a:gd name="T71" fmla="*/ 133 h 283"/>
                  <a:gd name="T72" fmla="*/ 151 w 151"/>
                  <a:gd name="T73" fmla="*/ 65 h 283"/>
                  <a:gd name="T74" fmla="*/ 151 w 151"/>
                  <a:gd name="T75" fmla="*/ 39 h 283"/>
                  <a:gd name="T76" fmla="*/ 151 w 151"/>
                  <a:gd name="T77" fmla="*/ 34 h 283"/>
                  <a:gd name="T78" fmla="*/ 119 w 151"/>
                  <a:gd name="T79"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1" h="283">
                    <a:moveTo>
                      <a:pt x="119" y="0"/>
                    </a:moveTo>
                    <a:cubicBezTo>
                      <a:pt x="75" y="0"/>
                      <a:pt x="75" y="0"/>
                      <a:pt x="75" y="0"/>
                    </a:cubicBezTo>
                    <a:cubicBezTo>
                      <a:pt x="32" y="0"/>
                      <a:pt x="32" y="0"/>
                      <a:pt x="32" y="0"/>
                    </a:cubicBezTo>
                    <a:cubicBezTo>
                      <a:pt x="11" y="0"/>
                      <a:pt x="0" y="10"/>
                      <a:pt x="0" y="34"/>
                    </a:cubicBezTo>
                    <a:cubicBezTo>
                      <a:pt x="0" y="39"/>
                      <a:pt x="0" y="39"/>
                      <a:pt x="0" y="39"/>
                    </a:cubicBezTo>
                    <a:cubicBezTo>
                      <a:pt x="0" y="65"/>
                      <a:pt x="0" y="65"/>
                      <a:pt x="0" y="65"/>
                    </a:cubicBezTo>
                    <a:cubicBezTo>
                      <a:pt x="0" y="88"/>
                      <a:pt x="0" y="88"/>
                      <a:pt x="0" y="88"/>
                    </a:cubicBezTo>
                    <a:cubicBezTo>
                      <a:pt x="0" y="133"/>
                      <a:pt x="0" y="133"/>
                      <a:pt x="0" y="133"/>
                    </a:cubicBezTo>
                    <a:cubicBezTo>
                      <a:pt x="0" y="133"/>
                      <a:pt x="0" y="133"/>
                      <a:pt x="0" y="133"/>
                    </a:cubicBezTo>
                    <a:cubicBezTo>
                      <a:pt x="0" y="140"/>
                      <a:pt x="5" y="145"/>
                      <a:pt x="12" y="145"/>
                    </a:cubicBezTo>
                    <a:cubicBezTo>
                      <a:pt x="19" y="145"/>
                      <a:pt x="24" y="141"/>
                      <a:pt x="25" y="135"/>
                    </a:cubicBezTo>
                    <a:cubicBezTo>
                      <a:pt x="25" y="134"/>
                      <a:pt x="25" y="133"/>
                      <a:pt x="25" y="133"/>
                    </a:cubicBezTo>
                    <a:cubicBezTo>
                      <a:pt x="25" y="43"/>
                      <a:pt x="25" y="43"/>
                      <a:pt x="25" y="43"/>
                    </a:cubicBezTo>
                    <a:cubicBezTo>
                      <a:pt x="25" y="41"/>
                      <a:pt x="26" y="39"/>
                      <a:pt x="28" y="39"/>
                    </a:cubicBezTo>
                    <a:cubicBezTo>
                      <a:pt x="30" y="39"/>
                      <a:pt x="31" y="41"/>
                      <a:pt x="31" y="43"/>
                    </a:cubicBezTo>
                    <a:cubicBezTo>
                      <a:pt x="31" y="138"/>
                      <a:pt x="31" y="138"/>
                      <a:pt x="31" y="138"/>
                    </a:cubicBezTo>
                    <a:cubicBezTo>
                      <a:pt x="31" y="138"/>
                      <a:pt x="31" y="147"/>
                      <a:pt x="32" y="152"/>
                    </a:cubicBezTo>
                    <a:cubicBezTo>
                      <a:pt x="32" y="152"/>
                      <a:pt x="32" y="152"/>
                      <a:pt x="32" y="152"/>
                    </a:cubicBezTo>
                    <a:cubicBezTo>
                      <a:pt x="32" y="152"/>
                      <a:pt x="32" y="152"/>
                      <a:pt x="32" y="152"/>
                    </a:cubicBezTo>
                    <a:cubicBezTo>
                      <a:pt x="42" y="260"/>
                      <a:pt x="42" y="260"/>
                      <a:pt x="42" y="260"/>
                    </a:cubicBezTo>
                    <a:cubicBezTo>
                      <a:pt x="43" y="276"/>
                      <a:pt x="50" y="283"/>
                      <a:pt x="64" y="283"/>
                    </a:cubicBezTo>
                    <a:cubicBezTo>
                      <a:pt x="75" y="283"/>
                      <a:pt x="75" y="283"/>
                      <a:pt x="75" y="283"/>
                    </a:cubicBezTo>
                    <a:cubicBezTo>
                      <a:pt x="87" y="283"/>
                      <a:pt x="87" y="283"/>
                      <a:pt x="87" y="283"/>
                    </a:cubicBezTo>
                    <a:cubicBezTo>
                      <a:pt x="101" y="283"/>
                      <a:pt x="108" y="276"/>
                      <a:pt x="109" y="260"/>
                    </a:cubicBezTo>
                    <a:cubicBezTo>
                      <a:pt x="119" y="152"/>
                      <a:pt x="119" y="152"/>
                      <a:pt x="119" y="152"/>
                    </a:cubicBezTo>
                    <a:cubicBezTo>
                      <a:pt x="119" y="152"/>
                      <a:pt x="119" y="152"/>
                      <a:pt x="119" y="152"/>
                    </a:cubicBezTo>
                    <a:cubicBezTo>
                      <a:pt x="119" y="152"/>
                      <a:pt x="119" y="152"/>
                      <a:pt x="119" y="152"/>
                    </a:cubicBezTo>
                    <a:cubicBezTo>
                      <a:pt x="119" y="147"/>
                      <a:pt x="119" y="138"/>
                      <a:pt x="119" y="138"/>
                    </a:cubicBezTo>
                    <a:cubicBezTo>
                      <a:pt x="119" y="43"/>
                      <a:pt x="119" y="43"/>
                      <a:pt x="119" y="43"/>
                    </a:cubicBezTo>
                    <a:cubicBezTo>
                      <a:pt x="119" y="41"/>
                      <a:pt x="121" y="39"/>
                      <a:pt x="123" y="39"/>
                    </a:cubicBezTo>
                    <a:cubicBezTo>
                      <a:pt x="124" y="39"/>
                      <a:pt x="126" y="41"/>
                      <a:pt x="126" y="43"/>
                    </a:cubicBezTo>
                    <a:cubicBezTo>
                      <a:pt x="126" y="133"/>
                      <a:pt x="126" y="133"/>
                      <a:pt x="126" y="133"/>
                    </a:cubicBezTo>
                    <a:cubicBezTo>
                      <a:pt x="126" y="133"/>
                      <a:pt x="126" y="134"/>
                      <a:pt x="126" y="135"/>
                    </a:cubicBezTo>
                    <a:cubicBezTo>
                      <a:pt x="127" y="141"/>
                      <a:pt x="132" y="145"/>
                      <a:pt x="139" y="145"/>
                    </a:cubicBezTo>
                    <a:cubicBezTo>
                      <a:pt x="146" y="145"/>
                      <a:pt x="151" y="140"/>
                      <a:pt x="151" y="133"/>
                    </a:cubicBezTo>
                    <a:cubicBezTo>
                      <a:pt x="151" y="133"/>
                      <a:pt x="151" y="133"/>
                      <a:pt x="151" y="133"/>
                    </a:cubicBezTo>
                    <a:cubicBezTo>
                      <a:pt x="151" y="65"/>
                      <a:pt x="151" y="65"/>
                      <a:pt x="151" y="65"/>
                    </a:cubicBezTo>
                    <a:cubicBezTo>
                      <a:pt x="151" y="39"/>
                      <a:pt x="151" y="39"/>
                      <a:pt x="151" y="39"/>
                    </a:cubicBezTo>
                    <a:cubicBezTo>
                      <a:pt x="151" y="34"/>
                      <a:pt x="151" y="34"/>
                      <a:pt x="151" y="34"/>
                    </a:cubicBezTo>
                    <a:cubicBezTo>
                      <a:pt x="151" y="10"/>
                      <a:pt x="140" y="0"/>
                      <a:pt x="1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微软雅黑" pitchFamily="34" charset="-122"/>
                  <a:ea typeface="微软雅黑" pitchFamily="34" charset="-122"/>
                </a:endParaRPr>
              </a:p>
            </p:txBody>
          </p:sp>
        </p:grpSp>
        <p:grpSp>
          <p:nvGrpSpPr>
            <p:cNvPr id="233" name="Group 232"/>
            <p:cNvGrpSpPr/>
            <p:nvPr/>
          </p:nvGrpSpPr>
          <p:grpSpPr>
            <a:xfrm>
              <a:off x="3944159" y="1770927"/>
              <a:ext cx="197202" cy="493005"/>
              <a:chOff x="4305301" y="1846263"/>
              <a:chExt cx="568325" cy="1420813"/>
            </a:xfrm>
            <a:solidFill>
              <a:srgbClr val="000000"/>
            </a:solidFill>
          </p:grpSpPr>
          <p:sp>
            <p:nvSpPr>
              <p:cNvPr id="234" name="Oval 633"/>
              <p:cNvSpPr>
                <a:spLocks noChangeArrowheads="1"/>
              </p:cNvSpPr>
              <p:nvPr/>
            </p:nvSpPr>
            <p:spPr bwMode="auto">
              <a:xfrm>
                <a:off x="4440238" y="1846263"/>
                <a:ext cx="296863" cy="3111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微软雅黑" pitchFamily="34" charset="-122"/>
                  <a:ea typeface="微软雅黑" pitchFamily="34" charset="-122"/>
                </a:endParaRPr>
              </a:p>
            </p:txBody>
          </p:sp>
          <p:sp>
            <p:nvSpPr>
              <p:cNvPr id="235" name="Freeform 634"/>
              <p:cNvSpPr>
                <a:spLocks/>
              </p:cNvSpPr>
              <p:nvPr/>
            </p:nvSpPr>
            <p:spPr bwMode="auto">
              <a:xfrm>
                <a:off x="4305301" y="2203451"/>
                <a:ext cx="568325" cy="1063625"/>
              </a:xfrm>
              <a:custGeom>
                <a:avLst/>
                <a:gdLst>
                  <a:gd name="T0" fmla="*/ 119 w 151"/>
                  <a:gd name="T1" fmla="*/ 0 h 283"/>
                  <a:gd name="T2" fmla="*/ 75 w 151"/>
                  <a:gd name="T3" fmla="*/ 0 h 283"/>
                  <a:gd name="T4" fmla="*/ 32 w 151"/>
                  <a:gd name="T5" fmla="*/ 0 h 283"/>
                  <a:gd name="T6" fmla="*/ 0 w 151"/>
                  <a:gd name="T7" fmla="*/ 34 h 283"/>
                  <a:gd name="T8" fmla="*/ 0 w 151"/>
                  <a:gd name="T9" fmla="*/ 39 h 283"/>
                  <a:gd name="T10" fmla="*/ 0 w 151"/>
                  <a:gd name="T11" fmla="*/ 65 h 283"/>
                  <a:gd name="T12" fmla="*/ 0 w 151"/>
                  <a:gd name="T13" fmla="*/ 88 h 283"/>
                  <a:gd name="T14" fmla="*/ 0 w 151"/>
                  <a:gd name="T15" fmla="*/ 133 h 283"/>
                  <a:gd name="T16" fmla="*/ 0 w 151"/>
                  <a:gd name="T17" fmla="*/ 133 h 283"/>
                  <a:gd name="T18" fmla="*/ 12 w 151"/>
                  <a:gd name="T19" fmla="*/ 145 h 283"/>
                  <a:gd name="T20" fmla="*/ 25 w 151"/>
                  <a:gd name="T21" fmla="*/ 135 h 283"/>
                  <a:gd name="T22" fmla="*/ 25 w 151"/>
                  <a:gd name="T23" fmla="*/ 133 h 283"/>
                  <a:gd name="T24" fmla="*/ 25 w 151"/>
                  <a:gd name="T25" fmla="*/ 43 h 283"/>
                  <a:gd name="T26" fmla="*/ 28 w 151"/>
                  <a:gd name="T27" fmla="*/ 39 h 283"/>
                  <a:gd name="T28" fmla="*/ 31 w 151"/>
                  <a:gd name="T29" fmla="*/ 43 h 283"/>
                  <a:gd name="T30" fmla="*/ 31 w 151"/>
                  <a:gd name="T31" fmla="*/ 138 h 283"/>
                  <a:gd name="T32" fmla="*/ 32 w 151"/>
                  <a:gd name="T33" fmla="*/ 152 h 283"/>
                  <a:gd name="T34" fmla="*/ 32 w 151"/>
                  <a:gd name="T35" fmla="*/ 152 h 283"/>
                  <a:gd name="T36" fmla="*/ 32 w 151"/>
                  <a:gd name="T37" fmla="*/ 152 h 283"/>
                  <a:gd name="T38" fmla="*/ 42 w 151"/>
                  <a:gd name="T39" fmla="*/ 260 h 283"/>
                  <a:gd name="T40" fmla="*/ 64 w 151"/>
                  <a:gd name="T41" fmla="*/ 283 h 283"/>
                  <a:gd name="T42" fmla="*/ 75 w 151"/>
                  <a:gd name="T43" fmla="*/ 283 h 283"/>
                  <a:gd name="T44" fmla="*/ 87 w 151"/>
                  <a:gd name="T45" fmla="*/ 283 h 283"/>
                  <a:gd name="T46" fmla="*/ 109 w 151"/>
                  <a:gd name="T47" fmla="*/ 260 h 283"/>
                  <a:gd name="T48" fmla="*/ 119 w 151"/>
                  <a:gd name="T49" fmla="*/ 152 h 283"/>
                  <a:gd name="T50" fmla="*/ 119 w 151"/>
                  <a:gd name="T51" fmla="*/ 152 h 283"/>
                  <a:gd name="T52" fmla="*/ 119 w 151"/>
                  <a:gd name="T53" fmla="*/ 152 h 283"/>
                  <a:gd name="T54" fmla="*/ 119 w 151"/>
                  <a:gd name="T55" fmla="*/ 138 h 283"/>
                  <a:gd name="T56" fmla="*/ 119 w 151"/>
                  <a:gd name="T57" fmla="*/ 43 h 283"/>
                  <a:gd name="T58" fmla="*/ 123 w 151"/>
                  <a:gd name="T59" fmla="*/ 39 h 283"/>
                  <a:gd name="T60" fmla="*/ 126 w 151"/>
                  <a:gd name="T61" fmla="*/ 43 h 283"/>
                  <a:gd name="T62" fmla="*/ 126 w 151"/>
                  <a:gd name="T63" fmla="*/ 133 h 283"/>
                  <a:gd name="T64" fmla="*/ 126 w 151"/>
                  <a:gd name="T65" fmla="*/ 135 h 283"/>
                  <a:gd name="T66" fmla="*/ 139 w 151"/>
                  <a:gd name="T67" fmla="*/ 145 h 283"/>
                  <a:gd name="T68" fmla="*/ 151 w 151"/>
                  <a:gd name="T69" fmla="*/ 133 h 283"/>
                  <a:gd name="T70" fmla="*/ 151 w 151"/>
                  <a:gd name="T71" fmla="*/ 133 h 283"/>
                  <a:gd name="T72" fmla="*/ 151 w 151"/>
                  <a:gd name="T73" fmla="*/ 65 h 283"/>
                  <a:gd name="T74" fmla="*/ 151 w 151"/>
                  <a:gd name="T75" fmla="*/ 39 h 283"/>
                  <a:gd name="T76" fmla="*/ 151 w 151"/>
                  <a:gd name="T77" fmla="*/ 34 h 283"/>
                  <a:gd name="T78" fmla="*/ 119 w 151"/>
                  <a:gd name="T79"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1" h="283">
                    <a:moveTo>
                      <a:pt x="119" y="0"/>
                    </a:moveTo>
                    <a:cubicBezTo>
                      <a:pt x="75" y="0"/>
                      <a:pt x="75" y="0"/>
                      <a:pt x="75" y="0"/>
                    </a:cubicBezTo>
                    <a:cubicBezTo>
                      <a:pt x="32" y="0"/>
                      <a:pt x="32" y="0"/>
                      <a:pt x="32" y="0"/>
                    </a:cubicBezTo>
                    <a:cubicBezTo>
                      <a:pt x="11" y="0"/>
                      <a:pt x="0" y="10"/>
                      <a:pt x="0" y="34"/>
                    </a:cubicBezTo>
                    <a:cubicBezTo>
                      <a:pt x="0" y="39"/>
                      <a:pt x="0" y="39"/>
                      <a:pt x="0" y="39"/>
                    </a:cubicBezTo>
                    <a:cubicBezTo>
                      <a:pt x="0" y="65"/>
                      <a:pt x="0" y="65"/>
                      <a:pt x="0" y="65"/>
                    </a:cubicBezTo>
                    <a:cubicBezTo>
                      <a:pt x="0" y="88"/>
                      <a:pt x="0" y="88"/>
                      <a:pt x="0" y="88"/>
                    </a:cubicBezTo>
                    <a:cubicBezTo>
                      <a:pt x="0" y="133"/>
                      <a:pt x="0" y="133"/>
                      <a:pt x="0" y="133"/>
                    </a:cubicBezTo>
                    <a:cubicBezTo>
                      <a:pt x="0" y="133"/>
                      <a:pt x="0" y="133"/>
                      <a:pt x="0" y="133"/>
                    </a:cubicBezTo>
                    <a:cubicBezTo>
                      <a:pt x="0" y="140"/>
                      <a:pt x="5" y="145"/>
                      <a:pt x="12" y="145"/>
                    </a:cubicBezTo>
                    <a:cubicBezTo>
                      <a:pt x="19" y="145"/>
                      <a:pt x="24" y="141"/>
                      <a:pt x="25" y="135"/>
                    </a:cubicBezTo>
                    <a:cubicBezTo>
                      <a:pt x="25" y="134"/>
                      <a:pt x="25" y="133"/>
                      <a:pt x="25" y="133"/>
                    </a:cubicBezTo>
                    <a:cubicBezTo>
                      <a:pt x="25" y="43"/>
                      <a:pt x="25" y="43"/>
                      <a:pt x="25" y="43"/>
                    </a:cubicBezTo>
                    <a:cubicBezTo>
                      <a:pt x="25" y="41"/>
                      <a:pt x="26" y="39"/>
                      <a:pt x="28" y="39"/>
                    </a:cubicBezTo>
                    <a:cubicBezTo>
                      <a:pt x="30" y="39"/>
                      <a:pt x="31" y="41"/>
                      <a:pt x="31" y="43"/>
                    </a:cubicBezTo>
                    <a:cubicBezTo>
                      <a:pt x="31" y="138"/>
                      <a:pt x="31" y="138"/>
                      <a:pt x="31" y="138"/>
                    </a:cubicBezTo>
                    <a:cubicBezTo>
                      <a:pt x="31" y="138"/>
                      <a:pt x="31" y="147"/>
                      <a:pt x="32" y="152"/>
                    </a:cubicBezTo>
                    <a:cubicBezTo>
                      <a:pt x="32" y="152"/>
                      <a:pt x="32" y="152"/>
                      <a:pt x="32" y="152"/>
                    </a:cubicBezTo>
                    <a:cubicBezTo>
                      <a:pt x="32" y="152"/>
                      <a:pt x="32" y="152"/>
                      <a:pt x="32" y="152"/>
                    </a:cubicBezTo>
                    <a:cubicBezTo>
                      <a:pt x="42" y="260"/>
                      <a:pt x="42" y="260"/>
                      <a:pt x="42" y="260"/>
                    </a:cubicBezTo>
                    <a:cubicBezTo>
                      <a:pt x="43" y="276"/>
                      <a:pt x="50" y="283"/>
                      <a:pt x="64" y="283"/>
                    </a:cubicBezTo>
                    <a:cubicBezTo>
                      <a:pt x="75" y="283"/>
                      <a:pt x="75" y="283"/>
                      <a:pt x="75" y="283"/>
                    </a:cubicBezTo>
                    <a:cubicBezTo>
                      <a:pt x="87" y="283"/>
                      <a:pt x="87" y="283"/>
                      <a:pt x="87" y="283"/>
                    </a:cubicBezTo>
                    <a:cubicBezTo>
                      <a:pt x="101" y="283"/>
                      <a:pt x="108" y="276"/>
                      <a:pt x="109" y="260"/>
                    </a:cubicBezTo>
                    <a:cubicBezTo>
                      <a:pt x="119" y="152"/>
                      <a:pt x="119" y="152"/>
                      <a:pt x="119" y="152"/>
                    </a:cubicBezTo>
                    <a:cubicBezTo>
                      <a:pt x="119" y="152"/>
                      <a:pt x="119" y="152"/>
                      <a:pt x="119" y="152"/>
                    </a:cubicBezTo>
                    <a:cubicBezTo>
                      <a:pt x="119" y="152"/>
                      <a:pt x="119" y="152"/>
                      <a:pt x="119" y="152"/>
                    </a:cubicBezTo>
                    <a:cubicBezTo>
                      <a:pt x="119" y="147"/>
                      <a:pt x="119" y="138"/>
                      <a:pt x="119" y="138"/>
                    </a:cubicBezTo>
                    <a:cubicBezTo>
                      <a:pt x="119" y="43"/>
                      <a:pt x="119" y="43"/>
                      <a:pt x="119" y="43"/>
                    </a:cubicBezTo>
                    <a:cubicBezTo>
                      <a:pt x="119" y="41"/>
                      <a:pt x="121" y="39"/>
                      <a:pt x="123" y="39"/>
                    </a:cubicBezTo>
                    <a:cubicBezTo>
                      <a:pt x="124" y="39"/>
                      <a:pt x="126" y="41"/>
                      <a:pt x="126" y="43"/>
                    </a:cubicBezTo>
                    <a:cubicBezTo>
                      <a:pt x="126" y="133"/>
                      <a:pt x="126" y="133"/>
                      <a:pt x="126" y="133"/>
                    </a:cubicBezTo>
                    <a:cubicBezTo>
                      <a:pt x="126" y="133"/>
                      <a:pt x="126" y="134"/>
                      <a:pt x="126" y="135"/>
                    </a:cubicBezTo>
                    <a:cubicBezTo>
                      <a:pt x="127" y="141"/>
                      <a:pt x="132" y="145"/>
                      <a:pt x="139" y="145"/>
                    </a:cubicBezTo>
                    <a:cubicBezTo>
                      <a:pt x="146" y="145"/>
                      <a:pt x="151" y="140"/>
                      <a:pt x="151" y="133"/>
                    </a:cubicBezTo>
                    <a:cubicBezTo>
                      <a:pt x="151" y="133"/>
                      <a:pt x="151" y="133"/>
                      <a:pt x="151" y="133"/>
                    </a:cubicBezTo>
                    <a:cubicBezTo>
                      <a:pt x="151" y="65"/>
                      <a:pt x="151" y="65"/>
                      <a:pt x="151" y="65"/>
                    </a:cubicBezTo>
                    <a:cubicBezTo>
                      <a:pt x="151" y="39"/>
                      <a:pt x="151" y="39"/>
                      <a:pt x="151" y="39"/>
                    </a:cubicBezTo>
                    <a:cubicBezTo>
                      <a:pt x="151" y="34"/>
                      <a:pt x="151" y="34"/>
                      <a:pt x="151" y="34"/>
                    </a:cubicBezTo>
                    <a:cubicBezTo>
                      <a:pt x="151" y="10"/>
                      <a:pt x="140" y="0"/>
                      <a:pt x="1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微软雅黑" pitchFamily="34" charset="-122"/>
                  <a:ea typeface="微软雅黑" pitchFamily="34" charset="-122"/>
                </a:endParaRPr>
              </a:p>
            </p:txBody>
          </p:sp>
        </p:grpSp>
        <p:grpSp>
          <p:nvGrpSpPr>
            <p:cNvPr id="236" name="Group 235"/>
            <p:cNvGrpSpPr/>
            <p:nvPr/>
          </p:nvGrpSpPr>
          <p:grpSpPr>
            <a:xfrm>
              <a:off x="4200731" y="1770927"/>
              <a:ext cx="197202" cy="493005"/>
              <a:chOff x="4305301" y="1846263"/>
              <a:chExt cx="568325" cy="1420813"/>
            </a:xfrm>
            <a:solidFill>
              <a:srgbClr val="000000"/>
            </a:solidFill>
          </p:grpSpPr>
          <p:sp>
            <p:nvSpPr>
              <p:cNvPr id="237" name="Oval 633"/>
              <p:cNvSpPr>
                <a:spLocks noChangeArrowheads="1"/>
              </p:cNvSpPr>
              <p:nvPr/>
            </p:nvSpPr>
            <p:spPr bwMode="auto">
              <a:xfrm>
                <a:off x="4440238" y="1846263"/>
                <a:ext cx="296863" cy="3111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微软雅黑" pitchFamily="34" charset="-122"/>
                  <a:ea typeface="微软雅黑" pitchFamily="34" charset="-122"/>
                </a:endParaRPr>
              </a:p>
            </p:txBody>
          </p:sp>
          <p:sp>
            <p:nvSpPr>
              <p:cNvPr id="238" name="Freeform 634"/>
              <p:cNvSpPr>
                <a:spLocks/>
              </p:cNvSpPr>
              <p:nvPr/>
            </p:nvSpPr>
            <p:spPr bwMode="auto">
              <a:xfrm>
                <a:off x="4305301" y="2203451"/>
                <a:ext cx="568325" cy="1063625"/>
              </a:xfrm>
              <a:custGeom>
                <a:avLst/>
                <a:gdLst>
                  <a:gd name="T0" fmla="*/ 119 w 151"/>
                  <a:gd name="T1" fmla="*/ 0 h 283"/>
                  <a:gd name="T2" fmla="*/ 75 w 151"/>
                  <a:gd name="T3" fmla="*/ 0 h 283"/>
                  <a:gd name="T4" fmla="*/ 32 w 151"/>
                  <a:gd name="T5" fmla="*/ 0 h 283"/>
                  <a:gd name="T6" fmla="*/ 0 w 151"/>
                  <a:gd name="T7" fmla="*/ 34 h 283"/>
                  <a:gd name="T8" fmla="*/ 0 w 151"/>
                  <a:gd name="T9" fmla="*/ 39 h 283"/>
                  <a:gd name="T10" fmla="*/ 0 w 151"/>
                  <a:gd name="T11" fmla="*/ 65 h 283"/>
                  <a:gd name="T12" fmla="*/ 0 w 151"/>
                  <a:gd name="T13" fmla="*/ 88 h 283"/>
                  <a:gd name="T14" fmla="*/ 0 w 151"/>
                  <a:gd name="T15" fmla="*/ 133 h 283"/>
                  <a:gd name="T16" fmla="*/ 0 w 151"/>
                  <a:gd name="T17" fmla="*/ 133 h 283"/>
                  <a:gd name="T18" fmla="*/ 12 w 151"/>
                  <a:gd name="T19" fmla="*/ 145 h 283"/>
                  <a:gd name="T20" fmla="*/ 25 w 151"/>
                  <a:gd name="T21" fmla="*/ 135 h 283"/>
                  <a:gd name="T22" fmla="*/ 25 w 151"/>
                  <a:gd name="T23" fmla="*/ 133 h 283"/>
                  <a:gd name="T24" fmla="*/ 25 w 151"/>
                  <a:gd name="T25" fmla="*/ 43 h 283"/>
                  <a:gd name="T26" fmla="*/ 28 w 151"/>
                  <a:gd name="T27" fmla="*/ 39 h 283"/>
                  <a:gd name="T28" fmla="*/ 31 w 151"/>
                  <a:gd name="T29" fmla="*/ 43 h 283"/>
                  <a:gd name="T30" fmla="*/ 31 w 151"/>
                  <a:gd name="T31" fmla="*/ 138 h 283"/>
                  <a:gd name="T32" fmla="*/ 32 w 151"/>
                  <a:gd name="T33" fmla="*/ 152 h 283"/>
                  <a:gd name="T34" fmla="*/ 32 w 151"/>
                  <a:gd name="T35" fmla="*/ 152 h 283"/>
                  <a:gd name="T36" fmla="*/ 32 w 151"/>
                  <a:gd name="T37" fmla="*/ 152 h 283"/>
                  <a:gd name="T38" fmla="*/ 42 w 151"/>
                  <a:gd name="T39" fmla="*/ 260 h 283"/>
                  <a:gd name="T40" fmla="*/ 64 w 151"/>
                  <a:gd name="T41" fmla="*/ 283 h 283"/>
                  <a:gd name="T42" fmla="*/ 75 w 151"/>
                  <a:gd name="T43" fmla="*/ 283 h 283"/>
                  <a:gd name="T44" fmla="*/ 87 w 151"/>
                  <a:gd name="T45" fmla="*/ 283 h 283"/>
                  <a:gd name="T46" fmla="*/ 109 w 151"/>
                  <a:gd name="T47" fmla="*/ 260 h 283"/>
                  <a:gd name="T48" fmla="*/ 119 w 151"/>
                  <a:gd name="T49" fmla="*/ 152 h 283"/>
                  <a:gd name="T50" fmla="*/ 119 w 151"/>
                  <a:gd name="T51" fmla="*/ 152 h 283"/>
                  <a:gd name="T52" fmla="*/ 119 w 151"/>
                  <a:gd name="T53" fmla="*/ 152 h 283"/>
                  <a:gd name="T54" fmla="*/ 119 w 151"/>
                  <a:gd name="T55" fmla="*/ 138 h 283"/>
                  <a:gd name="T56" fmla="*/ 119 w 151"/>
                  <a:gd name="T57" fmla="*/ 43 h 283"/>
                  <a:gd name="T58" fmla="*/ 123 w 151"/>
                  <a:gd name="T59" fmla="*/ 39 h 283"/>
                  <a:gd name="T60" fmla="*/ 126 w 151"/>
                  <a:gd name="T61" fmla="*/ 43 h 283"/>
                  <a:gd name="T62" fmla="*/ 126 w 151"/>
                  <a:gd name="T63" fmla="*/ 133 h 283"/>
                  <a:gd name="T64" fmla="*/ 126 w 151"/>
                  <a:gd name="T65" fmla="*/ 135 h 283"/>
                  <a:gd name="T66" fmla="*/ 139 w 151"/>
                  <a:gd name="T67" fmla="*/ 145 h 283"/>
                  <a:gd name="T68" fmla="*/ 151 w 151"/>
                  <a:gd name="T69" fmla="*/ 133 h 283"/>
                  <a:gd name="T70" fmla="*/ 151 w 151"/>
                  <a:gd name="T71" fmla="*/ 133 h 283"/>
                  <a:gd name="T72" fmla="*/ 151 w 151"/>
                  <a:gd name="T73" fmla="*/ 65 h 283"/>
                  <a:gd name="T74" fmla="*/ 151 w 151"/>
                  <a:gd name="T75" fmla="*/ 39 h 283"/>
                  <a:gd name="T76" fmla="*/ 151 w 151"/>
                  <a:gd name="T77" fmla="*/ 34 h 283"/>
                  <a:gd name="T78" fmla="*/ 119 w 151"/>
                  <a:gd name="T79"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1" h="283">
                    <a:moveTo>
                      <a:pt x="119" y="0"/>
                    </a:moveTo>
                    <a:cubicBezTo>
                      <a:pt x="75" y="0"/>
                      <a:pt x="75" y="0"/>
                      <a:pt x="75" y="0"/>
                    </a:cubicBezTo>
                    <a:cubicBezTo>
                      <a:pt x="32" y="0"/>
                      <a:pt x="32" y="0"/>
                      <a:pt x="32" y="0"/>
                    </a:cubicBezTo>
                    <a:cubicBezTo>
                      <a:pt x="11" y="0"/>
                      <a:pt x="0" y="10"/>
                      <a:pt x="0" y="34"/>
                    </a:cubicBezTo>
                    <a:cubicBezTo>
                      <a:pt x="0" y="39"/>
                      <a:pt x="0" y="39"/>
                      <a:pt x="0" y="39"/>
                    </a:cubicBezTo>
                    <a:cubicBezTo>
                      <a:pt x="0" y="65"/>
                      <a:pt x="0" y="65"/>
                      <a:pt x="0" y="65"/>
                    </a:cubicBezTo>
                    <a:cubicBezTo>
                      <a:pt x="0" y="88"/>
                      <a:pt x="0" y="88"/>
                      <a:pt x="0" y="88"/>
                    </a:cubicBezTo>
                    <a:cubicBezTo>
                      <a:pt x="0" y="133"/>
                      <a:pt x="0" y="133"/>
                      <a:pt x="0" y="133"/>
                    </a:cubicBezTo>
                    <a:cubicBezTo>
                      <a:pt x="0" y="133"/>
                      <a:pt x="0" y="133"/>
                      <a:pt x="0" y="133"/>
                    </a:cubicBezTo>
                    <a:cubicBezTo>
                      <a:pt x="0" y="140"/>
                      <a:pt x="5" y="145"/>
                      <a:pt x="12" y="145"/>
                    </a:cubicBezTo>
                    <a:cubicBezTo>
                      <a:pt x="19" y="145"/>
                      <a:pt x="24" y="141"/>
                      <a:pt x="25" y="135"/>
                    </a:cubicBezTo>
                    <a:cubicBezTo>
                      <a:pt x="25" y="134"/>
                      <a:pt x="25" y="133"/>
                      <a:pt x="25" y="133"/>
                    </a:cubicBezTo>
                    <a:cubicBezTo>
                      <a:pt x="25" y="43"/>
                      <a:pt x="25" y="43"/>
                      <a:pt x="25" y="43"/>
                    </a:cubicBezTo>
                    <a:cubicBezTo>
                      <a:pt x="25" y="41"/>
                      <a:pt x="26" y="39"/>
                      <a:pt x="28" y="39"/>
                    </a:cubicBezTo>
                    <a:cubicBezTo>
                      <a:pt x="30" y="39"/>
                      <a:pt x="31" y="41"/>
                      <a:pt x="31" y="43"/>
                    </a:cubicBezTo>
                    <a:cubicBezTo>
                      <a:pt x="31" y="138"/>
                      <a:pt x="31" y="138"/>
                      <a:pt x="31" y="138"/>
                    </a:cubicBezTo>
                    <a:cubicBezTo>
                      <a:pt x="31" y="138"/>
                      <a:pt x="31" y="147"/>
                      <a:pt x="32" y="152"/>
                    </a:cubicBezTo>
                    <a:cubicBezTo>
                      <a:pt x="32" y="152"/>
                      <a:pt x="32" y="152"/>
                      <a:pt x="32" y="152"/>
                    </a:cubicBezTo>
                    <a:cubicBezTo>
                      <a:pt x="32" y="152"/>
                      <a:pt x="32" y="152"/>
                      <a:pt x="32" y="152"/>
                    </a:cubicBezTo>
                    <a:cubicBezTo>
                      <a:pt x="42" y="260"/>
                      <a:pt x="42" y="260"/>
                      <a:pt x="42" y="260"/>
                    </a:cubicBezTo>
                    <a:cubicBezTo>
                      <a:pt x="43" y="276"/>
                      <a:pt x="50" y="283"/>
                      <a:pt x="64" y="283"/>
                    </a:cubicBezTo>
                    <a:cubicBezTo>
                      <a:pt x="75" y="283"/>
                      <a:pt x="75" y="283"/>
                      <a:pt x="75" y="283"/>
                    </a:cubicBezTo>
                    <a:cubicBezTo>
                      <a:pt x="87" y="283"/>
                      <a:pt x="87" y="283"/>
                      <a:pt x="87" y="283"/>
                    </a:cubicBezTo>
                    <a:cubicBezTo>
                      <a:pt x="101" y="283"/>
                      <a:pt x="108" y="276"/>
                      <a:pt x="109" y="260"/>
                    </a:cubicBezTo>
                    <a:cubicBezTo>
                      <a:pt x="119" y="152"/>
                      <a:pt x="119" y="152"/>
                      <a:pt x="119" y="152"/>
                    </a:cubicBezTo>
                    <a:cubicBezTo>
                      <a:pt x="119" y="152"/>
                      <a:pt x="119" y="152"/>
                      <a:pt x="119" y="152"/>
                    </a:cubicBezTo>
                    <a:cubicBezTo>
                      <a:pt x="119" y="152"/>
                      <a:pt x="119" y="152"/>
                      <a:pt x="119" y="152"/>
                    </a:cubicBezTo>
                    <a:cubicBezTo>
                      <a:pt x="119" y="147"/>
                      <a:pt x="119" y="138"/>
                      <a:pt x="119" y="138"/>
                    </a:cubicBezTo>
                    <a:cubicBezTo>
                      <a:pt x="119" y="43"/>
                      <a:pt x="119" y="43"/>
                      <a:pt x="119" y="43"/>
                    </a:cubicBezTo>
                    <a:cubicBezTo>
                      <a:pt x="119" y="41"/>
                      <a:pt x="121" y="39"/>
                      <a:pt x="123" y="39"/>
                    </a:cubicBezTo>
                    <a:cubicBezTo>
                      <a:pt x="124" y="39"/>
                      <a:pt x="126" y="41"/>
                      <a:pt x="126" y="43"/>
                    </a:cubicBezTo>
                    <a:cubicBezTo>
                      <a:pt x="126" y="133"/>
                      <a:pt x="126" y="133"/>
                      <a:pt x="126" y="133"/>
                    </a:cubicBezTo>
                    <a:cubicBezTo>
                      <a:pt x="126" y="133"/>
                      <a:pt x="126" y="134"/>
                      <a:pt x="126" y="135"/>
                    </a:cubicBezTo>
                    <a:cubicBezTo>
                      <a:pt x="127" y="141"/>
                      <a:pt x="132" y="145"/>
                      <a:pt x="139" y="145"/>
                    </a:cubicBezTo>
                    <a:cubicBezTo>
                      <a:pt x="146" y="145"/>
                      <a:pt x="151" y="140"/>
                      <a:pt x="151" y="133"/>
                    </a:cubicBezTo>
                    <a:cubicBezTo>
                      <a:pt x="151" y="133"/>
                      <a:pt x="151" y="133"/>
                      <a:pt x="151" y="133"/>
                    </a:cubicBezTo>
                    <a:cubicBezTo>
                      <a:pt x="151" y="65"/>
                      <a:pt x="151" y="65"/>
                      <a:pt x="151" y="65"/>
                    </a:cubicBezTo>
                    <a:cubicBezTo>
                      <a:pt x="151" y="39"/>
                      <a:pt x="151" y="39"/>
                      <a:pt x="151" y="39"/>
                    </a:cubicBezTo>
                    <a:cubicBezTo>
                      <a:pt x="151" y="34"/>
                      <a:pt x="151" y="34"/>
                      <a:pt x="151" y="34"/>
                    </a:cubicBezTo>
                    <a:cubicBezTo>
                      <a:pt x="151" y="10"/>
                      <a:pt x="140" y="0"/>
                      <a:pt x="1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微软雅黑" pitchFamily="34" charset="-122"/>
                  <a:ea typeface="微软雅黑" pitchFamily="34" charset="-122"/>
                </a:endParaRPr>
              </a:p>
            </p:txBody>
          </p:sp>
        </p:grpSp>
      </p:grpSp>
      <p:sp>
        <p:nvSpPr>
          <p:cNvPr id="240" name="Freeform 239"/>
          <p:cNvSpPr>
            <a:spLocks noEditPoints="1"/>
          </p:cNvSpPr>
          <p:nvPr/>
        </p:nvSpPr>
        <p:spPr bwMode="auto">
          <a:xfrm>
            <a:off x="8352326" y="1382790"/>
            <a:ext cx="1670532" cy="915954"/>
          </a:xfrm>
          <a:custGeom>
            <a:avLst/>
            <a:gdLst>
              <a:gd name="T0" fmla="*/ 77 w 427"/>
              <a:gd name="T1" fmla="*/ 234 h 234"/>
              <a:gd name="T2" fmla="*/ 47 w 427"/>
              <a:gd name="T3" fmla="*/ 227 h 234"/>
              <a:gd name="T4" fmla="*/ 0 w 427"/>
              <a:gd name="T5" fmla="*/ 156 h 234"/>
              <a:gd name="T6" fmla="*/ 7 w 427"/>
              <a:gd name="T7" fmla="*/ 125 h 234"/>
              <a:gd name="T8" fmla="*/ 78 w 427"/>
              <a:gd name="T9" fmla="*/ 79 h 234"/>
              <a:gd name="T10" fmla="*/ 79 w 427"/>
              <a:gd name="T11" fmla="*/ 79 h 234"/>
              <a:gd name="T12" fmla="*/ 84 w 427"/>
              <a:gd name="T13" fmla="*/ 62 h 234"/>
              <a:gd name="T14" fmla="*/ 179 w 427"/>
              <a:gd name="T15" fmla="*/ 0 h 234"/>
              <a:gd name="T16" fmla="*/ 220 w 427"/>
              <a:gd name="T17" fmla="*/ 8 h 234"/>
              <a:gd name="T18" fmla="*/ 277 w 427"/>
              <a:gd name="T19" fmla="*/ 70 h 234"/>
              <a:gd name="T20" fmla="*/ 301 w 427"/>
              <a:gd name="T21" fmla="*/ 67 h 234"/>
              <a:gd name="T22" fmla="*/ 334 w 427"/>
              <a:gd name="T23" fmla="*/ 74 h 234"/>
              <a:gd name="T24" fmla="*/ 382 w 427"/>
              <a:gd name="T25" fmla="*/ 133 h 234"/>
              <a:gd name="T26" fmla="*/ 397 w 427"/>
              <a:gd name="T27" fmla="*/ 137 h 234"/>
              <a:gd name="T28" fmla="*/ 397 w 427"/>
              <a:gd name="T29" fmla="*/ 137 h 234"/>
              <a:gd name="T30" fmla="*/ 427 w 427"/>
              <a:gd name="T31" fmla="*/ 183 h 234"/>
              <a:gd name="T32" fmla="*/ 423 w 427"/>
              <a:gd name="T33" fmla="*/ 203 h 234"/>
              <a:gd name="T34" fmla="*/ 382 w 427"/>
              <a:gd name="T35" fmla="*/ 234 h 234"/>
              <a:gd name="T36" fmla="*/ 77 w 427"/>
              <a:gd name="T37" fmla="*/ 234 h 234"/>
              <a:gd name="T38" fmla="*/ 404 w 427"/>
              <a:gd name="T39" fmla="*/ 195 h 234"/>
              <a:gd name="T40" fmla="*/ 407 w 427"/>
              <a:gd name="T41" fmla="*/ 183 h 234"/>
              <a:gd name="T42" fmla="*/ 389 w 427"/>
              <a:gd name="T43" fmla="*/ 155 h 234"/>
              <a:gd name="T44" fmla="*/ 389 w 427"/>
              <a:gd name="T45" fmla="*/ 155 h 234"/>
              <a:gd name="T46" fmla="*/ 377 w 427"/>
              <a:gd name="T47" fmla="*/ 153 h 234"/>
              <a:gd name="T48" fmla="*/ 375 w 427"/>
              <a:gd name="T49" fmla="*/ 153 h 234"/>
              <a:gd name="T50" fmla="*/ 364 w 427"/>
              <a:gd name="T51" fmla="*/ 144 h 234"/>
              <a:gd name="T52" fmla="*/ 326 w 427"/>
              <a:gd name="T53" fmla="*/ 92 h 234"/>
              <a:gd name="T54" fmla="*/ 301 w 427"/>
              <a:gd name="T55" fmla="*/ 87 h 234"/>
              <a:gd name="T56" fmla="*/ 274 w 427"/>
              <a:gd name="T57" fmla="*/ 93 h 234"/>
              <a:gd name="T58" fmla="*/ 261 w 427"/>
              <a:gd name="T59" fmla="*/ 86 h 234"/>
              <a:gd name="T60" fmla="*/ 212 w 427"/>
              <a:gd name="T61" fmla="*/ 27 h 234"/>
              <a:gd name="T62" fmla="*/ 179 w 427"/>
              <a:gd name="T63" fmla="*/ 20 h 234"/>
              <a:gd name="T64" fmla="*/ 103 w 427"/>
              <a:gd name="T65" fmla="*/ 70 h 234"/>
              <a:gd name="T66" fmla="*/ 97 w 427"/>
              <a:gd name="T67" fmla="*/ 91 h 234"/>
              <a:gd name="T68" fmla="*/ 86 w 427"/>
              <a:gd name="T69" fmla="*/ 99 h 234"/>
              <a:gd name="T70" fmla="*/ 78 w 427"/>
              <a:gd name="T71" fmla="*/ 99 h 234"/>
              <a:gd name="T72" fmla="*/ 25 w 427"/>
              <a:gd name="T73" fmla="*/ 133 h 234"/>
              <a:gd name="T74" fmla="*/ 20 w 427"/>
              <a:gd name="T75" fmla="*/ 156 h 234"/>
              <a:gd name="T76" fmla="*/ 55 w 427"/>
              <a:gd name="T77" fmla="*/ 209 h 234"/>
              <a:gd name="T78" fmla="*/ 78 w 427"/>
              <a:gd name="T79" fmla="*/ 214 h 234"/>
              <a:gd name="T80" fmla="*/ 78 w 427"/>
              <a:gd name="T81" fmla="*/ 214 h 234"/>
              <a:gd name="T82" fmla="*/ 380 w 427"/>
              <a:gd name="T83" fmla="*/ 21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234">
                <a:moveTo>
                  <a:pt x="77" y="234"/>
                </a:moveTo>
                <a:cubicBezTo>
                  <a:pt x="77" y="234"/>
                  <a:pt x="77" y="234"/>
                  <a:pt x="77" y="234"/>
                </a:cubicBezTo>
                <a:cubicBezTo>
                  <a:pt x="67" y="234"/>
                  <a:pt x="57" y="231"/>
                  <a:pt x="47" y="227"/>
                </a:cubicBezTo>
                <a:cubicBezTo>
                  <a:pt x="47" y="227"/>
                  <a:pt x="47" y="227"/>
                  <a:pt x="47" y="227"/>
                </a:cubicBezTo>
                <a:cubicBezTo>
                  <a:pt x="18" y="215"/>
                  <a:pt x="0" y="186"/>
                  <a:pt x="0" y="156"/>
                </a:cubicBezTo>
                <a:cubicBezTo>
                  <a:pt x="0" y="156"/>
                  <a:pt x="0" y="156"/>
                  <a:pt x="0" y="156"/>
                </a:cubicBezTo>
                <a:cubicBezTo>
                  <a:pt x="0" y="146"/>
                  <a:pt x="2" y="135"/>
                  <a:pt x="7" y="125"/>
                </a:cubicBezTo>
                <a:cubicBezTo>
                  <a:pt x="7" y="125"/>
                  <a:pt x="7" y="125"/>
                  <a:pt x="7" y="125"/>
                </a:cubicBezTo>
                <a:cubicBezTo>
                  <a:pt x="19" y="96"/>
                  <a:pt x="48" y="79"/>
                  <a:pt x="78" y="79"/>
                </a:cubicBezTo>
                <a:cubicBezTo>
                  <a:pt x="78" y="79"/>
                  <a:pt x="78" y="79"/>
                  <a:pt x="78" y="79"/>
                </a:cubicBezTo>
                <a:cubicBezTo>
                  <a:pt x="78" y="79"/>
                  <a:pt x="78" y="79"/>
                  <a:pt x="79" y="79"/>
                </a:cubicBezTo>
                <a:cubicBezTo>
                  <a:pt x="79" y="79"/>
                  <a:pt x="79" y="79"/>
                  <a:pt x="79" y="79"/>
                </a:cubicBezTo>
                <a:cubicBezTo>
                  <a:pt x="80" y="73"/>
                  <a:pt x="82" y="67"/>
                  <a:pt x="84" y="62"/>
                </a:cubicBezTo>
                <a:cubicBezTo>
                  <a:pt x="84" y="62"/>
                  <a:pt x="84" y="62"/>
                  <a:pt x="84" y="62"/>
                </a:cubicBezTo>
                <a:cubicBezTo>
                  <a:pt x="101" y="23"/>
                  <a:pt x="139" y="0"/>
                  <a:pt x="179" y="0"/>
                </a:cubicBezTo>
                <a:cubicBezTo>
                  <a:pt x="179" y="0"/>
                  <a:pt x="179" y="0"/>
                  <a:pt x="179" y="0"/>
                </a:cubicBezTo>
                <a:cubicBezTo>
                  <a:pt x="193" y="0"/>
                  <a:pt x="207" y="2"/>
                  <a:pt x="220" y="8"/>
                </a:cubicBezTo>
                <a:cubicBezTo>
                  <a:pt x="220" y="8"/>
                  <a:pt x="220" y="8"/>
                  <a:pt x="220" y="8"/>
                </a:cubicBezTo>
                <a:cubicBezTo>
                  <a:pt x="248" y="20"/>
                  <a:pt x="268" y="43"/>
                  <a:pt x="277" y="70"/>
                </a:cubicBezTo>
                <a:cubicBezTo>
                  <a:pt x="277" y="70"/>
                  <a:pt x="277" y="70"/>
                  <a:pt x="277" y="70"/>
                </a:cubicBezTo>
                <a:cubicBezTo>
                  <a:pt x="285" y="68"/>
                  <a:pt x="293" y="67"/>
                  <a:pt x="301" y="67"/>
                </a:cubicBezTo>
                <a:cubicBezTo>
                  <a:pt x="301" y="67"/>
                  <a:pt x="301" y="67"/>
                  <a:pt x="301" y="67"/>
                </a:cubicBezTo>
                <a:cubicBezTo>
                  <a:pt x="312" y="67"/>
                  <a:pt x="323" y="69"/>
                  <a:pt x="334" y="74"/>
                </a:cubicBezTo>
                <a:cubicBezTo>
                  <a:pt x="334" y="74"/>
                  <a:pt x="334" y="74"/>
                  <a:pt x="334" y="74"/>
                </a:cubicBezTo>
                <a:cubicBezTo>
                  <a:pt x="360" y="85"/>
                  <a:pt x="377" y="108"/>
                  <a:pt x="382" y="133"/>
                </a:cubicBezTo>
                <a:cubicBezTo>
                  <a:pt x="382" y="133"/>
                  <a:pt x="382" y="133"/>
                  <a:pt x="382" y="133"/>
                </a:cubicBezTo>
                <a:cubicBezTo>
                  <a:pt x="387" y="134"/>
                  <a:pt x="392" y="135"/>
                  <a:pt x="397" y="137"/>
                </a:cubicBezTo>
                <a:cubicBezTo>
                  <a:pt x="397" y="137"/>
                  <a:pt x="397" y="137"/>
                  <a:pt x="397" y="137"/>
                </a:cubicBezTo>
                <a:cubicBezTo>
                  <a:pt x="397" y="137"/>
                  <a:pt x="397" y="137"/>
                  <a:pt x="397" y="137"/>
                </a:cubicBezTo>
                <a:cubicBezTo>
                  <a:pt x="397" y="137"/>
                  <a:pt x="397" y="137"/>
                  <a:pt x="397" y="137"/>
                </a:cubicBezTo>
                <a:cubicBezTo>
                  <a:pt x="416" y="145"/>
                  <a:pt x="427" y="164"/>
                  <a:pt x="427" y="183"/>
                </a:cubicBezTo>
                <a:cubicBezTo>
                  <a:pt x="427" y="183"/>
                  <a:pt x="427" y="183"/>
                  <a:pt x="427" y="183"/>
                </a:cubicBezTo>
                <a:cubicBezTo>
                  <a:pt x="427" y="190"/>
                  <a:pt x="426" y="196"/>
                  <a:pt x="423" y="203"/>
                </a:cubicBezTo>
                <a:cubicBezTo>
                  <a:pt x="423" y="203"/>
                  <a:pt x="423" y="203"/>
                  <a:pt x="423" y="203"/>
                </a:cubicBezTo>
                <a:cubicBezTo>
                  <a:pt x="415" y="220"/>
                  <a:pt x="400" y="232"/>
                  <a:pt x="382" y="234"/>
                </a:cubicBezTo>
                <a:cubicBezTo>
                  <a:pt x="382" y="234"/>
                  <a:pt x="382" y="234"/>
                  <a:pt x="382" y="234"/>
                </a:cubicBezTo>
                <a:cubicBezTo>
                  <a:pt x="381" y="234"/>
                  <a:pt x="381" y="234"/>
                  <a:pt x="381" y="234"/>
                </a:cubicBezTo>
                <a:cubicBezTo>
                  <a:pt x="77" y="234"/>
                  <a:pt x="77" y="234"/>
                  <a:pt x="77" y="234"/>
                </a:cubicBezTo>
                <a:close/>
                <a:moveTo>
                  <a:pt x="380" y="214"/>
                </a:moveTo>
                <a:cubicBezTo>
                  <a:pt x="390" y="213"/>
                  <a:pt x="400" y="205"/>
                  <a:pt x="404" y="195"/>
                </a:cubicBezTo>
                <a:cubicBezTo>
                  <a:pt x="404" y="195"/>
                  <a:pt x="404" y="195"/>
                  <a:pt x="404" y="195"/>
                </a:cubicBezTo>
                <a:cubicBezTo>
                  <a:pt x="406" y="191"/>
                  <a:pt x="407" y="187"/>
                  <a:pt x="407" y="183"/>
                </a:cubicBezTo>
                <a:cubicBezTo>
                  <a:pt x="407" y="183"/>
                  <a:pt x="407" y="183"/>
                  <a:pt x="407" y="183"/>
                </a:cubicBezTo>
                <a:cubicBezTo>
                  <a:pt x="407" y="171"/>
                  <a:pt x="400" y="160"/>
                  <a:pt x="389" y="155"/>
                </a:cubicBezTo>
                <a:cubicBezTo>
                  <a:pt x="389" y="155"/>
                  <a:pt x="389" y="155"/>
                  <a:pt x="389" y="155"/>
                </a:cubicBezTo>
                <a:cubicBezTo>
                  <a:pt x="389" y="155"/>
                  <a:pt x="389" y="155"/>
                  <a:pt x="389" y="155"/>
                </a:cubicBezTo>
                <a:cubicBezTo>
                  <a:pt x="385" y="154"/>
                  <a:pt x="381" y="153"/>
                  <a:pt x="377" y="153"/>
                </a:cubicBezTo>
                <a:cubicBezTo>
                  <a:pt x="377" y="153"/>
                  <a:pt x="377" y="153"/>
                  <a:pt x="377" y="153"/>
                </a:cubicBezTo>
                <a:cubicBezTo>
                  <a:pt x="376" y="153"/>
                  <a:pt x="375" y="153"/>
                  <a:pt x="375" y="153"/>
                </a:cubicBezTo>
                <a:cubicBezTo>
                  <a:pt x="375" y="153"/>
                  <a:pt x="375" y="153"/>
                  <a:pt x="375" y="153"/>
                </a:cubicBezTo>
                <a:cubicBezTo>
                  <a:pt x="365" y="154"/>
                  <a:pt x="365" y="154"/>
                  <a:pt x="365" y="154"/>
                </a:cubicBezTo>
                <a:cubicBezTo>
                  <a:pt x="364" y="144"/>
                  <a:pt x="364" y="144"/>
                  <a:pt x="364" y="144"/>
                </a:cubicBezTo>
                <a:cubicBezTo>
                  <a:pt x="362" y="122"/>
                  <a:pt x="348" y="102"/>
                  <a:pt x="326" y="92"/>
                </a:cubicBezTo>
                <a:cubicBezTo>
                  <a:pt x="326" y="92"/>
                  <a:pt x="326" y="92"/>
                  <a:pt x="326" y="92"/>
                </a:cubicBezTo>
                <a:cubicBezTo>
                  <a:pt x="318" y="88"/>
                  <a:pt x="309" y="87"/>
                  <a:pt x="301" y="87"/>
                </a:cubicBezTo>
                <a:cubicBezTo>
                  <a:pt x="301" y="87"/>
                  <a:pt x="301" y="87"/>
                  <a:pt x="301" y="87"/>
                </a:cubicBezTo>
                <a:cubicBezTo>
                  <a:pt x="292" y="87"/>
                  <a:pt x="283" y="89"/>
                  <a:pt x="274" y="93"/>
                </a:cubicBezTo>
                <a:cubicBezTo>
                  <a:pt x="274" y="93"/>
                  <a:pt x="274" y="93"/>
                  <a:pt x="274" y="93"/>
                </a:cubicBezTo>
                <a:cubicBezTo>
                  <a:pt x="263" y="98"/>
                  <a:pt x="263" y="98"/>
                  <a:pt x="263" y="98"/>
                </a:cubicBezTo>
                <a:cubicBezTo>
                  <a:pt x="261" y="86"/>
                  <a:pt x="261" y="86"/>
                  <a:pt x="261" y="86"/>
                </a:cubicBezTo>
                <a:cubicBezTo>
                  <a:pt x="255" y="60"/>
                  <a:pt x="238" y="38"/>
                  <a:pt x="212" y="27"/>
                </a:cubicBezTo>
                <a:cubicBezTo>
                  <a:pt x="212" y="27"/>
                  <a:pt x="212" y="27"/>
                  <a:pt x="212" y="27"/>
                </a:cubicBezTo>
                <a:cubicBezTo>
                  <a:pt x="201" y="22"/>
                  <a:pt x="190" y="20"/>
                  <a:pt x="179" y="20"/>
                </a:cubicBezTo>
                <a:cubicBezTo>
                  <a:pt x="179" y="20"/>
                  <a:pt x="179" y="20"/>
                  <a:pt x="179" y="20"/>
                </a:cubicBezTo>
                <a:cubicBezTo>
                  <a:pt x="147" y="20"/>
                  <a:pt x="116" y="38"/>
                  <a:pt x="103" y="70"/>
                </a:cubicBezTo>
                <a:cubicBezTo>
                  <a:pt x="103" y="70"/>
                  <a:pt x="103" y="70"/>
                  <a:pt x="103" y="70"/>
                </a:cubicBezTo>
                <a:cubicBezTo>
                  <a:pt x="100" y="77"/>
                  <a:pt x="98" y="84"/>
                  <a:pt x="97" y="91"/>
                </a:cubicBezTo>
                <a:cubicBezTo>
                  <a:pt x="97" y="91"/>
                  <a:pt x="97" y="91"/>
                  <a:pt x="97" y="91"/>
                </a:cubicBezTo>
                <a:cubicBezTo>
                  <a:pt x="95" y="100"/>
                  <a:pt x="95" y="100"/>
                  <a:pt x="95" y="100"/>
                </a:cubicBezTo>
                <a:cubicBezTo>
                  <a:pt x="86" y="99"/>
                  <a:pt x="86" y="99"/>
                  <a:pt x="86" y="99"/>
                </a:cubicBezTo>
                <a:cubicBezTo>
                  <a:pt x="83" y="99"/>
                  <a:pt x="80" y="99"/>
                  <a:pt x="78" y="99"/>
                </a:cubicBezTo>
                <a:cubicBezTo>
                  <a:pt x="78" y="99"/>
                  <a:pt x="78" y="99"/>
                  <a:pt x="78" y="99"/>
                </a:cubicBezTo>
                <a:cubicBezTo>
                  <a:pt x="56" y="99"/>
                  <a:pt x="35" y="112"/>
                  <a:pt x="25" y="133"/>
                </a:cubicBezTo>
                <a:cubicBezTo>
                  <a:pt x="25" y="133"/>
                  <a:pt x="25" y="133"/>
                  <a:pt x="25" y="133"/>
                </a:cubicBezTo>
                <a:cubicBezTo>
                  <a:pt x="22" y="141"/>
                  <a:pt x="20" y="148"/>
                  <a:pt x="20" y="156"/>
                </a:cubicBezTo>
                <a:cubicBezTo>
                  <a:pt x="20" y="156"/>
                  <a:pt x="20" y="156"/>
                  <a:pt x="20" y="156"/>
                </a:cubicBezTo>
                <a:cubicBezTo>
                  <a:pt x="20" y="178"/>
                  <a:pt x="33" y="200"/>
                  <a:pt x="55" y="209"/>
                </a:cubicBezTo>
                <a:cubicBezTo>
                  <a:pt x="55" y="209"/>
                  <a:pt x="55" y="209"/>
                  <a:pt x="55" y="209"/>
                </a:cubicBezTo>
                <a:cubicBezTo>
                  <a:pt x="62" y="212"/>
                  <a:pt x="70" y="214"/>
                  <a:pt x="78" y="214"/>
                </a:cubicBezTo>
                <a:cubicBezTo>
                  <a:pt x="78" y="214"/>
                  <a:pt x="78" y="214"/>
                  <a:pt x="78" y="214"/>
                </a:cubicBezTo>
                <a:cubicBezTo>
                  <a:pt x="78" y="214"/>
                  <a:pt x="78" y="214"/>
                  <a:pt x="78" y="214"/>
                </a:cubicBezTo>
                <a:cubicBezTo>
                  <a:pt x="78" y="214"/>
                  <a:pt x="78" y="214"/>
                  <a:pt x="78" y="214"/>
                </a:cubicBezTo>
                <a:cubicBezTo>
                  <a:pt x="78" y="214"/>
                  <a:pt x="78" y="214"/>
                  <a:pt x="78" y="214"/>
                </a:cubicBezTo>
                <a:cubicBezTo>
                  <a:pt x="380" y="214"/>
                  <a:pt x="380" y="214"/>
                  <a:pt x="380" y="214"/>
                </a:cubicBezTo>
                <a:close/>
              </a:path>
            </a:pathLst>
          </a:custGeom>
          <a:solidFill>
            <a:schemeClr val="accent4">
              <a:lumMod val="40000"/>
              <a:lumOff val="60000"/>
            </a:schemeClr>
          </a:solidFill>
          <a:ln>
            <a:noFill/>
          </a:ln>
        </p:spPr>
        <p:txBody>
          <a:bodyPr vert="horz" wrap="square" lIns="129909" tIns="64954" rIns="129909" bIns="64954" numCol="1" anchor="t" anchorCtr="0" compatLnSpc="1">
            <a:prstTxWarp prst="textNoShape">
              <a:avLst/>
            </a:prstTxWarp>
          </a:bodyPr>
          <a:lstStyle/>
          <a:p>
            <a:endParaRPr lang="en-US">
              <a:solidFill>
                <a:prstClr val="black"/>
              </a:solidFill>
              <a:latin typeface="微软雅黑" pitchFamily="34" charset="-122"/>
              <a:ea typeface="微软雅黑" pitchFamily="34" charset="-122"/>
            </a:endParaRPr>
          </a:p>
        </p:txBody>
      </p:sp>
      <p:sp>
        <p:nvSpPr>
          <p:cNvPr id="259" name="Freeform 137"/>
          <p:cNvSpPr>
            <a:spLocks noChangeAspect="1"/>
          </p:cNvSpPr>
          <p:nvPr/>
        </p:nvSpPr>
        <p:spPr bwMode="auto">
          <a:xfrm>
            <a:off x="8563428" y="2043290"/>
            <a:ext cx="1691370" cy="910336"/>
          </a:xfrm>
          <a:custGeom>
            <a:avLst/>
            <a:gdLst>
              <a:gd name="T0" fmla="*/ 414 w 446"/>
              <a:gd name="T1" fmla="*/ 158 h 240"/>
              <a:gd name="T2" fmla="*/ 394 w 446"/>
              <a:gd name="T3" fmla="*/ 155 h 240"/>
              <a:gd name="T4" fmla="*/ 348 w 446"/>
              <a:gd name="T5" fmla="*/ 91 h 240"/>
              <a:gd name="T6" fmla="*/ 285 w 446"/>
              <a:gd name="T7" fmla="*/ 92 h 240"/>
              <a:gd name="T8" fmla="*/ 228 w 446"/>
              <a:gd name="T9" fmla="*/ 22 h 240"/>
              <a:gd name="T10" fmla="*/ 98 w 446"/>
              <a:gd name="T11" fmla="*/ 73 h 240"/>
              <a:gd name="T12" fmla="*/ 91 w 446"/>
              <a:gd name="T13" fmla="*/ 98 h 240"/>
              <a:gd name="T14" fmla="*/ 16 w 446"/>
              <a:gd name="T15" fmla="*/ 140 h 240"/>
              <a:gd name="T16" fmla="*/ 53 w 446"/>
              <a:gd name="T17" fmla="*/ 234 h 240"/>
              <a:gd name="T18" fmla="*/ 81 w 446"/>
              <a:gd name="T19" fmla="*/ 240 h 240"/>
              <a:gd name="T20" fmla="*/ 402 w 446"/>
              <a:gd name="T21" fmla="*/ 240 h 240"/>
              <a:gd name="T22" fmla="*/ 436 w 446"/>
              <a:gd name="T23" fmla="*/ 214 h 240"/>
              <a:gd name="T24" fmla="*/ 414 w 446"/>
              <a:gd name="T25" fmla="*/ 15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6" h="240">
                <a:moveTo>
                  <a:pt x="414" y="158"/>
                </a:moveTo>
                <a:cubicBezTo>
                  <a:pt x="408" y="155"/>
                  <a:pt x="401" y="154"/>
                  <a:pt x="394" y="155"/>
                </a:cubicBezTo>
                <a:cubicBezTo>
                  <a:pt x="392" y="128"/>
                  <a:pt x="375" y="103"/>
                  <a:pt x="348" y="91"/>
                </a:cubicBezTo>
                <a:cubicBezTo>
                  <a:pt x="327" y="82"/>
                  <a:pt x="304" y="83"/>
                  <a:pt x="285" y="92"/>
                </a:cubicBezTo>
                <a:cubicBezTo>
                  <a:pt x="278" y="61"/>
                  <a:pt x="258" y="35"/>
                  <a:pt x="228" y="22"/>
                </a:cubicBezTo>
                <a:cubicBezTo>
                  <a:pt x="178" y="0"/>
                  <a:pt x="120" y="23"/>
                  <a:pt x="98" y="73"/>
                </a:cubicBezTo>
                <a:cubicBezTo>
                  <a:pt x="94" y="81"/>
                  <a:pt x="92" y="89"/>
                  <a:pt x="91" y="98"/>
                </a:cubicBezTo>
                <a:cubicBezTo>
                  <a:pt x="60" y="94"/>
                  <a:pt x="29" y="110"/>
                  <a:pt x="16" y="140"/>
                </a:cubicBezTo>
                <a:cubicBezTo>
                  <a:pt x="0" y="176"/>
                  <a:pt x="17" y="218"/>
                  <a:pt x="53" y="234"/>
                </a:cubicBezTo>
                <a:cubicBezTo>
                  <a:pt x="62" y="238"/>
                  <a:pt x="72" y="240"/>
                  <a:pt x="81" y="240"/>
                </a:cubicBezTo>
                <a:cubicBezTo>
                  <a:pt x="402" y="240"/>
                  <a:pt x="402" y="240"/>
                  <a:pt x="402" y="240"/>
                </a:cubicBezTo>
                <a:cubicBezTo>
                  <a:pt x="417" y="238"/>
                  <a:pt x="430" y="228"/>
                  <a:pt x="436" y="214"/>
                </a:cubicBezTo>
                <a:cubicBezTo>
                  <a:pt x="446" y="192"/>
                  <a:pt x="436" y="167"/>
                  <a:pt x="414" y="158"/>
                </a:cubicBezTo>
              </a:path>
            </a:pathLst>
          </a:custGeom>
          <a:solidFill>
            <a:schemeClr val="accent4">
              <a:lumMod val="40000"/>
              <a:lumOff val="60000"/>
            </a:schemeClr>
          </a:solidFill>
          <a:ln>
            <a:noFill/>
          </a:ln>
        </p:spPr>
        <p:txBody>
          <a:bodyPr vert="horz" wrap="square" lIns="129909" tIns="64954" rIns="129909" bIns="64954" numCol="1" anchor="t" anchorCtr="0" compatLnSpc="1">
            <a:prstTxWarp prst="textNoShape">
              <a:avLst/>
            </a:prstTxWarp>
          </a:bodyPr>
          <a:lstStyle/>
          <a:p>
            <a:endParaRPr lang="en-US">
              <a:solidFill>
                <a:prstClr val="black"/>
              </a:solidFill>
              <a:latin typeface="微软雅黑" pitchFamily="34" charset="-122"/>
              <a:ea typeface="微软雅黑" pitchFamily="34" charset="-122"/>
            </a:endParaRPr>
          </a:p>
        </p:txBody>
      </p:sp>
      <p:grpSp>
        <p:nvGrpSpPr>
          <p:cNvPr id="10" name="Group 9"/>
          <p:cNvGrpSpPr/>
          <p:nvPr/>
        </p:nvGrpSpPr>
        <p:grpSpPr>
          <a:xfrm>
            <a:off x="3828664" y="2045487"/>
            <a:ext cx="3576545" cy="438764"/>
            <a:chOff x="2696308" y="1438233"/>
            <a:chExt cx="2518755" cy="308506"/>
          </a:xfrm>
        </p:grpSpPr>
        <p:sp>
          <p:nvSpPr>
            <p:cNvPr id="295" name="Oval 294"/>
            <p:cNvSpPr/>
            <p:nvPr/>
          </p:nvSpPr>
          <p:spPr>
            <a:xfrm>
              <a:off x="5012582" y="1493414"/>
              <a:ext cx="202481" cy="198146"/>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微软雅黑" pitchFamily="34" charset="-122"/>
                <a:ea typeface="微软雅黑" pitchFamily="34" charset="-122"/>
              </a:endParaRPr>
            </a:p>
          </p:txBody>
        </p:sp>
        <p:sp>
          <p:nvSpPr>
            <p:cNvPr id="430" name="Right Arrow 429"/>
            <p:cNvSpPr/>
            <p:nvPr/>
          </p:nvSpPr>
          <p:spPr>
            <a:xfrm>
              <a:off x="2696308" y="1438233"/>
              <a:ext cx="2323540" cy="308506"/>
            </a:xfrm>
            <a:prstGeom prst="rightArrow">
              <a:avLst>
                <a:gd name="adj1" fmla="val 42593"/>
                <a:gd name="adj2" fmla="val 87037"/>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微软雅黑" pitchFamily="34" charset="-122"/>
                <a:ea typeface="微软雅黑" pitchFamily="34" charset="-122"/>
              </a:endParaRPr>
            </a:p>
          </p:txBody>
        </p:sp>
      </p:grpSp>
      <p:grpSp>
        <p:nvGrpSpPr>
          <p:cNvPr id="262" name="Group 261"/>
          <p:cNvGrpSpPr/>
          <p:nvPr/>
        </p:nvGrpSpPr>
        <p:grpSpPr>
          <a:xfrm>
            <a:off x="4719599" y="2015746"/>
            <a:ext cx="1857816" cy="452001"/>
            <a:chOff x="171035" y="954157"/>
            <a:chExt cx="390949" cy="387626"/>
          </a:xfrm>
        </p:grpSpPr>
        <p:sp>
          <p:nvSpPr>
            <p:cNvPr id="263" name="Round Diagonal Corner Rectangle 262"/>
            <p:cNvSpPr/>
            <p:nvPr/>
          </p:nvSpPr>
          <p:spPr>
            <a:xfrm flipV="1">
              <a:off x="171035" y="954157"/>
              <a:ext cx="387626" cy="387626"/>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dirty="0">
                <a:solidFill>
                  <a:prstClr val="white"/>
                </a:solidFill>
                <a:latin typeface="微软雅黑" pitchFamily="34" charset="-122"/>
                <a:ea typeface="微软雅黑" pitchFamily="34" charset="-122"/>
              </a:endParaRPr>
            </a:p>
          </p:txBody>
        </p:sp>
        <p:sp>
          <p:nvSpPr>
            <p:cNvPr id="264" name="Round Diagonal Corner Rectangle 263"/>
            <p:cNvSpPr/>
            <p:nvPr/>
          </p:nvSpPr>
          <p:spPr>
            <a:xfrm>
              <a:off x="174358" y="954157"/>
              <a:ext cx="387626" cy="387626"/>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2300" dirty="0">
                  <a:solidFill>
                    <a:prstClr val="white"/>
                  </a:solidFill>
                  <a:latin typeface="微软雅黑" pitchFamily="34" charset="-122"/>
                  <a:ea typeface="微软雅黑" pitchFamily="34" charset="-122"/>
                </a:rPr>
                <a:t>渗入</a:t>
              </a:r>
              <a:endParaRPr lang="en-US" sz="2300" dirty="0">
                <a:solidFill>
                  <a:prstClr val="white"/>
                </a:solidFill>
                <a:latin typeface="微软雅黑" pitchFamily="34" charset="-122"/>
                <a:ea typeface="微软雅黑" pitchFamily="34" charset="-122"/>
              </a:endParaRPr>
            </a:p>
          </p:txBody>
        </p:sp>
      </p:grpSp>
      <p:sp>
        <p:nvSpPr>
          <p:cNvPr id="271" name="Freeform 310"/>
          <p:cNvSpPr>
            <a:spLocks/>
          </p:cNvSpPr>
          <p:nvPr/>
        </p:nvSpPr>
        <p:spPr bwMode="auto">
          <a:xfrm>
            <a:off x="6794108" y="5042495"/>
            <a:ext cx="42505" cy="113734"/>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solidFill>
            <a:srgbClr val="000000"/>
          </a:solidFill>
          <a:ln w="9525">
            <a:noFill/>
            <a:round/>
            <a:headEnd/>
            <a:tailEnd/>
          </a:ln>
        </p:spPr>
        <p:txBody>
          <a:bodyPr lIns="129909" tIns="64954" rIns="129909" bIns="64954"/>
          <a:lstStyle/>
          <a:p>
            <a:endParaRPr lang="en-US" sz="2000" dirty="0">
              <a:solidFill>
                <a:prstClr val="black"/>
              </a:solidFill>
              <a:latin typeface="微软雅黑" pitchFamily="34" charset="-122"/>
              <a:ea typeface="微软雅黑" pitchFamily="34" charset="-122"/>
            </a:endParaRPr>
          </a:p>
        </p:txBody>
      </p:sp>
      <p:grpSp>
        <p:nvGrpSpPr>
          <p:cNvPr id="268" name="Group 267"/>
          <p:cNvGrpSpPr/>
          <p:nvPr/>
        </p:nvGrpSpPr>
        <p:grpSpPr>
          <a:xfrm>
            <a:off x="6521830" y="4318883"/>
            <a:ext cx="1481740" cy="457879"/>
            <a:chOff x="161386" y="954156"/>
            <a:chExt cx="314542" cy="387627"/>
          </a:xfrm>
        </p:grpSpPr>
        <p:sp>
          <p:nvSpPr>
            <p:cNvPr id="269" name="Round Diagonal Corner Rectangle 268"/>
            <p:cNvSpPr/>
            <p:nvPr/>
          </p:nvSpPr>
          <p:spPr>
            <a:xfrm rot="10800000" flipV="1">
              <a:off x="171035" y="954156"/>
              <a:ext cx="291924" cy="387626"/>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2300" dirty="0">
                  <a:solidFill>
                    <a:prstClr val="white"/>
                  </a:solidFill>
                  <a:latin typeface="微软雅黑" pitchFamily="34" charset="-122"/>
                  <a:ea typeface="微软雅黑" pitchFamily="34" charset="-122"/>
                </a:rPr>
                <a:t>捕获</a:t>
              </a:r>
              <a:endParaRPr lang="en-US" sz="2300" dirty="0">
                <a:solidFill>
                  <a:prstClr val="white"/>
                </a:solidFill>
                <a:latin typeface="微软雅黑" pitchFamily="34" charset="-122"/>
                <a:ea typeface="微软雅黑" pitchFamily="34" charset="-122"/>
              </a:endParaRPr>
            </a:p>
          </p:txBody>
        </p:sp>
        <p:sp>
          <p:nvSpPr>
            <p:cNvPr id="270" name="Round Diagonal Corner Rectangle 269"/>
            <p:cNvSpPr/>
            <p:nvPr/>
          </p:nvSpPr>
          <p:spPr>
            <a:xfrm>
              <a:off x="161386" y="954157"/>
              <a:ext cx="314542" cy="387626"/>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00" dirty="0">
                <a:solidFill>
                  <a:prstClr val="white"/>
                </a:solidFill>
                <a:latin typeface="微软雅黑" pitchFamily="34" charset="-122"/>
                <a:ea typeface="微软雅黑" pitchFamily="34" charset="-122"/>
              </a:endParaRPr>
            </a:p>
          </p:txBody>
        </p:sp>
      </p:grpSp>
      <p:grpSp>
        <p:nvGrpSpPr>
          <p:cNvPr id="9" name="Group 8"/>
          <p:cNvGrpSpPr/>
          <p:nvPr/>
        </p:nvGrpSpPr>
        <p:grpSpPr>
          <a:xfrm>
            <a:off x="4325899" y="4805243"/>
            <a:ext cx="2399571" cy="1062370"/>
            <a:chOff x="3046482" y="3378686"/>
            <a:chExt cx="1689880" cy="746979"/>
          </a:xfrm>
        </p:grpSpPr>
        <p:sp>
          <p:nvSpPr>
            <p:cNvPr id="292" name="Freeform 94"/>
            <p:cNvSpPr>
              <a:spLocks noEditPoints="1"/>
            </p:cNvSpPr>
            <p:nvPr/>
          </p:nvSpPr>
          <p:spPr bwMode="auto">
            <a:xfrm rot="4109834">
              <a:off x="3606505" y="2818663"/>
              <a:ext cx="569834" cy="1689880"/>
            </a:xfrm>
            <a:custGeom>
              <a:avLst/>
              <a:gdLst/>
              <a:ahLst/>
              <a:cxnLst>
                <a:cxn ang="0">
                  <a:pos x="360" y="3404"/>
                </a:cxn>
                <a:cxn ang="0">
                  <a:pos x="358" y="3462"/>
                </a:cxn>
                <a:cxn ang="0">
                  <a:pos x="268" y="3158"/>
                </a:cxn>
                <a:cxn ang="0">
                  <a:pos x="402" y="3008"/>
                </a:cxn>
                <a:cxn ang="0">
                  <a:pos x="388" y="3050"/>
                </a:cxn>
                <a:cxn ang="0">
                  <a:pos x="422" y="2898"/>
                </a:cxn>
                <a:cxn ang="0">
                  <a:pos x="370" y="2872"/>
                </a:cxn>
                <a:cxn ang="0">
                  <a:pos x="432" y="2780"/>
                </a:cxn>
                <a:cxn ang="0">
                  <a:pos x="360" y="2742"/>
                </a:cxn>
                <a:cxn ang="0">
                  <a:pos x="456" y="2520"/>
                </a:cxn>
                <a:cxn ang="0">
                  <a:pos x="492" y="2382"/>
                </a:cxn>
                <a:cxn ang="0">
                  <a:pos x="496" y="2344"/>
                </a:cxn>
                <a:cxn ang="0">
                  <a:pos x="514" y="2088"/>
                </a:cxn>
                <a:cxn ang="0">
                  <a:pos x="560" y="1948"/>
                </a:cxn>
                <a:cxn ang="0">
                  <a:pos x="634" y="1680"/>
                </a:cxn>
                <a:cxn ang="0">
                  <a:pos x="630" y="1696"/>
                </a:cxn>
                <a:cxn ang="0">
                  <a:pos x="662" y="1540"/>
                </a:cxn>
                <a:cxn ang="0">
                  <a:pos x="700" y="1450"/>
                </a:cxn>
                <a:cxn ang="0">
                  <a:pos x="726" y="1406"/>
                </a:cxn>
                <a:cxn ang="0">
                  <a:pos x="728" y="1314"/>
                </a:cxn>
                <a:cxn ang="0">
                  <a:pos x="812" y="1120"/>
                </a:cxn>
                <a:cxn ang="0">
                  <a:pos x="880" y="862"/>
                </a:cxn>
                <a:cxn ang="0">
                  <a:pos x="808" y="840"/>
                </a:cxn>
                <a:cxn ang="0">
                  <a:pos x="800" y="712"/>
                </a:cxn>
                <a:cxn ang="0">
                  <a:pos x="828" y="456"/>
                </a:cxn>
                <a:cxn ang="0">
                  <a:pos x="986" y="164"/>
                </a:cxn>
                <a:cxn ang="0">
                  <a:pos x="976" y="182"/>
                </a:cxn>
                <a:cxn ang="0">
                  <a:pos x="850" y="34"/>
                </a:cxn>
                <a:cxn ang="0">
                  <a:pos x="142" y="3294"/>
                </a:cxn>
                <a:cxn ang="0">
                  <a:pos x="158" y="3160"/>
                </a:cxn>
                <a:cxn ang="0">
                  <a:pos x="96" y="3144"/>
                </a:cxn>
                <a:cxn ang="0">
                  <a:pos x="90" y="2900"/>
                </a:cxn>
                <a:cxn ang="0">
                  <a:pos x="178" y="2918"/>
                </a:cxn>
                <a:cxn ang="0">
                  <a:pos x="208" y="2792"/>
                </a:cxn>
                <a:cxn ang="0">
                  <a:pos x="202" y="2600"/>
                </a:cxn>
                <a:cxn ang="0">
                  <a:pos x="220" y="2654"/>
                </a:cxn>
                <a:cxn ang="0">
                  <a:pos x="310" y="2342"/>
                </a:cxn>
                <a:cxn ang="0">
                  <a:pos x="358" y="2258"/>
                </a:cxn>
                <a:cxn ang="0">
                  <a:pos x="452" y="2116"/>
                </a:cxn>
                <a:cxn ang="0">
                  <a:pos x="468" y="2084"/>
                </a:cxn>
                <a:cxn ang="0">
                  <a:pos x="576" y="1812"/>
                </a:cxn>
                <a:cxn ang="0">
                  <a:pos x="588" y="1788"/>
                </a:cxn>
                <a:cxn ang="0">
                  <a:pos x="648" y="1678"/>
                </a:cxn>
                <a:cxn ang="0">
                  <a:pos x="708" y="1506"/>
                </a:cxn>
                <a:cxn ang="0">
                  <a:pos x="704" y="1520"/>
                </a:cxn>
                <a:cxn ang="0">
                  <a:pos x="796" y="1366"/>
                </a:cxn>
                <a:cxn ang="0">
                  <a:pos x="798" y="1298"/>
                </a:cxn>
                <a:cxn ang="0">
                  <a:pos x="902" y="1160"/>
                </a:cxn>
                <a:cxn ang="0">
                  <a:pos x="908" y="1110"/>
                </a:cxn>
                <a:cxn ang="0">
                  <a:pos x="986" y="988"/>
                </a:cxn>
                <a:cxn ang="0">
                  <a:pos x="974" y="986"/>
                </a:cxn>
                <a:cxn ang="0">
                  <a:pos x="1042" y="842"/>
                </a:cxn>
                <a:cxn ang="0">
                  <a:pos x="1028" y="850"/>
                </a:cxn>
                <a:cxn ang="0">
                  <a:pos x="1092" y="708"/>
                </a:cxn>
                <a:cxn ang="0">
                  <a:pos x="1062" y="702"/>
                </a:cxn>
                <a:cxn ang="0">
                  <a:pos x="1134" y="592"/>
                </a:cxn>
                <a:cxn ang="0">
                  <a:pos x="1072" y="562"/>
                </a:cxn>
                <a:cxn ang="0">
                  <a:pos x="1152" y="482"/>
                </a:cxn>
                <a:cxn ang="0">
                  <a:pos x="1060" y="438"/>
                </a:cxn>
                <a:cxn ang="0">
                  <a:pos x="1100" y="210"/>
                </a:cxn>
                <a:cxn ang="0">
                  <a:pos x="1176" y="90"/>
                </a:cxn>
                <a:cxn ang="0">
                  <a:pos x="1144" y="20"/>
                </a:cxn>
              </a:cxnLst>
              <a:rect l="0" t="0" r="r" b="b"/>
              <a:pathLst>
                <a:path w="1226" h="3488">
                  <a:moveTo>
                    <a:pt x="320" y="3396"/>
                  </a:moveTo>
                  <a:lnTo>
                    <a:pt x="320" y="3396"/>
                  </a:lnTo>
                  <a:lnTo>
                    <a:pt x="304" y="3398"/>
                  </a:lnTo>
                  <a:lnTo>
                    <a:pt x="290" y="3400"/>
                  </a:lnTo>
                  <a:lnTo>
                    <a:pt x="276" y="3404"/>
                  </a:lnTo>
                  <a:lnTo>
                    <a:pt x="266" y="3408"/>
                  </a:lnTo>
                  <a:lnTo>
                    <a:pt x="258" y="3416"/>
                  </a:lnTo>
                  <a:lnTo>
                    <a:pt x="252" y="3424"/>
                  </a:lnTo>
                  <a:lnTo>
                    <a:pt x="248" y="3432"/>
                  </a:lnTo>
                  <a:lnTo>
                    <a:pt x="248" y="3444"/>
                  </a:lnTo>
                  <a:lnTo>
                    <a:pt x="248" y="3444"/>
                  </a:lnTo>
                  <a:lnTo>
                    <a:pt x="248" y="3452"/>
                  </a:lnTo>
                  <a:lnTo>
                    <a:pt x="252" y="3462"/>
                  </a:lnTo>
                  <a:lnTo>
                    <a:pt x="258" y="3470"/>
                  </a:lnTo>
                  <a:lnTo>
                    <a:pt x="264" y="3476"/>
                  </a:lnTo>
                  <a:lnTo>
                    <a:pt x="274" y="3480"/>
                  </a:lnTo>
                  <a:lnTo>
                    <a:pt x="286" y="3484"/>
                  </a:lnTo>
                  <a:lnTo>
                    <a:pt x="300" y="3488"/>
                  </a:lnTo>
                  <a:lnTo>
                    <a:pt x="316" y="3488"/>
                  </a:lnTo>
                  <a:lnTo>
                    <a:pt x="316" y="3488"/>
                  </a:lnTo>
                  <a:lnTo>
                    <a:pt x="332" y="3488"/>
                  </a:lnTo>
                  <a:lnTo>
                    <a:pt x="346" y="3484"/>
                  </a:lnTo>
                  <a:lnTo>
                    <a:pt x="358" y="3480"/>
                  </a:lnTo>
                  <a:lnTo>
                    <a:pt x="368" y="3476"/>
                  </a:lnTo>
                  <a:lnTo>
                    <a:pt x="376" y="3468"/>
                  </a:lnTo>
                  <a:lnTo>
                    <a:pt x="382" y="3460"/>
                  </a:lnTo>
                  <a:lnTo>
                    <a:pt x="386" y="3452"/>
                  </a:lnTo>
                  <a:lnTo>
                    <a:pt x="386" y="3442"/>
                  </a:lnTo>
                  <a:lnTo>
                    <a:pt x="386" y="3442"/>
                  </a:lnTo>
                  <a:lnTo>
                    <a:pt x="386" y="3432"/>
                  </a:lnTo>
                  <a:lnTo>
                    <a:pt x="382" y="3422"/>
                  </a:lnTo>
                  <a:lnTo>
                    <a:pt x="378" y="3414"/>
                  </a:lnTo>
                  <a:lnTo>
                    <a:pt x="370" y="3408"/>
                  </a:lnTo>
                  <a:lnTo>
                    <a:pt x="360" y="3404"/>
                  </a:lnTo>
                  <a:lnTo>
                    <a:pt x="348" y="3400"/>
                  </a:lnTo>
                  <a:lnTo>
                    <a:pt x="336" y="3398"/>
                  </a:lnTo>
                  <a:lnTo>
                    <a:pt x="320" y="3396"/>
                  </a:lnTo>
                  <a:lnTo>
                    <a:pt x="320" y="3396"/>
                  </a:lnTo>
                  <a:close/>
                  <a:moveTo>
                    <a:pt x="316" y="3470"/>
                  </a:moveTo>
                  <a:lnTo>
                    <a:pt x="316" y="3470"/>
                  </a:lnTo>
                  <a:lnTo>
                    <a:pt x="292" y="3468"/>
                  </a:lnTo>
                  <a:lnTo>
                    <a:pt x="284" y="3466"/>
                  </a:lnTo>
                  <a:lnTo>
                    <a:pt x="276" y="3462"/>
                  </a:lnTo>
                  <a:lnTo>
                    <a:pt x="270" y="3458"/>
                  </a:lnTo>
                  <a:lnTo>
                    <a:pt x="266" y="3454"/>
                  </a:lnTo>
                  <a:lnTo>
                    <a:pt x="262" y="3448"/>
                  </a:lnTo>
                  <a:lnTo>
                    <a:pt x="262" y="3442"/>
                  </a:lnTo>
                  <a:lnTo>
                    <a:pt x="262" y="3442"/>
                  </a:lnTo>
                  <a:lnTo>
                    <a:pt x="262" y="3436"/>
                  </a:lnTo>
                  <a:lnTo>
                    <a:pt x="266" y="3430"/>
                  </a:lnTo>
                  <a:lnTo>
                    <a:pt x="270" y="3426"/>
                  </a:lnTo>
                  <a:lnTo>
                    <a:pt x="278" y="3422"/>
                  </a:lnTo>
                  <a:lnTo>
                    <a:pt x="286" y="3418"/>
                  </a:lnTo>
                  <a:lnTo>
                    <a:pt x="296" y="3416"/>
                  </a:lnTo>
                  <a:lnTo>
                    <a:pt x="318" y="3414"/>
                  </a:lnTo>
                  <a:lnTo>
                    <a:pt x="318" y="3414"/>
                  </a:lnTo>
                  <a:lnTo>
                    <a:pt x="340" y="3416"/>
                  </a:lnTo>
                  <a:lnTo>
                    <a:pt x="350" y="3418"/>
                  </a:lnTo>
                  <a:lnTo>
                    <a:pt x="358" y="3422"/>
                  </a:lnTo>
                  <a:lnTo>
                    <a:pt x="364" y="3426"/>
                  </a:lnTo>
                  <a:lnTo>
                    <a:pt x="370" y="3430"/>
                  </a:lnTo>
                  <a:lnTo>
                    <a:pt x="372" y="3436"/>
                  </a:lnTo>
                  <a:lnTo>
                    <a:pt x="372" y="3442"/>
                  </a:lnTo>
                  <a:lnTo>
                    <a:pt x="372" y="3442"/>
                  </a:lnTo>
                  <a:lnTo>
                    <a:pt x="372" y="3448"/>
                  </a:lnTo>
                  <a:lnTo>
                    <a:pt x="370" y="3454"/>
                  </a:lnTo>
                  <a:lnTo>
                    <a:pt x="364" y="3458"/>
                  </a:lnTo>
                  <a:lnTo>
                    <a:pt x="358" y="3462"/>
                  </a:lnTo>
                  <a:lnTo>
                    <a:pt x="350" y="3466"/>
                  </a:lnTo>
                  <a:lnTo>
                    <a:pt x="340" y="3468"/>
                  </a:lnTo>
                  <a:lnTo>
                    <a:pt x="316" y="3470"/>
                  </a:lnTo>
                  <a:lnTo>
                    <a:pt x="316" y="3470"/>
                  </a:lnTo>
                  <a:close/>
                  <a:moveTo>
                    <a:pt x="256" y="3310"/>
                  </a:moveTo>
                  <a:lnTo>
                    <a:pt x="372" y="3310"/>
                  </a:lnTo>
                  <a:lnTo>
                    <a:pt x="372" y="3310"/>
                  </a:lnTo>
                  <a:lnTo>
                    <a:pt x="372" y="3312"/>
                  </a:lnTo>
                  <a:lnTo>
                    <a:pt x="372" y="3312"/>
                  </a:lnTo>
                  <a:lnTo>
                    <a:pt x="358" y="3334"/>
                  </a:lnTo>
                  <a:lnTo>
                    <a:pt x="358" y="3334"/>
                  </a:lnTo>
                  <a:lnTo>
                    <a:pt x="372" y="3338"/>
                  </a:lnTo>
                  <a:lnTo>
                    <a:pt x="372" y="3338"/>
                  </a:lnTo>
                  <a:lnTo>
                    <a:pt x="388" y="3308"/>
                  </a:lnTo>
                  <a:lnTo>
                    <a:pt x="388" y="3308"/>
                  </a:lnTo>
                  <a:lnTo>
                    <a:pt x="388" y="3294"/>
                  </a:lnTo>
                  <a:lnTo>
                    <a:pt x="256" y="3294"/>
                  </a:lnTo>
                  <a:lnTo>
                    <a:pt x="256" y="3294"/>
                  </a:lnTo>
                  <a:lnTo>
                    <a:pt x="256" y="3310"/>
                  </a:lnTo>
                  <a:lnTo>
                    <a:pt x="256" y="3310"/>
                  </a:lnTo>
                  <a:close/>
                  <a:moveTo>
                    <a:pt x="266" y="3174"/>
                  </a:moveTo>
                  <a:lnTo>
                    <a:pt x="380" y="3174"/>
                  </a:lnTo>
                  <a:lnTo>
                    <a:pt x="380" y="3174"/>
                  </a:lnTo>
                  <a:lnTo>
                    <a:pt x="380" y="3176"/>
                  </a:lnTo>
                  <a:lnTo>
                    <a:pt x="380" y="3176"/>
                  </a:lnTo>
                  <a:lnTo>
                    <a:pt x="366" y="3198"/>
                  </a:lnTo>
                  <a:lnTo>
                    <a:pt x="366" y="3198"/>
                  </a:lnTo>
                  <a:lnTo>
                    <a:pt x="378" y="3202"/>
                  </a:lnTo>
                  <a:lnTo>
                    <a:pt x="378" y="3202"/>
                  </a:lnTo>
                  <a:lnTo>
                    <a:pt x="396" y="3172"/>
                  </a:lnTo>
                  <a:lnTo>
                    <a:pt x="396" y="3172"/>
                  </a:lnTo>
                  <a:lnTo>
                    <a:pt x="396" y="3158"/>
                  </a:lnTo>
                  <a:lnTo>
                    <a:pt x="268" y="3158"/>
                  </a:lnTo>
                  <a:lnTo>
                    <a:pt x="268" y="3158"/>
                  </a:lnTo>
                  <a:lnTo>
                    <a:pt x="266" y="3174"/>
                  </a:lnTo>
                  <a:lnTo>
                    <a:pt x="266" y="3174"/>
                  </a:lnTo>
                  <a:close/>
                  <a:moveTo>
                    <a:pt x="354" y="2988"/>
                  </a:moveTo>
                  <a:lnTo>
                    <a:pt x="354" y="2988"/>
                  </a:lnTo>
                  <a:lnTo>
                    <a:pt x="340" y="2990"/>
                  </a:lnTo>
                  <a:lnTo>
                    <a:pt x="326" y="2992"/>
                  </a:lnTo>
                  <a:lnTo>
                    <a:pt x="314" y="2996"/>
                  </a:lnTo>
                  <a:lnTo>
                    <a:pt x="304" y="3002"/>
                  </a:lnTo>
                  <a:lnTo>
                    <a:pt x="296" y="3008"/>
                  </a:lnTo>
                  <a:lnTo>
                    <a:pt x="290" y="3016"/>
                  </a:lnTo>
                  <a:lnTo>
                    <a:pt x="284" y="3026"/>
                  </a:lnTo>
                  <a:lnTo>
                    <a:pt x="282" y="3036"/>
                  </a:lnTo>
                  <a:lnTo>
                    <a:pt x="282" y="3036"/>
                  </a:lnTo>
                  <a:lnTo>
                    <a:pt x="282" y="3046"/>
                  </a:lnTo>
                  <a:lnTo>
                    <a:pt x="284" y="3054"/>
                  </a:lnTo>
                  <a:lnTo>
                    <a:pt x="288" y="3062"/>
                  </a:lnTo>
                  <a:lnTo>
                    <a:pt x="294" y="3068"/>
                  </a:lnTo>
                  <a:lnTo>
                    <a:pt x="304" y="3074"/>
                  </a:lnTo>
                  <a:lnTo>
                    <a:pt x="314" y="3078"/>
                  </a:lnTo>
                  <a:lnTo>
                    <a:pt x="326" y="3080"/>
                  </a:lnTo>
                  <a:lnTo>
                    <a:pt x="340" y="3080"/>
                  </a:lnTo>
                  <a:lnTo>
                    <a:pt x="340" y="3080"/>
                  </a:lnTo>
                  <a:lnTo>
                    <a:pt x="356" y="3080"/>
                  </a:lnTo>
                  <a:lnTo>
                    <a:pt x="368" y="3078"/>
                  </a:lnTo>
                  <a:lnTo>
                    <a:pt x="380" y="3074"/>
                  </a:lnTo>
                  <a:lnTo>
                    <a:pt x="390" y="3068"/>
                  </a:lnTo>
                  <a:lnTo>
                    <a:pt x="396" y="3060"/>
                  </a:lnTo>
                  <a:lnTo>
                    <a:pt x="402" y="3052"/>
                  </a:lnTo>
                  <a:lnTo>
                    <a:pt x="406" y="3044"/>
                  </a:lnTo>
                  <a:lnTo>
                    <a:pt x="408" y="3034"/>
                  </a:lnTo>
                  <a:lnTo>
                    <a:pt x="408" y="3034"/>
                  </a:lnTo>
                  <a:lnTo>
                    <a:pt x="408" y="3024"/>
                  </a:lnTo>
                  <a:lnTo>
                    <a:pt x="406" y="3014"/>
                  </a:lnTo>
                  <a:lnTo>
                    <a:pt x="402" y="3008"/>
                  </a:lnTo>
                  <a:lnTo>
                    <a:pt x="396" y="3000"/>
                  </a:lnTo>
                  <a:lnTo>
                    <a:pt x="388" y="2996"/>
                  </a:lnTo>
                  <a:lnTo>
                    <a:pt x="378" y="2992"/>
                  </a:lnTo>
                  <a:lnTo>
                    <a:pt x="366" y="2990"/>
                  </a:lnTo>
                  <a:lnTo>
                    <a:pt x="354" y="2988"/>
                  </a:lnTo>
                  <a:lnTo>
                    <a:pt x="354" y="2988"/>
                  </a:lnTo>
                  <a:close/>
                  <a:moveTo>
                    <a:pt x="342" y="3062"/>
                  </a:moveTo>
                  <a:lnTo>
                    <a:pt x="342" y="3062"/>
                  </a:lnTo>
                  <a:lnTo>
                    <a:pt x="322" y="3060"/>
                  </a:lnTo>
                  <a:lnTo>
                    <a:pt x="314" y="3058"/>
                  </a:lnTo>
                  <a:lnTo>
                    <a:pt x="306" y="3054"/>
                  </a:lnTo>
                  <a:lnTo>
                    <a:pt x="300" y="3050"/>
                  </a:lnTo>
                  <a:lnTo>
                    <a:pt x="298" y="3046"/>
                  </a:lnTo>
                  <a:lnTo>
                    <a:pt x="296" y="3040"/>
                  </a:lnTo>
                  <a:lnTo>
                    <a:pt x="296" y="3034"/>
                  </a:lnTo>
                  <a:lnTo>
                    <a:pt x="296" y="3034"/>
                  </a:lnTo>
                  <a:lnTo>
                    <a:pt x="298" y="3028"/>
                  </a:lnTo>
                  <a:lnTo>
                    <a:pt x="300" y="3022"/>
                  </a:lnTo>
                  <a:lnTo>
                    <a:pt x="306" y="3018"/>
                  </a:lnTo>
                  <a:lnTo>
                    <a:pt x="312" y="3014"/>
                  </a:lnTo>
                  <a:lnTo>
                    <a:pt x="330" y="3008"/>
                  </a:lnTo>
                  <a:lnTo>
                    <a:pt x="350" y="3008"/>
                  </a:lnTo>
                  <a:lnTo>
                    <a:pt x="350" y="3008"/>
                  </a:lnTo>
                  <a:lnTo>
                    <a:pt x="370" y="3008"/>
                  </a:lnTo>
                  <a:lnTo>
                    <a:pt x="378" y="3010"/>
                  </a:lnTo>
                  <a:lnTo>
                    <a:pt x="384" y="3014"/>
                  </a:lnTo>
                  <a:lnTo>
                    <a:pt x="390" y="3018"/>
                  </a:lnTo>
                  <a:lnTo>
                    <a:pt x="394" y="3022"/>
                  </a:lnTo>
                  <a:lnTo>
                    <a:pt x="396" y="3028"/>
                  </a:lnTo>
                  <a:lnTo>
                    <a:pt x="396" y="3034"/>
                  </a:lnTo>
                  <a:lnTo>
                    <a:pt x="396" y="3034"/>
                  </a:lnTo>
                  <a:lnTo>
                    <a:pt x="394" y="3040"/>
                  </a:lnTo>
                  <a:lnTo>
                    <a:pt x="392" y="3046"/>
                  </a:lnTo>
                  <a:lnTo>
                    <a:pt x="388" y="3050"/>
                  </a:lnTo>
                  <a:lnTo>
                    <a:pt x="382" y="3054"/>
                  </a:lnTo>
                  <a:lnTo>
                    <a:pt x="374" y="3058"/>
                  </a:lnTo>
                  <a:lnTo>
                    <a:pt x="364" y="3060"/>
                  </a:lnTo>
                  <a:lnTo>
                    <a:pt x="342" y="3062"/>
                  </a:lnTo>
                  <a:lnTo>
                    <a:pt x="342" y="3062"/>
                  </a:lnTo>
                  <a:close/>
                  <a:moveTo>
                    <a:pt x="374" y="2854"/>
                  </a:moveTo>
                  <a:lnTo>
                    <a:pt x="374" y="2854"/>
                  </a:lnTo>
                  <a:lnTo>
                    <a:pt x="360" y="2854"/>
                  </a:lnTo>
                  <a:lnTo>
                    <a:pt x="348" y="2856"/>
                  </a:lnTo>
                  <a:lnTo>
                    <a:pt x="336" y="2860"/>
                  </a:lnTo>
                  <a:lnTo>
                    <a:pt x="326" y="2866"/>
                  </a:lnTo>
                  <a:lnTo>
                    <a:pt x="318" y="2872"/>
                  </a:lnTo>
                  <a:lnTo>
                    <a:pt x="312" y="2880"/>
                  </a:lnTo>
                  <a:lnTo>
                    <a:pt x="308" y="2890"/>
                  </a:lnTo>
                  <a:lnTo>
                    <a:pt x="304" y="2900"/>
                  </a:lnTo>
                  <a:lnTo>
                    <a:pt x="304" y="2900"/>
                  </a:lnTo>
                  <a:lnTo>
                    <a:pt x="304" y="2910"/>
                  </a:lnTo>
                  <a:lnTo>
                    <a:pt x="306" y="2918"/>
                  </a:lnTo>
                  <a:lnTo>
                    <a:pt x="310" y="2926"/>
                  </a:lnTo>
                  <a:lnTo>
                    <a:pt x="316" y="2932"/>
                  </a:lnTo>
                  <a:lnTo>
                    <a:pt x="322" y="2938"/>
                  </a:lnTo>
                  <a:lnTo>
                    <a:pt x="332" y="2942"/>
                  </a:lnTo>
                  <a:lnTo>
                    <a:pt x="344" y="2944"/>
                  </a:lnTo>
                  <a:lnTo>
                    <a:pt x="358" y="2944"/>
                  </a:lnTo>
                  <a:lnTo>
                    <a:pt x="358" y="2944"/>
                  </a:lnTo>
                  <a:lnTo>
                    <a:pt x="372" y="2944"/>
                  </a:lnTo>
                  <a:lnTo>
                    <a:pt x="384" y="2942"/>
                  </a:lnTo>
                  <a:lnTo>
                    <a:pt x="394" y="2938"/>
                  </a:lnTo>
                  <a:lnTo>
                    <a:pt x="404" y="2932"/>
                  </a:lnTo>
                  <a:lnTo>
                    <a:pt x="410" y="2924"/>
                  </a:lnTo>
                  <a:lnTo>
                    <a:pt x="416" y="2916"/>
                  </a:lnTo>
                  <a:lnTo>
                    <a:pt x="420" y="2908"/>
                  </a:lnTo>
                  <a:lnTo>
                    <a:pt x="422" y="2898"/>
                  </a:lnTo>
                  <a:lnTo>
                    <a:pt x="422" y="2898"/>
                  </a:lnTo>
                  <a:lnTo>
                    <a:pt x="422" y="2888"/>
                  </a:lnTo>
                  <a:lnTo>
                    <a:pt x="420" y="2878"/>
                  </a:lnTo>
                  <a:lnTo>
                    <a:pt x="418" y="2872"/>
                  </a:lnTo>
                  <a:lnTo>
                    <a:pt x="412" y="2864"/>
                  </a:lnTo>
                  <a:lnTo>
                    <a:pt x="404" y="2860"/>
                  </a:lnTo>
                  <a:lnTo>
                    <a:pt x="396" y="2856"/>
                  </a:lnTo>
                  <a:lnTo>
                    <a:pt x="386" y="2854"/>
                  </a:lnTo>
                  <a:lnTo>
                    <a:pt x="374" y="2854"/>
                  </a:lnTo>
                  <a:lnTo>
                    <a:pt x="374" y="2854"/>
                  </a:lnTo>
                  <a:close/>
                  <a:moveTo>
                    <a:pt x="410" y="2898"/>
                  </a:moveTo>
                  <a:lnTo>
                    <a:pt x="410" y="2898"/>
                  </a:lnTo>
                  <a:lnTo>
                    <a:pt x="410" y="2904"/>
                  </a:lnTo>
                  <a:lnTo>
                    <a:pt x="406" y="2910"/>
                  </a:lnTo>
                  <a:lnTo>
                    <a:pt x="402" y="2914"/>
                  </a:lnTo>
                  <a:lnTo>
                    <a:pt x="396" y="2918"/>
                  </a:lnTo>
                  <a:lnTo>
                    <a:pt x="390" y="2922"/>
                  </a:lnTo>
                  <a:lnTo>
                    <a:pt x="382" y="2924"/>
                  </a:lnTo>
                  <a:lnTo>
                    <a:pt x="360" y="2926"/>
                  </a:lnTo>
                  <a:lnTo>
                    <a:pt x="360" y="2926"/>
                  </a:lnTo>
                  <a:lnTo>
                    <a:pt x="340" y="2924"/>
                  </a:lnTo>
                  <a:lnTo>
                    <a:pt x="332" y="2922"/>
                  </a:lnTo>
                  <a:lnTo>
                    <a:pt x="326" y="2920"/>
                  </a:lnTo>
                  <a:lnTo>
                    <a:pt x="322" y="2916"/>
                  </a:lnTo>
                  <a:lnTo>
                    <a:pt x="318" y="2910"/>
                  </a:lnTo>
                  <a:lnTo>
                    <a:pt x="316" y="2906"/>
                  </a:lnTo>
                  <a:lnTo>
                    <a:pt x="318" y="2900"/>
                  </a:lnTo>
                  <a:lnTo>
                    <a:pt x="318" y="2900"/>
                  </a:lnTo>
                  <a:lnTo>
                    <a:pt x="320" y="2892"/>
                  </a:lnTo>
                  <a:lnTo>
                    <a:pt x="322" y="2886"/>
                  </a:lnTo>
                  <a:lnTo>
                    <a:pt x="328" y="2882"/>
                  </a:lnTo>
                  <a:lnTo>
                    <a:pt x="334" y="2878"/>
                  </a:lnTo>
                  <a:lnTo>
                    <a:pt x="350" y="2874"/>
                  </a:lnTo>
                  <a:lnTo>
                    <a:pt x="370" y="2872"/>
                  </a:lnTo>
                  <a:lnTo>
                    <a:pt x="370" y="2872"/>
                  </a:lnTo>
                  <a:lnTo>
                    <a:pt x="388" y="2874"/>
                  </a:lnTo>
                  <a:lnTo>
                    <a:pt x="396" y="2876"/>
                  </a:lnTo>
                  <a:lnTo>
                    <a:pt x="402" y="2878"/>
                  </a:lnTo>
                  <a:lnTo>
                    <a:pt x="406" y="2882"/>
                  </a:lnTo>
                  <a:lnTo>
                    <a:pt x="408" y="2886"/>
                  </a:lnTo>
                  <a:lnTo>
                    <a:pt x="410" y="2892"/>
                  </a:lnTo>
                  <a:lnTo>
                    <a:pt x="410" y="2898"/>
                  </a:lnTo>
                  <a:lnTo>
                    <a:pt x="410" y="2898"/>
                  </a:lnTo>
                  <a:close/>
                  <a:moveTo>
                    <a:pt x="396" y="2718"/>
                  </a:moveTo>
                  <a:lnTo>
                    <a:pt x="396" y="2718"/>
                  </a:lnTo>
                  <a:lnTo>
                    <a:pt x="384" y="2718"/>
                  </a:lnTo>
                  <a:lnTo>
                    <a:pt x="372" y="2720"/>
                  </a:lnTo>
                  <a:lnTo>
                    <a:pt x="362" y="2724"/>
                  </a:lnTo>
                  <a:lnTo>
                    <a:pt x="354" y="2730"/>
                  </a:lnTo>
                  <a:lnTo>
                    <a:pt x="346" y="2736"/>
                  </a:lnTo>
                  <a:lnTo>
                    <a:pt x="340" y="2744"/>
                  </a:lnTo>
                  <a:lnTo>
                    <a:pt x="334" y="2754"/>
                  </a:lnTo>
                  <a:lnTo>
                    <a:pt x="332" y="2764"/>
                  </a:lnTo>
                  <a:lnTo>
                    <a:pt x="332" y="2764"/>
                  </a:lnTo>
                  <a:lnTo>
                    <a:pt x="330" y="2774"/>
                  </a:lnTo>
                  <a:lnTo>
                    <a:pt x="332" y="2782"/>
                  </a:lnTo>
                  <a:lnTo>
                    <a:pt x="334" y="2790"/>
                  </a:lnTo>
                  <a:lnTo>
                    <a:pt x="340" y="2796"/>
                  </a:lnTo>
                  <a:lnTo>
                    <a:pt x="346" y="2802"/>
                  </a:lnTo>
                  <a:lnTo>
                    <a:pt x="356" y="2806"/>
                  </a:lnTo>
                  <a:lnTo>
                    <a:pt x="366" y="2808"/>
                  </a:lnTo>
                  <a:lnTo>
                    <a:pt x="378" y="2810"/>
                  </a:lnTo>
                  <a:lnTo>
                    <a:pt x="378" y="2810"/>
                  </a:lnTo>
                  <a:lnTo>
                    <a:pt x="392" y="2808"/>
                  </a:lnTo>
                  <a:lnTo>
                    <a:pt x="402" y="2806"/>
                  </a:lnTo>
                  <a:lnTo>
                    <a:pt x="412" y="2802"/>
                  </a:lnTo>
                  <a:lnTo>
                    <a:pt x="420" y="2796"/>
                  </a:lnTo>
                  <a:lnTo>
                    <a:pt x="428" y="2790"/>
                  </a:lnTo>
                  <a:lnTo>
                    <a:pt x="432" y="2780"/>
                  </a:lnTo>
                  <a:lnTo>
                    <a:pt x="436" y="2772"/>
                  </a:lnTo>
                  <a:lnTo>
                    <a:pt x="438" y="2762"/>
                  </a:lnTo>
                  <a:lnTo>
                    <a:pt x="438" y="2762"/>
                  </a:lnTo>
                  <a:lnTo>
                    <a:pt x="438" y="2752"/>
                  </a:lnTo>
                  <a:lnTo>
                    <a:pt x="438" y="2744"/>
                  </a:lnTo>
                  <a:lnTo>
                    <a:pt x="434" y="2736"/>
                  </a:lnTo>
                  <a:lnTo>
                    <a:pt x="430" y="2728"/>
                  </a:lnTo>
                  <a:lnTo>
                    <a:pt x="424" y="2724"/>
                  </a:lnTo>
                  <a:lnTo>
                    <a:pt x="416" y="2720"/>
                  </a:lnTo>
                  <a:lnTo>
                    <a:pt x="408" y="2718"/>
                  </a:lnTo>
                  <a:lnTo>
                    <a:pt x="396" y="2718"/>
                  </a:lnTo>
                  <a:lnTo>
                    <a:pt x="396" y="2718"/>
                  </a:lnTo>
                  <a:close/>
                  <a:moveTo>
                    <a:pt x="428" y="2764"/>
                  </a:moveTo>
                  <a:lnTo>
                    <a:pt x="428" y="2764"/>
                  </a:lnTo>
                  <a:lnTo>
                    <a:pt x="426" y="2768"/>
                  </a:lnTo>
                  <a:lnTo>
                    <a:pt x="424" y="2774"/>
                  </a:lnTo>
                  <a:lnTo>
                    <a:pt x="420" y="2778"/>
                  </a:lnTo>
                  <a:lnTo>
                    <a:pt x="414" y="2782"/>
                  </a:lnTo>
                  <a:lnTo>
                    <a:pt x="408" y="2786"/>
                  </a:lnTo>
                  <a:lnTo>
                    <a:pt x="400" y="2788"/>
                  </a:lnTo>
                  <a:lnTo>
                    <a:pt x="382" y="2790"/>
                  </a:lnTo>
                  <a:lnTo>
                    <a:pt x="382" y="2790"/>
                  </a:lnTo>
                  <a:lnTo>
                    <a:pt x="364" y="2788"/>
                  </a:lnTo>
                  <a:lnTo>
                    <a:pt x="356" y="2786"/>
                  </a:lnTo>
                  <a:lnTo>
                    <a:pt x="350" y="2784"/>
                  </a:lnTo>
                  <a:lnTo>
                    <a:pt x="346" y="2780"/>
                  </a:lnTo>
                  <a:lnTo>
                    <a:pt x="344" y="2774"/>
                  </a:lnTo>
                  <a:lnTo>
                    <a:pt x="342" y="2770"/>
                  </a:lnTo>
                  <a:lnTo>
                    <a:pt x="342" y="2764"/>
                  </a:lnTo>
                  <a:lnTo>
                    <a:pt x="342" y="2764"/>
                  </a:lnTo>
                  <a:lnTo>
                    <a:pt x="346" y="2756"/>
                  </a:lnTo>
                  <a:lnTo>
                    <a:pt x="348" y="2752"/>
                  </a:lnTo>
                  <a:lnTo>
                    <a:pt x="354" y="2746"/>
                  </a:lnTo>
                  <a:lnTo>
                    <a:pt x="360" y="2742"/>
                  </a:lnTo>
                  <a:lnTo>
                    <a:pt x="374" y="2738"/>
                  </a:lnTo>
                  <a:lnTo>
                    <a:pt x="392" y="2736"/>
                  </a:lnTo>
                  <a:lnTo>
                    <a:pt x="392" y="2736"/>
                  </a:lnTo>
                  <a:lnTo>
                    <a:pt x="408" y="2738"/>
                  </a:lnTo>
                  <a:lnTo>
                    <a:pt x="416" y="2740"/>
                  </a:lnTo>
                  <a:lnTo>
                    <a:pt x="420" y="2742"/>
                  </a:lnTo>
                  <a:lnTo>
                    <a:pt x="424" y="2746"/>
                  </a:lnTo>
                  <a:lnTo>
                    <a:pt x="428" y="2750"/>
                  </a:lnTo>
                  <a:lnTo>
                    <a:pt x="428" y="2756"/>
                  </a:lnTo>
                  <a:lnTo>
                    <a:pt x="428" y="2764"/>
                  </a:lnTo>
                  <a:lnTo>
                    <a:pt x="428" y="2764"/>
                  </a:lnTo>
                  <a:close/>
                  <a:moveTo>
                    <a:pt x="362" y="2632"/>
                  </a:moveTo>
                  <a:lnTo>
                    <a:pt x="444" y="2632"/>
                  </a:lnTo>
                  <a:lnTo>
                    <a:pt x="444" y="2632"/>
                  </a:lnTo>
                  <a:lnTo>
                    <a:pt x="444" y="2632"/>
                  </a:lnTo>
                  <a:lnTo>
                    <a:pt x="444" y="2632"/>
                  </a:lnTo>
                  <a:lnTo>
                    <a:pt x="432" y="2656"/>
                  </a:lnTo>
                  <a:lnTo>
                    <a:pt x="432" y="2656"/>
                  </a:lnTo>
                  <a:lnTo>
                    <a:pt x="440" y="2660"/>
                  </a:lnTo>
                  <a:lnTo>
                    <a:pt x="440" y="2660"/>
                  </a:lnTo>
                  <a:lnTo>
                    <a:pt x="456" y="2630"/>
                  </a:lnTo>
                  <a:lnTo>
                    <a:pt x="456" y="2630"/>
                  </a:lnTo>
                  <a:lnTo>
                    <a:pt x="458" y="2614"/>
                  </a:lnTo>
                  <a:lnTo>
                    <a:pt x="368" y="2614"/>
                  </a:lnTo>
                  <a:lnTo>
                    <a:pt x="368" y="2614"/>
                  </a:lnTo>
                  <a:lnTo>
                    <a:pt x="362" y="2632"/>
                  </a:lnTo>
                  <a:lnTo>
                    <a:pt x="362" y="2632"/>
                  </a:lnTo>
                  <a:close/>
                  <a:moveTo>
                    <a:pt x="396" y="2496"/>
                  </a:moveTo>
                  <a:lnTo>
                    <a:pt x="468" y="2496"/>
                  </a:lnTo>
                  <a:lnTo>
                    <a:pt x="468" y="2496"/>
                  </a:lnTo>
                  <a:lnTo>
                    <a:pt x="468" y="2496"/>
                  </a:lnTo>
                  <a:lnTo>
                    <a:pt x="468" y="2496"/>
                  </a:lnTo>
                  <a:lnTo>
                    <a:pt x="456" y="2520"/>
                  </a:lnTo>
                  <a:lnTo>
                    <a:pt x="456" y="2520"/>
                  </a:lnTo>
                  <a:lnTo>
                    <a:pt x="464" y="2524"/>
                  </a:lnTo>
                  <a:lnTo>
                    <a:pt x="464" y="2524"/>
                  </a:lnTo>
                  <a:lnTo>
                    <a:pt x="476" y="2494"/>
                  </a:lnTo>
                  <a:lnTo>
                    <a:pt x="476" y="2494"/>
                  </a:lnTo>
                  <a:lnTo>
                    <a:pt x="480" y="2478"/>
                  </a:lnTo>
                  <a:lnTo>
                    <a:pt x="402" y="2478"/>
                  </a:lnTo>
                  <a:lnTo>
                    <a:pt x="402" y="2478"/>
                  </a:lnTo>
                  <a:lnTo>
                    <a:pt x="396" y="2496"/>
                  </a:lnTo>
                  <a:lnTo>
                    <a:pt x="396" y="2496"/>
                  </a:lnTo>
                  <a:close/>
                  <a:moveTo>
                    <a:pt x="482" y="2310"/>
                  </a:moveTo>
                  <a:lnTo>
                    <a:pt x="482" y="2310"/>
                  </a:lnTo>
                  <a:lnTo>
                    <a:pt x="474" y="2310"/>
                  </a:lnTo>
                  <a:lnTo>
                    <a:pt x="466" y="2312"/>
                  </a:lnTo>
                  <a:lnTo>
                    <a:pt x="460" y="2316"/>
                  </a:lnTo>
                  <a:lnTo>
                    <a:pt x="452" y="2322"/>
                  </a:lnTo>
                  <a:lnTo>
                    <a:pt x="446" y="2328"/>
                  </a:lnTo>
                  <a:lnTo>
                    <a:pt x="442" y="2336"/>
                  </a:lnTo>
                  <a:lnTo>
                    <a:pt x="436" y="2346"/>
                  </a:lnTo>
                  <a:lnTo>
                    <a:pt x="432" y="2356"/>
                  </a:lnTo>
                  <a:lnTo>
                    <a:pt x="432" y="2356"/>
                  </a:lnTo>
                  <a:lnTo>
                    <a:pt x="430" y="2366"/>
                  </a:lnTo>
                  <a:lnTo>
                    <a:pt x="430" y="2374"/>
                  </a:lnTo>
                  <a:lnTo>
                    <a:pt x="432" y="2382"/>
                  </a:lnTo>
                  <a:lnTo>
                    <a:pt x="434" y="2390"/>
                  </a:lnTo>
                  <a:lnTo>
                    <a:pt x="438" y="2394"/>
                  </a:lnTo>
                  <a:lnTo>
                    <a:pt x="444" y="2398"/>
                  </a:lnTo>
                  <a:lnTo>
                    <a:pt x="452" y="2400"/>
                  </a:lnTo>
                  <a:lnTo>
                    <a:pt x="460" y="2402"/>
                  </a:lnTo>
                  <a:lnTo>
                    <a:pt x="460" y="2402"/>
                  </a:lnTo>
                  <a:lnTo>
                    <a:pt x="468" y="2400"/>
                  </a:lnTo>
                  <a:lnTo>
                    <a:pt x="476" y="2398"/>
                  </a:lnTo>
                  <a:lnTo>
                    <a:pt x="482" y="2394"/>
                  </a:lnTo>
                  <a:lnTo>
                    <a:pt x="488" y="2388"/>
                  </a:lnTo>
                  <a:lnTo>
                    <a:pt x="492" y="2382"/>
                  </a:lnTo>
                  <a:lnTo>
                    <a:pt x="496" y="2374"/>
                  </a:lnTo>
                  <a:lnTo>
                    <a:pt x="500" y="2354"/>
                  </a:lnTo>
                  <a:lnTo>
                    <a:pt x="500" y="2354"/>
                  </a:lnTo>
                  <a:lnTo>
                    <a:pt x="502" y="2336"/>
                  </a:lnTo>
                  <a:lnTo>
                    <a:pt x="502" y="2328"/>
                  </a:lnTo>
                  <a:lnTo>
                    <a:pt x="500" y="2322"/>
                  </a:lnTo>
                  <a:lnTo>
                    <a:pt x="498" y="2316"/>
                  </a:lnTo>
                  <a:lnTo>
                    <a:pt x="494" y="2312"/>
                  </a:lnTo>
                  <a:lnTo>
                    <a:pt x="488" y="2310"/>
                  </a:lnTo>
                  <a:lnTo>
                    <a:pt x="482" y="2310"/>
                  </a:lnTo>
                  <a:lnTo>
                    <a:pt x="482" y="2310"/>
                  </a:lnTo>
                  <a:close/>
                  <a:moveTo>
                    <a:pt x="496" y="2356"/>
                  </a:moveTo>
                  <a:lnTo>
                    <a:pt x="496" y="2356"/>
                  </a:lnTo>
                  <a:lnTo>
                    <a:pt x="492" y="2366"/>
                  </a:lnTo>
                  <a:lnTo>
                    <a:pt x="486" y="2376"/>
                  </a:lnTo>
                  <a:lnTo>
                    <a:pt x="476" y="2382"/>
                  </a:lnTo>
                  <a:lnTo>
                    <a:pt x="464" y="2384"/>
                  </a:lnTo>
                  <a:lnTo>
                    <a:pt x="464" y="2384"/>
                  </a:lnTo>
                  <a:lnTo>
                    <a:pt x="452" y="2382"/>
                  </a:lnTo>
                  <a:lnTo>
                    <a:pt x="448" y="2378"/>
                  </a:lnTo>
                  <a:lnTo>
                    <a:pt x="444" y="2376"/>
                  </a:lnTo>
                  <a:lnTo>
                    <a:pt x="442" y="2372"/>
                  </a:lnTo>
                  <a:lnTo>
                    <a:pt x="440" y="2368"/>
                  </a:lnTo>
                  <a:lnTo>
                    <a:pt x="442" y="2356"/>
                  </a:lnTo>
                  <a:lnTo>
                    <a:pt x="442" y="2356"/>
                  </a:lnTo>
                  <a:lnTo>
                    <a:pt x="446" y="2344"/>
                  </a:lnTo>
                  <a:lnTo>
                    <a:pt x="454" y="2334"/>
                  </a:lnTo>
                  <a:lnTo>
                    <a:pt x="466" y="2330"/>
                  </a:lnTo>
                  <a:lnTo>
                    <a:pt x="476" y="2328"/>
                  </a:lnTo>
                  <a:lnTo>
                    <a:pt x="476" y="2328"/>
                  </a:lnTo>
                  <a:lnTo>
                    <a:pt x="486" y="2330"/>
                  </a:lnTo>
                  <a:lnTo>
                    <a:pt x="490" y="2332"/>
                  </a:lnTo>
                  <a:lnTo>
                    <a:pt x="494" y="2334"/>
                  </a:lnTo>
                  <a:lnTo>
                    <a:pt x="496" y="2344"/>
                  </a:lnTo>
                  <a:lnTo>
                    <a:pt x="496" y="2356"/>
                  </a:lnTo>
                  <a:lnTo>
                    <a:pt x="496" y="2356"/>
                  </a:lnTo>
                  <a:close/>
                  <a:moveTo>
                    <a:pt x="472" y="2224"/>
                  </a:moveTo>
                  <a:lnTo>
                    <a:pt x="518" y="2224"/>
                  </a:lnTo>
                  <a:lnTo>
                    <a:pt x="518" y="2224"/>
                  </a:lnTo>
                  <a:lnTo>
                    <a:pt x="518" y="2224"/>
                  </a:lnTo>
                  <a:lnTo>
                    <a:pt x="518" y="2224"/>
                  </a:lnTo>
                  <a:lnTo>
                    <a:pt x="510" y="2248"/>
                  </a:lnTo>
                  <a:lnTo>
                    <a:pt x="510" y="2248"/>
                  </a:lnTo>
                  <a:lnTo>
                    <a:pt x="514" y="2252"/>
                  </a:lnTo>
                  <a:lnTo>
                    <a:pt x="514" y="2252"/>
                  </a:lnTo>
                  <a:lnTo>
                    <a:pt x="524" y="2222"/>
                  </a:lnTo>
                  <a:lnTo>
                    <a:pt x="524" y="2222"/>
                  </a:lnTo>
                  <a:lnTo>
                    <a:pt x="526" y="2206"/>
                  </a:lnTo>
                  <a:lnTo>
                    <a:pt x="478" y="2206"/>
                  </a:lnTo>
                  <a:lnTo>
                    <a:pt x="478" y="2206"/>
                  </a:lnTo>
                  <a:lnTo>
                    <a:pt x="472" y="2224"/>
                  </a:lnTo>
                  <a:lnTo>
                    <a:pt x="472" y="2224"/>
                  </a:lnTo>
                  <a:close/>
                  <a:moveTo>
                    <a:pt x="514" y="2088"/>
                  </a:moveTo>
                  <a:lnTo>
                    <a:pt x="546" y="2088"/>
                  </a:lnTo>
                  <a:lnTo>
                    <a:pt x="546" y="2088"/>
                  </a:lnTo>
                  <a:lnTo>
                    <a:pt x="546" y="2088"/>
                  </a:lnTo>
                  <a:lnTo>
                    <a:pt x="546" y="2088"/>
                  </a:lnTo>
                  <a:lnTo>
                    <a:pt x="538" y="2112"/>
                  </a:lnTo>
                  <a:lnTo>
                    <a:pt x="538" y="2112"/>
                  </a:lnTo>
                  <a:lnTo>
                    <a:pt x="542" y="2116"/>
                  </a:lnTo>
                  <a:lnTo>
                    <a:pt x="542" y="2116"/>
                  </a:lnTo>
                  <a:lnTo>
                    <a:pt x="550" y="2086"/>
                  </a:lnTo>
                  <a:lnTo>
                    <a:pt x="550" y="2086"/>
                  </a:lnTo>
                  <a:lnTo>
                    <a:pt x="552" y="2070"/>
                  </a:lnTo>
                  <a:lnTo>
                    <a:pt x="518" y="2070"/>
                  </a:lnTo>
                  <a:lnTo>
                    <a:pt x="518" y="2070"/>
                  </a:lnTo>
                  <a:lnTo>
                    <a:pt x="514" y="2088"/>
                  </a:lnTo>
                  <a:lnTo>
                    <a:pt x="514" y="2088"/>
                  </a:lnTo>
                  <a:close/>
                  <a:moveTo>
                    <a:pt x="582" y="1902"/>
                  </a:moveTo>
                  <a:lnTo>
                    <a:pt x="582" y="1902"/>
                  </a:lnTo>
                  <a:lnTo>
                    <a:pt x="578" y="1906"/>
                  </a:lnTo>
                  <a:lnTo>
                    <a:pt x="570" y="1914"/>
                  </a:lnTo>
                  <a:lnTo>
                    <a:pt x="564" y="1930"/>
                  </a:lnTo>
                  <a:lnTo>
                    <a:pt x="556" y="1950"/>
                  </a:lnTo>
                  <a:lnTo>
                    <a:pt x="556" y="1950"/>
                  </a:lnTo>
                  <a:lnTo>
                    <a:pt x="552" y="1968"/>
                  </a:lnTo>
                  <a:lnTo>
                    <a:pt x="550" y="1982"/>
                  </a:lnTo>
                  <a:lnTo>
                    <a:pt x="554" y="1990"/>
                  </a:lnTo>
                  <a:lnTo>
                    <a:pt x="556" y="1994"/>
                  </a:lnTo>
                  <a:lnTo>
                    <a:pt x="558" y="1994"/>
                  </a:lnTo>
                  <a:lnTo>
                    <a:pt x="558" y="1994"/>
                  </a:lnTo>
                  <a:lnTo>
                    <a:pt x="562" y="1994"/>
                  </a:lnTo>
                  <a:lnTo>
                    <a:pt x="564" y="1990"/>
                  </a:lnTo>
                  <a:lnTo>
                    <a:pt x="570" y="1980"/>
                  </a:lnTo>
                  <a:lnTo>
                    <a:pt x="574" y="1966"/>
                  </a:lnTo>
                  <a:lnTo>
                    <a:pt x="576" y="1948"/>
                  </a:lnTo>
                  <a:lnTo>
                    <a:pt x="576" y="1948"/>
                  </a:lnTo>
                  <a:lnTo>
                    <a:pt x="584" y="1914"/>
                  </a:lnTo>
                  <a:lnTo>
                    <a:pt x="584" y="1906"/>
                  </a:lnTo>
                  <a:lnTo>
                    <a:pt x="584" y="1904"/>
                  </a:lnTo>
                  <a:lnTo>
                    <a:pt x="582" y="1902"/>
                  </a:lnTo>
                  <a:lnTo>
                    <a:pt x="582" y="1902"/>
                  </a:lnTo>
                  <a:close/>
                  <a:moveTo>
                    <a:pt x="576" y="1948"/>
                  </a:moveTo>
                  <a:lnTo>
                    <a:pt x="576" y="1948"/>
                  </a:lnTo>
                  <a:lnTo>
                    <a:pt x="572" y="1968"/>
                  </a:lnTo>
                  <a:lnTo>
                    <a:pt x="568" y="1974"/>
                  </a:lnTo>
                  <a:lnTo>
                    <a:pt x="564" y="1976"/>
                  </a:lnTo>
                  <a:lnTo>
                    <a:pt x="564" y="1976"/>
                  </a:lnTo>
                  <a:lnTo>
                    <a:pt x="560" y="1974"/>
                  </a:lnTo>
                  <a:lnTo>
                    <a:pt x="558" y="1968"/>
                  </a:lnTo>
                  <a:lnTo>
                    <a:pt x="558" y="1960"/>
                  </a:lnTo>
                  <a:lnTo>
                    <a:pt x="560" y="1948"/>
                  </a:lnTo>
                  <a:lnTo>
                    <a:pt x="560" y="1948"/>
                  </a:lnTo>
                  <a:lnTo>
                    <a:pt x="564" y="1936"/>
                  </a:lnTo>
                  <a:lnTo>
                    <a:pt x="570" y="1928"/>
                  </a:lnTo>
                  <a:lnTo>
                    <a:pt x="574" y="1922"/>
                  </a:lnTo>
                  <a:lnTo>
                    <a:pt x="578" y="1920"/>
                  </a:lnTo>
                  <a:lnTo>
                    <a:pt x="578" y="1920"/>
                  </a:lnTo>
                  <a:lnTo>
                    <a:pt x="580" y="1922"/>
                  </a:lnTo>
                  <a:lnTo>
                    <a:pt x="580" y="1928"/>
                  </a:lnTo>
                  <a:lnTo>
                    <a:pt x="576" y="1948"/>
                  </a:lnTo>
                  <a:lnTo>
                    <a:pt x="576" y="1948"/>
                  </a:lnTo>
                  <a:close/>
                  <a:moveTo>
                    <a:pt x="600" y="1840"/>
                  </a:moveTo>
                  <a:lnTo>
                    <a:pt x="600" y="1840"/>
                  </a:lnTo>
                  <a:lnTo>
                    <a:pt x="604" y="1818"/>
                  </a:lnTo>
                  <a:lnTo>
                    <a:pt x="604" y="1818"/>
                  </a:lnTo>
                  <a:lnTo>
                    <a:pt x="604" y="1816"/>
                  </a:lnTo>
                  <a:lnTo>
                    <a:pt x="602" y="1816"/>
                  </a:lnTo>
                  <a:lnTo>
                    <a:pt x="602" y="1816"/>
                  </a:lnTo>
                  <a:lnTo>
                    <a:pt x="598" y="1844"/>
                  </a:lnTo>
                  <a:lnTo>
                    <a:pt x="598" y="1844"/>
                  </a:lnTo>
                  <a:lnTo>
                    <a:pt x="600" y="1840"/>
                  </a:lnTo>
                  <a:lnTo>
                    <a:pt x="600" y="1840"/>
                  </a:lnTo>
                  <a:close/>
                  <a:moveTo>
                    <a:pt x="606" y="1800"/>
                  </a:moveTo>
                  <a:lnTo>
                    <a:pt x="604" y="1800"/>
                  </a:lnTo>
                  <a:lnTo>
                    <a:pt x="604" y="1800"/>
                  </a:lnTo>
                  <a:lnTo>
                    <a:pt x="598" y="1816"/>
                  </a:lnTo>
                  <a:lnTo>
                    <a:pt x="602" y="1816"/>
                  </a:lnTo>
                  <a:lnTo>
                    <a:pt x="602" y="1816"/>
                  </a:lnTo>
                  <a:lnTo>
                    <a:pt x="604" y="1814"/>
                  </a:lnTo>
                  <a:lnTo>
                    <a:pt x="604" y="1814"/>
                  </a:lnTo>
                  <a:lnTo>
                    <a:pt x="606" y="1800"/>
                  </a:lnTo>
                  <a:lnTo>
                    <a:pt x="606" y="1800"/>
                  </a:lnTo>
                  <a:close/>
                  <a:moveTo>
                    <a:pt x="634" y="1682"/>
                  </a:moveTo>
                  <a:lnTo>
                    <a:pt x="634" y="1682"/>
                  </a:lnTo>
                  <a:lnTo>
                    <a:pt x="634" y="1680"/>
                  </a:lnTo>
                  <a:lnTo>
                    <a:pt x="636" y="1680"/>
                  </a:lnTo>
                  <a:lnTo>
                    <a:pt x="636" y="1680"/>
                  </a:lnTo>
                  <a:lnTo>
                    <a:pt x="638" y="1676"/>
                  </a:lnTo>
                  <a:lnTo>
                    <a:pt x="638" y="1676"/>
                  </a:lnTo>
                  <a:lnTo>
                    <a:pt x="642" y="1664"/>
                  </a:lnTo>
                  <a:lnTo>
                    <a:pt x="634" y="1664"/>
                  </a:lnTo>
                  <a:lnTo>
                    <a:pt x="634" y="1664"/>
                  </a:lnTo>
                  <a:lnTo>
                    <a:pt x="630" y="1678"/>
                  </a:lnTo>
                  <a:lnTo>
                    <a:pt x="630" y="1678"/>
                  </a:lnTo>
                  <a:lnTo>
                    <a:pt x="630" y="1694"/>
                  </a:lnTo>
                  <a:lnTo>
                    <a:pt x="630" y="1694"/>
                  </a:lnTo>
                  <a:lnTo>
                    <a:pt x="634" y="1684"/>
                  </a:lnTo>
                  <a:lnTo>
                    <a:pt x="634" y="1684"/>
                  </a:lnTo>
                  <a:lnTo>
                    <a:pt x="634" y="1682"/>
                  </a:lnTo>
                  <a:lnTo>
                    <a:pt x="634" y="1682"/>
                  </a:lnTo>
                  <a:close/>
                  <a:moveTo>
                    <a:pt x="648" y="1664"/>
                  </a:moveTo>
                  <a:lnTo>
                    <a:pt x="642" y="1664"/>
                  </a:lnTo>
                  <a:lnTo>
                    <a:pt x="642" y="1664"/>
                  </a:lnTo>
                  <a:lnTo>
                    <a:pt x="638" y="1676"/>
                  </a:lnTo>
                  <a:lnTo>
                    <a:pt x="638" y="1676"/>
                  </a:lnTo>
                  <a:lnTo>
                    <a:pt x="636" y="1680"/>
                  </a:lnTo>
                  <a:lnTo>
                    <a:pt x="642" y="1680"/>
                  </a:lnTo>
                  <a:lnTo>
                    <a:pt x="642" y="1680"/>
                  </a:lnTo>
                  <a:lnTo>
                    <a:pt x="648" y="1664"/>
                  </a:lnTo>
                  <a:lnTo>
                    <a:pt x="648" y="1664"/>
                  </a:lnTo>
                  <a:close/>
                  <a:moveTo>
                    <a:pt x="630" y="1696"/>
                  </a:moveTo>
                  <a:lnTo>
                    <a:pt x="630" y="1696"/>
                  </a:lnTo>
                  <a:lnTo>
                    <a:pt x="628" y="1702"/>
                  </a:lnTo>
                  <a:lnTo>
                    <a:pt x="628" y="1702"/>
                  </a:lnTo>
                  <a:lnTo>
                    <a:pt x="632" y="1698"/>
                  </a:lnTo>
                  <a:lnTo>
                    <a:pt x="632" y="1698"/>
                  </a:lnTo>
                  <a:lnTo>
                    <a:pt x="634" y="1686"/>
                  </a:lnTo>
                  <a:lnTo>
                    <a:pt x="634" y="1686"/>
                  </a:lnTo>
                  <a:lnTo>
                    <a:pt x="630" y="1696"/>
                  </a:lnTo>
                  <a:lnTo>
                    <a:pt x="630" y="1696"/>
                  </a:lnTo>
                  <a:close/>
                  <a:moveTo>
                    <a:pt x="688" y="1494"/>
                  </a:moveTo>
                  <a:lnTo>
                    <a:pt x="688" y="1494"/>
                  </a:lnTo>
                  <a:lnTo>
                    <a:pt x="684" y="1496"/>
                  </a:lnTo>
                  <a:lnTo>
                    <a:pt x="680" y="1498"/>
                  </a:lnTo>
                  <a:lnTo>
                    <a:pt x="672" y="1506"/>
                  </a:lnTo>
                  <a:lnTo>
                    <a:pt x="664" y="1520"/>
                  </a:lnTo>
                  <a:lnTo>
                    <a:pt x="658" y="1540"/>
                  </a:lnTo>
                  <a:lnTo>
                    <a:pt x="658" y="1540"/>
                  </a:lnTo>
                  <a:lnTo>
                    <a:pt x="656" y="1558"/>
                  </a:lnTo>
                  <a:lnTo>
                    <a:pt x="656" y="1574"/>
                  </a:lnTo>
                  <a:lnTo>
                    <a:pt x="660" y="1584"/>
                  </a:lnTo>
                  <a:lnTo>
                    <a:pt x="662" y="1586"/>
                  </a:lnTo>
                  <a:lnTo>
                    <a:pt x="666" y="1586"/>
                  </a:lnTo>
                  <a:lnTo>
                    <a:pt x="666" y="1586"/>
                  </a:lnTo>
                  <a:lnTo>
                    <a:pt x="668" y="1586"/>
                  </a:lnTo>
                  <a:lnTo>
                    <a:pt x="670" y="1584"/>
                  </a:lnTo>
                  <a:lnTo>
                    <a:pt x="674" y="1574"/>
                  </a:lnTo>
                  <a:lnTo>
                    <a:pt x="686" y="1542"/>
                  </a:lnTo>
                  <a:lnTo>
                    <a:pt x="686" y="1542"/>
                  </a:lnTo>
                  <a:lnTo>
                    <a:pt x="692" y="1522"/>
                  </a:lnTo>
                  <a:lnTo>
                    <a:pt x="694" y="1508"/>
                  </a:lnTo>
                  <a:lnTo>
                    <a:pt x="694" y="1502"/>
                  </a:lnTo>
                  <a:lnTo>
                    <a:pt x="694" y="1498"/>
                  </a:lnTo>
                  <a:lnTo>
                    <a:pt x="692" y="1496"/>
                  </a:lnTo>
                  <a:lnTo>
                    <a:pt x="688" y="1494"/>
                  </a:lnTo>
                  <a:lnTo>
                    <a:pt x="688" y="1494"/>
                  </a:lnTo>
                  <a:close/>
                  <a:moveTo>
                    <a:pt x="670" y="1568"/>
                  </a:moveTo>
                  <a:lnTo>
                    <a:pt x="670" y="1568"/>
                  </a:lnTo>
                  <a:lnTo>
                    <a:pt x="666" y="1566"/>
                  </a:lnTo>
                  <a:lnTo>
                    <a:pt x="662" y="1560"/>
                  </a:lnTo>
                  <a:lnTo>
                    <a:pt x="662" y="1552"/>
                  </a:lnTo>
                  <a:lnTo>
                    <a:pt x="662" y="1540"/>
                  </a:lnTo>
                  <a:lnTo>
                    <a:pt x="662" y="1540"/>
                  </a:lnTo>
                  <a:lnTo>
                    <a:pt x="666" y="1528"/>
                  </a:lnTo>
                  <a:lnTo>
                    <a:pt x="672" y="1520"/>
                  </a:lnTo>
                  <a:lnTo>
                    <a:pt x="678" y="1514"/>
                  </a:lnTo>
                  <a:lnTo>
                    <a:pt x="684" y="1514"/>
                  </a:lnTo>
                  <a:lnTo>
                    <a:pt x="684" y="1514"/>
                  </a:lnTo>
                  <a:lnTo>
                    <a:pt x="688" y="1514"/>
                  </a:lnTo>
                  <a:lnTo>
                    <a:pt x="690" y="1520"/>
                  </a:lnTo>
                  <a:lnTo>
                    <a:pt x="688" y="1528"/>
                  </a:lnTo>
                  <a:lnTo>
                    <a:pt x="684" y="1540"/>
                  </a:lnTo>
                  <a:lnTo>
                    <a:pt x="684" y="1540"/>
                  </a:lnTo>
                  <a:lnTo>
                    <a:pt x="678" y="1560"/>
                  </a:lnTo>
                  <a:lnTo>
                    <a:pt x="674" y="1566"/>
                  </a:lnTo>
                  <a:lnTo>
                    <a:pt x="670" y="1568"/>
                  </a:lnTo>
                  <a:lnTo>
                    <a:pt x="670" y="1568"/>
                  </a:lnTo>
                  <a:close/>
                  <a:moveTo>
                    <a:pt x="722" y="1360"/>
                  </a:moveTo>
                  <a:lnTo>
                    <a:pt x="722" y="1360"/>
                  </a:lnTo>
                  <a:lnTo>
                    <a:pt x="716" y="1360"/>
                  </a:lnTo>
                  <a:lnTo>
                    <a:pt x="710" y="1362"/>
                  </a:lnTo>
                  <a:lnTo>
                    <a:pt x="706" y="1366"/>
                  </a:lnTo>
                  <a:lnTo>
                    <a:pt x="700" y="1370"/>
                  </a:lnTo>
                  <a:lnTo>
                    <a:pt x="694" y="1378"/>
                  </a:lnTo>
                  <a:lnTo>
                    <a:pt x="690" y="1384"/>
                  </a:lnTo>
                  <a:lnTo>
                    <a:pt x="686" y="1394"/>
                  </a:lnTo>
                  <a:lnTo>
                    <a:pt x="684" y="1404"/>
                  </a:lnTo>
                  <a:lnTo>
                    <a:pt x="684" y="1404"/>
                  </a:lnTo>
                  <a:lnTo>
                    <a:pt x="682" y="1414"/>
                  </a:lnTo>
                  <a:lnTo>
                    <a:pt x="682" y="1422"/>
                  </a:lnTo>
                  <a:lnTo>
                    <a:pt x="684" y="1430"/>
                  </a:lnTo>
                  <a:lnTo>
                    <a:pt x="686" y="1438"/>
                  </a:lnTo>
                  <a:lnTo>
                    <a:pt x="688" y="1444"/>
                  </a:lnTo>
                  <a:lnTo>
                    <a:pt x="692" y="1448"/>
                  </a:lnTo>
                  <a:lnTo>
                    <a:pt x="696" y="1450"/>
                  </a:lnTo>
                  <a:lnTo>
                    <a:pt x="700" y="1450"/>
                  </a:lnTo>
                  <a:lnTo>
                    <a:pt x="700" y="1450"/>
                  </a:lnTo>
                  <a:lnTo>
                    <a:pt x="704" y="1450"/>
                  </a:lnTo>
                  <a:lnTo>
                    <a:pt x="708" y="1448"/>
                  </a:lnTo>
                  <a:lnTo>
                    <a:pt x="716" y="1438"/>
                  </a:lnTo>
                  <a:lnTo>
                    <a:pt x="722" y="1424"/>
                  </a:lnTo>
                  <a:lnTo>
                    <a:pt x="728" y="1406"/>
                  </a:lnTo>
                  <a:lnTo>
                    <a:pt x="728" y="1406"/>
                  </a:lnTo>
                  <a:lnTo>
                    <a:pt x="734" y="1386"/>
                  </a:lnTo>
                  <a:lnTo>
                    <a:pt x="734" y="1372"/>
                  </a:lnTo>
                  <a:lnTo>
                    <a:pt x="734" y="1366"/>
                  </a:lnTo>
                  <a:lnTo>
                    <a:pt x="732" y="1362"/>
                  </a:lnTo>
                  <a:lnTo>
                    <a:pt x="728" y="1360"/>
                  </a:lnTo>
                  <a:lnTo>
                    <a:pt x="722" y="1360"/>
                  </a:lnTo>
                  <a:lnTo>
                    <a:pt x="722" y="1360"/>
                  </a:lnTo>
                  <a:close/>
                  <a:moveTo>
                    <a:pt x="726" y="1406"/>
                  </a:moveTo>
                  <a:lnTo>
                    <a:pt x="726" y="1406"/>
                  </a:lnTo>
                  <a:lnTo>
                    <a:pt x="722" y="1416"/>
                  </a:lnTo>
                  <a:lnTo>
                    <a:pt x="718" y="1426"/>
                  </a:lnTo>
                  <a:lnTo>
                    <a:pt x="712" y="1430"/>
                  </a:lnTo>
                  <a:lnTo>
                    <a:pt x="704" y="1432"/>
                  </a:lnTo>
                  <a:lnTo>
                    <a:pt x="704" y="1432"/>
                  </a:lnTo>
                  <a:lnTo>
                    <a:pt x="698" y="1430"/>
                  </a:lnTo>
                  <a:lnTo>
                    <a:pt x="692" y="1424"/>
                  </a:lnTo>
                  <a:lnTo>
                    <a:pt x="690" y="1416"/>
                  </a:lnTo>
                  <a:lnTo>
                    <a:pt x="690" y="1404"/>
                  </a:lnTo>
                  <a:lnTo>
                    <a:pt x="690" y="1404"/>
                  </a:lnTo>
                  <a:lnTo>
                    <a:pt x="694" y="1392"/>
                  </a:lnTo>
                  <a:lnTo>
                    <a:pt x="702" y="1384"/>
                  </a:lnTo>
                  <a:lnTo>
                    <a:pt x="710" y="1380"/>
                  </a:lnTo>
                  <a:lnTo>
                    <a:pt x="718" y="1378"/>
                  </a:lnTo>
                  <a:lnTo>
                    <a:pt x="718" y="1378"/>
                  </a:lnTo>
                  <a:lnTo>
                    <a:pt x="726" y="1380"/>
                  </a:lnTo>
                  <a:lnTo>
                    <a:pt x="728" y="1384"/>
                  </a:lnTo>
                  <a:lnTo>
                    <a:pt x="728" y="1392"/>
                  </a:lnTo>
                  <a:lnTo>
                    <a:pt x="726" y="1406"/>
                  </a:lnTo>
                  <a:lnTo>
                    <a:pt x="726" y="1406"/>
                  </a:lnTo>
                  <a:close/>
                  <a:moveTo>
                    <a:pt x="734" y="1316"/>
                  </a:moveTo>
                  <a:lnTo>
                    <a:pt x="734" y="1316"/>
                  </a:lnTo>
                  <a:lnTo>
                    <a:pt x="740" y="1314"/>
                  </a:lnTo>
                  <a:lnTo>
                    <a:pt x="746" y="1312"/>
                  </a:lnTo>
                  <a:lnTo>
                    <a:pt x="750" y="1308"/>
                  </a:lnTo>
                  <a:lnTo>
                    <a:pt x="756" y="1302"/>
                  </a:lnTo>
                  <a:lnTo>
                    <a:pt x="762" y="1288"/>
                  </a:lnTo>
                  <a:lnTo>
                    <a:pt x="770" y="1270"/>
                  </a:lnTo>
                  <a:lnTo>
                    <a:pt x="770" y="1270"/>
                  </a:lnTo>
                  <a:lnTo>
                    <a:pt x="774" y="1250"/>
                  </a:lnTo>
                  <a:lnTo>
                    <a:pt x="774" y="1242"/>
                  </a:lnTo>
                  <a:lnTo>
                    <a:pt x="774" y="1236"/>
                  </a:lnTo>
                  <a:lnTo>
                    <a:pt x="772" y="1230"/>
                  </a:lnTo>
                  <a:lnTo>
                    <a:pt x="768" y="1226"/>
                  </a:lnTo>
                  <a:lnTo>
                    <a:pt x="762" y="1224"/>
                  </a:lnTo>
                  <a:lnTo>
                    <a:pt x="756" y="1224"/>
                  </a:lnTo>
                  <a:lnTo>
                    <a:pt x="756" y="1224"/>
                  </a:lnTo>
                  <a:lnTo>
                    <a:pt x="748" y="1224"/>
                  </a:lnTo>
                  <a:lnTo>
                    <a:pt x="740" y="1226"/>
                  </a:lnTo>
                  <a:lnTo>
                    <a:pt x="734" y="1230"/>
                  </a:lnTo>
                  <a:lnTo>
                    <a:pt x="726" y="1234"/>
                  </a:lnTo>
                  <a:lnTo>
                    <a:pt x="720" y="1242"/>
                  </a:lnTo>
                  <a:lnTo>
                    <a:pt x="716" y="1248"/>
                  </a:lnTo>
                  <a:lnTo>
                    <a:pt x="712" y="1258"/>
                  </a:lnTo>
                  <a:lnTo>
                    <a:pt x="708" y="1268"/>
                  </a:lnTo>
                  <a:lnTo>
                    <a:pt x="708" y="1268"/>
                  </a:lnTo>
                  <a:lnTo>
                    <a:pt x="708" y="1278"/>
                  </a:lnTo>
                  <a:lnTo>
                    <a:pt x="708" y="1286"/>
                  </a:lnTo>
                  <a:lnTo>
                    <a:pt x="710" y="1296"/>
                  </a:lnTo>
                  <a:lnTo>
                    <a:pt x="714" y="1302"/>
                  </a:lnTo>
                  <a:lnTo>
                    <a:pt x="718" y="1308"/>
                  </a:lnTo>
                  <a:lnTo>
                    <a:pt x="722" y="1312"/>
                  </a:lnTo>
                  <a:lnTo>
                    <a:pt x="728" y="1314"/>
                  </a:lnTo>
                  <a:lnTo>
                    <a:pt x="734" y="1316"/>
                  </a:lnTo>
                  <a:lnTo>
                    <a:pt x="734" y="1316"/>
                  </a:lnTo>
                  <a:close/>
                  <a:moveTo>
                    <a:pt x="718" y="1270"/>
                  </a:moveTo>
                  <a:lnTo>
                    <a:pt x="718" y="1270"/>
                  </a:lnTo>
                  <a:lnTo>
                    <a:pt x="720" y="1262"/>
                  </a:lnTo>
                  <a:lnTo>
                    <a:pt x="722" y="1256"/>
                  </a:lnTo>
                  <a:lnTo>
                    <a:pt x="730" y="1248"/>
                  </a:lnTo>
                  <a:lnTo>
                    <a:pt x="740" y="1244"/>
                  </a:lnTo>
                  <a:lnTo>
                    <a:pt x="752" y="1242"/>
                  </a:lnTo>
                  <a:lnTo>
                    <a:pt x="752" y="1242"/>
                  </a:lnTo>
                  <a:lnTo>
                    <a:pt x="762" y="1244"/>
                  </a:lnTo>
                  <a:lnTo>
                    <a:pt x="764" y="1246"/>
                  </a:lnTo>
                  <a:lnTo>
                    <a:pt x="766" y="1248"/>
                  </a:lnTo>
                  <a:lnTo>
                    <a:pt x="768" y="1258"/>
                  </a:lnTo>
                  <a:lnTo>
                    <a:pt x="766" y="1270"/>
                  </a:lnTo>
                  <a:lnTo>
                    <a:pt x="766" y="1270"/>
                  </a:lnTo>
                  <a:lnTo>
                    <a:pt x="762" y="1280"/>
                  </a:lnTo>
                  <a:lnTo>
                    <a:pt x="756" y="1290"/>
                  </a:lnTo>
                  <a:lnTo>
                    <a:pt x="748" y="1294"/>
                  </a:lnTo>
                  <a:lnTo>
                    <a:pt x="738" y="1296"/>
                  </a:lnTo>
                  <a:lnTo>
                    <a:pt x="738" y="1296"/>
                  </a:lnTo>
                  <a:lnTo>
                    <a:pt x="728" y="1294"/>
                  </a:lnTo>
                  <a:lnTo>
                    <a:pt x="722" y="1288"/>
                  </a:lnTo>
                  <a:lnTo>
                    <a:pt x="718" y="1280"/>
                  </a:lnTo>
                  <a:lnTo>
                    <a:pt x="718" y="1270"/>
                  </a:lnTo>
                  <a:lnTo>
                    <a:pt x="718" y="1270"/>
                  </a:lnTo>
                  <a:close/>
                  <a:moveTo>
                    <a:pt x="750" y="1162"/>
                  </a:moveTo>
                  <a:lnTo>
                    <a:pt x="750" y="1162"/>
                  </a:lnTo>
                  <a:lnTo>
                    <a:pt x="746" y="1138"/>
                  </a:lnTo>
                  <a:lnTo>
                    <a:pt x="746" y="1138"/>
                  </a:lnTo>
                  <a:lnTo>
                    <a:pt x="746" y="1138"/>
                  </a:lnTo>
                  <a:lnTo>
                    <a:pt x="806" y="1138"/>
                  </a:lnTo>
                  <a:lnTo>
                    <a:pt x="806" y="1138"/>
                  </a:lnTo>
                  <a:lnTo>
                    <a:pt x="812" y="1120"/>
                  </a:lnTo>
                  <a:lnTo>
                    <a:pt x="738" y="1120"/>
                  </a:lnTo>
                  <a:lnTo>
                    <a:pt x="738" y="1120"/>
                  </a:lnTo>
                  <a:lnTo>
                    <a:pt x="734" y="1136"/>
                  </a:lnTo>
                  <a:lnTo>
                    <a:pt x="734" y="1136"/>
                  </a:lnTo>
                  <a:lnTo>
                    <a:pt x="740" y="1166"/>
                  </a:lnTo>
                  <a:lnTo>
                    <a:pt x="740" y="1166"/>
                  </a:lnTo>
                  <a:lnTo>
                    <a:pt x="750" y="1162"/>
                  </a:lnTo>
                  <a:lnTo>
                    <a:pt x="750" y="1162"/>
                  </a:lnTo>
                  <a:close/>
                  <a:moveTo>
                    <a:pt x="776" y="1026"/>
                  </a:moveTo>
                  <a:lnTo>
                    <a:pt x="776" y="1026"/>
                  </a:lnTo>
                  <a:lnTo>
                    <a:pt x="772" y="1002"/>
                  </a:lnTo>
                  <a:lnTo>
                    <a:pt x="772" y="1002"/>
                  </a:lnTo>
                  <a:lnTo>
                    <a:pt x="772" y="1002"/>
                  </a:lnTo>
                  <a:lnTo>
                    <a:pt x="844" y="1002"/>
                  </a:lnTo>
                  <a:lnTo>
                    <a:pt x="844" y="1002"/>
                  </a:lnTo>
                  <a:lnTo>
                    <a:pt x="848" y="984"/>
                  </a:lnTo>
                  <a:lnTo>
                    <a:pt x="760" y="984"/>
                  </a:lnTo>
                  <a:lnTo>
                    <a:pt x="760" y="984"/>
                  </a:lnTo>
                  <a:lnTo>
                    <a:pt x="758" y="1000"/>
                  </a:lnTo>
                  <a:lnTo>
                    <a:pt x="758" y="1000"/>
                  </a:lnTo>
                  <a:lnTo>
                    <a:pt x="766" y="1030"/>
                  </a:lnTo>
                  <a:lnTo>
                    <a:pt x="766" y="1030"/>
                  </a:lnTo>
                  <a:lnTo>
                    <a:pt x="776" y="1026"/>
                  </a:lnTo>
                  <a:lnTo>
                    <a:pt x="776" y="1026"/>
                  </a:lnTo>
                  <a:close/>
                  <a:moveTo>
                    <a:pt x="826" y="908"/>
                  </a:moveTo>
                  <a:lnTo>
                    <a:pt x="826" y="908"/>
                  </a:lnTo>
                  <a:lnTo>
                    <a:pt x="838" y="906"/>
                  </a:lnTo>
                  <a:lnTo>
                    <a:pt x="848" y="904"/>
                  </a:lnTo>
                  <a:lnTo>
                    <a:pt x="856" y="900"/>
                  </a:lnTo>
                  <a:lnTo>
                    <a:pt x="862" y="896"/>
                  </a:lnTo>
                  <a:lnTo>
                    <a:pt x="868" y="888"/>
                  </a:lnTo>
                  <a:lnTo>
                    <a:pt x="872" y="880"/>
                  </a:lnTo>
                  <a:lnTo>
                    <a:pt x="876" y="872"/>
                  </a:lnTo>
                  <a:lnTo>
                    <a:pt x="880" y="862"/>
                  </a:lnTo>
                  <a:lnTo>
                    <a:pt x="880" y="862"/>
                  </a:lnTo>
                  <a:lnTo>
                    <a:pt x="882" y="852"/>
                  </a:lnTo>
                  <a:lnTo>
                    <a:pt x="882" y="842"/>
                  </a:lnTo>
                  <a:lnTo>
                    <a:pt x="880" y="834"/>
                  </a:lnTo>
                  <a:lnTo>
                    <a:pt x="878" y="828"/>
                  </a:lnTo>
                  <a:lnTo>
                    <a:pt x="872" y="822"/>
                  </a:lnTo>
                  <a:lnTo>
                    <a:pt x="864" y="818"/>
                  </a:lnTo>
                  <a:lnTo>
                    <a:pt x="856" y="816"/>
                  </a:lnTo>
                  <a:lnTo>
                    <a:pt x="844" y="816"/>
                  </a:lnTo>
                  <a:lnTo>
                    <a:pt x="844" y="816"/>
                  </a:lnTo>
                  <a:lnTo>
                    <a:pt x="832" y="816"/>
                  </a:lnTo>
                  <a:lnTo>
                    <a:pt x="820" y="818"/>
                  </a:lnTo>
                  <a:lnTo>
                    <a:pt x="810" y="822"/>
                  </a:lnTo>
                  <a:lnTo>
                    <a:pt x="800" y="828"/>
                  </a:lnTo>
                  <a:lnTo>
                    <a:pt x="792" y="834"/>
                  </a:lnTo>
                  <a:lnTo>
                    <a:pt x="784" y="842"/>
                  </a:lnTo>
                  <a:lnTo>
                    <a:pt x="780" y="850"/>
                  </a:lnTo>
                  <a:lnTo>
                    <a:pt x="776" y="860"/>
                  </a:lnTo>
                  <a:lnTo>
                    <a:pt x="776" y="860"/>
                  </a:lnTo>
                  <a:lnTo>
                    <a:pt x="776" y="870"/>
                  </a:lnTo>
                  <a:lnTo>
                    <a:pt x="778" y="880"/>
                  </a:lnTo>
                  <a:lnTo>
                    <a:pt x="782" y="888"/>
                  </a:lnTo>
                  <a:lnTo>
                    <a:pt x="788" y="894"/>
                  </a:lnTo>
                  <a:lnTo>
                    <a:pt x="796" y="900"/>
                  </a:lnTo>
                  <a:lnTo>
                    <a:pt x="806" y="904"/>
                  </a:lnTo>
                  <a:lnTo>
                    <a:pt x="816" y="906"/>
                  </a:lnTo>
                  <a:lnTo>
                    <a:pt x="826" y="908"/>
                  </a:lnTo>
                  <a:lnTo>
                    <a:pt x="826" y="908"/>
                  </a:lnTo>
                  <a:close/>
                  <a:moveTo>
                    <a:pt x="790" y="862"/>
                  </a:moveTo>
                  <a:lnTo>
                    <a:pt x="790" y="862"/>
                  </a:lnTo>
                  <a:lnTo>
                    <a:pt x="792" y="854"/>
                  </a:lnTo>
                  <a:lnTo>
                    <a:pt x="796" y="850"/>
                  </a:lnTo>
                  <a:lnTo>
                    <a:pt x="802" y="844"/>
                  </a:lnTo>
                  <a:lnTo>
                    <a:pt x="808" y="840"/>
                  </a:lnTo>
                  <a:lnTo>
                    <a:pt x="822" y="836"/>
                  </a:lnTo>
                  <a:lnTo>
                    <a:pt x="840" y="834"/>
                  </a:lnTo>
                  <a:lnTo>
                    <a:pt x="840" y="834"/>
                  </a:lnTo>
                  <a:lnTo>
                    <a:pt x="856" y="836"/>
                  </a:lnTo>
                  <a:lnTo>
                    <a:pt x="862" y="838"/>
                  </a:lnTo>
                  <a:lnTo>
                    <a:pt x="868" y="840"/>
                  </a:lnTo>
                  <a:lnTo>
                    <a:pt x="870" y="844"/>
                  </a:lnTo>
                  <a:lnTo>
                    <a:pt x="872" y="850"/>
                  </a:lnTo>
                  <a:lnTo>
                    <a:pt x="872" y="856"/>
                  </a:lnTo>
                  <a:lnTo>
                    <a:pt x="872" y="862"/>
                  </a:lnTo>
                  <a:lnTo>
                    <a:pt x="872" y="862"/>
                  </a:lnTo>
                  <a:lnTo>
                    <a:pt x="868" y="874"/>
                  </a:lnTo>
                  <a:lnTo>
                    <a:pt x="858" y="882"/>
                  </a:lnTo>
                  <a:lnTo>
                    <a:pt x="854" y="884"/>
                  </a:lnTo>
                  <a:lnTo>
                    <a:pt x="846" y="888"/>
                  </a:lnTo>
                  <a:lnTo>
                    <a:pt x="830" y="890"/>
                  </a:lnTo>
                  <a:lnTo>
                    <a:pt x="830" y="890"/>
                  </a:lnTo>
                  <a:lnTo>
                    <a:pt x="814" y="888"/>
                  </a:lnTo>
                  <a:lnTo>
                    <a:pt x="806" y="884"/>
                  </a:lnTo>
                  <a:lnTo>
                    <a:pt x="800" y="882"/>
                  </a:lnTo>
                  <a:lnTo>
                    <a:pt x="796" y="878"/>
                  </a:lnTo>
                  <a:lnTo>
                    <a:pt x="792" y="872"/>
                  </a:lnTo>
                  <a:lnTo>
                    <a:pt x="790" y="868"/>
                  </a:lnTo>
                  <a:lnTo>
                    <a:pt x="790" y="862"/>
                  </a:lnTo>
                  <a:lnTo>
                    <a:pt x="790" y="862"/>
                  </a:lnTo>
                  <a:close/>
                  <a:moveTo>
                    <a:pt x="824" y="754"/>
                  </a:moveTo>
                  <a:lnTo>
                    <a:pt x="824" y="754"/>
                  </a:lnTo>
                  <a:lnTo>
                    <a:pt x="816" y="730"/>
                  </a:lnTo>
                  <a:lnTo>
                    <a:pt x="816" y="730"/>
                  </a:lnTo>
                  <a:lnTo>
                    <a:pt x="816" y="730"/>
                  </a:lnTo>
                  <a:lnTo>
                    <a:pt x="908" y="730"/>
                  </a:lnTo>
                  <a:lnTo>
                    <a:pt x="908" y="730"/>
                  </a:lnTo>
                  <a:lnTo>
                    <a:pt x="912" y="712"/>
                  </a:lnTo>
                  <a:lnTo>
                    <a:pt x="800" y="712"/>
                  </a:lnTo>
                  <a:lnTo>
                    <a:pt x="800" y="712"/>
                  </a:lnTo>
                  <a:lnTo>
                    <a:pt x="798" y="728"/>
                  </a:lnTo>
                  <a:lnTo>
                    <a:pt x="798" y="728"/>
                  </a:lnTo>
                  <a:lnTo>
                    <a:pt x="810" y="758"/>
                  </a:lnTo>
                  <a:lnTo>
                    <a:pt x="810" y="758"/>
                  </a:lnTo>
                  <a:lnTo>
                    <a:pt x="824" y="754"/>
                  </a:lnTo>
                  <a:lnTo>
                    <a:pt x="824" y="754"/>
                  </a:lnTo>
                  <a:close/>
                  <a:moveTo>
                    <a:pt x="844" y="618"/>
                  </a:moveTo>
                  <a:lnTo>
                    <a:pt x="844" y="618"/>
                  </a:lnTo>
                  <a:lnTo>
                    <a:pt x="834" y="594"/>
                  </a:lnTo>
                  <a:lnTo>
                    <a:pt x="834" y="594"/>
                  </a:lnTo>
                  <a:lnTo>
                    <a:pt x="834" y="594"/>
                  </a:lnTo>
                  <a:lnTo>
                    <a:pt x="934" y="594"/>
                  </a:lnTo>
                  <a:lnTo>
                    <a:pt x="934" y="594"/>
                  </a:lnTo>
                  <a:lnTo>
                    <a:pt x="938" y="576"/>
                  </a:lnTo>
                  <a:lnTo>
                    <a:pt x="816" y="576"/>
                  </a:lnTo>
                  <a:lnTo>
                    <a:pt x="816" y="576"/>
                  </a:lnTo>
                  <a:lnTo>
                    <a:pt x="814" y="592"/>
                  </a:lnTo>
                  <a:lnTo>
                    <a:pt x="814" y="592"/>
                  </a:lnTo>
                  <a:lnTo>
                    <a:pt x="828" y="622"/>
                  </a:lnTo>
                  <a:lnTo>
                    <a:pt x="828" y="622"/>
                  </a:lnTo>
                  <a:lnTo>
                    <a:pt x="844" y="618"/>
                  </a:lnTo>
                  <a:lnTo>
                    <a:pt x="844" y="618"/>
                  </a:lnTo>
                  <a:close/>
                  <a:moveTo>
                    <a:pt x="860" y="482"/>
                  </a:moveTo>
                  <a:lnTo>
                    <a:pt x="860" y="482"/>
                  </a:lnTo>
                  <a:lnTo>
                    <a:pt x="848" y="458"/>
                  </a:lnTo>
                  <a:lnTo>
                    <a:pt x="848" y="458"/>
                  </a:lnTo>
                  <a:lnTo>
                    <a:pt x="848" y="458"/>
                  </a:lnTo>
                  <a:lnTo>
                    <a:pt x="958" y="458"/>
                  </a:lnTo>
                  <a:lnTo>
                    <a:pt x="958" y="458"/>
                  </a:lnTo>
                  <a:lnTo>
                    <a:pt x="960" y="440"/>
                  </a:lnTo>
                  <a:lnTo>
                    <a:pt x="830" y="440"/>
                  </a:lnTo>
                  <a:lnTo>
                    <a:pt x="830" y="440"/>
                  </a:lnTo>
                  <a:lnTo>
                    <a:pt x="828" y="456"/>
                  </a:lnTo>
                  <a:lnTo>
                    <a:pt x="828" y="456"/>
                  </a:lnTo>
                  <a:lnTo>
                    <a:pt x="844" y="486"/>
                  </a:lnTo>
                  <a:lnTo>
                    <a:pt x="844" y="486"/>
                  </a:lnTo>
                  <a:lnTo>
                    <a:pt x="860" y="482"/>
                  </a:lnTo>
                  <a:lnTo>
                    <a:pt x="860" y="482"/>
                  </a:lnTo>
                  <a:close/>
                  <a:moveTo>
                    <a:pt x="874" y="346"/>
                  </a:moveTo>
                  <a:lnTo>
                    <a:pt x="874" y="346"/>
                  </a:lnTo>
                  <a:lnTo>
                    <a:pt x="860" y="324"/>
                  </a:lnTo>
                  <a:lnTo>
                    <a:pt x="860" y="324"/>
                  </a:lnTo>
                  <a:lnTo>
                    <a:pt x="860" y="322"/>
                  </a:lnTo>
                  <a:lnTo>
                    <a:pt x="974" y="322"/>
                  </a:lnTo>
                  <a:lnTo>
                    <a:pt x="974" y="322"/>
                  </a:lnTo>
                  <a:lnTo>
                    <a:pt x="976" y="304"/>
                  </a:lnTo>
                  <a:lnTo>
                    <a:pt x="840" y="304"/>
                  </a:lnTo>
                  <a:lnTo>
                    <a:pt x="840" y="304"/>
                  </a:lnTo>
                  <a:lnTo>
                    <a:pt x="840" y="320"/>
                  </a:lnTo>
                  <a:lnTo>
                    <a:pt x="840" y="320"/>
                  </a:lnTo>
                  <a:lnTo>
                    <a:pt x="856" y="350"/>
                  </a:lnTo>
                  <a:lnTo>
                    <a:pt x="856" y="350"/>
                  </a:lnTo>
                  <a:lnTo>
                    <a:pt x="874" y="346"/>
                  </a:lnTo>
                  <a:lnTo>
                    <a:pt x="874" y="346"/>
                  </a:lnTo>
                  <a:close/>
                  <a:moveTo>
                    <a:pt x="922" y="228"/>
                  </a:moveTo>
                  <a:lnTo>
                    <a:pt x="922" y="228"/>
                  </a:lnTo>
                  <a:lnTo>
                    <a:pt x="938" y="228"/>
                  </a:lnTo>
                  <a:lnTo>
                    <a:pt x="952" y="226"/>
                  </a:lnTo>
                  <a:lnTo>
                    <a:pt x="962" y="222"/>
                  </a:lnTo>
                  <a:lnTo>
                    <a:pt x="972" y="216"/>
                  </a:lnTo>
                  <a:lnTo>
                    <a:pt x="978" y="210"/>
                  </a:lnTo>
                  <a:lnTo>
                    <a:pt x="984" y="202"/>
                  </a:lnTo>
                  <a:lnTo>
                    <a:pt x="988" y="194"/>
                  </a:lnTo>
                  <a:lnTo>
                    <a:pt x="988" y="184"/>
                  </a:lnTo>
                  <a:lnTo>
                    <a:pt x="988" y="184"/>
                  </a:lnTo>
                  <a:lnTo>
                    <a:pt x="988" y="174"/>
                  </a:lnTo>
                  <a:lnTo>
                    <a:pt x="986" y="164"/>
                  </a:lnTo>
                  <a:lnTo>
                    <a:pt x="982" y="156"/>
                  </a:lnTo>
                  <a:lnTo>
                    <a:pt x="976" y="148"/>
                  </a:lnTo>
                  <a:lnTo>
                    <a:pt x="968" y="144"/>
                  </a:lnTo>
                  <a:lnTo>
                    <a:pt x="956" y="140"/>
                  </a:lnTo>
                  <a:lnTo>
                    <a:pt x="942" y="138"/>
                  </a:lnTo>
                  <a:lnTo>
                    <a:pt x="926" y="136"/>
                  </a:lnTo>
                  <a:lnTo>
                    <a:pt x="926" y="136"/>
                  </a:lnTo>
                  <a:lnTo>
                    <a:pt x="910" y="138"/>
                  </a:lnTo>
                  <a:lnTo>
                    <a:pt x="894" y="140"/>
                  </a:lnTo>
                  <a:lnTo>
                    <a:pt x="880" y="144"/>
                  </a:lnTo>
                  <a:lnTo>
                    <a:pt x="868" y="148"/>
                  </a:lnTo>
                  <a:lnTo>
                    <a:pt x="858" y="154"/>
                  </a:lnTo>
                  <a:lnTo>
                    <a:pt x="850" y="162"/>
                  </a:lnTo>
                  <a:lnTo>
                    <a:pt x="846" y="172"/>
                  </a:lnTo>
                  <a:lnTo>
                    <a:pt x="844" y="182"/>
                  </a:lnTo>
                  <a:lnTo>
                    <a:pt x="844" y="182"/>
                  </a:lnTo>
                  <a:lnTo>
                    <a:pt x="844" y="192"/>
                  </a:lnTo>
                  <a:lnTo>
                    <a:pt x="850" y="200"/>
                  </a:lnTo>
                  <a:lnTo>
                    <a:pt x="856" y="208"/>
                  </a:lnTo>
                  <a:lnTo>
                    <a:pt x="866" y="216"/>
                  </a:lnTo>
                  <a:lnTo>
                    <a:pt x="878" y="220"/>
                  </a:lnTo>
                  <a:lnTo>
                    <a:pt x="892" y="226"/>
                  </a:lnTo>
                  <a:lnTo>
                    <a:pt x="906" y="228"/>
                  </a:lnTo>
                  <a:lnTo>
                    <a:pt x="922" y="228"/>
                  </a:lnTo>
                  <a:lnTo>
                    <a:pt x="922" y="228"/>
                  </a:lnTo>
                  <a:close/>
                  <a:moveTo>
                    <a:pt x="926" y="156"/>
                  </a:moveTo>
                  <a:lnTo>
                    <a:pt x="926" y="156"/>
                  </a:lnTo>
                  <a:lnTo>
                    <a:pt x="950" y="156"/>
                  </a:lnTo>
                  <a:lnTo>
                    <a:pt x="958" y="158"/>
                  </a:lnTo>
                  <a:lnTo>
                    <a:pt x="966" y="162"/>
                  </a:lnTo>
                  <a:lnTo>
                    <a:pt x="970" y="166"/>
                  </a:lnTo>
                  <a:lnTo>
                    <a:pt x="974" y="170"/>
                  </a:lnTo>
                  <a:lnTo>
                    <a:pt x="976" y="176"/>
                  </a:lnTo>
                  <a:lnTo>
                    <a:pt x="976" y="182"/>
                  </a:lnTo>
                  <a:lnTo>
                    <a:pt x="976" y="182"/>
                  </a:lnTo>
                  <a:lnTo>
                    <a:pt x="976" y="188"/>
                  </a:lnTo>
                  <a:lnTo>
                    <a:pt x="974" y="194"/>
                  </a:lnTo>
                  <a:lnTo>
                    <a:pt x="970" y="198"/>
                  </a:lnTo>
                  <a:lnTo>
                    <a:pt x="964" y="202"/>
                  </a:lnTo>
                  <a:lnTo>
                    <a:pt x="956" y="206"/>
                  </a:lnTo>
                  <a:lnTo>
                    <a:pt x="948" y="208"/>
                  </a:lnTo>
                  <a:lnTo>
                    <a:pt x="924" y="210"/>
                  </a:lnTo>
                  <a:lnTo>
                    <a:pt x="924" y="210"/>
                  </a:lnTo>
                  <a:lnTo>
                    <a:pt x="898" y="208"/>
                  </a:lnTo>
                  <a:lnTo>
                    <a:pt x="888" y="206"/>
                  </a:lnTo>
                  <a:lnTo>
                    <a:pt x="880" y="202"/>
                  </a:lnTo>
                  <a:lnTo>
                    <a:pt x="872" y="198"/>
                  </a:lnTo>
                  <a:lnTo>
                    <a:pt x="866" y="194"/>
                  </a:lnTo>
                  <a:lnTo>
                    <a:pt x="862" y="188"/>
                  </a:lnTo>
                  <a:lnTo>
                    <a:pt x="862" y="182"/>
                  </a:lnTo>
                  <a:lnTo>
                    <a:pt x="862" y="182"/>
                  </a:lnTo>
                  <a:lnTo>
                    <a:pt x="864" y="176"/>
                  </a:lnTo>
                  <a:lnTo>
                    <a:pt x="868" y="170"/>
                  </a:lnTo>
                  <a:lnTo>
                    <a:pt x="874" y="166"/>
                  </a:lnTo>
                  <a:lnTo>
                    <a:pt x="882" y="162"/>
                  </a:lnTo>
                  <a:lnTo>
                    <a:pt x="902" y="156"/>
                  </a:lnTo>
                  <a:lnTo>
                    <a:pt x="926" y="156"/>
                  </a:lnTo>
                  <a:lnTo>
                    <a:pt x="926" y="156"/>
                  </a:lnTo>
                  <a:close/>
                  <a:moveTo>
                    <a:pt x="888" y="74"/>
                  </a:moveTo>
                  <a:lnTo>
                    <a:pt x="888" y="74"/>
                  </a:lnTo>
                  <a:lnTo>
                    <a:pt x="872" y="52"/>
                  </a:lnTo>
                  <a:lnTo>
                    <a:pt x="872" y="52"/>
                  </a:lnTo>
                  <a:lnTo>
                    <a:pt x="872" y="52"/>
                  </a:lnTo>
                  <a:lnTo>
                    <a:pt x="992" y="52"/>
                  </a:lnTo>
                  <a:lnTo>
                    <a:pt x="992" y="52"/>
                  </a:lnTo>
                  <a:lnTo>
                    <a:pt x="992" y="34"/>
                  </a:lnTo>
                  <a:lnTo>
                    <a:pt x="850" y="34"/>
                  </a:lnTo>
                  <a:lnTo>
                    <a:pt x="850" y="34"/>
                  </a:lnTo>
                  <a:lnTo>
                    <a:pt x="850" y="48"/>
                  </a:lnTo>
                  <a:lnTo>
                    <a:pt x="850" y="48"/>
                  </a:lnTo>
                  <a:lnTo>
                    <a:pt x="870" y="78"/>
                  </a:lnTo>
                  <a:lnTo>
                    <a:pt x="870" y="78"/>
                  </a:lnTo>
                  <a:lnTo>
                    <a:pt x="888" y="74"/>
                  </a:lnTo>
                  <a:lnTo>
                    <a:pt x="888" y="74"/>
                  </a:lnTo>
                  <a:close/>
                  <a:moveTo>
                    <a:pt x="0" y="3446"/>
                  </a:moveTo>
                  <a:lnTo>
                    <a:pt x="118" y="3446"/>
                  </a:lnTo>
                  <a:lnTo>
                    <a:pt x="118" y="3446"/>
                  </a:lnTo>
                  <a:lnTo>
                    <a:pt x="118" y="3446"/>
                  </a:lnTo>
                  <a:lnTo>
                    <a:pt x="118" y="3446"/>
                  </a:lnTo>
                  <a:lnTo>
                    <a:pt x="106" y="3470"/>
                  </a:lnTo>
                  <a:lnTo>
                    <a:pt x="106" y="3470"/>
                  </a:lnTo>
                  <a:lnTo>
                    <a:pt x="118" y="3474"/>
                  </a:lnTo>
                  <a:lnTo>
                    <a:pt x="118" y="3474"/>
                  </a:lnTo>
                  <a:lnTo>
                    <a:pt x="136" y="3444"/>
                  </a:lnTo>
                  <a:lnTo>
                    <a:pt x="136" y="3444"/>
                  </a:lnTo>
                  <a:lnTo>
                    <a:pt x="136" y="3428"/>
                  </a:lnTo>
                  <a:lnTo>
                    <a:pt x="0" y="3428"/>
                  </a:lnTo>
                  <a:lnTo>
                    <a:pt x="0" y="3428"/>
                  </a:lnTo>
                  <a:lnTo>
                    <a:pt x="0" y="3446"/>
                  </a:lnTo>
                  <a:lnTo>
                    <a:pt x="0" y="3446"/>
                  </a:lnTo>
                  <a:close/>
                  <a:moveTo>
                    <a:pt x="8" y="3310"/>
                  </a:moveTo>
                  <a:lnTo>
                    <a:pt x="124" y="3310"/>
                  </a:lnTo>
                  <a:lnTo>
                    <a:pt x="124" y="3310"/>
                  </a:lnTo>
                  <a:lnTo>
                    <a:pt x="124" y="3312"/>
                  </a:lnTo>
                  <a:lnTo>
                    <a:pt x="124" y="3312"/>
                  </a:lnTo>
                  <a:lnTo>
                    <a:pt x="110" y="3334"/>
                  </a:lnTo>
                  <a:lnTo>
                    <a:pt x="110" y="3334"/>
                  </a:lnTo>
                  <a:lnTo>
                    <a:pt x="124" y="3338"/>
                  </a:lnTo>
                  <a:lnTo>
                    <a:pt x="124" y="3338"/>
                  </a:lnTo>
                  <a:lnTo>
                    <a:pt x="142" y="3308"/>
                  </a:lnTo>
                  <a:lnTo>
                    <a:pt x="142" y="3308"/>
                  </a:lnTo>
                  <a:lnTo>
                    <a:pt x="142" y="3294"/>
                  </a:lnTo>
                  <a:lnTo>
                    <a:pt x="10" y="3294"/>
                  </a:lnTo>
                  <a:lnTo>
                    <a:pt x="10" y="3294"/>
                  </a:lnTo>
                  <a:lnTo>
                    <a:pt x="8" y="3310"/>
                  </a:lnTo>
                  <a:lnTo>
                    <a:pt x="8" y="3310"/>
                  </a:lnTo>
                  <a:close/>
                  <a:moveTo>
                    <a:pt x="100" y="3124"/>
                  </a:moveTo>
                  <a:lnTo>
                    <a:pt x="100" y="3124"/>
                  </a:lnTo>
                  <a:lnTo>
                    <a:pt x="84" y="3126"/>
                  </a:lnTo>
                  <a:lnTo>
                    <a:pt x="72" y="3128"/>
                  </a:lnTo>
                  <a:lnTo>
                    <a:pt x="60" y="3132"/>
                  </a:lnTo>
                  <a:lnTo>
                    <a:pt x="48" y="3138"/>
                  </a:lnTo>
                  <a:lnTo>
                    <a:pt x="40" y="3144"/>
                  </a:lnTo>
                  <a:lnTo>
                    <a:pt x="34" y="3152"/>
                  </a:lnTo>
                  <a:lnTo>
                    <a:pt x="28" y="3162"/>
                  </a:lnTo>
                  <a:lnTo>
                    <a:pt x="26" y="3172"/>
                  </a:lnTo>
                  <a:lnTo>
                    <a:pt x="26" y="3172"/>
                  </a:lnTo>
                  <a:lnTo>
                    <a:pt x="26" y="3182"/>
                  </a:lnTo>
                  <a:lnTo>
                    <a:pt x="28" y="3190"/>
                  </a:lnTo>
                  <a:lnTo>
                    <a:pt x="32" y="3198"/>
                  </a:lnTo>
                  <a:lnTo>
                    <a:pt x="38" y="3204"/>
                  </a:lnTo>
                  <a:lnTo>
                    <a:pt x="46" y="3210"/>
                  </a:lnTo>
                  <a:lnTo>
                    <a:pt x="56" y="3214"/>
                  </a:lnTo>
                  <a:lnTo>
                    <a:pt x="70" y="3216"/>
                  </a:lnTo>
                  <a:lnTo>
                    <a:pt x="84" y="3216"/>
                  </a:lnTo>
                  <a:lnTo>
                    <a:pt x="84" y="3216"/>
                  </a:lnTo>
                  <a:lnTo>
                    <a:pt x="100" y="3216"/>
                  </a:lnTo>
                  <a:lnTo>
                    <a:pt x="114" y="3214"/>
                  </a:lnTo>
                  <a:lnTo>
                    <a:pt x="126" y="3208"/>
                  </a:lnTo>
                  <a:lnTo>
                    <a:pt x="136" y="3204"/>
                  </a:lnTo>
                  <a:lnTo>
                    <a:pt x="146" y="3196"/>
                  </a:lnTo>
                  <a:lnTo>
                    <a:pt x="152" y="3188"/>
                  </a:lnTo>
                  <a:lnTo>
                    <a:pt x="156" y="3180"/>
                  </a:lnTo>
                  <a:lnTo>
                    <a:pt x="158" y="3170"/>
                  </a:lnTo>
                  <a:lnTo>
                    <a:pt x="158" y="3170"/>
                  </a:lnTo>
                  <a:lnTo>
                    <a:pt x="158" y="3160"/>
                  </a:lnTo>
                  <a:lnTo>
                    <a:pt x="156" y="3150"/>
                  </a:lnTo>
                  <a:lnTo>
                    <a:pt x="152" y="3142"/>
                  </a:lnTo>
                  <a:lnTo>
                    <a:pt x="146" y="3136"/>
                  </a:lnTo>
                  <a:lnTo>
                    <a:pt x="138" y="3132"/>
                  </a:lnTo>
                  <a:lnTo>
                    <a:pt x="126" y="3128"/>
                  </a:lnTo>
                  <a:lnTo>
                    <a:pt x="114" y="3126"/>
                  </a:lnTo>
                  <a:lnTo>
                    <a:pt x="100" y="3124"/>
                  </a:lnTo>
                  <a:lnTo>
                    <a:pt x="100" y="3124"/>
                  </a:lnTo>
                  <a:close/>
                  <a:moveTo>
                    <a:pt x="144" y="3170"/>
                  </a:moveTo>
                  <a:lnTo>
                    <a:pt x="144" y="3170"/>
                  </a:lnTo>
                  <a:lnTo>
                    <a:pt x="144" y="3176"/>
                  </a:lnTo>
                  <a:lnTo>
                    <a:pt x="140" y="3182"/>
                  </a:lnTo>
                  <a:lnTo>
                    <a:pt x="134" y="3186"/>
                  </a:lnTo>
                  <a:lnTo>
                    <a:pt x="128" y="3190"/>
                  </a:lnTo>
                  <a:lnTo>
                    <a:pt x="120" y="3194"/>
                  </a:lnTo>
                  <a:lnTo>
                    <a:pt x="110" y="3196"/>
                  </a:lnTo>
                  <a:lnTo>
                    <a:pt x="86" y="3198"/>
                  </a:lnTo>
                  <a:lnTo>
                    <a:pt x="86" y="3198"/>
                  </a:lnTo>
                  <a:lnTo>
                    <a:pt x="64" y="3196"/>
                  </a:lnTo>
                  <a:lnTo>
                    <a:pt x="56" y="3194"/>
                  </a:lnTo>
                  <a:lnTo>
                    <a:pt x="50" y="3190"/>
                  </a:lnTo>
                  <a:lnTo>
                    <a:pt x="44" y="3186"/>
                  </a:lnTo>
                  <a:lnTo>
                    <a:pt x="40" y="3182"/>
                  </a:lnTo>
                  <a:lnTo>
                    <a:pt x="38" y="3176"/>
                  </a:lnTo>
                  <a:lnTo>
                    <a:pt x="40" y="3170"/>
                  </a:lnTo>
                  <a:lnTo>
                    <a:pt x="40" y="3170"/>
                  </a:lnTo>
                  <a:lnTo>
                    <a:pt x="42" y="3164"/>
                  </a:lnTo>
                  <a:lnTo>
                    <a:pt x="44" y="3158"/>
                  </a:lnTo>
                  <a:lnTo>
                    <a:pt x="50" y="3154"/>
                  </a:lnTo>
                  <a:lnTo>
                    <a:pt x="56" y="3150"/>
                  </a:lnTo>
                  <a:lnTo>
                    <a:pt x="64" y="3146"/>
                  </a:lnTo>
                  <a:lnTo>
                    <a:pt x="74" y="3144"/>
                  </a:lnTo>
                  <a:lnTo>
                    <a:pt x="96" y="3144"/>
                  </a:lnTo>
                  <a:lnTo>
                    <a:pt x="96" y="3144"/>
                  </a:lnTo>
                  <a:lnTo>
                    <a:pt x="118" y="3144"/>
                  </a:lnTo>
                  <a:lnTo>
                    <a:pt x="126" y="3146"/>
                  </a:lnTo>
                  <a:lnTo>
                    <a:pt x="134" y="3150"/>
                  </a:lnTo>
                  <a:lnTo>
                    <a:pt x="138" y="3154"/>
                  </a:lnTo>
                  <a:lnTo>
                    <a:pt x="142" y="3158"/>
                  </a:lnTo>
                  <a:lnTo>
                    <a:pt x="144" y="3164"/>
                  </a:lnTo>
                  <a:lnTo>
                    <a:pt x="144" y="3170"/>
                  </a:lnTo>
                  <a:lnTo>
                    <a:pt x="144" y="3170"/>
                  </a:lnTo>
                  <a:close/>
                  <a:moveTo>
                    <a:pt x="56" y="3040"/>
                  </a:moveTo>
                  <a:lnTo>
                    <a:pt x="162" y="3040"/>
                  </a:lnTo>
                  <a:lnTo>
                    <a:pt x="162" y="3040"/>
                  </a:lnTo>
                  <a:lnTo>
                    <a:pt x="162" y="3040"/>
                  </a:lnTo>
                  <a:lnTo>
                    <a:pt x="162" y="3040"/>
                  </a:lnTo>
                  <a:lnTo>
                    <a:pt x="146" y="3062"/>
                  </a:lnTo>
                  <a:lnTo>
                    <a:pt x="146" y="3062"/>
                  </a:lnTo>
                  <a:lnTo>
                    <a:pt x="158" y="3066"/>
                  </a:lnTo>
                  <a:lnTo>
                    <a:pt x="158" y="3066"/>
                  </a:lnTo>
                  <a:lnTo>
                    <a:pt x="178" y="3036"/>
                  </a:lnTo>
                  <a:lnTo>
                    <a:pt x="178" y="3036"/>
                  </a:lnTo>
                  <a:lnTo>
                    <a:pt x="180" y="3022"/>
                  </a:lnTo>
                  <a:lnTo>
                    <a:pt x="60" y="3022"/>
                  </a:lnTo>
                  <a:lnTo>
                    <a:pt x="60" y="3022"/>
                  </a:lnTo>
                  <a:lnTo>
                    <a:pt x="56" y="3040"/>
                  </a:lnTo>
                  <a:lnTo>
                    <a:pt x="56" y="3040"/>
                  </a:lnTo>
                  <a:close/>
                  <a:moveTo>
                    <a:pt x="162" y="2854"/>
                  </a:moveTo>
                  <a:lnTo>
                    <a:pt x="162" y="2854"/>
                  </a:lnTo>
                  <a:lnTo>
                    <a:pt x="148" y="2854"/>
                  </a:lnTo>
                  <a:lnTo>
                    <a:pt x="136" y="2856"/>
                  </a:lnTo>
                  <a:lnTo>
                    <a:pt x="124" y="2860"/>
                  </a:lnTo>
                  <a:lnTo>
                    <a:pt x="116" y="2866"/>
                  </a:lnTo>
                  <a:lnTo>
                    <a:pt x="106" y="2872"/>
                  </a:lnTo>
                  <a:lnTo>
                    <a:pt x="100" y="2880"/>
                  </a:lnTo>
                  <a:lnTo>
                    <a:pt x="94" y="2890"/>
                  </a:lnTo>
                  <a:lnTo>
                    <a:pt x="90" y="2900"/>
                  </a:lnTo>
                  <a:lnTo>
                    <a:pt x="90" y="2900"/>
                  </a:lnTo>
                  <a:lnTo>
                    <a:pt x="88" y="2910"/>
                  </a:lnTo>
                  <a:lnTo>
                    <a:pt x="88" y="2918"/>
                  </a:lnTo>
                  <a:lnTo>
                    <a:pt x="92" y="2926"/>
                  </a:lnTo>
                  <a:lnTo>
                    <a:pt x="96" y="2932"/>
                  </a:lnTo>
                  <a:lnTo>
                    <a:pt x="102" y="2938"/>
                  </a:lnTo>
                  <a:lnTo>
                    <a:pt x="112" y="2942"/>
                  </a:lnTo>
                  <a:lnTo>
                    <a:pt x="122" y="2944"/>
                  </a:lnTo>
                  <a:lnTo>
                    <a:pt x="136" y="2944"/>
                  </a:lnTo>
                  <a:lnTo>
                    <a:pt x="136" y="2944"/>
                  </a:lnTo>
                  <a:lnTo>
                    <a:pt x="150" y="2944"/>
                  </a:lnTo>
                  <a:lnTo>
                    <a:pt x="162" y="2942"/>
                  </a:lnTo>
                  <a:lnTo>
                    <a:pt x="174" y="2938"/>
                  </a:lnTo>
                  <a:lnTo>
                    <a:pt x="184" y="2932"/>
                  </a:lnTo>
                  <a:lnTo>
                    <a:pt x="192" y="2924"/>
                  </a:lnTo>
                  <a:lnTo>
                    <a:pt x="200" y="2916"/>
                  </a:lnTo>
                  <a:lnTo>
                    <a:pt x="206" y="2908"/>
                  </a:lnTo>
                  <a:lnTo>
                    <a:pt x="208" y="2898"/>
                  </a:lnTo>
                  <a:lnTo>
                    <a:pt x="208" y="2898"/>
                  </a:lnTo>
                  <a:lnTo>
                    <a:pt x="210" y="2888"/>
                  </a:lnTo>
                  <a:lnTo>
                    <a:pt x="208" y="2878"/>
                  </a:lnTo>
                  <a:lnTo>
                    <a:pt x="206" y="2872"/>
                  </a:lnTo>
                  <a:lnTo>
                    <a:pt x="200" y="2864"/>
                  </a:lnTo>
                  <a:lnTo>
                    <a:pt x="194" y="2860"/>
                  </a:lnTo>
                  <a:lnTo>
                    <a:pt x="184" y="2856"/>
                  </a:lnTo>
                  <a:lnTo>
                    <a:pt x="174" y="2854"/>
                  </a:lnTo>
                  <a:lnTo>
                    <a:pt x="162" y="2854"/>
                  </a:lnTo>
                  <a:lnTo>
                    <a:pt x="162" y="2854"/>
                  </a:lnTo>
                  <a:close/>
                  <a:moveTo>
                    <a:pt x="196" y="2898"/>
                  </a:moveTo>
                  <a:lnTo>
                    <a:pt x="196" y="2898"/>
                  </a:lnTo>
                  <a:lnTo>
                    <a:pt x="194" y="2904"/>
                  </a:lnTo>
                  <a:lnTo>
                    <a:pt x="190" y="2910"/>
                  </a:lnTo>
                  <a:lnTo>
                    <a:pt x="184" y="2914"/>
                  </a:lnTo>
                  <a:lnTo>
                    <a:pt x="178" y="2918"/>
                  </a:lnTo>
                  <a:lnTo>
                    <a:pt x="170" y="2922"/>
                  </a:lnTo>
                  <a:lnTo>
                    <a:pt x="162" y="2924"/>
                  </a:lnTo>
                  <a:lnTo>
                    <a:pt x="140" y="2926"/>
                  </a:lnTo>
                  <a:lnTo>
                    <a:pt x="140" y="2926"/>
                  </a:lnTo>
                  <a:lnTo>
                    <a:pt x="120" y="2924"/>
                  </a:lnTo>
                  <a:lnTo>
                    <a:pt x="114" y="2922"/>
                  </a:lnTo>
                  <a:lnTo>
                    <a:pt x="108" y="2920"/>
                  </a:lnTo>
                  <a:lnTo>
                    <a:pt x="104" y="2916"/>
                  </a:lnTo>
                  <a:lnTo>
                    <a:pt x="102" y="2910"/>
                  </a:lnTo>
                  <a:lnTo>
                    <a:pt x="100" y="2906"/>
                  </a:lnTo>
                  <a:lnTo>
                    <a:pt x="102" y="2900"/>
                  </a:lnTo>
                  <a:lnTo>
                    <a:pt x="102" y="2900"/>
                  </a:lnTo>
                  <a:lnTo>
                    <a:pt x="104" y="2892"/>
                  </a:lnTo>
                  <a:lnTo>
                    <a:pt x="108" y="2886"/>
                  </a:lnTo>
                  <a:lnTo>
                    <a:pt x="114" y="2882"/>
                  </a:lnTo>
                  <a:lnTo>
                    <a:pt x="120" y="2878"/>
                  </a:lnTo>
                  <a:lnTo>
                    <a:pt x="136" y="2874"/>
                  </a:lnTo>
                  <a:lnTo>
                    <a:pt x="156" y="2872"/>
                  </a:lnTo>
                  <a:lnTo>
                    <a:pt x="156" y="2872"/>
                  </a:lnTo>
                  <a:lnTo>
                    <a:pt x="174" y="2874"/>
                  </a:lnTo>
                  <a:lnTo>
                    <a:pt x="182" y="2876"/>
                  </a:lnTo>
                  <a:lnTo>
                    <a:pt x="188" y="2878"/>
                  </a:lnTo>
                  <a:lnTo>
                    <a:pt x="192" y="2882"/>
                  </a:lnTo>
                  <a:lnTo>
                    <a:pt x="196" y="2886"/>
                  </a:lnTo>
                  <a:lnTo>
                    <a:pt x="196" y="2892"/>
                  </a:lnTo>
                  <a:lnTo>
                    <a:pt x="196" y="2898"/>
                  </a:lnTo>
                  <a:lnTo>
                    <a:pt x="196" y="2898"/>
                  </a:lnTo>
                  <a:close/>
                  <a:moveTo>
                    <a:pt x="134" y="2768"/>
                  </a:moveTo>
                  <a:lnTo>
                    <a:pt x="226" y="2768"/>
                  </a:lnTo>
                  <a:lnTo>
                    <a:pt x="226" y="2768"/>
                  </a:lnTo>
                  <a:lnTo>
                    <a:pt x="224" y="2768"/>
                  </a:lnTo>
                  <a:lnTo>
                    <a:pt x="224" y="2768"/>
                  </a:lnTo>
                  <a:lnTo>
                    <a:pt x="208" y="2792"/>
                  </a:lnTo>
                  <a:lnTo>
                    <a:pt x="208" y="2792"/>
                  </a:lnTo>
                  <a:lnTo>
                    <a:pt x="218" y="2794"/>
                  </a:lnTo>
                  <a:lnTo>
                    <a:pt x="218" y="2794"/>
                  </a:lnTo>
                  <a:lnTo>
                    <a:pt x="240" y="2766"/>
                  </a:lnTo>
                  <a:lnTo>
                    <a:pt x="240" y="2766"/>
                  </a:lnTo>
                  <a:lnTo>
                    <a:pt x="244" y="2750"/>
                  </a:lnTo>
                  <a:lnTo>
                    <a:pt x="140" y="2750"/>
                  </a:lnTo>
                  <a:lnTo>
                    <a:pt x="140" y="2750"/>
                  </a:lnTo>
                  <a:lnTo>
                    <a:pt x="134" y="2768"/>
                  </a:lnTo>
                  <a:lnTo>
                    <a:pt x="134" y="2768"/>
                  </a:lnTo>
                  <a:close/>
                  <a:moveTo>
                    <a:pt x="214" y="2674"/>
                  </a:moveTo>
                  <a:lnTo>
                    <a:pt x="214" y="2674"/>
                  </a:lnTo>
                  <a:lnTo>
                    <a:pt x="226" y="2672"/>
                  </a:lnTo>
                  <a:lnTo>
                    <a:pt x="238" y="2670"/>
                  </a:lnTo>
                  <a:lnTo>
                    <a:pt x="248" y="2666"/>
                  </a:lnTo>
                  <a:lnTo>
                    <a:pt x="256" y="2660"/>
                  </a:lnTo>
                  <a:lnTo>
                    <a:pt x="264" y="2654"/>
                  </a:lnTo>
                  <a:lnTo>
                    <a:pt x="272" y="2646"/>
                  </a:lnTo>
                  <a:lnTo>
                    <a:pt x="278" y="2636"/>
                  </a:lnTo>
                  <a:lnTo>
                    <a:pt x="280" y="2626"/>
                  </a:lnTo>
                  <a:lnTo>
                    <a:pt x="280" y="2626"/>
                  </a:lnTo>
                  <a:lnTo>
                    <a:pt x="284" y="2616"/>
                  </a:lnTo>
                  <a:lnTo>
                    <a:pt x="284" y="2608"/>
                  </a:lnTo>
                  <a:lnTo>
                    <a:pt x="282" y="2600"/>
                  </a:lnTo>
                  <a:lnTo>
                    <a:pt x="278" y="2594"/>
                  </a:lnTo>
                  <a:lnTo>
                    <a:pt x="272" y="2588"/>
                  </a:lnTo>
                  <a:lnTo>
                    <a:pt x="266" y="2584"/>
                  </a:lnTo>
                  <a:lnTo>
                    <a:pt x="258" y="2582"/>
                  </a:lnTo>
                  <a:lnTo>
                    <a:pt x="248" y="2582"/>
                  </a:lnTo>
                  <a:lnTo>
                    <a:pt x="248" y="2582"/>
                  </a:lnTo>
                  <a:lnTo>
                    <a:pt x="236" y="2582"/>
                  </a:lnTo>
                  <a:lnTo>
                    <a:pt x="226" y="2584"/>
                  </a:lnTo>
                  <a:lnTo>
                    <a:pt x="218" y="2588"/>
                  </a:lnTo>
                  <a:lnTo>
                    <a:pt x="210" y="2594"/>
                  </a:lnTo>
                  <a:lnTo>
                    <a:pt x="202" y="2600"/>
                  </a:lnTo>
                  <a:lnTo>
                    <a:pt x="196" y="2608"/>
                  </a:lnTo>
                  <a:lnTo>
                    <a:pt x="190" y="2618"/>
                  </a:lnTo>
                  <a:lnTo>
                    <a:pt x="184" y="2628"/>
                  </a:lnTo>
                  <a:lnTo>
                    <a:pt x="184" y="2628"/>
                  </a:lnTo>
                  <a:lnTo>
                    <a:pt x="182" y="2638"/>
                  </a:lnTo>
                  <a:lnTo>
                    <a:pt x="180" y="2646"/>
                  </a:lnTo>
                  <a:lnTo>
                    <a:pt x="182" y="2654"/>
                  </a:lnTo>
                  <a:lnTo>
                    <a:pt x="184" y="2660"/>
                  </a:lnTo>
                  <a:lnTo>
                    <a:pt x="188" y="2666"/>
                  </a:lnTo>
                  <a:lnTo>
                    <a:pt x="196" y="2670"/>
                  </a:lnTo>
                  <a:lnTo>
                    <a:pt x="204" y="2672"/>
                  </a:lnTo>
                  <a:lnTo>
                    <a:pt x="214" y="2674"/>
                  </a:lnTo>
                  <a:lnTo>
                    <a:pt x="214" y="2674"/>
                  </a:lnTo>
                  <a:close/>
                  <a:moveTo>
                    <a:pt x="194" y="2628"/>
                  </a:moveTo>
                  <a:lnTo>
                    <a:pt x="194" y="2628"/>
                  </a:lnTo>
                  <a:lnTo>
                    <a:pt x="200" y="2616"/>
                  </a:lnTo>
                  <a:lnTo>
                    <a:pt x="212" y="2606"/>
                  </a:lnTo>
                  <a:lnTo>
                    <a:pt x="224" y="2602"/>
                  </a:lnTo>
                  <a:lnTo>
                    <a:pt x="240" y="2600"/>
                  </a:lnTo>
                  <a:lnTo>
                    <a:pt x="240" y="2600"/>
                  </a:lnTo>
                  <a:lnTo>
                    <a:pt x="256" y="2602"/>
                  </a:lnTo>
                  <a:lnTo>
                    <a:pt x="262" y="2604"/>
                  </a:lnTo>
                  <a:lnTo>
                    <a:pt x="266" y="2606"/>
                  </a:lnTo>
                  <a:lnTo>
                    <a:pt x="270" y="2610"/>
                  </a:lnTo>
                  <a:lnTo>
                    <a:pt x="272" y="2614"/>
                  </a:lnTo>
                  <a:lnTo>
                    <a:pt x="272" y="2620"/>
                  </a:lnTo>
                  <a:lnTo>
                    <a:pt x="270" y="2628"/>
                  </a:lnTo>
                  <a:lnTo>
                    <a:pt x="270" y="2628"/>
                  </a:lnTo>
                  <a:lnTo>
                    <a:pt x="268" y="2634"/>
                  </a:lnTo>
                  <a:lnTo>
                    <a:pt x="264" y="2638"/>
                  </a:lnTo>
                  <a:lnTo>
                    <a:pt x="254" y="2648"/>
                  </a:lnTo>
                  <a:lnTo>
                    <a:pt x="238" y="2652"/>
                  </a:lnTo>
                  <a:lnTo>
                    <a:pt x="220" y="2654"/>
                  </a:lnTo>
                  <a:lnTo>
                    <a:pt x="220" y="2654"/>
                  </a:lnTo>
                  <a:lnTo>
                    <a:pt x="206" y="2652"/>
                  </a:lnTo>
                  <a:lnTo>
                    <a:pt x="200" y="2650"/>
                  </a:lnTo>
                  <a:lnTo>
                    <a:pt x="196" y="2648"/>
                  </a:lnTo>
                  <a:lnTo>
                    <a:pt x="192" y="2644"/>
                  </a:lnTo>
                  <a:lnTo>
                    <a:pt x="192" y="2638"/>
                  </a:lnTo>
                  <a:lnTo>
                    <a:pt x="192" y="2634"/>
                  </a:lnTo>
                  <a:lnTo>
                    <a:pt x="194" y="2628"/>
                  </a:lnTo>
                  <a:lnTo>
                    <a:pt x="194" y="2628"/>
                  </a:lnTo>
                  <a:close/>
                  <a:moveTo>
                    <a:pt x="310" y="2496"/>
                  </a:moveTo>
                  <a:lnTo>
                    <a:pt x="310" y="2496"/>
                  </a:lnTo>
                  <a:lnTo>
                    <a:pt x="294" y="2520"/>
                  </a:lnTo>
                  <a:lnTo>
                    <a:pt x="294" y="2520"/>
                  </a:lnTo>
                  <a:lnTo>
                    <a:pt x="302" y="2524"/>
                  </a:lnTo>
                  <a:lnTo>
                    <a:pt x="302" y="2524"/>
                  </a:lnTo>
                  <a:lnTo>
                    <a:pt x="322" y="2494"/>
                  </a:lnTo>
                  <a:lnTo>
                    <a:pt x="322" y="2494"/>
                  </a:lnTo>
                  <a:lnTo>
                    <a:pt x="326" y="2478"/>
                  </a:lnTo>
                  <a:lnTo>
                    <a:pt x="248" y="2478"/>
                  </a:lnTo>
                  <a:lnTo>
                    <a:pt x="248" y="2478"/>
                  </a:lnTo>
                  <a:lnTo>
                    <a:pt x="240" y="2496"/>
                  </a:lnTo>
                  <a:lnTo>
                    <a:pt x="310" y="2496"/>
                  </a:lnTo>
                  <a:lnTo>
                    <a:pt x="310" y="2496"/>
                  </a:lnTo>
                  <a:lnTo>
                    <a:pt x="310" y="2496"/>
                  </a:lnTo>
                  <a:lnTo>
                    <a:pt x="310" y="2496"/>
                  </a:lnTo>
                  <a:close/>
                  <a:moveTo>
                    <a:pt x="358" y="2360"/>
                  </a:moveTo>
                  <a:lnTo>
                    <a:pt x="358" y="2360"/>
                  </a:lnTo>
                  <a:lnTo>
                    <a:pt x="342" y="2384"/>
                  </a:lnTo>
                  <a:lnTo>
                    <a:pt x="342" y="2384"/>
                  </a:lnTo>
                  <a:lnTo>
                    <a:pt x="350" y="2388"/>
                  </a:lnTo>
                  <a:lnTo>
                    <a:pt x="350" y="2388"/>
                  </a:lnTo>
                  <a:lnTo>
                    <a:pt x="368" y="2358"/>
                  </a:lnTo>
                  <a:lnTo>
                    <a:pt x="368" y="2358"/>
                  </a:lnTo>
                  <a:lnTo>
                    <a:pt x="374" y="2342"/>
                  </a:lnTo>
                  <a:lnTo>
                    <a:pt x="310" y="2342"/>
                  </a:lnTo>
                  <a:lnTo>
                    <a:pt x="310" y="2342"/>
                  </a:lnTo>
                  <a:lnTo>
                    <a:pt x="302" y="2360"/>
                  </a:lnTo>
                  <a:lnTo>
                    <a:pt x="358" y="2360"/>
                  </a:lnTo>
                  <a:lnTo>
                    <a:pt x="358" y="2360"/>
                  </a:lnTo>
                  <a:lnTo>
                    <a:pt x="358" y="2360"/>
                  </a:lnTo>
                  <a:lnTo>
                    <a:pt x="358" y="2360"/>
                  </a:lnTo>
                  <a:close/>
                  <a:moveTo>
                    <a:pt x="370" y="2266"/>
                  </a:moveTo>
                  <a:lnTo>
                    <a:pt x="370" y="2266"/>
                  </a:lnTo>
                  <a:lnTo>
                    <a:pt x="378" y="2264"/>
                  </a:lnTo>
                  <a:lnTo>
                    <a:pt x="386" y="2262"/>
                  </a:lnTo>
                  <a:lnTo>
                    <a:pt x="392" y="2258"/>
                  </a:lnTo>
                  <a:lnTo>
                    <a:pt x="400" y="2252"/>
                  </a:lnTo>
                  <a:lnTo>
                    <a:pt x="412" y="2238"/>
                  </a:lnTo>
                  <a:lnTo>
                    <a:pt x="422" y="2218"/>
                  </a:lnTo>
                  <a:lnTo>
                    <a:pt x="422" y="2218"/>
                  </a:lnTo>
                  <a:lnTo>
                    <a:pt x="426" y="2200"/>
                  </a:lnTo>
                  <a:lnTo>
                    <a:pt x="426" y="2192"/>
                  </a:lnTo>
                  <a:lnTo>
                    <a:pt x="426" y="2186"/>
                  </a:lnTo>
                  <a:lnTo>
                    <a:pt x="424" y="2180"/>
                  </a:lnTo>
                  <a:lnTo>
                    <a:pt x="420" y="2178"/>
                  </a:lnTo>
                  <a:lnTo>
                    <a:pt x="416" y="2174"/>
                  </a:lnTo>
                  <a:lnTo>
                    <a:pt x="410" y="2174"/>
                  </a:lnTo>
                  <a:lnTo>
                    <a:pt x="410" y="2174"/>
                  </a:lnTo>
                  <a:lnTo>
                    <a:pt x="404" y="2174"/>
                  </a:lnTo>
                  <a:lnTo>
                    <a:pt x="400" y="2178"/>
                  </a:lnTo>
                  <a:lnTo>
                    <a:pt x="394" y="2182"/>
                  </a:lnTo>
                  <a:lnTo>
                    <a:pt x="388" y="2186"/>
                  </a:lnTo>
                  <a:lnTo>
                    <a:pt x="378" y="2202"/>
                  </a:lnTo>
                  <a:lnTo>
                    <a:pt x="366" y="2222"/>
                  </a:lnTo>
                  <a:lnTo>
                    <a:pt x="366" y="2222"/>
                  </a:lnTo>
                  <a:lnTo>
                    <a:pt x="360" y="2240"/>
                  </a:lnTo>
                  <a:lnTo>
                    <a:pt x="358" y="2246"/>
                  </a:lnTo>
                  <a:lnTo>
                    <a:pt x="356" y="2254"/>
                  </a:lnTo>
                  <a:lnTo>
                    <a:pt x="358" y="2258"/>
                  </a:lnTo>
                  <a:lnTo>
                    <a:pt x="360" y="2262"/>
                  </a:lnTo>
                  <a:lnTo>
                    <a:pt x="364" y="2264"/>
                  </a:lnTo>
                  <a:lnTo>
                    <a:pt x="370" y="2266"/>
                  </a:lnTo>
                  <a:lnTo>
                    <a:pt x="370" y="2266"/>
                  </a:lnTo>
                  <a:close/>
                  <a:moveTo>
                    <a:pt x="372" y="2220"/>
                  </a:moveTo>
                  <a:lnTo>
                    <a:pt x="372" y="2220"/>
                  </a:lnTo>
                  <a:lnTo>
                    <a:pt x="378" y="2208"/>
                  </a:lnTo>
                  <a:lnTo>
                    <a:pt x="386" y="2200"/>
                  </a:lnTo>
                  <a:lnTo>
                    <a:pt x="394" y="2194"/>
                  </a:lnTo>
                  <a:lnTo>
                    <a:pt x="402" y="2192"/>
                  </a:lnTo>
                  <a:lnTo>
                    <a:pt x="402" y="2192"/>
                  </a:lnTo>
                  <a:lnTo>
                    <a:pt x="410" y="2194"/>
                  </a:lnTo>
                  <a:lnTo>
                    <a:pt x="414" y="2196"/>
                  </a:lnTo>
                  <a:lnTo>
                    <a:pt x="416" y="2198"/>
                  </a:lnTo>
                  <a:lnTo>
                    <a:pt x="418" y="2208"/>
                  </a:lnTo>
                  <a:lnTo>
                    <a:pt x="414" y="2220"/>
                  </a:lnTo>
                  <a:lnTo>
                    <a:pt x="414" y="2220"/>
                  </a:lnTo>
                  <a:lnTo>
                    <a:pt x="408" y="2230"/>
                  </a:lnTo>
                  <a:lnTo>
                    <a:pt x="400" y="2240"/>
                  </a:lnTo>
                  <a:lnTo>
                    <a:pt x="390" y="2246"/>
                  </a:lnTo>
                  <a:lnTo>
                    <a:pt x="378" y="2248"/>
                  </a:lnTo>
                  <a:lnTo>
                    <a:pt x="378" y="2248"/>
                  </a:lnTo>
                  <a:lnTo>
                    <a:pt x="374" y="2246"/>
                  </a:lnTo>
                  <a:lnTo>
                    <a:pt x="370" y="2246"/>
                  </a:lnTo>
                  <a:lnTo>
                    <a:pt x="368" y="2244"/>
                  </a:lnTo>
                  <a:lnTo>
                    <a:pt x="366" y="2240"/>
                  </a:lnTo>
                  <a:lnTo>
                    <a:pt x="366" y="2232"/>
                  </a:lnTo>
                  <a:lnTo>
                    <a:pt x="372" y="2220"/>
                  </a:lnTo>
                  <a:lnTo>
                    <a:pt x="372" y="2220"/>
                  </a:lnTo>
                  <a:close/>
                  <a:moveTo>
                    <a:pt x="430" y="2130"/>
                  </a:moveTo>
                  <a:lnTo>
                    <a:pt x="430" y="2130"/>
                  </a:lnTo>
                  <a:lnTo>
                    <a:pt x="436" y="2130"/>
                  </a:lnTo>
                  <a:lnTo>
                    <a:pt x="442" y="2126"/>
                  </a:lnTo>
                  <a:lnTo>
                    <a:pt x="452" y="2116"/>
                  </a:lnTo>
                  <a:lnTo>
                    <a:pt x="464" y="2102"/>
                  </a:lnTo>
                  <a:lnTo>
                    <a:pt x="474" y="2082"/>
                  </a:lnTo>
                  <a:lnTo>
                    <a:pt x="474" y="2082"/>
                  </a:lnTo>
                  <a:lnTo>
                    <a:pt x="480" y="2064"/>
                  </a:lnTo>
                  <a:lnTo>
                    <a:pt x="480" y="2050"/>
                  </a:lnTo>
                  <a:lnTo>
                    <a:pt x="480" y="2044"/>
                  </a:lnTo>
                  <a:lnTo>
                    <a:pt x="478" y="2042"/>
                  </a:lnTo>
                  <a:lnTo>
                    <a:pt x="474" y="2038"/>
                  </a:lnTo>
                  <a:lnTo>
                    <a:pt x="472" y="2038"/>
                  </a:lnTo>
                  <a:lnTo>
                    <a:pt x="472" y="2038"/>
                  </a:lnTo>
                  <a:lnTo>
                    <a:pt x="468" y="2038"/>
                  </a:lnTo>
                  <a:lnTo>
                    <a:pt x="462" y="2042"/>
                  </a:lnTo>
                  <a:lnTo>
                    <a:pt x="454" y="2050"/>
                  </a:lnTo>
                  <a:lnTo>
                    <a:pt x="444" y="2066"/>
                  </a:lnTo>
                  <a:lnTo>
                    <a:pt x="434" y="2086"/>
                  </a:lnTo>
                  <a:lnTo>
                    <a:pt x="434" y="2086"/>
                  </a:lnTo>
                  <a:lnTo>
                    <a:pt x="426" y="2104"/>
                  </a:lnTo>
                  <a:lnTo>
                    <a:pt x="422" y="2118"/>
                  </a:lnTo>
                  <a:lnTo>
                    <a:pt x="422" y="2122"/>
                  </a:lnTo>
                  <a:lnTo>
                    <a:pt x="422" y="2126"/>
                  </a:lnTo>
                  <a:lnTo>
                    <a:pt x="426" y="2130"/>
                  </a:lnTo>
                  <a:lnTo>
                    <a:pt x="430" y="2130"/>
                  </a:lnTo>
                  <a:lnTo>
                    <a:pt x="430" y="2130"/>
                  </a:lnTo>
                  <a:close/>
                  <a:moveTo>
                    <a:pt x="438" y="2084"/>
                  </a:moveTo>
                  <a:lnTo>
                    <a:pt x="438" y="2084"/>
                  </a:lnTo>
                  <a:lnTo>
                    <a:pt x="444" y="2072"/>
                  </a:lnTo>
                  <a:lnTo>
                    <a:pt x="450" y="2064"/>
                  </a:lnTo>
                  <a:lnTo>
                    <a:pt x="456" y="2058"/>
                  </a:lnTo>
                  <a:lnTo>
                    <a:pt x="462" y="2056"/>
                  </a:lnTo>
                  <a:lnTo>
                    <a:pt x="462" y="2056"/>
                  </a:lnTo>
                  <a:lnTo>
                    <a:pt x="468" y="2058"/>
                  </a:lnTo>
                  <a:lnTo>
                    <a:pt x="472" y="2064"/>
                  </a:lnTo>
                  <a:lnTo>
                    <a:pt x="472" y="2072"/>
                  </a:lnTo>
                  <a:lnTo>
                    <a:pt x="468" y="2084"/>
                  </a:lnTo>
                  <a:lnTo>
                    <a:pt x="468" y="2084"/>
                  </a:lnTo>
                  <a:lnTo>
                    <a:pt x="462" y="2096"/>
                  </a:lnTo>
                  <a:lnTo>
                    <a:pt x="454" y="2104"/>
                  </a:lnTo>
                  <a:lnTo>
                    <a:pt x="446" y="2110"/>
                  </a:lnTo>
                  <a:lnTo>
                    <a:pt x="438" y="2112"/>
                  </a:lnTo>
                  <a:lnTo>
                    <a:pt x="438" y="2112"/>
                  </a:lnTo>
                  <a:lnTo>
                    <a:pt x="434" y="2112"/>
                  </a:lnTo>
                  <a:lnTo>
                    <a:pt x="432" y="2110"/>
                  </a:lnTo>
                  <a:lnTo>
                    <a:pt x="430" y="2104"/>
                  </a:lnTo>
                  <a:lnTo>
                    <a:pt x="432" y="2096"/>
                  </a:lnTo>
                  <a:lnTo>
                    <a:pt x="438" y="2084"/>
                  </a:lnTo>
                  <a:lnTo>
                    <a:pt x="438" y="2084"/>
                  </a:lnTo>
                  <a:close/>
                  <a:moveTo>
                    <a:pt x="520" y="1952"/>
                  </a:moveTo>
                  <a:lnTo>
                    <a:pt x="520" y="1952"/>
                  </a:lnTo>
                  <a:lnTo>
                    <a:pt x="508" y="1976"/>
                  </a:lnTo>
                  <a:lnTo>
                    <a:pt x="508" y="1976"/>
                  </a:lnTo>
                  <a:lnTo>
                    <a:pt x="510" y="1980"/>
                  </a:lnTo>
                  <a:lnTo>
                    <a:pt x="510" y="1980"/>
                  </a:lnTo>
                  <a:lnTo>
                    <a:pt x="526" y="1950"/>
                  </a:lnTo>
                  <a:lnTo>
                    <a:pt x="526" y="1950"/>
                  </a:lnTo>
                  <a:lnTo>
                    <a:pt x="532" y="1934"/>
                  </a:lnTo>
                  <a:lnTo>
                    <a:pt x="512" y="1934"/>
                  </a:lnTo>
                  <a:lnTo>
                    <a:pt x="512" y="1934"/>
                  </a:lnTo>
                  <a:lnTo>
                    <a:pt x="502" y="1952"/>
                  </a:lnTo>
                  <a:lnTo>
                    <a:pt x="520" y="1952"/>
                  </a:lnTo>
                  <a:lnTo>
                    <a:pt x="520" y="1952"/>
                  </a:lnTo>
                  <a:lnTo>
                    <a:pt x="520" y="1952"/>
                  </a:lnTo>
                  <a:lnTo>
                    <a:pt x="520" y="1952"/>
                  </a:lnTo>
                  <a:close/>
                  <a:moveTo>
                    <a:pt x="588" y="1788"/>
                  </a:moveTo>
                  <a:lnTo>
                    <a:pt x="588" y="1788"/>
                  </a:lnTo>
                  <a:lnTo>
                    <a:pt x="588" y="1784"/>
                  </a:lnTo>
                  <a:lnTo>
                    <a:pt x="588" y="1784"/>
                  </a:lnTo>
                  <a:lnTo>
                    <a:pt x="584" y="1792"/>
                  </a:lnTo>
                  <a:lnTo>
                    <a:pt x="576" y="1812"/>
                  </a:lnTo>
                  <a:lnTo>
                    <a:pt x="576" y="1812"/>
                  </a:lnTo>
                  <a:lnTo>
                    <a:pt x="566" y="1830"/>
                  </a:lnTo>
                  <a:lnTo>
                    <a:pt x="562" y="1840"/>
                  </a:lnTo>
                  <a:lnTo>
                    <a:pt x="562" y="1840"/>
                  </a:lnTo>
                  <a:lnTo>
                    <a:pt x="576" y="1814"/>
                  </a:lnTo>
                  <a:lnTo>
                    <a:pt x="576" y="1814"/>
                  </a:lnTo>
                  <a:lnTo>
                    <a:pt x="588" y="1788"/>
                  </a:lnTo>
                  <a:lnTo>
                    <a:pt x="588" y="1788"/>
                  </a:lnTo>
                  <a:close/>
                  <a:moveTo>
                    <a:pt x="588" y="1788"/>
                  </a:moveTo>
                  <a:lnTo>
                    <a:pt x="588" y="1788"/>
                  </a:lnTo>
                  <a:lnTo>
                    <a:pt x="586" y="1798"/>
                  </a:lnTo>
                  <a:lnTo>
                    <a:pt x="580" y="1812"/>
                  </a:lnTo>
                  <a:lnTo>
                    <a:pt x="580" y="1812"/>
                  </a:lnTo>
                  <a:lnTo>
                    <a:pt x="574" y="1824"/>
                  </a:lnTo>
                  <a:lnTo>
                    <a:pt x="570" y="1832"/>
                  </a:lnTo>
                  <a:lnTo>
                    <a:pt x="564" y="1838"/>
                  </a:lnTo>
                  <a:lnTo>
                    <a:pt x="562" y="1840"/>
                  </a:lnTo>
                  <a:lnTo>
                    <a:pt x="562" y="1840"/>
                  </a:lnTo>
                  <a:lnTo>
                    <a:pt x="562" y="1840"/>
                  </a:lnTo>
                  <a:lnTo>
                    <a:pt x="562" y="1840"/>
                  </a:lnTo>
                  <a:lnTo>
                    <a:pt x="554" y="1854"/>
                  </a:lnTo>
                  <a:lnTo>
                    <a:pt x="552" y="1856"/>
                  </a:lnTo>
                  <a:lnTo>
                    <a:pt x="554" y="1858"/>
                  </a:lnTo>
                  <a:lnTo>
                    <a:pt x="554" y="1858"/>
                  </a:lnTo>
                  <a:lnTo>
                    <a:pt x="558" y="1854"/>
                  </a:lnTo>
                  <a:lnTo>
                    <a:pt x="566" y="1846"/>
                  </a:lnTo>
                  <a:lnTo>
                    <a:pt x="574" y="1830"/>
                  </a:lnTo>
                  <a:lnTo>
                    <a:pt x="582" y="1812"/>
                  </a:lnTo>
                  <a:lnTo>
                    <a:pt x="582" y="1812"/>
                  </a:lnTo>
                  <a:lnTo>
                    <a:pt x="590" y="1792"/>
                  </a:lnTo>
                  <a:lnTo>
                    <a:pt x="594" y="1778"/>
                  </a:lnTo>
                  <a:lnTo>
                    <a:pt x="596" y="1766"/>
                  </a:lnTo>
                  <a:lnTo>
                    <a:pt x="596" y="1766"/>
                  </a:lnTo>
                  <a:lnTo>
                    <a:pt x="588" y="1788"/>
                  </a:lnTo>
                  <a:lnTo>
                    <a:pt x="588" y="1788"/>
                  </a:lnTo>
                  <a:close/>
                  <a:moveTo>
                    <a:pt x="660" y="1630"/>
                  </a:moveTo>
                  <a:lnTo>
                    <a:pt x="660" y="1630"/>
                  </a:lnTo>
                  <a:lnTo>
                    <a:pt x="656" y="1632"/>
                  </a:lnTo>
                  <a:lnTo>
                    <a:pt x="654" y="1638"/>
                  </a:lnTo>
                  <a:lnTo>
                    <a:pt x="646" y="1656"/>
                  </a:lnTo>
                  <a:lnTo>
                    <a:pt x="646" y="1656"/>
                  </a:lnTo>
                  <a:lnTo>
                    <a:pt x="648" y="1650"/>
                  </a:lnTo>
                  <a:lnTo>
                    <a:pt x="650" y="1650"/>
                  </a:lnTo>
                  <a:lnTo>
                    <a:pt x="650" y="1650"/>
                  </a:lnTo>
                  <a:lnTo>
                    <a:pt x="652" y="1650"/>
                  </a:lnTo>
                  <a:lnTo>
                    <a:pt x="652" y="1656"/>
                  </a:lnTo>
                  <a:lnTo>
                    <a:pt x="650" y="1664"/>
                  </a:lnTo>
                  <a:lnTo>
                    <a:pt x="646" y="1676"/>
                  </a:lnTo>
                  <a:lnTo>
                    <a:pt x="646" y="1676"/>
                  </a:lnTo>
                  <a:lnTo>
                    <a:pt x="638" y="1688"/>
                  </a:lnTo>
                  <a:lnTo>
                    <a:pt x="632" y="1698"/>
                  </a:lnTo>
                  <a:lnTo>
                    <a:pt x="632" y="1698"/>
                  </a:lnTo>
                  <a:lnTo>
                    <a:pt x="630" y="1704"/>
                  </a:lnTo>
                  <a:lnTo>
                    <a:pt x="630" y="1704"/>
                  </a:lnTo>
                  <a:lnTo>
                    <a:pt x="628" y="1708"/>
                  </a:lnTo>
                  <a:lnTo>
                    <a:pt x="628" y="1708"/>
                  </a:lnTo>
                  <a:lnTo>
                    <a:pt x="628" y="1702"/>
                  </a:lnTo>
                  <a:lnTo>
                    <a:pt x="628" y="1702"/>
                  </a:lnTo>
                  <a:lnTo>
                    <a:pt x="626" y="1704"/>
                  </a:lnTo>
                  <a:lnTo>
                    <a:pt x="626" y="1704"/>
                  </a:lnTo>
                  <a:lnTo>
                    <a:pt x="626" y="1704"/>
                  </a:lnTo>
                  <a:lnTo>
                    <a:pt x="626" y="1704"/>
                  </a:lnTo>
                  <a:lnTo>
                    <a:pt x="616" y="1722"/>
                  </a:lnTo>
                  <a:lnTo>
                    <a:pt x="616" y="1722"/>
                  </a:lnTo>
                  <a:lnTo>
                    <a:pt x="628" y="1710"/>
                  </a:lnTo>
                  <a:lnTo>
                    <a:pt x="638" y="1696"/>
                  </a:lnTo>
                  <a:lnTo>
                    <a:pt x="648" y="1678"/>
                  </a:lnTo>
                  <a:lnTo>
                    <a:pt x="648" y="1678"/>
                  </a:lnTo>
                  <a:lnTo>
                    <a:pt x="656" y="1658"/>
                  </a:lnTo>
                  <a:lnTo>
                    <a:pt x="662" y="1644"/>
                  </a:lnTo>
                  <a:lnTo>
                    <a:pt x="662" y="1634"/>
                  </a:lnTo>
                  <a:lnTo>
                    <a:pt x="660" y="1632"/>
                  </a:lnTo>
                  <a:lnTo>
                    <a:pt x="660" y="1630"/>
                  </a:lnTo>
                  <a:lnTo>
                    <a:pt x="660" y="1630"/>
                  </a:lnTo>
                  <a:close/>
                  <a:moveTo>
                    <a:pt x="630" y="1694"/>
                  </a:moveTo>
                  <a:lnTo>
                    <a:pt x="630" y="1694"/>
                  </a:lnTo>
                  <a:lnTo>
                    <a:pt x="626" y="1704"/>
                  </a:lnTo>
                  <a:lnTo>
                    <a:pt x="626" y="1704"/>
                  </a:lnTo>
                  <a:lnTo>
                    <a:pt x="630" y="1696"/>
                  </a:lnTo>
                  <a:lnTo>
                    <a:pt x="630" y="1696"/>
                  </a:lnTo>
                  <a:lnTo>
                    <a:pt x="630" y="1694"/>
                  </a:lnTo>
                  <a:lnTo>
                    <a:pt x="630" y="1694"/>
                  </a:lnTo>
                  <a:close/>
                  <a:moveTo>
                    <a:pt x="646" y="1656"/>
                  </a:moveTo>
                  <a:lnTo>
                    <a:pt x="646" y="1656"/>
                  </a:lnTo>
                  <a:lnTo>
                    <a:pt x="642" y="1664"/>
                  </a:lnTo>
                  <a:lnTo>
                    <a:pt x="642" y="1664"/>
                  </a:lnTo>
                  <a:lnTo>
                    <a:pt x="642" y="1664"/>
                  </a:lnTo>
                  <a:lnTo>
                    <a:pt x="646" y="1656"/>
                  </a:lnTo>
                  <a:lnTo>
                    <a:pt x="646" y="1656"/>
                  </a:lnTo>
                  <a:close/>
                  <a:moveTo>
                    <a:pt x="636" y="1680"/>
                  </a:moveTo>
                  <a:lnTo>
                    <a:pt x="636" y="1680"/>
                  </a:lnTo>
                  <a:lnTo>
                    <a:pt x="634" y="1684"/>
                  </a:lnTo>
                  <a:lnTo>
                    <a:pt x="634" y="1684"/>
                  </a:lnTo>
                  <a:lnTo>
                    <a:pt x="634" y="1686"/>
                  </a:lnTo>
                  <a:lnTo>
                    <a:pt x="634" y="1686"/>
                  </a:lnTo>
                  <a:lnTo>
                    <a:pt x="636" y="1680"/>
                  </a:lnTo>
                  <a:lnTo>
                    <a:pt x="636" y="1680"/>
                  </a:lnTo>
                  <a:close/>
                  <a:moveTo>
                    <a:pt x="722" y="1494"/>
                  </a:moveTo>
                  <a:lnTo>
                    <a:pt x="722" y="1494"/>
                  </a:lnTo>
                  <a:lnTo>
                    <a:pt x="718" y="1496"/>
                  </a:lnTo>
                  <a:lnTo>
                    <a:pt x="714" y="1498"/>
                  </a:lnTo>
                  <a:lnTo>
                    <a:pt x="708" y="1506"/>
                  </a:lnTo>
                  <a:lnTo>
                    <a:pt x="700" y="1520"/>
                  </a:lnTo>
                  <a:lnTo>
                    <a:pt x="692" y="1540"/>
                  </a:lnTo>
                  <a:lnTo>
                    <a:pt x="692" y="1540"/>
                  </a:lnTo>
                  <a:lnTo>
                    <a:pt x="680" y="1574"/>
                  </a:lnTo>
                  <a:lnTo>
                    <a:pt x="678" y="1584"/>
                  </a:lnTo>
                  <a:lnTo>
                    <a:pt x="678" y="1586"/>
                  </a:lnTo>
                  <a:lnTo>
                    <a:pt x="680" y="1586"/>
                  </a:lnTo>
                  <a:lnTo>
                    <a:pt x="680" y="1586"/>
                  </a:lnTo>
                  <a:lnTo>
                    <a:pt x="686" y="1584"/>
                  </a:lnTo>
                  <a:lnTo>
                    <a:pt x="696" y="1574"/>
                  </a:lnTo>
                  <a:lnTo>
                    <a:pt x="708" y="1560"/>
                  </a:lnTo>
                  <a:lnTo>
                    <a:pt x="720" y="1542"/>
                  </a:lnTo>
                  <a:lnTo>
                    <a:pt x="720" y="1542"/>
                  </a:lnTo>
                  <a:lnTo>
                    <a:pt x="728" y="1522"/>
                  </a:lnTo>
                  <a:lnTo>
                    <a:pt x="730" y="1508"/>
                  </a:lnTo>
                  <a:lnTo>
                    <a:pt x="730" y="1502"/>
                  </a:lnTo>
                  <a:lnTo>
                    <a:pt x="728" y="1498"/>
                  </a:lnTo>
                  <a:lnTo>
                    <a:pt x="724" y="1496"/>
                  </a:lnTo>
                  <a:lnTo>
                    <a:pt x="722" y="1494"/>
                  </a:lnTo>
                  <a:lnTo>
                    <a:pt x="722" y="1494"/>
                  </a:lnTo>
                  <a:close/>
                  <a:moveTo>
                    <a:pt x="714" y="1540"/>
                  </a:moveTo>
                  <a:lnTo>
                    <a:pt x="714" y="1540"/>
                  </a:lnTo>
                  <a:lnTo>
                    <a:pt x="708" y="1552"/>
                  </a:lnTo>
                  <a:lnTo>
                    <a:pt x="700" y="1560"/>
                  </a:lnTo>
                  <a:lnTo>
                    <a:pt x="694" y="1566"/>
                  </a:lnTo>
                  <a:lnTo>
                    <a:pt x="688" y="1568"/>
                  </a:lnTo>
                  <a:lnTo>
                    <a:pt x="688" y="1568"/>
                  </a:lnTo>
                  <a:lnTo>
                    <a:pt x="686" y="1568"/>
                  </a:lnTo>
                  <a:lnTo>
                    <a:pt x="686" y="1566"/>
                  </a:lnTo>
                  <a:lnTo>
                    <a:pt x="686" y="1560"/>
                  </a:lnTo>
                  <a:lnTo>
                    <a:pt x="694" y="1540"/>
                  </a:lnTo>
                  <a:lnTo>
                    <a:pt x="694" y="1540"/>
                  </a:lnTo>
                  <a:lnTo>
                    <a:pt x="700" y="1528"/>
                  </a:lnTo>
                  <a:lnTo>
                    <a:pt x="704" y="1520"/>
                  </a:lnTo>
                  <a:lnTo>
                    <a:pt x="708" y="1514"/>
                  </a:lnTo>
                  <a:lnTo>
                    <a:pt x="714" y="1514"/>
                  </a:lnTo>
                  <a:lnTo>
                    <a:pt x="714" y="1514"/>
                  </a:lnTo>
                  <a:lnTo>
                    <a:pt x="718" y="1514"/>
                  </a:lnTo>
                  <a:lnTo>
                    <a:pt x="720" y="1520"/>
                  </a:lnTo>
                  <a:lnTo>
                    <a:pt x="720" y="1528"/>
                  </a:lnTo>
                  <a:lnTo>
                    <a:pt x="714" y="1540"/>
                  </a:lnTo>
                  <a:lnTo>
                    <a:pt x="714" y="1540"/>
                  </a:lnTo>
                  <a:close/>
                  <a:moveTo>
                    <a:pt x="782" y="1360"/>
                  </a:moveTo>
                  <a:lnTo>
                    <a:pt x="782" y="1360"/>
                  </a:lnTo>
                  <a:lnTo>
                    <a:pt x="778" y="1360"/>
                  </a:lnTo>
                  <a:lnTo>
                    <a:pt x="772" y="1362"/>
                  </a:lnTo>
                  <a:lnTo>
                    <a:pt x="764" y="1370"/>
                  </a:lnTo>
                  <a:lnTo>
                    <a:pt x="756" y="1384"/>
                  </a:lnTo>
                  <a:lnTo>
                    <a:pt x="746" y="1404"/>
                  </a:lnTo>
                  <a:lnTo>
                    <a:pt x="746" y="1404"/>
                  </a:lnTo>
                  <a:lnTo>
                    <a:pt x="740" y="1422"/>
                  </a:lnTo>
                  <a:lnTo>
                    <a:pt x="736" y="1438"/>
                  </a:lnTo>
                  <a:lnTo>
                    <a:pt x="736" y="1444"/>
                  </a:lnTo>
                  <a:lnTo>
                    <a:pt x="736" y="1448"/>
                  </a:lnTo>
                  <a:lnTo>
                    <a:pt x="738" y="1450"/>
                  </a:lnTo>
                  <a:lnTo>
                    <a:pt x="742" y="1450"/>
                  </a:lnTo>
                  <a:lnTo>
                    <a:pt x="742" y="1450"/>
                  </a:lnTo>
                  <a:lnTo>
                    <a:pt x="746" y="1450"/>
                  </a:lnTo>
                  <a:lnTo>
                    <a:pt x="752" y="1448"/>
                  </a:lnTo>
                  <a:lnTo>
                    <a:pt x="764" y="1438"/>
                  </a:lnTo>
                  <a:lnTo>
                    <a:pt x="778" y="1424"/>
                  </a:lnTo>
                  <a:lnTo>
                    <a:pt x="790" y="1406"/>
                  </a:lnTo>
                  <a:lnTo>
                    <a:pt x="790" y="1406"/>
                  </a:lnTo>
                  <a:lnTo>
                    <a:pt x="794" y="1396"/>
                  </a:lnTo>
                  <a:lnTo>
                    <a:pt x="796" y="1386"/>
                  </a:lnTo>
                  <a:lnTo>
                    <a:pt x="798" y="1378"/>
                  </a:lnTo>
                  <a:lnTo>
                    <a:pt x="798" y="1372"/>
                  </a:lnTo>
                  <a:lnTo>
                    <a:pt x="796" y="1366"/>
                  </a:lnTo>
                  <a:lnTo>
                    <a:pt x="792" y="1362"/>
                  </a:lnTo>
                  <a:lnTo>
                    <a:pt x="788" y="1360"/>
                  </a:lnTo>
                  <a:lnTo>
                    <a:pt x="782" y="1360"/>
                  </a:lnTo>
                  <a:lnTo>
                    <a:pt x="782" y="1360"/>
                  </a:lnTo>
                  <a:close/>
                  <a:moveTo>
                    <a:pt x="784" y="1406"/>
                  </a:moveTo>
                  <a:lnTo>
                    <a:pt x="784" y="1406"/>
                  </a:lnTo>
                  <a:lnTo>
                    <a:pt x="776" y="1416"/>
                  </a:lnTo>
                  <a:lnTo>
                    <a:pt x="768" y="1426"/>
                  </a:lnTo>
                  <a:lnTo>
                    <a:pt x="758" y="1430"/>
                  </a:lnTo>
                  <a:lnTo>
                    <a:pt x="750" y="1432"/>
                  </a:lnTo>
                  <a:lnTo>
                    <a:pt x="750" y="1432"/>
                  </a:lnTo>
                  <a:lnTo>
                    <a:pt x="748" y="1432"/>
                  </a:lnTo>
                  <a:lnTo>
                    <a:pt x="746" y="1430"/>
                  </a:lnTo>
                  <a:lnTo>
                    <a:pt x="744" y="1424"/>
                  </a:lnTo>
                  <a:lnTo>
                    <a:pt x="746" y="1416"/>
                  </a:lnTo>
                  <a:lnTo>
                    <a:pt x="750" y="1404"/>
                  </a:lnTo>
                  <a:lnTo>
                    <a:pt x="750" y="1404"/>
                  </a:lnTo>
                  <a:lnTo>
                    <a:pt x="754" y="1392"/>
                  </a:lnTo>
                  <a:lnTo>
                    <a:pt x="760" y="1384"/>
                  </a:lnTo>
                  <a:lnTo>
                    <a:pt x="768" y="1380"/>
                  </a:lnTo>
                  <a:lnTo>
                    <a:pt x="774" y="1378"/>
                  </a:lnTo>
                  <a:lnTo>
                    <a:pt x="774" y="1378"/>
                  </a:lnTo>
                  <a:lnTo>
                    <a:pt x="782" y="1380"/>
                  </a:lnTo>
                  <a:lnTo>
                    <a:pt x="784" y="1382"/>
                  </a:lnTo>
                  <a:lnTo>
                    <a:pt x="786" y="1384"/>
                  </a:lnTo>
                  <a:lnTo>
                    <a:pt x="788" y="1388"/>
                  </a:lnTo>
                  <a:lnTo>
                    <a:pt x="788" y="1392"/>
                  </a:lnTo>
                  <a:lnTo>
                    <a:pt x="784" y="1406"/>
                  </a:lnTo>
                  <a:lnTo>
                    <a:pt x="784" y="1406"/>
                  </a:lnTo>
                  <a:close/>
                  <a:moveTo>
                    <a:pt x="798" y="1272"/>
                  </a:moveTo>
                  <a:lnTo>
                    <a:pt x="798" y="1272"/>
                  </a:lnTo>
                  <a:lnTo>
                    <a:pt x="792" y="1300"/>
                  </a:lnTo>
                  <a:lnTo>
                    <a:pt x="792" y="1300"/>
                  </a:lnTo>
                  <a:lnTo>
                    <a:pt x="798" y="1298"/>
                  </a:lnTo>
                  <a:lnTo>
                    <a:pt x="798" y="1298"/>
                  </a:lnTo>
                  <a:lnTo>
                    <a:pt x="802" y="1274"/>
                  </a:lnTo>
                  <a:lnTo>
                    <a:pt x="802" y="1274"/>
                  </a:lnTo>
                  <a:lnTo>
                    <a:pt x="802" y="1274"/>
                  </a:lnTo>
                  <a:lnTo>
                    <a:pt x="854" y="1274"/>
                  </a:lnTo>
                  <a:lnTo>
                    <a:pt x="854" y="1274"/>
                  </a:lnTo>
                  <a:lnTo>
                    <a:pt x="862" y="1256"/>
                  </a:lnTo>
                  <a:lnTo>
                    <a:pt x="804" y="1256"/>
                  </a:lnTo>
                  <a:lnTo>
                    <a:pt x="804" y="1256"/>
                  </a:lnTo>
                  <a:lnTo>
                    <a:pt x="798" y="1272"/>
                  </a:lnTo>
                  <a:lnTo>
                    <a:pt x="798" y="1272"/>
                  </a:lnTo>
                  <a:close/>
                  <a:moveTo>
                    <a:pt x="898" y="1088"/>
                  </a:moveTo>
                  <a:lnTo>
                    <a:pt x="898" y="1088"/>
                  </a:lnTo>
                  <a:lnTo>
                    <a:pt x="888" y="1088"/>
                  </a:lnTo>
                  <a:lnTo>
                    <a:pt x="882" y="1090"/>
                  </a:lnTo>
                  <a:lnTo>
                    <a:pt x="874" y="1094"/>
                  </a:lnTo>
                  <a:lnTo>
                    <a:pt x="868" y="1100"/>
                  </a:lnTo>
                  <a:lnTo>
                    <a:pt x="862" y="1106"/>
                  </a:lnTo>
                  <a:lnTo>
                    <a:pt x="858" y="1114"/>
                  </a:lnTo>
                  <a:lnTo>
                    <a:pt x="850" y="1132"/>
                  </a:lnTo>
                  <a:lnTo>
                    <a:pt x="850" y="1132"/>
                  </a:lnTo>
                  <a:lnTo>
                    <a:pt x="844" y="1152"/>
                  </a:lnTo>
                  <a:lnTo>
                    <a:pt x="842" y="1160"/>
                  </a:lnTo>
                  <a:lnTo>
                    <a:pt x="844" y="1166"/>
                  </a:lnTo>
                  <a:lnTo>
                    <a:pt x="846" y="1172"/>
                  </a:lnTo>
                  <a:lnTo>
                    <a:pt x="848" y="1176"/>
                  </a:lnTo>
                  <a:lnTo>
                    <a:pt x="854" y="1178"/>
                  </a:lnTo>
                  <a:lnTo>
                    <a:pt x="860" y="1180"/>
                  </a:lnTo>
                  <a:lnTo>
                    <a:pt x="860" y="1180"/>
                  </a:lnTo>
                  <a:lnTo>
                    <a:pt x="868" y="1178"/>
                  </a:lnTo>
                  <a:lnTo>
                    <a:pt x="878" y="1176"/>
                  </a:lnTo>
                  <a:lnTo>
                    <a:pt x="886" y="1172"/>
                  </a:lnTo>
                  <a:lnTo>
                    <a:pt x="894" y="1166"/>
                  </a:lnTo>
                  <a:lnTo>
                    <a:pt x="902" y="1160"/>
                  </a:lnTo>
                  <a:lnTo>
                    <a:pt x="910" y="1152"/>
                  </a:lnTo>
                  <a:lnTo>
                    <a:pt x="916" y="1144"/>
                  </a:lnTo>
                  <a:lnTo>
                    <a:pt x="922" y="1134"/>
                  </a:lnTo>
                  <a:lnTo>
                    <a:pt x="922" y="1134"/>
                  </a:lnTo>
                  <a:lnTo>
                    <a:pt x="926" y="1124"/>
                  </a:lnTo>
                  <a:lnTo>
                    <a:pt x="928" y="1114"/>
                  </a:lnTo>
                  <a:lnTo>
                    <a:pt x="926" y="1106"/>
                  </a:lnTo>
                  <a:lnTo>
                    <a:pt x="924" y="1100"/>
                  </a:lnTo>
                  <a:lnTo>
                    <a:pt x="920" y="1094"/>
                  </a:lnTo>
                  <a:lnTo>
                    <a:pt x="914" y="1090"/>
                  </a:lnTo>
                  <a:lnTo>
                    <a:pt x="906" y="1088"/>
                  </a:lnTo>
                  <a:lnTo>
                    <a:pt x="898" y="1088"/>
                  </a:lnTo>
                  <a:lnTo>
                    <a:pt x="898" y="1088"/>
                  </a:lnTo>
                  <a:close/>
                  <a:moveTo>
                    <a:pt x="912" y="1134"/>
                  </a:moveTo>
                  <a:lnTo>
                    <a:pt x="912" y="1134"/>
                  </a:lnTo>
                  <a:lnTo>
                    <a:pt x="904" y="1144"/>
                  </a:lnTo>
                  <a:lnTo>
                    <a:pt x="894" y="1154"/>
                  </a:lnTo>
                  <a:lnTo>
                    <a:pt x="882" y="1158"/>
                  </a:lnTo>
                  <a:lnTo>
                    <a:pt x="868" y="1160"/>
                  </a:lnTo>
                  <a:lnTo>
                    <a:pt x="868" y="1160"/>
                  </a:lnTo>
                  <a:lnTo>
                    <a:pt x="862" y="1160"/>
                  </a:lnTo>
                  <a:lnTo>
                    <a:pt x="858" y="1158"/>
                  </a:lnTo>
                  <a:lnTo>
                    <a:pt x="854" y="1156"/>
                  </a:lnTo>
                  <a:lnTo>
                    <a:pt x="852" y="1154"/>
                  </a:lnTo>
                  <a:lnTo>
                    <a:pt x="852" y="1144"/>
                  </a:lnTo>
                  <a:lnTo>
                    <a:pt x="854" y="1134"/>
                  </a:lnTo>
                  <a:lnTo>
                    <a:pt x="854" y="1134"/>
                  </a:lnTo>
                  <a:lnTo>
                    <a:pt x="860" y="1120"/>
                  </a:lnTo>
                  <a:lnTo>
                    <a:pt x="868" y="1112"/>
                  </a:lnTo>
                  <a:lnTo>
                    <a:pt x="878" y="1108"/>
                  </a:lnTo>
                  <a:lnTo>
                    <a:pt x="890" y="1106"/>
                  </a:lnTo>
                  <a:lnTo>
                    <a:pt x="890" y="1106"/>
                  </a:lnTo>
                  <a:lnTo>
                    <a:pt x="902" y="1108"/>
                  </a:lnTo>
                  <a:lnTo>
                    <a:pt x="908" y="1110"/>
                  </a:lnTo>
                  <a:lnTo>
                    <a:pt x="912" y="1112"/>
                  </a:lnTo>
                  <a:lnTo>
                    <a:pt x="914" y="1116"/>
                  </a:lnTo>
                  <a:lnTo>
                    <a:pt x="916" y="1122"/>
                  </a:lnTo>
                  <a:lnTo>
                    <a:pt x="914" y="1126"/>
                  </a:lnTo>
                  <a:lnTo>
                    <a:pt x="912" y="1134"/>
                  </a:lnTo>
                  <a:lnTo>
                    <a:pt x="912" y="1134"/>
                  </a:lnTo>
                  <a:close/>
                  <a:moveTo>
                    <a:pt x="950" y="952"/>
                  </a:moveTo>
                  <a:lnTo>
                    <a:pt x="950" y="952"/>
                  </a:lnTo>
                  <a:lnTo>
                    <a:pt x="940" y="952"/>
                  </a:lnTo>
                  <a:lnTo>
                    <a:pt x="930" y="954"/>
                  </a:lnTo>
                  <a:lnTo>
                    <a:pt x="922" y="958"/>
                  </a:lnTo>
                  <a:lnTo>
                    <a:pt x="916" y="964"/>
                  </a:lnTo>
                  <a:lnTo>
                    <a:pt x="910" y="970"/>
                  </a:lnTo>
                  <a:lnTo>
                    <a:pt x="904" y="978"/>
                  </a:lnTo>
                  <a:lnTo>
                    <a:pt x="896" y="996"/>
                  </a:lnTo>
                  <a:lnTo>
                    <a:pt x="896" y="996"/>
                  </a:lnTo>
                  <a:lnTo>
                    <a:pt x="892" y="1016"/>
                  </a:lnTo>
                  <a:lnTo>
                    <a:pt x="892" y="1024"/>
                  </a:lnTo>
                  <a:lnTo>
                    <a:pt x="892" y="1030"/>
                  </a:lnTo>
                  <a:lnTo>
                    <a:pt x="896" y="1036"/>
                  </a:lnTo>
                  <a:lnTo>
                    <a:pt x="900" y="1040"/>
                  </a:lnTo>
                  <a:lnTo>
                    <a:pt x="906" y="1042"/>
                  </a:lnTo>
                  <a:lnTo>
                    <a:pt x="916" y="1044"/>
                  </a:lnTo>
                  <a:lnTo>
                    <a:pt x="916" y="1044"/>
                  </a:lnTo>
                  <a:lnTo>
                    <a:pt x="926" y="1042"/>
                  </a:lnTo>
                  <a:lnTo>
                    <a:pt x="936" y="1040"/>
                  </a:lnTo>
                  <a:lnTo>
                    <a:pt x="946" y="1036"/>
                  </a:lnTo>
                  <a:lnTo>
                    <a:pt x="954" y="1030"/>
                  </a:lnTo>
                  <a:lnTo>
                    <a:pt x="964" y="1024"/>
                  </a:lnTo>
                  <a:lnTo>
                    <a:pt x="972" y="1016"/>
                  </a:lnTo>
                  <a:lnTo>
                    <a:pt x="978" y="1008"/>
                  </a:lnTo>
                  <a:lnTo>
                    <a:pt x="984" y="998"/>
                  </a:lnTo>
                  <a:lnTo>
                    <a:pt x="984" y="998"/>
                  </a:lnTo>
                  <a:lnTo>
                    <a:pt x="986" y="988"/>
                  </a:lnTo>
                  <a:lnTo>
                    <a:pt x="988" y="978"/>
                  </a:lnTo>
                  <a:lnTo>
                    <a:pt x="986" y="970"/>
                  </a:lnTo>
                  <a:lnTo>
                    <a:pt x="982" y="964"/>
                  </a:lnTo>
                  <a:lnTo>
                    <a:pt x="976" y="958"/>
                  </a:lnTo>
                  <a:lnTo>
                    <a:pt x="968" y="954"/>
                  </a:lnTo>
                  <a:lnTo>
                    <a:pt x="960" y="952"/>
                  </a:lnTo>
                  <a:lnTo>
                    <a:pt x="950" y="952"/>
                  </a:lnTo>
                  <a:lnTo>
                    <a:pt x="950" y="952"/>
                  </a:lnTo>
                  <a:close/>
                  <a:moveTo>
                    <a:pt x="972" y="998"/>
                  </a:moveTo>
                  <a:lnTo>
                    <a:pt x="972" y="998"/>
                  </a:lnTo>
                  <a:lnTo>
                    <a:pt x="968" y="1004"/>
                  </a:lnTo>
                  <a:lnTo>
                    <a:pt x="964" y="1008"/>
                  </a:lnTo>
                  <a:lnTo>
                    <a:pt x="952" y="1018"/>
                  </a:lnTo>
                  <a:lnTo>
                    <a:pt x="938" y="1024"/>
                  </a:lnTo>
                  <a:lnTo>
                    <a:pt x="922" y="1026"/>
                  </a:lnTo>
                  <a:lnTo>
                    <a:pt x="922" y="1026"/>
                  </a:lnTo>
                  <a:lnTo>
                    <a:pt x="916" y="1024"/>
                  </a:lnTo>
                  <a:lnTo>
                    <a:pt x="910" y="1024"/>
                  </a:lnTo>
                  <a:lnTo>
                    <a:pt x="906" y="1020"/>
                  </a:lnTo>
                  <a:lnTo>
                    <a:pt x="902" y="1018"/>
                  </a:lnTo>
                  <a:lnTo>
                    <a:pt x="900" y="1014"/>
                  </a:lnTo>
                  <a:lnTo>
                    <a:pt x="900" y="1008"/>
                  </a:lnTo>
                  <a:lnTo>
                    <a:pt x="902" y="998"/>
                  </a:lnTo>
                  <a:lnTo>
                    <a:pt x="902" y="998"/>
                  </a:lnTo>
                  <a:lnTo>
                    <a:pt x="908" y="986"/>
                  </a:lnTo>
                  <a:lnTo>
                    <a:pt x="918" y="976"/>
                  </a:lnTo>
                  <a:lnTo>
                    <a:pt x="928" y="972"/>
                  </a:lnTo>
                  <a:lnTo>
                    <a:pt x="942" y="970"/>
                  </a:lnTo>
                  <a:lnTo>
                    <a:pt x="942" y="970"/>
                  </a:lnTo>
                  <a:lnTo>
                    <a:pt x="958" y="972"/>
                  </a:lnTo>
                  <a:lnTo>
                    <a:pt x="964" y="974"/>
                  </a:lnTo>
                  <a:lnTo>
                    <a:pt x="968" y="976"/>
                  </a:lnTo>
                  <a:lnTo>
                    <a:pt x="972" y="980"/>
                  </a:lnTo>
                  <a:lnTo>
                    <a:pt x="974" y="986"/>
                  </a:lnTo>
                  <a:lnTo>
                    <a:pt x="974" y="992"/>
                  </a:lnTo>
                  <a:lnTo>
                    <a:pt x="972" y="998"/>
                  </a:lnTo>
                  <a:lnTo>
                    <a:pt x="972" y="998"/>
                  </a:lnTo>
                  <a:close/>
                  <a:moveTo>
                    <a:pt x="996" y="816"/>
                  </a:moveTo>
                  <a:lnTo>
                    <a:pt x="996" y="816"/>
                  </a:lnTo>
                  <a:lnTo>
                    <a:pt x="986" y="816"/>
                  </a:lnTo>
                  <a:lnTo>
                    <a:pt x="976" y="818"/>
                  </a:lnTo>
                  <a:lnTo>
                    <a:pt x="968" y="822"/>
                  </a:lnTo>
                  <a:lnTo>
                    <a:pt x="960" y="828"/>
                  </a:lnTo>
                  <a:lnTo>
                    <a:pt x="952" y="834"/>
                  </a:lnTo>
                  <a:lnTo>
                    <a:pt x="948" y="842"/>
                  </a:lnTo>
                  <a:lnTo>
                    <a:pt x="942" y="850"/>
                  </a:lnTo>
                  <a:lnTo>
                    <a:pt x="940" y="860"/>
                  </a:lnTo>
                  <a:lnTo>
                    <a:pt x="940" y="860"/>
                  </a:lnTo>
                  <a:lnTo>
                    <a:pt x="936" y="870"/>
                  </a:lnTo>
                  <a:lnTo>
                    <a:pt x="936" y="880"/>
                  </a:lnTo>
                  <a:lnTo>
                    <a:pt x="936" y="888"/>
                  </a:lnTo>
                  <a:lnTo>
                    <a:pt x="938" y="894"/>
                  </a:lnTo>
                  <a:lnTo>
                    <a:pt x="942" y="900"/>
                  </a:lnTo>
                  <a:lnTo>
                    <a:pt x="948" y="904"/>
                  </a:lnTo>
                  <a:lnTo>
                    <a:pt x="956" y="906"/>
                  </a:lnTo>
                  <a:lnTo>
                    <a:pt x="966" y="908"/>
                  </a:lnTo>
                  <a:lnTo>
                    <a:pt x="966" y="908"/>
                  </a:lnTo>
                  <a:lnTo>
                    <a:pt x="978" y="906"/>
                  </a:lnTo>
                  <a:lnTo>
                    <a:pt x="988" y="904"/>
                  </a:lnTo>
                  <a:lnTo>
                    <a:pt x="1000" y="900"/>
                  </a:lnTo>
                  <a:lnTo>
                    <a:pt x="1010" y="896"/>
                  </a:lnTo>
                  <a:lnTo>
                    <a:pt x="1020" y="888"/>
                  </a:lnTo>
                  <a:lnTo>
                    <a:pt x="1028" y="880"/>
                  </a:lnTo>
                  <a:lnTo>
                    <a:pt x="1034" y="872"/>
                  </a:lnTo>
                  <a:lnTo>
                    <a:pt x="1040" y="862"/>
                  </a:lnTo>
                  <a:lnTo>
                    <a:pt x="1040" y="862"/>
                  </a:lnTo>
                  <a:lnTo>
                    <a:pt x="1042" y="852"/>
                  </a:lnTo>
                  <a:lnTo>
                    <a:pt x="1042" y="842"/>
                  </a:lnTo>
                  <a:lnTo>
                    <a:pt x="1040" y="834"/>
                  </a:lnTo>
                  <a:lnTo>
                    <a:pt x="1034" y="828"/>
                  </a:lnTo>
                  <a:lnTo>
                    <a:pt x="1028" y="822"/>
                  </a:lnTo>
                  <a:lnTo>
                    <a:pt x="1020" y="818"/>
                  </a:lnTo>
                  <a:lnTo>
                    <a:pt x="1008" y="816"/>
                  </a:lnTo>
                  <a:lnTo>
                    <a:pt x="996" y="816"/>
                  </a:lnTo>
                  <a:lnTo>
                    <a:pt x="996" y="816"/>
                  </a:lnTo>
                  <a:close/>
                  <a:moveTo>
                    <a:pt x="1026" y="862"/>
                  </a:moveTo>
                  <a:lnTo>
                    <a:pt x="1026" y="862"/>
                  </a:lnTo>
                  <a:lnTo>
                    <a:pt x="1024" y="868"/>
                  </a:lnTo>
                  <a:lnTo>
                    <a:pt x="1018" y="874"/>
                  </a:lnTo>
                  <a:lnTo>
                    <a:pt x="1006" y="882"/>
                  </a:lnTo>
                  <a:lnTo>
                    <a:pt x="990" y="888"/>
                  </a:lnTo>
                  <a:lnTo>
                    <a:pt x="974" y="890"/>
                  </a:lnTo>
                  <a:lnTo>
                    <a:pt x="974" y="890"/>
                  </a:lnTo>
                  <a:lnTo>
                    <a:pt x="964" y="888"/>
                  </a:lnTo>
                  <a:lnTo>
                    <a:pt x="958" y="888"/>
                  </a:lnTo>
                  <a:lnTo>
                    <a:pt x="952" y="884"/>
                  </a:lnTo>
                  <a:lnTo>
                    <a:pt x="948" y="882"/>
                  </a:lnTo>
                  <a:lnTo>
                    <a:pt x="946" y="878"/>
                  </a:lnTo>
                  <a:lnTo>
                    <a:pt x="946" y="872"/>
                  </a:lnTo>
                  <a:lnTo>
                    <a:pt x="946" y="862"/>
                  </a:lnTo>
                  <a:lnTo>
                    <a:pt x="946" y="862"/>
                  </a:lnTo>
                  <a:lnTo>
                    <a:pt x="952" y="850"/>
                  </a:lnTo>
                  <a:lnTo>
                    <a:pt x="958" y="844"/>
                  </a:lnTo>
                  <a:lnTo>
                    <a:pt x="962" y="840"/>
                  </a:lnTo>
                  <a:lnTo>
                    <a:pt x="976" y="836"/>
                  </a:lnTo>
                  <a:lnTo>
                    <a:pt x="992" y="834"/>
                  </a:lnTo>
                  <a:lnTo>
                    <a:pt x="992" y="834"/>
                  </a:lnTo>
                  <a:lnTo>
                    <a:pt x="1008" y="836"/>
                  </a:lnTo>
                  <a:lnTo>
                    <a:pt x="1016" y="838"/>
                  </a:lnTo>
                  <a:lnTo>
                    <a:pt x="1020" y="840"/>
                  </a:lnTo>
                  <a:lnTo>
                    <a:pt x="1024" y="844"/>
                  </a:lnTo>
                  <a:lnTo>
                    <a:pt x="1028" y="850"/>
                  </a:lnTo>
                  <a:lnTo>
                    <a:pt x="1028" y="856"/>
                  </a:lnTo>
                  <a:lnTo>
                    <a:pt x="1026" y="862"/>
                  </a:lnTo>
                  <a:lnTo>
                    <a:pt x="1026" y="862"/>
                  </a:lnTo>
                  <a:close/>
                  <a:moveTo>
                    <a:pt x="1038" y="680"/>
                  </a:moveTo>
                  <a:lnTo>
                    <a:pt x="1038" y="680"/>
                  </a:lnTo>
                  <a:lnTo>
                    <a:pt x="1026" y="680"/>
                  </a:lnTo>
                  <a:lnTo>
                    <a:pt x="1016" y="682"/>
                  </a:lnTo>
                  <a:lnTo>
                    <a:pt x="1006" y="686"/>
                  </a:lnTo>
                  <a:lnTo>
                    <a:pt x="998" y="692"/>
                  </a:lnTo>
                  <a:lnTo>
                    <a:pt x="992" y="698"/>
                  </a:lnTo>
                  <a:lnTo>
                    <a:pt x="986" y="706"/>
                  </a:lnTo>
                  <a:lnTo>
                    <a:pt x="982" y="714"/>
                  </a:lnTo>
                  <a:lnTo>
                    <a:pt x="978" y="724"/>
                  </a:lnTo>
                  <a:lnTo>
                    <a:pt x="978" y="724"/>
                  </a:lnTo>
                  <a:lnTo>
                    <a:pt x="976" y="734"/>
                  </a:lnTo>
                  <a:lnTo>
                    <a:pt x="976" y="744"/>
                  </a:lnTo>
                  <a:lnTo>
                    <a:pt x="976" y="752"/>
                  </a:lnTo>
                  <a:lnTo>
                    <a:pt x="980" y="758"/>
                  </a:lnTo>
                  <a:lnTo>
                    <a:pt x="984" y="764"/>
                  </a:lnTo>
                  <a:lnTo>
                    <a:pt x="992" y="768"/>
                  </a:lnTo>
                  <a:lnTo>
                    <a:pt x="1000" y="770"/>
                  </a:lnTo>
                  <a:lnTo>
                    <a:pt x="1012" y="772"/>
                  </a:lnTo>
                  <a:lnTo>
                    <a:pt x="1012" y="772"/>
                  </a:lnTo>
                  <a:lnTo>
                    <a:pt x="1026" y="770"/>
                  </a:lnTo>
                  <a:lnTo>
                    <a:pt x="1038" y="768"/>
                  </a:lnTo>
                  <a:lnTo>
                    <a:pt x="1050" y="764"/>
                  </a:lnTo>
                  <a:lnTo>
                    <a:pt x="1060" y="760"/>
                  </a:lnTo>
                  <a:lnTo>
                    <a:pt x="1070" y="752"/>
                  </a:lnTo>
                  <a:lnTo>
                    <a:pt x="1078" y="746"/>
                  </a:lnTo>
                  <a:lnTo>
                    <a:pt x="1086" y="736"/>
                  </a:lnTo>
                  <a:lnTo>
                    <a:pt x="1090" y="726"/>
                  </a:lnTo>
                  <a:lnTo>
                    <a:pt x="1090" y="726"/>
                  </a:lnTo>
                  <a:lnTo>
                    <a:pt x="1092" y="716"/>
                  </a:lnTo>
                  <a:lnTo>
                    <a:pt x="1092" y="708"/>
                  </a:lnTo>
                  <a:lnTo>
                    <a:pt x="1088" y="698"/>
                  </a:lnTo>
                  <a:lnTo>
                    <a:pt x="1082" y="692"/>
                  </a:lnTo>
                  <a:lnTo>
                    <a:pt x="1074" y="686"/>
                  </a:lnTo>
                  <a:lnTo>
                    <a:pt x="1064" y="684"/>
                  </a:lnTo>
                  <a:lnTo>
                    <a:pt x="1052" y="680"/>
                  </a:lnTo>
                  <a:lnTo>
                    <a:pt x="1038" y="680"/>
                  </a:lnTo>
                  <a:lnTo>
                    <a:pt x="1038" y="680"/>
                  </a:lnTo>
                  <a:close/>
                  <a:moveTo>
                    <a:pt x="1076" y="726"/>
                  </a:moveTo>
                  <a:lnTo>
                    <a:pt x="1076" y="726"/>
                  </a:lnTo>
                  <a:lnTo>
                    <a:pt x="1072" y="732"/>
                  </a:lnTo>
                  <a:lnTo>
                    <a:pt x="1068" y="738"/>
                  </a:lnTo>
                  <a:lnTo>
                    <a:pt x="1062" y="742"/>
                  </a:lnTo>
                  <a:lnTo>
                    <a:pt x="1056" y="746"/>
                  </a:lnTo>
                  <a:lnTo>
                    <a:pt x="1038" y="752"/>
                  </a:lnTo>
                  <a:lnTo>
                    <a:pt x="1018" y="754"/>
                  </a:lnTo>
                  <a:lnTo>
                    <a:pt x="1018" y="754"/>
                  </a:lnTo>
                  <a:lnTo>
                    <a:pt x="1008" y="752"/>
                  </a:lnTo>
                  <a:lnTo>
                    <a:pt x="1000" y="752"/>
                  </a:lnTo>
                  <a:lnTo>
                    <a:pt x="994" y="748"/>
                  </a:lnTo>
                  <a:lnTo>
                    <a:pt x="990" y="746"/>
                  </a:lnTo>
                  <a:lnTo>
                    <a:pt x="988" y="742"/>
                  </a:lnTo>
                  <a:lnTo>
                    <a:pt x="986" y="736"/>
                  </a:lnTo>
                  <a:lnTo>
                    <a:pt x="986" y="732"/>
                  </a:lnTo>
                  <a:lnTo>
                    <a:pt x="986" y="726"/>
                  </a:lnTo>
                  <a:lnTo>
                    <a:pt x="986" y="726"/>
                  </a:lnTo>
                  <a:lnTo>
                    <a:pt x="990" y="720"/>
                  </a:lnTo>
                  <a:lnTo>
                    <a:pt x="992" y="714"/>
                  </a:lnTo>
                  <a:lnTo>
                    <a:pt x="998" y="708"/>
                  </a:lnTo>
                  <a:lnTo>
                    <a:pt x="1002" y="704"/>
                  </a:lnTo>
                  <a:lnTo>
                    <a:pt x="1016" y="700"/>
                  </a:lnTo>
                  <a:lnTo>
                    <a:pt x="1034" y="698"/>
                  </a:lnTo>
                  <a:lnTo>
                    <a:pt x="1034" y="698"/>
                  </a:lnTo>
                  <a:lnTo>
                    <a:pt x="1054" y="700"/>
                  </a:lnTo>
                  <a:lnTo>
                    <a:pt x="1062" y="702"/>
                  </a:lnTo>
                  <a:lnTo>
                    <a:pt x="1068" y="706"/>
                  </a:lnTo>
                  <a:lnTo>
                    <a:pt x="1072" y="708"/>
                  </a:lnTo>
                  <a:lnTo>
                    <a:pt x="1076" y="714"/>
                  </a:lnTo>
                  <a:lnTo>
                    <a:pt x="1076" y="720"/>
                  </a:lnTo>
                  <a:lnTo>
                    <a:pt x="1076" y="726"/>
                  </a:lnTo>
                  <a:lnTo>
                    <a:pt x="1076" y="726"/>
                  </a:lnTo>
                  <a:close/>
                  <a:moveTo>
                    <a:pt x="1076" y="544"/>
                  </a:moveTo>
                  <a:lnTo>
                    <a:pt x="1076" y="544"/>
                  </a:lnTo>
                  <a:lnTo>
                    <a:pt x="1062" y="544"/>
                  </a:lnTo>
                  <a:lnTo>
                    <a:pt x="1050" y="548"/>
                  </a:lnTo>
                  <a:lnTo>
                    <a:pt x="1040" y="550"/>
                  </a:lnTo>
                  <a:lnTo>
                    <a:pt x="1032" y="556"/>
                  </a:lnTo>
                  <a:lnTo>
                    <a:pt x="1024" y="562"/>
                  </a:lnTo>
                  <a:lnTo>
                    <a:pt x="1020" y="570"/>
                  </a:lnTo>
                  <a:lnTo>
                    <a:pt x="1014" y="578"/>
                  </a:lnTo>
                  <a:lnTo>
                    <a:pt x="1012" y="588"/>
                  </a:lnTo>
                  <a:lnTo>
                    <a:pt x="1012" y="588"/>
                  </a:lnTo>
                  <a:lnTo>
                    <a:pt x="1010" y="598"/>
                  </a:lnTo>
                  <a:lnTo>
                    <a:pt x="1010" y="608"/>
                  </a:lnTo>
                  <a:lnTo>
                    <a:pt x="1012" y="616"/>
                  </a:lnTo>
                  <a:lnTo>
                    <a:pt x="1016" y="622"/>
                  </a:lnTo>
                  <a:lnTo>
                    <a:pt x="1022" y="628"/>
                  </a:lnTo>
                  <a:lnTo>
                    <a:pt x="1030" y="632"/>
                  </a:lnTo>
                  <a:lnTo>
                    <a:pt x="1040" y="636"/>
                  </a:lnTo>
                  <a:lnTo>
                    <a:pt x="1054" y="636"/>
                  </a:lnTo>
                  <a:lnTo>
                    <a:pt x="1054" y="636"/>
                  </a:lnTo>
                  <a:lnTo>
                    <a:pt x="1066" y="636"/>
                  </a:lnTo>
                  <a:lnTo>
                    <a:pt x="1080" y="632"/>
                  </a:lnTo>
                  <a:lnTo>
                    <a:pt x="1092" y="628"/>
                  </a:lnTo>
                  <a:lnTo>
                    <a:pt x="1104" y="624"/>
                  </a:lnTo>
                  <a:lnTo>
                    <a:pt x="1114" y="616"/>
                  </a:lnTo>
                  <a:lnTo>
                    <a:pt x="1124" y="610"/>
                  </a:lnTo>
                  <a:lnTo>
                    <a:pt x="1130" y="600"/>
                  </a:lnTo>
                  <a:lnTo>
                    <a:pt x="1134" y="592"/>
                  </a:lnTo>
                  <a:lnTo>
                    <a:pt x="1134" y="592"/>
                  </a:lnTo>
                  <a:lnTo>
                    <a:pt x="1136" y="580"/>
                  </a:lnTo>
                  <a:lnTo>
                    <a:pt x="1134" y="572"/>
                  </a:lnTo>
                  <a:lnTo>
                    <a:pt x="1130" y="564"/>
                  </a:lnTo>
                  <a:lnTo>
                    <a:pt x="1122" y="556"/>
                  </a:lnTo>
                  <a:lnTo>
                    <a:pt x="1114" y="552"/>
                  </a:lnTo>
                  <a:lnTo>
                    <a:pt x="1102" y="548"/>
                  </a:lnTo>
                  <a:lnTo>
                    <a:pt x="1090" y="544"/>
                  </a:lnTo>
                  <a:lnTo>
                    <a:pt x="1076" y="544"/>
                  </a:lnTo>
                  <a:lnTo>
                    <a:pt x="1076" y="544"/>
                  </a:lnTo>
                  <a:close/>
                  <a:moveTo>
                    <a:pt x="1118" y="590"/>
                  </a:moveTo>
                  <a:lnTo>
                    <a:pt x="1118" y="590"/>
                  </a:lnTo>
                  <a:lnTo>
                    <a:pt x="1116" y="596"/>
                  </a:lnTo>
                  <a:lnTo>
                    <a:pt x="1112" y="602"/>
                  </a:lnTo>
                  <a:lnTo>
                    <a:pt x="1106" y="606"/>
                  </a:lnTo>
                  <a:lnTo>
                    <a:pt x="1098" y="610"/>
                  </a:lnTo>
                  <a:lnTo>
                    <a:pt x="1080" y="616"/>
                  </a:lnTo>
                  <a:lnTo>
                    <a:pt x="1058" y="618"/>
                  </a:lnTo>
                  <a:lnTo>
                    <a:pt x="1058" y="618"/>
                  </a:lnTo>
                  <a:lnTo>
                    <a:pt x="1048" y="618"/>
                  </a:lnTo>
                  <a:lnTo>
                    <a:pt x="1038" y="616"/>
                  </a:lnTo>
                  <a:lnTo>
                    <a:pt x="1032" y="614"/>
                  </a:lnTo>
                  <a:lnTo>
                    <a:pt x="1026" y="610"/>
                  </a:lnTo>
                  <a:lnTo>
                    <a:pt x="1024" y="606"/>
                  </a:lnTo>
                  <a:lnTo>
                    <a:pt x="1022" y="602"/>
                  </a:lnTo>
                  <a:lnTo>
                    <a:pt x="1020" y="596"/>
                  </a:lnTo>
                  <a:lnTo>
                    <a:pt x="1022" y="590"/>
                  </a:lnTo>
                  <a:lnTo>
                    <a:pt x="1022" y="590"/>
                  </a:lnTo>
                  <a:lnTo>
                    <a:pt x="1024" y="584"/>
                  </a:lnTo>
                  <a:lnTo>
                    <a:pt x="1028" y="578"/>
                  </a:lnTo>
                  <a:lnTo>
                    <a:pt x="1032" y="572"/>
                  </a:lnTo>
                  <a:lnTo>
                    <a:pt x="1038" y="570"/>
                  </a:lnTo>
                  <a:lnTo>
                    <a:pt x="1052" y="564"/>
                  </a:lnTo>
                  <a:lnTo>
                    <a:pt x="1072" y="562"/>
                  </a:lnTo>
                  <a:lnTo>
                    <a:pt x="1072" y="562"/>
                  </a:lnTo>
                  <a:lnTo>
                    <a:pt x="1092" y="564"/>
                  </a:lnTo>
                  <a:lnTo>
                    <a:pt x="1100" y="566"/>
                  </a:lnTo>
                  <a:lnTo>
                    <a:pt x="1108" y="570"/>
                  </a:lnTo>
                  <a:lnTo>
                    <a:pt x="1114" y="574"/>
                  </a:lnTo>
                  <a:lnTo>
                    <a:pt x="1118" y="578"/>
                  </a:lnTo>
                  <a:lnTo>
                    <a:pt x="1120" y="584"/>
                  </a:lnTo>
                  <a:lnTo>
                    <a:pt x="1118" y="590"/>
                  </a:lnTo>
                  <a:lnTo>
                    <a:pt x="1118" y="590"/>
                  </a:lnTo>
                  <a:close/>
                  <a:moveTo>
                    <a:pt x="1104" y="408"/>
                  </a:moveTo>
                  <a:lnTo>
                    <a:pt x="1104" y="408"/>
                  </a:lnTo>
                  <a:lnTo>
                    <a:pt x="1090" y="410"/>
                  </a:lnTo>
                  <a:lnTo>
                    <a:pt x="1078" y="412"/>
                  </a:lnTo>
                  <a:lnTo>
                    <a:pt x="1068" y="414"/>
                  </a:lnTo>
                  <a:lnTo>
                    <a:pt x="1060" y="420"/>
                  </a:lnTo>
                  <a:lnTo>
                    <a:pt x="1052" y="426"/>
                  </a:lnTo>
                  <a:lnTo>
                    <a:pt x="1046" y="434"/>
                  </a:lnTo>
                  <a:lnTo>
                    <a:pt x="1042" y="442"/>
                  </a:lnTo>
                  <a:lnTo>
                    <a:pt x="1040" y="454"/>
                  </a:lnTo>
                  <a:lnTo>
                    <a:pt x="1040" y="454"/>
                  </a:lnTo>
                  <a:lnTo>
                    <a:pt x="1038" y="462"/>
                  </a:lnTo>
                  <a:lnTo>
                    <a:pt x="1040" y="472"/>
                  </a:lnTo>
                  <a:lnTo>
                    <a:pt x="1042" y="480"/>
                  </a:lnTo>
                  <a:lnTo>
                    <a:pt x="1046" y="486"/>
                  </a:lnTo>
                  <a:lnTo>
                    <a:pt x="1054" y="492"/>
                  </a:lnTo>
                  <a:lnTo>
                    <a:pt x="1062" y="496"/>
                  </a:lnTo>
                  <a:lnTo>
                    <a:pt x="1074" y="500"/>
                  </a:lnTo>
                  <a:lnTo>
                    <a:pt x="1088" y="500"/>
                  </a:lnTo>
                  <a:lnTo>
                    <a:pt x="1088" y="500"/>
                  </a:lnTo>
                  <a:lnTo>
                    <a:pt x="1102" y="500"/>
                  </a:lnTo>
                  <a:lnTo>
                    <a:pt x="1116" y="496"/>
                  </a:lnTo>
                  <a:lnTo>
                    <a:pt x="1130" y="492"/>
                  </a:lnTo>
                  <a:lnTo>
                    <a:pt x="1142" y="488"/>
                  </a:lnTo>
                  <a:lnTo>
                    <a:pt x="1152" y="482"/>
                  </a:lnTo>
                  <a:lnTo>
                    <a:pt x="1160" y="474"/>
                  </a:lnTo>
                  <a:lnTo>
                    <a:pt x="1166" y="464"/>
                  </a:lnTo>
                  <a:lnTo>
                    <a:pt x="1170" y="456"/>
                  </a:lnTo>
                  <a:lnTo>
                    <a:pt x="1170" y="456"/>
                  </a:lnTo>
                  <a:lnTo>
                    <a:pt x="1172" y="444"/>
                  </a:lnTo>
                  <a:lnTo>
                    <a:pt x="1170" y="436"/>
                  </a:lnTo>
                  <a:lnTo>
                    <a:pt x="1164" y="428"/>
                  </a:lnTo>
                  <a:lnTo>
                    <a:pt x="1156" y="420"/>
                  </a:lnTo>
                  <a:lnTo>
                    <a:pt x="1146" y="416"/>
                  </a:lnTo>
                  <a:lnTo>
                    <a:pt x="1134" y="412"/>
                  </a:lnTo>
                  <a:lnTo>
                    <a:pt x="1120" y="410"/>
                  </a:lnTo>
                  <a:lnTo>
                    <a:pt x="1104" y="408"/>
                  </a:lnTo>
                  <a:lnTo>
                    <a:pt x="1104" y="408"/>
                  </a:lnTo>
                  <a:close/>
                  <a:moveTo>
                    <a:pt x="1154" y="454"/>
                  </a:moveTo>
                  <a:lnTo>
                    <a:pt x="1154" y="454"/>
                  </a:lnTo>
                  <a:lnTo>
                    <a:pt x="1152" y="460"/>
                  </a:lnTo>
                  <a:lnTo>
                    <a:pt x="1146" y="466"/>
                  </a:lnTo>
                  <a:lnTo>
                    <a:pt x="1140" y="470"/>
                  </a:lnTo>
                  <a:lnTo>
                    <a:pt x="1134" y="474"/>
                  </a:lnTo>
                  <a:lnTo>
                    <a:pt x="1114" y="480"/>
                  </a:lnTo>
                  <a:lnTo>
                    <a:pt x="1092" y="482"/>
                  </a:lnTo>
                  <a:lnTo>
                    <a:pt x="1092" y="482"/>
                  </a:lnTo>
                  <a:lnTo>
                    <a:pt x="1080" y="482"/>
                  </a:lnTo>
                  <a:lnTo>
                    <a:pt x="1070" y="480"/>
                  </a:lnTo>
                  <a:lnTo>
                    <a:pt x="1062" y="478"/>
                  </a:lnTo>
                  <a:lnTo>
                    <a:pt x="1058" y="474"/>
                  </a:lnTo>
                  <a:lnTo>
                    <a:pt x="1054" y="470"/>
                  </a:lnTo>
                  <a:lnTo>
                    <a:pt x="1050" y="466"/>
                  </a:lnTo>
                  <a:lnTo>
                    <a:pt x="1050" y="460"/>
                  </a:lnTo>
                  <a:lnTo>
                    <a:pt x="1050" y="454"/>
                  </a:lnTo>
                  <a:lnTo>
                    <a:pt x="1050" y="454"/>
                  </a:lnTo>
                  <a:lnTo>
                    <a:pt x="1052" y="448"/>
                  </a:lnTo>
                  <a:lnTo>
                    <a:pt x="1056" y="442"/>
                  </a:lnTo>
                  <a:lnTo>
                    <a:pt x="1060" y="438"/>
                  </a:lnTo>
                  <a:lnTo>
                    <a:pt x="1066" y="434"/>
                  </a:lnTo>
                  <a:lnTo>
                    <a:pt x="1072" y="430"/>
                  </a:lnTo>
                  <a:lnTo>
                    <a:pt x="1082" y="428"/>
                  </a:lnTo>
                  <a:lnTo>
                    <a:pt x="1102" y="426"/>
                  </a:lnTo>
                  <a:lnTo>
                    <a:pt x="1102" y="426"/>
                  </a:lnTo>
                  <a:lnTo>
                    <a:pt x="1124" y="428"/>
                  </a:lnTo>
                  <a:lnTo>
                    <a:pt x="1134" y="430"/>
                  </a:lnTo>
                  <a:lnTo>
                    <a:pt x="1142" y="434"/>
                  </a:lnTo>
                  <a:lnTo>
                    <a:pt x="1148" y="438"/>
                  </a:lnTo>
                  <a:lnTo>
                    <a:pt x="1152" y="442"/>
                  </a:lnTo>
                  <a:lnTo>
                    <a:pt x="1154" y="448"/>
                  </a:lnTo>
                  <a:lnTo>
                    <a:pt x="1154" y="454"/>
                  </a:lnTo>
                  <a:lnTo>
                    <a:pt x="1154" y="454"/>
                  </a:lnTo>
                  <a:close/>
                  <a:moveTo>
                    <a:pt x="1062" y="320"/>
                  </a:moveTo>
                  <a:lnTo>
                    <a:pt x="1062" y="320"/>
                  </a:lnTo>
                  <a:lnTo>
                    <a:pt x="1070" y="350"/>
                  </a:lnTo>
                  <a:lnTo>
                    <a:pt x="1070" y="350"/>
                  </a:lnTo>
                  <a:lnTo>
                    <a:pt x="1084" y="346"/>
                  </a:lnTo>
                  <a:lnTo>
                    <a:pt x="1084" y="346"/>
                  </a:lnTo>
                  <a:lnTo>
                    <a:pt x="1076" y="324"/>
                  </a:lnTo>
                  <a:lnTo>
                    <a:pt x="1076" y="324"/>
                  </a:lnTo>
                  <a:lnTo>
                    <a:pt x="1076" y="322"/>
                  </a:lnTo>
                  <a:lnTo>
                    <a:pt x="1196" y="322"/>
                  </a:lnTo>
                  <a:lnTo>
                    <a:pt x="1196" y="322"/>
                  </a:lnTo>
                  <a:lnTo>
                    <a:pt x="1198" y="304"/>
                  </a:lnTo>
                  <a:lnTo>
                    <a:pt x="1064" y="304"/>
                  </a:lnTo>
                  <a:lnTo>
                    <a:pt x="1064" y="304"/>
                  </a:lnTo>
                  <a:lnTo>
                    <a:pt x="1062" y="320"/>
                  </a:lnTo>
                  <a:lnTo>
                    <a:pt x="1062" y="320"/>
                  </a:lnTo>
                  <a:close/>
                  <a:moveTo>
                    <a:pt x="1078" y="184"/>
                  </a:moveTo>
                  <a:lnTo>
                    <a:pt x="1078" y="184"/>
                  </a:lnTo>
                  <a:lnTo>
                    <a:pt x="1088" y="214"/>
                  </a:lnTo>
                  <a:lnTo>
                    <a:pt x="1088" y="214"/>
                  </a:lnTo>
                  <a:lnTo>
                    <a:pt x="1100" y="210"/>
                  </a:lnTo>
                  <a:lnTo>
                    <a:pt x="1100" y="210"/>
                  </a:lnTo>
                  <a:lnTo>
                    <a:pt x="1092" y="188"/>
                  </a:lnTo>
                  <a:lnTo>
                    <a:pt x="1092" y="188"/>
                  </a:lnTo>
                  <a:lnTo>
                    <a:pt x="1092" y="186"/>
                  </a:lnTo>
                  <a:lnTo>
                    <a:pt x="1092" y="186"/>
                  </a:lnTo>
                  <a:lnTo>
                    <a:pt x="1214" y="186"/>
                  </a:lnTo>
                  <a:lnTo>
                    <a:pt x="1214" y="186"/>
                  </a:lnTo>
                  <a:lnTo>
                    <a:pt x="1216" y="170"/>
                  </a:lnTo>
                  <a:lnTo>
                    <a:pt x="1078" y="170"/>
                  </a:lnTo>
                  <a:lnTo>
                    <a:pt x="1078" y="170"/>
                  </a:lnTo>
                  <a:lnTo>
                    <a:pt x="1078" y="184"/>
                  </a:lnTo>
                  <a:lnTo>
                    <a:pt x="1078" y="184"/>
                  </a:lnTo>
                  <a:close/>
                  <a:moveTo>
                    <a:pt x="1144" y="0"/>
                  </a:moveTo>
                  <a:lnTo>
                    <a:pt x="1144" y="0"/>
                  </a:lnTo>
                  <a:lnTo>
                    <a:pt x="1130" y="2"/>
                  </a:lnTo>
                  <a:lnTo>
                    <a:pt x="1116" y="4"/>
                  </a:lnTo>
                  <a:lnTo>
                    <a:pt x="1106" y="8"/>
                  </a:lnTo>
                  <a:lnTo>
                    <a:pt x="1098" y="12"/>
                  </a:lnTo>
                  <a:lnTo>
                    <a:pt x="1090" y="18"/>
                  </a:lnTo>
                  <a:lnTo>
                    <a:pt x="1086" y="26"/>
                  </a:lnTo>
                  <a:lnTo>
                    <a:pt x="1084" y="36"/>
                  </a:lnTo>
                  <a:lnTo>
                    <a:pt x="1082" y="46"/>
                  </a:lnTo>
                  <a:lnTo>
                    <a:pt x="1082" y="46"/>
                  </a:lnTo>
                  <a:lnTo>
                    <a:pt x="1082" y="56"/>
                  </a:lnTo>
                  <a:lnTo>
                    <a:pt x="1086" y="64"/>
                  </a:lnTo>
                  <a:lnTo>
                    <a:pt x="1090" y="72"/>
                  </a:lnTo>
                  <a:lnTo>
                    <a:pt x="1096" y="80"/>
                  </a:lnTo>
                  <a:lnTo>
                    <a:pt x="1104" y="86"/>
                  </a:lnTo>
                  <a:lnTo>
                    <a:pt x="1116" y="90"/>
                  </a:lnTo>
                  <a:lnTo>
                    <a:pt x="1128" y="92"/>
                  </a:lnTo>
                  <a:lnTo>
                    <a:pt x="1144" y="92"/>
                  </a:lnTo>
                  <a:lnTo>
                    <a:pt x="1144" y="92"/>
                  </a:lnTo>
                  <a:lnTo>
                    <a:pt x="1160" y="92"/>
                  </a:lnTo>
                  <a:lnTo>
                    <a:pt x="1176" y="90"/>
                  </a:lnTo>
                  <a:lnTo>
                    <a:pt x="1190" y="86"/>
                  </a:lnTo>
                  <a:lnTo>
                    <a:pt x="1202" y="80"/>
                  </a:lnTo>
                  <a:lnTo>
                    <a:pt x="1212" y="74"/>
                  </a:lnTo>
                  <a:lnTo>
                    <a:pt x="1220" y="66"/>
                  </a:lnTo>
                  <a:lnTo>
                    <a:pt x="1224" y="58"/>
                  </a:lnTo>
                  <a:lnTo>
                    <a:pt x="1226" y="48"/>
                  </a:lnTo>
                  <a:lnTo>
                    <a:pt x="1226" y="48"/>
                  </a:lnTo>
                  <a:lnTo>
                    <a:pt x="1226" y="38"/>
                  </a:lnTo>
                  <a:lnTo>
                    <a:pt x="1220" y="28"/>
                  </a:lnTo>
                  <a:lnTo>
                    <a:pt x="1214" y="20"/>
                  </a:lnTo>
                  <a:lnTo>
                    <a:pt x="1204" y="14"/>
                  </a:lnTo>
                  <a:lnTo>
                    <a:pt x="1190" y="8"/>
                  </a:lnTo>
                  <a:lnTo>
                    <a:pt x="1176" y="4"/>
                  </a:lnTo>
                  <a:lnTo>
                    <a:pt x="1162" y="2"/>
                  </a:lnTo>
                  <a:lnTo>
                    <a:pt x="1144" y="0"/>
                  </a:lnTo>
                  <a:lnTo>
                    <a:pt x="1144" y="0"/>
                  </a:lnTo>
                  <a:close/>
                  <a:moveTo>
                    <a:pt x="1146" y="74"/>
                  </a:moveTo>
                  <a:lnTo>
                    <a:pt x="1146" y="74"/>
                  </a:lnTo>
                  <a:lnTo>
                    <a:pt x="1132" y="74"/>
                  </a:lnTo>
                  <a:lnTo>
                    <a:pt x="1122" y="72"/>
                  </a:lnTo>
                  <a:lnTo>
                    <a:pt x="1112" y="70"/>
                  </a:lnTo>
                  <a:lnTo>
                    <a:pt x="1106" y="66"/>
                  </a:lnTo>
                  <a:lnTo>
                    <a:pt x="1100" y="62"/>
                  </a:lnTo>
                  <a:lnTo>
                    <a:pt x="1096" y="58"/>
                  </a:lnTo>
                  <a:lnTo>
                    <a:pt x="1094" y="52"/>
                  </a:lnTo>
                  <a:lnTo>
                    <a:pt x="1094" y="46"/>
                  </a:lnTo>
                  <a:lnTo>
                    <a:pt x="1094" y="46"/>
                  </a:lnTo>
                  <a:lnTo>
                    <a:pt x="1094" y="40"/>
                  </a:lnTo>
                  <a:lnTo>
                    <a:pt x="1098" y="34"/>
                  </a:lnTo>
                  <a:lnTo>
                    <a:pt x="1102" y="30"/>
                  </a:lnTo>
                  <a:lnTo>
                    <a:pt x="1106" y="26"/>
                  </a:lnTo>
                  <a:lnTo>
                    <a:pt x="1114" y="22"/>
                  </a:lnTo>
                  <a:lnTo>
                    <a:pt x="1122" y="20"/>
                  </a:lnTo>
                  <a:lnTo>
                    <a:pt x="1144" y="20"/>
                  </a:lnTo>
                  <a:lnTo>
                    <a:pt x="1144" y="20"/>
                  </a:lnTo>
                  <a:lnTo>
                    <a:pt x="1170" y="20"/>
                  </a:lnTo>
                  <a:lnTo>
                    <a:pt x="1180" y="24"/>
                  </a:lnTo>
                  <a:lnTo>
                    <a:pt x="1190" y="26"/>
                  </a:lnTo>
                  <a:lnTo>
                    <a:pt x="1198" y="30"/>
                  </a:lnTo>
                  <a:lnTo>
                    <a:pt x="1204" y="34"/>
                  </a:lnTo>
                  <a:lnTo>
                    <a:pt x="1208" y="40"/>
                  </a:lnTo>
                  <a:lnTo>
                    <a:pt x="1208" y="46"/>
                  </a:lnTo>
                  <a:lnTo>
                    <a:pt x="1208" y="46"/>
                  </a:lnTo>
                  <a:lnTo>
                    <a:pt x="1206" y="52"/>
                  </a:lnTo>
                  <a:lnTo>
                    <a:pt x="1204" y="58"/>
                  </a:lnTo>
                  <a:lnTo>
                    <a:pt x="1198" y="62"/>
                  </a:lnTo>
                  <a:lnTo>
                    <a:pt x="1190" y="66"/>
                  </a:lnTo>
                  <a:lnTo>
                    <a:pt x="1170" y="72"/>
                  </a:lnTo>
                  <a:lnTo>
                    <a:pt x="1146" y="74"/>
                  </a:lnTo>
                  <a:lnTo>
                    <a:pt x="1146" y="74"/>
                  </a:lnTo>
                  <a:close/>
                </a:path>
              </a:pathLst>
            </a:custGeom>
            <a:solidFill>
              <a:srgbClr val="000000"/>
            </a:solidFill>
            <a:ln w="9525">
              <a:solidFill>
                <a:srgbClr val="000000"/>
              </a:solidFill>
              <a:round/>
              <a:headEnd/>
              <a:tailEnd/>
            </a:ln>
          </p:spPr>
          <p:txBody>
            <a:bodyPr/>
            <a:lstStyle/>
            <a:p>
              <a:endParaRPr lang="en-US" sz="2000" dirty="0">
                <a:solidFill>
                  <a:prstClr val="black"/>
                </a:solidFill>
                <a:latin typeface="微软雅黑" pitchFamily="34" charset="-122"/>
                <a:ea typeface="微软雅黑" pitchFamily="34" charset="-122"/>
              </a:endParaRPr>
            </a:p>
          </p:txBody>
        </p:sp>
        <p:grpSp>
          <p:nvGrpSpPr>
            <p:cNvPr id="258" name="Group 257"/>
            <p:cNvGrpSpPr/>
            <p:nvPr/>
          </p:nvGrpSpPr>
          <p:grpSpPr>
            <a:xfrm>
              <a:off x="3340173" y="3803720"/>
              <a:ext cx="1296987" cy="321945"/>
              <a:chOff x="171035" y="954157"/>
              <a:chExt cx="390949" cy="387626"/>
            </a:xfrm>
          </p:grpSpPr>
          <p:sp>
            <p:nvSpPr>
              <p:cNvPr id="260" name="Round Diagonal Corner Rectangle 259"/>
              <p:cNvSpPr/>
              <p:nvPr/>
            </p:nvSpPr>
            <p:spPr>
              <a:xfrm flipV="1">
                <a:off x="171035" y="954157"/>
                <a:ext cx="387626" cy="387626"/>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dirty="0">
                  <a:solidFill>
                    <a:prstClr val="white"/>
                  </a:solidFill>
                  <a:latin typeface="微软雅黑" pitchFamily="34" charset="-122"/>
                  <a:ea typeface="微软雅黑" pitchFamily="34" charset="-122"/>
                </a:endParaRPr>
              </a:p>
            </p:txBody>
          </p:sp>
          <p:sp>
            <p:nvSpPr>
              <p:cNvPr id="261" name="Round Diagonal Corner Rectangle 260"/>
              <p:cNvSpPr/>
              <p:nvPr/>
            </p:nvSpPr>
            <p:spPr>
              <a:xfrm>
                <a:off x="174358" y="954157"/>
                <a:ext cx="387626" cy="387626"/>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2300" dirty="0">
                    <a:solidFill>
                      <a:prstClr val="white"/>
                    </a:solidFill>
                    <a:latin typeface="微软雅黑" pitchFamily="34" charset="-122"/>
                    <a:ea typeface="微软雅黑" pitchFamily="34" charset="-122"/>
                  </a:rPr>
                  <a:t>渗出</a:t>
                </a:r>
                <a:endParaRPr lang="en-US" sz="2300" dirty="0">
                  <a:solidFill>
                    <a:prstClr val="white"/>
                  </a:solidFill>
                  <a:latin typeface="微软雅黑" pitchFamily="34" charset="-122"/>
                  <a:ea typeface="微软雅黑" pitchFamily="34" charset="-122"/>
                </a:endParaRPr>
              </a:p>
            </p:txBody>
          </p:sp>
        </p:grpSp>
      </p:grpSp>
    </p:spTree>
    <p:extLst>
      <p:ext uri="{BB962C8B-B14F-4D97-AF65-F5344CB8AC3E}">
        <p14:creationId xmlns:p14="http://schemas.microsoft.com/office/powerpoint/2010/main" val="3425383963"/>
      </p:ext>
    </p:extLst>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62"/>
                                        </p:tgtEl>
                                        <p:attrNameLst>
                                          <p:attrName>style.visibility</p:attrName>
                                        </p:attrNameLst>
                                      </p:cBhvr>
                                      <p:to>
                                        <p:strVal val="visible"/>
                                      </p:to>
                                    </p:set>
                                    <p:animEffect transition="in" filter="fade">
                                      <p:cBhvr>
                                        <p:cTn id="12" dur="500"/>
                                        <p:tgtEl>
                                          <p:spTgt spid="262"/>
                                        </p:tgtEl>
                                      </p:cBhvr>
                                    </p:animEffect>
                                  </p:childTnLst>
                                </p:cTn>
                              </p:par>
                              <p:par>
                                <p:cTn id="13" presetID="22" presetClass="entr" presetSubtype="8"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wipe(left)">
                                      <p:cBhvr>
                                        <p:cTn id="15" dur="500"/>
                                        <p:tgtEl>
                                          <p:spTgt spid="10"/>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1" fill="hold" nodeType="click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wipe(up)">
                                      <p:cBhvr>
                                        <p:cTn id="20" dur="500"/>
                                        <p:tgtEl>
                                          <p:spTgt spid="8"/>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271"/>
                                        </p:tgtEl>
                                        <p:attrNameLst>
                                          <p:attrName>style.visibility</p:attrName>
                                        </p:attrNameLst>
                                      </p:cBhvr>
                                      <p:to>
                                        <p:strVal val="visible"/>
                                      </p:to>
                                    </p:set>
                                    <p:animEffect transition="in" filter="fade">
                                      <p:cBhvr>
                                        <p:cTn id="24" dur="250"/>
                                        <p:tgtEl>
                                          <p:spTgt spid="271"/>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268"/>
                                        </p:tgtEl>
                                        <p:attrNameLst>
                                          <p:attrName>style.visibility</p:attrName>
                                        </p:attrNameLst>
                                      </p:cBhvr>
                                      <p:to>
                                        <p:strVal val="visible"/>
                                      </p:to>
                                    </p:set>
                                    <p:animEffect transition="in" filter="fade">
                                      <p:cBhvr>
                                        <p:cTn id="29" dur="500"/>
                                        <p:tgtEl>
                                          <p:spTgt spid="268"/>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2" fill="hold" nodeType="clickEffect">
                                  <p:stCondLst>
                                    <p:cond delay="0"/>
                                  </p:stCondLst>
                                  <p:childTnLst>
                                    <p:set>
                                      <p:cBhvr>
                                        <p:cTn id="33" dur="1" fill="hold">
                                          <p:stCondLst>
                                            <p:cond delay="0"/>
                                          </p:stCondLst>
                                        </p:cTn>
                                        <p:tgtEl>
                                          <p:spTgt spid="9"/>
                                        </p:tgtEl>
                                        <p:attrNameLst>
                                          <p:attrName>style.visibility</p:attrName>
                                        </p:attrNameLst>
                                      </p:cBhvr>
                                      <p:to>
                                        <p:strVal val="visible"/>
                                      </p:to>
                                    </p:set>
                                    <p:animEffect transition="in" filter="wipe(right)">
                                      <p:cBhvr>
                                        <p:cTn id="34" dur="500"/>
                                        <p:tgtEl>
                                          <p:spTgt spid="9"/>
                                        </p:tgtEl>
                                      </p:cBhvr>
                                    </p:animEffect>
                                  </p:childTnLst>
                                </p:cTn>
                              </p:par>
                            </p:childTnLst>
                          </p:cTn>
                        </p:par>
                        <p:par>
                          <p:cTn id="35" fill="hold">
                            <p:stCondLst>
                              <p:cond delay="500"/>
                            </p:stCondLst>
                            <p:childTnLst>
                              <p:par>
                                <p:cTn id="36" presetID="10" presetClass="entr" presetSubtype="0" fill="hold" nodeType="afterEffect">
                                  <p:stCondLst>
                                    <p:cond delay="0"/>
                                  </p:stCondLst>
                                  <p:childTnLst>
                                    <p:set>
                                      <p:cBhvr>
                                        <p:cTn id="37" dur="1" fill="hold">
                                          <p:stCondLst>
                                            <p:cond delay="0"/>
                                          </p:stCondLst>
                                        </p:cTn>
                                        <p:tgtEl>
                                          <p:spTgt spid="452"/>
                                        </p:tgtEl>
                                        <p:attrNameLst>
                                          <p:attrName>style.visibility</p:attrName>
                                        </p:attrNameLst>
                                      </p:cBhvr>
                                      <p:to>
                                        <p:strVal val="visible"/>
                                      </p:to>
                                    </p:set>
                                    <p:animEffect transition="in" filter="fade">
                                      <p:cBhvr>
                                        <p:cTn id="38" dur="500"/>
                                        <p:tgtEl>
                                          <p:spTgt spid="452"/>
                                        </p:tgtEl>
                                      </p:cBhvr>
                                    </p:animEffect>
                                  </p:childTnLst>
                                </p:cTn>
                              </p:par>
                              <p:par>
                                <p:cTn id="39" presetID="10" presetClass="entr" presetSubtype="0" fill="hold" nodeType="withEffect">
                                  <p:stCondLst>
                                    <p:cond delay="0"/>
                                  </p:stCondLst>
                                  <p:childTnLst>
                                    <p:set>
                                      <p:cBhvr>
                                        <p:cTn id="40" dur="1" fill="hold">
                                          <p:stCondLst>
                                            <p:cond delay="0"/>
                                          </p:stCondLst>
                                        </p:cTn>
                                        <p:tgtEl>
                                          <p:spTgt spid="432"/>
                                        </p:tgtEl>
                                        <p:attrNameLst>
                                          <p:attrName>style.visibility</p:attrName>
                                        </p:attrNameLst>
                                      </p:cBhvr>
                                      <p:to>
                                        <p:strVal val="visible"/>
                                      </p:to>
                                    </p:set>
                                    <p:animEffect transition="in" filter="fade">
                                      <p:cBhvr>
                                        <p:cTn id="41" dur="500"/>
                                        <p:tgtEl>
                                          <p:spTgt spid="4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1"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28929" y="1574326"/>
            <a:ext cx="7898313" cy="4488289"/>
          </a:xfrm>
          <a:prstGeom prst="rect">
            <a:avLst/>
          </a:prstGeom>
        </p:spPr>
      </p:pic>
      <p:grpSp>
        <p:nvGrpSpPr>
          <p:cNvPr id="6" name="Group 154"/>
          <p:cNvGrpSpPr/>
          <p:nvPr/>
        </p:nvGrpSpPr>
        <p:grpSpPr>
          <a:xfrm>
            <a:off x="2071504" y="-22487"/>
            <a:ext cx="9957985" cy="2014399"/>
            <a:chOff x="547380" y="2888086"/>
            <a:chExt cx="7020229" cy="1416375"/>
          </a:xfrm>
        </p:grpSpPr>
        <p:sp>
          <p:nvSpPr>
            <p:cNvPr id="7" name="TextBox 6"/>
            <p:cNvSpPr txBox="1"/>
            <p:nvPr/>
          </p:nvSpPr>
          <p:spPr>
            <a:xfrm>
              <a:off x="3123551" y="3618806"/>
              <a:ext cx="4444058" cy="545390"/>
            </a:xfrm>
            <a:prstGeom prst="rect">
              <a:avLst/>
            </a:prstGeom>
          </p:spPr>
          <p:txBody>
            <a:bodyPr vert="horz" wrap="square" lIns="0" tIns="91440" rIns="0" bIns="0" rtlCol="0">
              <a:noAutofit/>
            </a:bodyPr>
            <a:lstStyle>
              <a:lvl1pPr indent="0">
                <a:lnSpc>
                  <a:spcPct val="100000"/>
                </a:lnSpc>
                <a:spcBef>
                  <a:spcPts val="0"/>
                </a:spcBef>
                <a:spcAft>
                  <a:spcPts val="400"/>
                </a:spcAft>
                <a:buSzPct val="100000"/>
                <a:buFont typeface="Arial"/>
                <a:buNone/>
                <a:defRPr b="1" i="0">
                  <a:solidFill>
                    <a:schemeClr val="accent1"/>
                  </a:solidFill>
                  <a:latin typeface="HP Simplified" pitchFamily="34" charset="0"/>
                  <a:cs typeface="HP Simplified" pitchFamily="34" charset="0"/>
                </a:defRPr>
              </a:lvl1pPr>
              <a:lvl2pPr marL="0" indent="0" defTabSz="430213">
                <a:lnSpc>
                  <a:spcPct val="100000"/>
                </a:lnSpc>
                <a:spcBef>
                  <a:spcPts val="0"/>
                </a:spcBef>
                <a:spcAft>
                  <a:spcPts val="400"/>
                </a:spcAft>
                <a:buSzPct val="100000"/>
                <a:buFont typeface="Lucida Grande"/>
                <a:buNone/>
                <a:defRPr sz="1600" b="0" i="0">
                  <a:solidFill>
                    <a:srgbClr val="000000"/>
                  </a:solidFill>
                  <a:latin typeface="HP Simplified" pitchFamily="34" charset="0"/>
                  <a:cs typeface="HP Simplified" pitchFamily="34" charset="0"/>
                </a:defRPr>
              </a:lvl2pPr>
              <a:lvl3pPr marL="169863" indent="-169863">
                <a:lnSpc>
                  <a:spcPct val="100000"/>
                </a:lnSpc>
                <a:spcBef>
                  <a:spcPts val="0"/>
                </a:spcBef>
                <a:spcAft>
                  <a:spcPts val="400"/>
                </a:spcAft>
                <a:buFont typeface="Arial"/>
                <a:buChar char="•"/>
                <a:defRPr sz="1400" b="0" i="0">
                  <a:solidFill>
                    <a:srgbClr val="000000"/>
                  </a:solidFill>
                  <a:latin typeface="HP Simplified" pitchFamily="34" charset="0"/>
                  <a:cs typeface="HP Simplified" pitchFamily="34" charset="0"/>
                </a:defRPr>
              </a:lvl3pPr>
              <a:lvl4pPr marL="341313" indent="-180975">
                <a:lnSpc>
                  <a:spcPct val="100000"/>
                </a:lnSpc>
                <a:spcBef>
                  <a:spcPts val="0"/>
                </a:spcBef>
                <a:spcAft>
                  <a:spcPts val="400"/>
                </a:spcAft>
                <a:buSzPct val="80000"/>
                <a:buFont typeface="Lucida Grande"/>
                <a:buChar char="−"/>
                <a:defRPr lang="en-US" sz="1400" b="0" i="0">
                  <a:solidFill>
                    <a:srgbClr val="000000"/>
                  </a:solidFill>
                  <a:latin typeface="HP Simplified" pitchFamily="34" charset="0"/>
                  <a:cs typeface="HP Simplified" pitchFamily="34" charset="0"/>
                </a:defRPr>
              </a:lvl4pPr>
              <a:lvl5pPr marL="469900" indent="-150813">
                <a:lnSpc>
                  <a:spcPct val="100000"/>
                </a:lnSpc>
                <a:spcBef>
                  <a:spcPts val="0"/>
                </a:spcBef>
                <a:spcAft>
                  <a:spcPts val="400"/>
                </a:spcAft>
                <a:buFont typeface="Arial"/>
                <a:buChar char="•"/>
                <a:tabLst/>
                <a:defRPr sz="1400" b="0" i="0">
                  <a:solidFill>
                    <a:srgbClr val="000000"/>
                  </a:solidFill>
                  <a:latin typeface="HP Simplified" pitchFamily="34" charset="0"/>
                  <a:cs typeface="HP Simplified" pitchFamily="34" charset="0"/>
                </a:defRPr>
              </a:lvl5pPr>
              <a:lvl6pPr indent="0">
                <a:lnSpc>
                  <a:spcPts val="2500"/>
                </a:lnSpc>
                <a:spcBef>
                  <a:spcPct val="20000"/>
                </a:spcBef>
                <a:buFont typeface="Arial"/>
                <a:buNone/>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lvl="1">
                <a:spcAft>
                  <a:spcPts val="0"/>
                </a:spcAft>
              </a:pPr>
              <a:r>
                <a:rPr lang="zh-CN" altLang="en-US" sz="4000" b="1" dirty="0">
                  <a:latin typeface="微软雅黑" pitchFamily="34" charset="-122"/>
                  <a:ea typeface="微软雅黑" pitchFamily="34" charset="-122"/>
                </a:rPr>
                <a:t>平均发现破坏时间</a:t>
              </a:r>
              <a:endParaRPr lang="en-US" sz="4000" b="1" dirty="0">
                <a:latin typeface="微软雅黑" pitchFamily="34" charset="-122"/>
                <a:ea typeface="微软雅黑" pitchFamily="34" charset="-122"/>
              </a:endParaRPr>
            </a:p>
          </p:txBody>
        </p:sp>
        <p:sp>
          <p:nvSpPr>
            <p:cNvPr id="8" name="Content Placeholder 26"/>
            <p:cNvSpPr txBox="1">
              <a:spLocks/>
            </p:cNvSpPr>
            <p:nvPr/>
          </p:nvSpPr>
          <p:spPr bwMode="black">
            <a:xfrm>
              <a:off x="547380" y="2888086"/>
              <a:ext cx="3613866" cy="914400"/>
            </a:xfrm>
            <a:prstGeom prst="rect">
              <a:avLst/>
            </a:prstGeom>
          </p:spPr>
          <p:txBody>
            <a:bodyPr vert="horz" wrap="square" lIns="0" tIns="91440" rIns="0" bIns="0" rtlCol="0" anchor="ctr">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Arial"/>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Lucida Grande"/>
                <a:buChar char="−"/>
                <a:defRPr lang="en-US" sz="1400" b="0" i="0" kern="120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Arial"/>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50000"/>
                </a:lnSpc>
                <a:spcAft>
                  <a:spcPts val="0"/>
                </a:spcAft>
              </a:pPr>
              <a:r>
                <a:rPr lang="en-US" sz="13600" dirty="0">
                  <a:latin typeface="微软雅黑" pitchFamily="34" charset="-122"/>
                  <a:ea typeface="微软雅黑" pitchFamily="34" charset="-122"/>
                </a:rPr>
                <a:t>243</a:t>
              </a:r>
              <a:endParaRPr lang="en-US" sz="13600" baseline="70000" dirty="0">
                <a:latin typeface="微软雅黑" pitchFamily="34" charset="-122"/>
                <a:ea typeface="微软雅黑" pitchFamily="34" charset="-122"/>
              </a:endParaRPr>
            </a:p>
          </p:txBody>
        </p:sp>
        <p:sp>
          <p:nvSpPr>
            <p:cNvPr id="9" name="TextBox 8"/>
            <p:cNvSpPr txBox="1"/>
            <p:nvPr/>
          </p:nvSpPr>
          <p:spPr>
            <a:xfrm>
              <a:off x="2847852" y="3319816"/>
              <a:ext cx="1313395" cy="984645"/>
            </a:xfrm>
            <a:prstGeom prst="rect">
              <a:avLst/>
            </a:prstGeom>
            <a:noFill/>
          </p:spPr>
          <p:txBody>
            <a:bodyPr wrap="none" rtlCol="0">
              <a:spAutoFit/>
            </a:bodyPr>
            <a:lstStyle/>
            <a:p>
              <a:pPr lvl="0">
                <a:lnSpc>
                  <a:spcPct val="150000"/>
                </a:lnSpc>
              </a:pPr>
              <a:r>
                <a:rPr lang="en-US" sz="8500" baseline="70000" dirty="0">
                  <a:solidFill>
                    <a:schemeClr val="accent1"/>
                  </a:solidFill>
                  <a:latin typeface="微软雅黑" pitchFamily="34" charset="-122"/>
                  <a:ea typeface="微软雅黑" pitchFamily="34" charset="-122"/>
                </a:rPr>
                <a:t>days</a:t>
              </a:r>
              <a:endParaRPr lang="en-US" sz="13600" baseline="70000" dirty="0">
                <a:solidFill>
                  <a:schemeClr val="accent1"/>
                </a:solidFill>
                <a:latin typeface="微软雅黑" pitchFamily="34" charset="-122"/>
                <a:ea typeface="微软雅黑" pitchFamily="34" charset="-122"/>
              </a:endParaRPr>
            </a:p>
          </p:txBody>
        </p:sp>
      </p:grpSp>
      <p:sp>
        <p:nvSpPr>
          <p:cNvPr id="10" name="Content Placeholder 26"/>
          <p:cNvSpPr txBox="1">
            <a:spLocks/>
          </p:cNvSpPr>
          <p:nvPr/>
        </p:nvSpPr>
        <p:spPr bwMode="black">
          <a:xfrm>
            <a:off x="602189" y="1404592"/>
            <a:ext cx="12048142" cy="780288"/>
          </a:xfrm>
          <a:prstGeom prst="rect">
            <a:avLst/>
          </a:prstGeom>
          <a:noFill/>
        </p:spPr>
        <p:txBody>
          <a:bodyPr vert="horz" wrap="square" lIns="129909" tIns="129909" rIns="129909" bIns="0" rtlCol="0" anchor="ctr">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Arial"/>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Lucida Grande"/>
              <a:buChar char="−"/>
              <a:defRPr lang="en-US" sz="1400" b="0" i="0" kern="120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Arial"/>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50000"/>
              </a:lnSpc>
              <a:spcAft>
                <a:spcPts val="0"/>
              </a:spcAft>
            </a:pPr>
            <a:r>
              <a:rPr lang="en-US" sz="2300" spc="28" dirty="0">
                <a:solidFill>
                  <a:srgbClr val="000000"/>
                </a:solidFill>
                <a:latin typeface="微软雅黑" pitchFamily="34" charset="-122"/>
                <a:ea typeface="微软雅黑" pitchFamily="34" charset="-122"/>
              </a:rPr>
              <a:t>2013</a:t>
            </a:r>
            <a:r>
              <a:rPr lang="en-US" sz="2000" b="0" spc="28" dirty="0">
                <a:solidFill>
                  <a:schemeClr val="accent4">
                    <a:lumMod val="50000"/>
                  </a:schemeClr>
                </a:solidFill>
                <a:latin typeface="微软雅黑" pitchFamily="34" charset="-122"/>
                <a:ea typeface="微软雅黑" pitchFamily="34" charset="-122"/>
              </a:rPr>
              <a:t> </a:t>
            </a:r>
            <a:r>
              <a:rPr lang="en-US" sz="1500" b="0" spc="28" dirty="0">
                <a:solidFill>
                  <a:schemeClr val="accent4">
                    <a:lumMod val="50000"/>
                  </a:schemeClr>
                </a:solidFill>
                <a:latin typeface="微软雅黑" pitchFamily="34" charset="-122"/>
                <a:ea typeface="微软雅黑" pitchFamily="34" charset="-122"/>
              </a:rPr>
              <a:t>January February March April May June July August September October</a:t>
            </a:r>
          </a:p>
        </p:txBody>
      </p:sp>
      <p:grpSp>
        <p:nvGrpSpPr>
          <p:cNvPr id="12" name="Group 54"/>
          <p:cNvGrpSpPr/>
          <p:nvPr/>
        </p:nvGrpSpPr>
        <p:grpSpPr>
          <a:xfrm>
            <a:off x="7503058" y="2510149"/>
            <a:ext cx="5647811" cy="2892132"/>
            <a:chOff x="4923635" y="1814467"/>
            <a:chExt cx="3977429" cy="2033530"/>
          </a:xfrm>
        </p:grpSpPr>
        <p:pic>
          <p:nvPicPr>
            <p:cNvPr id="13" name="Picture 12"/>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923635" y="1814467"/>
              <a:ext cx="3977429" cy="2033530"/>
            </a:xfrm>
            <a:prstGeom prst="rect">
              <a:avLst/>
            </a:prstGeom>
          </p:spPr>
        </p:pic>
        <p:sp>
          <p:nvSpPr>
            <p:cNvPr id="14" name="Rectangle 13"/>
            <p:cNvSpPr/>
            <p:nvPr/>
          </p:nvSpPr>
          <p:spPr>
            <a:xfrm>
              <a:off x="5482073" y="2591048"/>
              <a:ext cx="519864" cy="5987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微软雅黑" pitchFamily="34" charset="-122"/>
                <a:ea typeface="微软雅黑" pitchFamily="34" charset="-122"/>
              </a:endParaRPr>
            </a:p>
          </p:txBody>
        </p:sp>
      </p:grpSp>
      <p:grpSp>
        <p:nvGrpSpPr>
          <p:cNvPr id="15" name="Group 134"/>
          <p:cNvGrpSpPr/>
          <p:nvPr/>
        </p:nvGrpSpPr>
        <p:grpSpPr>
          <a:xfrm>
            <a:off x="4783235" y="4864600"/>
            <a:ext cx="7541829" cy="835439"/>
            <a:chOff x="393235" y="2975187"/>
            <a:chExt cx="8318868" cy="920052"/>
          </a:xfrm>
        </p:grpSpPr>
        <p:grpSp>
          <p:nvGrpSpPr>
            <p:cNvPr id="16" name="Group 135"/>
            <p:cNvGrpSpPr/>
            <p:nvPr/>
          </p:nvGrpSpPr>
          <p:grpSpPr>
            <a:xfrm>
              <a:off x="393235" y="2975187"/>
              <a:ext cx="8318868" cy="920052"/>
              <a:chOff x="393235" y="2975187"/>
              <a:chExt cx="8318868" cy="920052"/>
            </a:xfrm>
          </p:grpSpPr>
          <p:pic>
            <p:nvPicPr>
              <p:cNvPr id="18" name="Picture 17"/>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674770" y="2976351"/>
                <a:ext cx="367110" cy="918888"/>
              </a:xfrm>
              <a:prstGeom prst="rect">
                <a:avLst/>
              </a:prstGeom>
            </p:spPr>
          </p:pic>
          <p:grpSp>
            <p:nvGrpSpPr>
              <p:cNvPr id="19" name="Group 138"/>
              <p:cNvGrpSpPr/>
              <p:nvPr/>
            </p:nvGrpSpPr>
            <p:grpSpPr>
              <a:xfrm>
                <a:off x="393235" y="2975187"/>
                <a:ext cx="8318868" cy="920052"/>
                <a:chOff x="482135" y="4226137"/>
                <a:chExt cx="8318868" cy="920052"/>
              </a:xfrm>
            </p:grpSpPr>
            <p:grpSp>
              <p:nvGrpSpPr>
                <p:cNvPr id="20" name="Group 139"/>
                <p:cNvGrpSpPr/>
                <p:nvPr/>
              </p:nvGrpSpPr>
              <p:grpSpPr>
                <a:xfrm>
                  <a:off x="482135" y="4229619"/>
                  <a:ext cx="806450" cy="915509"/>
                  <a:chOff x="-610870" y="3242651"/>
                  <a:chExt cx="806450" cy="915509"/>
                </a:xfrm>
              </p:grpSpPr>
              <p:pic>
                <p:nvPicPr>
                  <p:cNvPr id="44" name="Picture 43"/>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10870" y="3249001"/>
                    <a:ext cx="411444" cy="909159"/>
                  </a:xfrm>
                  <a:prstGeom prst="rect">
                    <a:avLst/>
                  </a:prstGeom>
                </p:spPr>
              </p:pic>
              <p:pic>
                <p:nvPicPr>
                  <p:cNvPr id="45" name="Picture 44"/>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70180" y="3242651"/>
                    <a:ext cx="365760" cy="915508"/>
                  </a:xfrm>
                  <a:prstGeom prst="rect">
                    <a:avLst/>
                  </a:prstGeom>
                </p:spPr>
              </p:pic>
            </p:grpSp>
            <p:grpSp>
              <p:nvGrpSpPr>
                <p:cNvPr id="21" name="Group 140"/>
                <p:cNvGrpSpPr/>
                <p:nvPr/>
              </p:nvGrpSpPr>
              <p:grpSpPr>
                <a:xfrm>
                  <a:off x="1316008" y="4229619"/>
                  <a:ext cx="806450" cy="915509"/>
                  <a:chOff x="-610870" y="3242651"/>
                  <a:chExt cx="806450" cy="915509"/>
                </a:xfrm>
              </p:grpSpPr>
              <p:pic>
                <p:nvPicPr>
                  <p:cNvPr id="42" name="Picture 41"/>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10870" y="3249001"/>
                    <a:ext cx="411444" cy="909159"/>
                  </a:xfrm>
                  <a:prstGeom prst="rect">
                    <a:avLst/>
                  </a:prstGeom>
                </p:spPr>
              </p:pic>
              <p:pic>
                <p:nvPicPr>
                  <p:cNvPr id="43" name="Picture 42"/>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70180" y="3242651"/>
                    <a:ext cx="365760" cy="915508"/>
                  </a:xfrm>
                  <a:prstGeom prst="rect">
                    <a:avLst/>
                  </a:prstGeom>
                </p:spPr>
              </p:pic>
            </p:grpSp>
            <p:pic>
              <p:nvPicPr>
                <p:cNvPr id="22" name="Picture 21"/>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585841" y="4227990"/>
                  <a:ext cx="365760" cy="915508"/>
                </a:xfrm>
                <a:prstGeom prst="rect">
                  <a:avLst/>
                </a:prstGeom>
              </p:spPr>
            </p:pic>
            <p:grpSp>
              <p:nvGrpSpPr>
                <p:cNvPr id="23" name="Group 142"/>
                <p:cNvGrpSpPr/>
                <p:nvPr/>
              </p:nvGrpSpPr>
              <p:grpSpPr>
                <a:xfrm>
                  <a:off x="2973664" y="4227989"/>
                  <a:ext cx="806450" cy="915509"/>
                  <a:chOff x="-610870" y="3242651"/>
                  <a:chExt cx="806450" cy="915509"/>
                </a:xfrm>
              </p:grpSpPr>
              <p:pic>
                <p:nvPicPr>
                  <p:cNvPr id="40" name="Picture 39"/>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10870" y="3249001"/>
                    <a:ext cx="411444" cy="909159"/>
                  </a:xfrm>
                  <a:prstGeom prst="rect">
                    <a:avLst/>
                  </a:prstGeom>
                </p:spPr>
              </p:pic>
              <p:pic>
                <p:nvPicPr>
                  <p:cNvPr id="41" name="Picture 40"/>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70180" y="3242651"/>
                    <a:ext cx="365760" cy="915508"/>
                  </a:xfrm>
                  <a:prstGeom prst="rect">
                    <a:avLst/>
                  </a:prstGeom>
                </p:spPr>
              </p:pic>
            </p:grpSp>
            <p:grpSp>
              <p:nvGrpSpPr>
                <p:cNvPr id="24" name="Group 143"/>
                <p:cNvGrpSpPr/>
                <p:nvPr/>
              </p:nvGrpSpPr>
              <p:grpSpPr>
                <a:xfrm>
                  <a:off x="3809442" y="4229619"/>
                  <a:ext cx="806450" cy="915509"/>
                  <a:chOff x="-610870" y="3242651"/>
                  <a:chExt cx="806450" cy="915509"/>
                </a:xfrm>
              </p:grpSpPr>
              <p:pic>
                <p:nvPicPr>
                  <p:cNvPr id="38" name="Picture 37"/>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10870" y="3249001"/>
                    <a:ext cx="411444" cy="909159"/>
                  </a:xfrm>
                  <a:prstGeom prst="rect">
                    <a:avLst/>
                  </a:prstGeom>
                </p:spPr>
              </p:pic>
              <p:pic>
                <p:nvPicPr>
                  <p:cNvPr id="39" name="Picture 38"/>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70180" y="3242651"/>
                    <a:ext cx="365760" cy="915508"/>
                  </a:xfrm>
                  <a:prstGeom prst="rect">
                    <a:avLst/>
                  </a:prstGeom>
                </p:spPr>
              </p:pic>
            </p:grpSp>
            <p:grpSp>
              <p:nvGrpSpPr>
                <p:cNvPr id="25" name="Group 144"/>
                <p:cNvGrpSpPr/>
                <p:nvPr/>
              </p:nvGrpSpPr>
              <p:grpSpPr>
                <a:xfrm>
                  <a:off x="4645836" y="4230680"/>
                  <a:ext cx="806450" cy="915509"/>
                  <a:chOff x="-610870" y="3242651"/>
                  <a:chExt cx="806450" cy="915509"/>
                </a:xfrm>
              </p:grpSpPr>
              <p:pic>
                <p:nvPicPr>
                  <p:cNvPr id="36" name="Picture 35"/>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10870" y="3249001"/>
                    <a:ext cx="411444" cy="909159"/>
                  </a:xfrm>
                  <a:prstGeom prst="rect">
                    <a:avLst/>
                  </a:prstGeom>
                </p:spPr>
              </p:pic>
              <p:pic>
                <p:nvPicPr>
                  <p:cNvPr id="37" name="Picture 3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70180" y="3242651"/>
                    <a:ext cx="365760" cy="915508"/>
                  </a:xfrm>
                  <a:prstGeom prst="rect">
                    <a:avLst/>
                  </a:prstGeom>
                </p:spPr>
              </p:pic>
            </p:grpSp>
            <p:grpSp>
              <p:nvGrpSpPr>
                <p:cNvPr id="26" name="Group 145"/>
                <p:cNvGrpSpPr/>
                <p:nvPr/>
              </p:nvGrpSpPr>
              <p:grpSpPr>
                <a:xfrm>
                  <a:off x="5484036" y="4226138"/>
                  <a:ext cx="806450" cy="915509"/>
                  <a:chOff x="-610870" y="3242651"/>
                  <a:chExt cx="806450" cy="915509"/>
                </a:xfrm>
              </p:grpSpPr>
              <p:pic>
                <p:nvPicPr>
                  <p:cNvPr id="34" name="Picture 33"/>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10870" y="3249001"/>
                    <a:ext cx="411444" cy="909159"/>
                  </a:xfrm>
                  <a:prstGeom prst="rect">
                    <a:avLst/>
                  </a:prstGeom>
                </p:spPr>
              </p:pic>
              <p:pic>
                <p:nvPicPr>
                  <p:cNvPr id="35" name="Picture 34"/>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70180" y="3242651"/>
                    <a:ext cx="365760" cy="915508"/>
                  </a:xfrm>
                  <a:prstGeom prst="rect">
                    <a:avLst/>
                  </a:prstGeom>
                </p:spPr>
              </p:pic>
            </p:grpSp>
            <p:pic>
              <p:nvPicPr>
                <p:cNvPr id="27" name="Picture 26"/>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319804" y="4235969"/>
                  <a:ext cx="411444" cy="909159"/>
                </a:xfrm>
                <a:prstGeom prst="rect">
                  <a:avLst/>
                </a:prstGeom>
              </p:spPr>
            </p:pic>
            <p:grpSp>
              <p:nvGrpSpPr>
                <p:cNvPr id="28" name="Group 147"/>
                <p:cNvGrpSpPr/>
                <p:nvPr/>
              </p:nvGrpSpPr>
              <p:grpSpPr>
                <a:xfrm>
                  <a:off x="7160680" y="4226137"/>
                  <a:ext cx="806450" cy="915509"/>
                  <a:chOff x="-610870" y="3242651"/>
                  <a:chExt cx="806450" cy="915509"/>
                </a:xfrm>
              </p:grpSpPr>
              <p:pic>
                <p:nvPicPr>
                  <p:cNvPr id="32" name="Picture 31"/>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10870" y="3249001"/>
                    <a:ext cx="411444" cy="909159"/>
                  </a:xfrm>
                  <a:prstGeom prst="rect">
                    <a:avLst/>
                  </a:prstGeom>
                </p:spPr>
              </p:pic>
              <p:pic>
                <p:nvPicPr>
                  <p:cNvPr id="33" name="Picture 32"/>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70180" y="3242651"/>
                    <a:ext cx="365760" cy="915508"/>
                  </a:xfrm>
                  <a:prstGeom prst="rect">
                    <a:avLst/>
                  </a:prstGeom>
                </p:spPr>
              </p:pic>
            </p:grpSp>
            <p:grpSp>
              <p:nvGrpSpPr>
                <p:cNvPr id="29" name="Group 149"/>
                <p:cNvGrpSpPr/>
                <p:nvPr/>
              </p:nvGrpSpPr>
              <p:grpSpPr>
                <a:xfrm>
                  <a:off x="7994553" y="4226137"/>
                  <a:ext cx="806450" cy="915509"/>
                  <a:chOff x="-610870" y="3242651"/>
                  <a:chExt cx="806450" cy="915509"/>
                </a:xfrm>
              </p:grpSpPr>
              <p:pic>
                <p:nvPicPr>
                  <p:cNvPr id="30" name="Picture 29"/>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10870" y="3249001"/>
                    <a:ext cx="411444" cy="909159"/>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70180" y="3242651"/>
                    <a:ext cx="365760" cy="915508"/>
                  </a:xfrm>
                  <a:prstGeom prst="rect">
                    <a:avLst/>
                  </a:prstGeom>
                </p:spPr>
              </p:pic>
            </p:grpSp>
          </p:grpSp>
        </p:grpSp>
        <p:pic>
          <p:nvPicPr>
            <p:cNvPr id="17" name="Picture 16"/>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056251" y="2983390"/>
              <a:ext cx="411444" cy="909160"/>
            </a:xfrm>
            <a:prstGeom prst="rect">
              <a:avLst/>
            </a:prstGeom>
          </p:spPr>
        </p:pic>
      </p:grpSp>
      <p:pic>
        <p:nvPicPr>
          <p:cNvPr id="46" name="Picture 45"/>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19750" y="4053056"/>
            <a:ext cx="5074419" cy="2733562"/>
          </a:xfrm>
          <a:prstGeom prst="rect">
            <a:avLst/>
          </a:prstGeom>
        </p:spPr>
      </p:pic>
      <p:pic>
        <p:nvPicPr>
          <p:cNvPr id="47" name="Picture 46"/>
          <p:cNvPicPr>
            <a:picLocks noChangeAspect="1"/>
          </p:cNvPicPr>
          <p:nvPr/>
        </p:nvPicPr>
        <p:blipFill>
          <a:blip r:embed="rId8" cstate="print">
            <a:grayscl/>
            <a:extLst>
              <a:ext uri="{28A0092B-C50C-407E-A947-70E740481C1C}">
                <a14:useLocalDpi xmlns:a14="http://schemas.microsoft.com/office/drawing/2010/main"/>
              </a:ext>
            </a:extLst>
          </a:blip>
          <a:stretch>
            <a:fillRect/>
          </a:stretch>
        </p:blipFill>
        <p:spPr>
          <a:xfrm>
            <a:off x="707921" y="238459"/>
            <a:ext cx="1197499" cy="1251550"/>
          </a:xfrm>
          <a:prstGeom prst="rect">
            <a:avLst/>
          </a:prstGeom>
        </p:spPr>
      </p:pic>
      <p:cxnSp>
        <p:nvCxnSpPr>
          <p:cNvPr id="48" name="Straight Connector 47"/>
          <p:cNvCxnSpPr/>
          <p:nvPr/>
        </p:nvCxnSpPr>
        <p:spPr>
          <a:xfrm>
            <a:off x="707921" y="2305860"/>
            <a:ext cx="11451345" cy="0"/>
          </a:xfrm>
          <a:prstGeom prst="line">
            <a:avLst/>
          </a:prstGeom>
          <a:ln w="28575" cap="rnd" cmpd="sng">
            <a:solidFill>
              <a:schemeClr val="accent4">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cxnSp>
        <p:nvCxnSpPr>
          <p:cNvPr id="49" name="Straight Connector 48"/>
          <p:cNvCxnSpPr/>
          <p:nvPr/>
        </p:nvCxnSpPr>
        <p:spPr>
          <a:xfrm>
            <a:off x="738075" y="4496377"/>
            <a:ext cx="11451345" cy="0"/>
          </a:xfrm>
          <a:prstGeom prst="line">
            <a:avLst/>
          </a:prstGeom>
          <a:ln w="28575" cap="rnd" cmpd="sng">
            <a:solidFill>
              <a:schemeClr val="accent4">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cxnSp>
        <p:nvCxnSpPr>
          <p:cNvPr id="50" name="Straight Connector 49"/>
          <p:cNvCxnSpPr/>
          <p:nvPr/>
        </p:nvCxnSpPr>
        <p:spPr>
          <a:xfrm>
            <a:off x="7228542" y="2510150"/>
            <a:ext cx="0" cy="1774497"/>
          </a:xfrm>
          <a:prstGeom prst="line">
            <a:avLst/>
          </a:prstGeom>
          <a:ln w="28575" cap="rnd" cmpd="sng">
            <a:solidFill>
              <a:schemeClr val="accent4">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51" name="TextBox 50"/>
          <p:cNvSpPr txBox="1"/>
          <p:nvPr/>
        </p:nvSpPr>
        <p:spPr>
          <a:xfrm>
            <a:off x="3953280" y="2864121"/>
            <a:ext cx="2966509" cy="1355571"/>
          </a:xfrm>
          <a:prstGeom prst="rect">
            <a:avLst/>
          </a:prstGeom>
          <a:solidFill>
            <a:schemeClr val="bg1"/>
          </a:solidFill>
        </p:spPr>
        <p:txBody>
          <a:bodyPr wrap="square" lIns="129909" tIns="64954" rIns="129909" bIns="64954" rtlCol="0">
            <a:spAutoFit/>
          </a:bodyPr>
          <a:lstStyle/>
          <a:p>
            <a:pPr defTabSz="611204">
              <a:spcAft>
                <a:spcPts val="568"/>
              </a:spcAft>
              <a:buSzPct val="100000"/>
            </a:pPr>
            <a:r>
              <a:rPr lang="zh-CN" altLang="en-US" sz="4000" dirty="0">
                <a:solidFill>
                  <a:srgbClr val="000000"/>
                </a:solidFill>
                <a:latin typeface="微软雅黑" pitchFamily="34" charset="-122"/>
                <a:ea typeface="微软雅黑" pitchFamily="34" charset="-122"/>
                <a:cs typeface="HP Simplified" pitchFamily="34" charset="0"/>
              </a:rPr>
              <a:t>破坏发生在应用层</a:t>
            </a:r>
            <a:endParaRPr lang="en-US" sz="4000" dirty="0">
              <a:solidFill>
                <a:srgbClr val="000000"/>
              </a:solidFill>
              <a:latin typeface="微软雅黑" pitchFamily="34" charset="-122"/>
              <a:ea typeface="微软雅黑" pitchFamily="34" charset="-122"/>
              <a:cs typeface="HP Simplified" pitchFamily="34" charset="0"/>
            </a:endParaRPr>
          </a:p>
        </p:txBody>
      </p:sp>
      <p:sp>
        <p:nvSpPr>
          <p:cNvPr id="52" name="TextBox 51"/>
          <p:cNvSpPr txBox="1"/>
          <p:nvPr/>
        </p:nvSpPr>
        <p:spPr>
          <a:xfrm>
            <a:off x="7282290" y="2618139"/>
            <a:ext cx="5201915" cy="408176"/>
          </a:xfrm>
          <a:prstGeom prst="rect">
            <a:avLst/>
          </a:prstGeom>
          <a:solidFill>
            <a:schemeClr val="bg1"/>
          </a:solidFill>
        </p:spPr>
        <p:txBody>
          <a:bodyPr wrap="square" lIns="129909" tIns="64954" rIns="129909" bIns="64954" rtlCol="0">
            <a:spAutoFit/>
          </a:bodyPr>
          <a:lstStyle/>
          <a:p>
            <a:pPr defTabSz="611204">
              <a:spcAft>
                <a:spcPts val="568"/>
              </a:spcAft>
              <a:buSzPct val="100000"/>
            </a:pPr>
            <a:r>
              <a:rPr lang="zh-CN" altLang="en-US" sz="1800" dirty="0">
                <a:solidFill>
                  <a:srgbClr val="000000"/>
                </a:solidFill>
                <a:latin typeface="微软雅黑" pitchFamily="34" charset="-122"/>
                <a:ea typeface="微软雅黑" pitchFamily="34" charset="-122"/>
                <a:cs typeface="HP Simplified" pitchFamily="34" charset="0"/>
              </a:rPr>
              <a:t>自从</a:t>
            </a:r>
            <a:r>
              <a:rPr lang="en-US" altLang="zh-CN" sz="1800" dirty="0">
                <a:solidFill>
                  <a:srgbClr val="000000"/>
                </a:solidFill>
                <a:latin typeface="微软雅黑" pitchFamily="34" charset="-122"/>
                <a:ea typeface="微软雅黑" pitchFamily="34" charset="-122"/>
                <a:cs typeface="HP Simplified" pitchFamily="34" charset="0"/>
              </a:rPr>
              <a:t>2010</a:t>
            </a:r>
            <a:r>
              <a:rPr lang="zh-CN" altLang="en-US" sz="1800" dirty="0">
                <a:solidFill>
                  <a:srgbClr val="000000"/>
                </a:solidFill>
                <a:latin typeface="微软雅黑" pitchFamily="34" charset="-122"/>
                <a:ea typeface="微软雅黑" pitchFamily="34" charset="-122"/>
                <a:cs typeface="HP Simplified" pitchFamily="34" charset="0"/>
              </a:rPr>
              <a:t>年，花费在解决破坏的时间上涨了</a:t>
            </a:r>
            <a:endParaRPr lang="en-US" sz="1800" dirty="0">
              <a:solidFill>
                <a:srgbClr val="000000"/>
              </a:solidFill>
              <a:latin typeface="微软雅黑" pitchFamily="34" charset="-122"/>
              <a:ea typeface="微软雅黑" pitchFamily="34" charset="-122"/>
              <a:cs typeface="HP Simplified" pitchFamily="34" charset="0"/>
            </a:endParaRPr>
          </a:p>
        </p:txBody>
      </p:sp>
      <p:sp>
        <p:nvSpPr>
          <p:cNvPr id="53" name="TextBox 52"/>
          <p:cNvSpPr txBox="1"/>
          <p:nvPr/>
        </p:nvSpPr>
        <p:spPr>
          <a:xfrm>
            <a:off x="2673342" y="4718038"/>
            <a:ext cx="2070571" cy="1254817"/>
          </a:xfrm>
          <a:prstGeom prst="rect">
            <a:avLst/>
          </a:prstGeom>
          <a:solidFill>
            <a:schemeClr val="bg1"/>
          </a:solidFill>
        </p:spPr>
        <p:txBody>
          <a:bodyPr wrap="square" lIns="129909" tIns="64954" rIns="129909" bIns="64954" rtlCol="0">
            <a:spAutoFit/>
          </a:bodyPr>
          <a:lstStyle/>
          <a:p>
            <a:pPr defTabSz="611204">
              <a:spcAft>
                <a:spcPts val="568"/>
              </a:spcAft>
              <a:buSzPct val="100000"/>
            </a:pPr>
            <a:r>
              <a:rPr lang="zh-CN" altLang="en-US" sz="3400" dirty="0">
                <a:solidFill>
                  <a:srgbClr val="000000"/>
                </a:solidFill>
                <a:latin typeface="微软雅黑" pitchFamily="34" charset="-122"/>
                <a:ea typeface="微软雅黑" pitchFamily="34" charset="-122"/>
                <a:cs typeface="HP Simplified" pitchFamily="34" charset="0"/>
              </a:rPr>
              <a:t>破坏被第</a:t>
            </a:r>
            <a:endParaRPr lang="en-US" altLang="zh-CN" sz="3400" dirty="0">
              <a:solidFill>
                <a:srgbClr val="000000"/>
              </a:solidFill>
              <a:latin typeface="微软雅黑" pitchFamily="34" charset="-122"/>
              <a:ea typeface="微软雅黑" pitchFamily="34" charset="-122"/>
              <a:cs typeface="HP Simplified" pitchFamily="34" charset="0"/>
            </a:endParaRPr>
          </a:p>
          <a:p>
            <a:pPr defTabSz="611204">
              <a:spcAft>
                <a:spcPts val="568"/>
              </a:spcAft>
              <a:buSzPct val="100000"/>
            </a:pPr>
            <a:r>
              <a:rPr lang="zh-CN" altLang="en-US" sz="3400" dirty="0">
                <a:solidFill>
                  <a:srgbClr val="000000"/>
                </a:solidFill>
                <a:latin typeface="微软雅黑" pitchFamily="34" charset="-122"/>
                <a:ea typeface="微软雅黑" pitchFamily="34" charset="-122"/>
                <a:cs typeface="HP Simplified" pitchFamily="34" charset="0"/>
              </a:rPr>
              <a:t>三方披露</a:t>
            </a:r>
            <a:endParaRPr lang="en-US" sz="3400" dirty="0">
              <a:solidFill>
                <a:srgbClr val="000000"/>
              </a:solidFill>
              <a:latin typeface="微软雅黑" pitchFamily="34" charset="-122"/>
              <a:ea typeface="微软雅黑" pitchFamily="34" charset="-122"/>
              <a:cs typeface="HP Simplified" pitchFamily="34" charset="0"/>
            </a:endParaRPr>
          </a:p>
        </p:txBody>
      </p:sp>
    </p:spTree>
    <p:extLst>
      <p:ext uri="{BB962C8B-B14F-4D97-AF65-F5344CB8AC3E}">
        <p14:creationId xmlns:p14="http://schemas.microsoft.com/office/powerpoint/2010/main" val="124018885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p:cNvSpPr txBox="1">
            <a:spLocks/>
          </p:cNvSpPr>
          <p:nvPr/>
        </p:nvSpPr>
        <p:spPr bwMode="black">
          <a:xfrm>
            <a:off x="445555" y="287338"/>
            <a:ext cx="11503025"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5992" tIns="57996" rIns="115992" bIns="57996" numCol="1" anchor="t" anchorCtr="0" compatLnSpc="1">
            <a:prstTxWarp prst="textNoShape">
              <a:avLst/>
            </a:prstTxWarp>
            <a:noAutofit/>
          </a:bodyPr>
          <a:lstStyle>
            <a:lvl1pPr algn="l" defTabSz="1160463" rtl="0" eaLnBrk="1" fontAlgn="base" hangingPunct="1">
              <a:lnSpc>
                <a:spcPct val="90000"/>
              </a:lnSpc>
              <a:spcBef>
                <a:spcPct val="0"/>
              </a:spcBef>
              <a:spcAft>
                <a:spcPct val="0"/>
              </a:spcAft>
              <a:defRPr kumimoji="1" sz="4100" b="1" i="0">
                <a:solidFill>
                  <a:srgbClr val="000000"/>
                </a:solidFill>
                <a:latin typeface="HP Simplified" pitchFamily="34" charset="0"/>
                <a:ea typeface="宋体" charset="0"/>
                <a:cs typeface="HP Simplified" pitchFamily="34" charset="0"/>
              </a:defRPr>
            </a:lvl1pPr>
            <a:lvl2pPr algn="l" defTabSz="1160463" rtl="0" eaLnBrk="1" fontAlgn="base" hangingPunct="1">
              <a:lnSpc>
                <a:spcPct val="90000"/>
              </a:lnSpc>
              <a:spcBef>
                <a:spcPct val="0"/>
              </a:spcBef>
              <a:spcAft>
                <a:spcPct val="0"/>
              </a:spcAft>
              <a:defRPr kumimoji="1" sz="4100">
                <a:solidFill>
                  <a:schemeClr val="tx2"/>
                </a:solidFill>
                <a:latin typeface="Arial" charset="0"/>
                <a:ea typeface="宋体" charset="0"/>
                <a:cs typeface="Arial" charset="0"/>
              </a:defRPr>
            </a:lvl2pPr>
            <a:lvl3pPr algn="l" defTabSz="1160463" rtl="0" eaLnBrk="1" fontAlgn="base" hangingPunct="1">
              <a:lnSpc>
                <a:spcPct val="90000"/>
              </a:lnSpc>
              <a:spcBef>
                <a:spcPct val="0"/>
              </a:spcBef>
              <a:spcAft>
                <a:spcPct val="0"/>
              </a:spcAft>
              <a:defRPr kumimoji="1" sz="4100">
                <a:solidFill>
                  <a:schemeClr val="tx2"/>
                </a:solidFill>
                <a:latin typeface="Arial" charset="0"/>
                <a:ea typeface="宋体" charset="0"/>
                <a:cs typeface="Arial" charset="0"/>
              </a:defRPr>
            </a:lvl3pPr>
            <a:lvl4pPr algn="l" defTabSz="1160463" rtl="0" eaLnBrk="1" fontAlgn="base" hangingPunct="1">
              <a:lnSpc>
                <a:spcPct val="90000"/>
              </a:lnSpc>
              <a:spcBef>
                <a:spcPct val="0"/>
              </a:spcBef>
              <a:spcAft>
                <a:spcPct val="0"/>
              </a:spcAft>
              <a:defRPr kumimoji="1" sz="4100">
                <a:solidFill>
                  <a:schemeClr val="tx2"/>
                </a:solidFill>
                <a:latin typeface="Arial" charset="0"/>
                <a:ea typeface="宋体" charset="0"/>
                <a:cs typeface="Arial" charset="0"/>
              </a:defRPr>
            </a:lvl4pPr>
            <a:lvl5pPr algn="l" defTabSz="1160463" rtl="0" eaLnBrk="1" fontAlgn="base" hangingPunct="1">
              <a:lnSpc>
                <a:spcPct val="90000"/>
              </a:lnSpc>
              <a:spcBef>
                <a:spcPct val="0"/>
              </a:spcBef>
              <a:spcAft>
                <a:spcPct val="0"/>
              </a:spcAft>
              <a:defRPr kumimoji="1" sz="4100">
                <a:solidFill>
                  <a:schemeClr val="tx2"/>
                </a:solidFill>
                <a:latin typeface="Arial" charset="0"/>
                <a:ea typeface="宋体" charset="0"/>
                <a:cs typeface="Arial" charset="0"/>
              </a:defRPr>
            </a:lvl5pPr>
            <a:lvl6pPr marL="457200" algn="l" rtl="0" eaLnBrk="1" fontAlgn="base" hangingPunct="1">
              <a:lnSpc>
                <a:spcPct val="90000"/>
              </a:lnSpc>
              <a:spcBef>
                <a:spcPct val="0"/>
              </a:spcBef>
              <a:spcAft>
                <a:spcPct val="0"/>
              </a:spcAft>
              <a:defRPr sz="2800" b="1">
                <a:solidFill>
                  <a:schemeClr val="tx2"/>
                </a:solidFill>
                <a:latin typeface="Arial" charset="0"/>
                <a:cs typeface="Arial" charset="0"/>
              </a:defRPr>
            </a:lvl6pPr>
            <a:lvl7pPr marL="914400" algn="l" rtl="0" eaLnBrk="1" fontAlgn="base" hangingPunct="1">
              <a:lnSpc>
                <a:spcPct val="90000"/>
              </a:lnSpc>
              <a:spcBef>
                <a:spcPct val="0"/>
              </a:spcBef>
              <a:spcAft>
                <a:spcPct val="0"/>
              </a:spcAft>
              <a:defRPr sz="2800" b="1">
                <a:solidFill>
                  <a:schemeClr val="tx2"/>
                </a:solidFill>
                <a:latin typeface="Arial" charset="0"/>
                <a:cs typeface="Arial" charset="0"/>
              </a:defRPr>
            </a:lvl7pPr>
            <a:lvl8pPr marL="1371600" algn="l" rtl="0" eaLnBrk="1" fontAlgn="base" hangingPunct="1">
              <a:lnSpc>
                <a:spcPct val="90000"/>
              </a:lnSpc>
              <a:spcBef>
                <a:spcPct val="0"/>
              </a:spcBef>
              <a:spcAft>
                <a:spcPct val="0"/>
              </a:spcAft>
              <a:defRPr sz="2800" b="1">
                <a:solidFill>
                  <a:schemeClr val="tx2"/>
                </a:solidFill>
                <a:latin typeface="Arial" charset="0"/>
                <a:cs typeface="Arial" charset="0"/>
              </a:defRPr>
            </a:lvl8pPr>
            <a:lvl9pPr marL="1828800" algn="l" rtl="0" eaLnBrk="1" fontAlgn="base" hangingPunct="1">
              <a:lnSpc>
                <a:spcPct val="90000"/>
              </a:lnSpc>
              <a:spcBef>
                <a:spcPct val="0"/>
              </a:spcBef>
              <a:spcAft>
                <a:spcPct val="0"/>
              </a:spcAft>
              <a:defRPr sz="2800" b="1">
                <a:solidFill>
                  <a:schemeClr val="tx2"/>
                </a:solidFill>
                <a:latin typeface="Arial" charset="0"/>
                <a:cs typeface="Arial" charset="0"/>
              </a:defRPr>
            </a:lvl9pPr>
          </a:lstStyle>
          <a:p>
            <a:r>
              <a:rPr lang="zh-CN" altLang="en-US" dirty="0" smtClean="0">
                <a:solidFill>
                  <a:srgbClr val="C00000"/>
                </a:solidFill>
                <a:latin typeface="微软雅黑" pitchFamily="34" charset="-122"/>
                <a:ea typeface="微软雅黑" pitchFamily="34" charset="-122"/>
              </a:rPr>
              <a:t>信息安全面临的 挑战</a:t>
            </a:r>
            <a:endParaRPr lang="en-US" dirty="0">
              <a:solidFill>
                <a:srgbClr val="C00000"/>
              </a:solidFill>
              <a:latin typeface="微软雅黑" pitchFamily="34" charset="-122"/>
              <a:ea typeface="微软雅黑" pitchFamily="34" charset="-122"/>
            </a:endParaRPr>
          </a:p>
        </p:txBody>
      </p:sp>
      <p:grpSp>
        <p:nvGrpSpPr>
          <p:cNvPr id="6" name="Group 5"/>
          <p:cNvGrpSpPr/>
          <p:nvPr/>
        </p:nvGrpSpPr>
        <p:grpSpPr>
          <a:xfrm>
            <a:off x="481955" y="1478892"/>
            <a:ext cx="11416774" cy="1198925"/>
            <a:chOff x="339413" y="1039846"/>
            <a:chExt cx="8040178" cy="842994"/>
          </a:xfrm>
        </p:grpSpPr>
        <p:grpSp>
          <p:nvGrpSpPr>
            <p:cNvPr id="7" name="Group 6"/>
            <p:cNvGrpSpPr/>
            <p:nvPr/>
          </p:nvGrpSpPr>
          <p:grpSpPr>
            <a:xfrm>
              <a:off x="339413" y="1039846"/>
              <a:ext cx="4293710" cy="804672"/>
              <a:chOff x="339413" y="1039846"/>
              <a:chExt cx="4293710" cy="804672"/>
            </a:xfrm>
          </p:grpSpPr>
          <p:sp>
            <p:nvSpPr>
              <p:cNvPr id="18" name="Right Arrow 17"/>
              <p:cNvSpPr/>
              <p:nvPr>
                <p:custDataLst>
                  <p:tags r:id="rId12"/>
                </p:custDataLst>
              </p:nvPr>
            </p:nvSpPr>
            <p:spPr>
              <a:xfrm>
                <a:off x="1184070" y="1039846"/>
                <a:ext cx="3449053" cy="804672"/>
              </a:xfrm>
              <a:prstGeom prst="rightArrow">
                <a:avLst>
                  <a:gd name="adj1" fmla="val 100000"/>
                  <a:gd name="adj2" fmla="val 2711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91440" tIns="45720" rtlCol="0" anchor="ctr"/>
              <a:lstStyle/>
              <a:p>
                <a:pPr lvl="0"/>
                <a:r>
                  <a:rPr lang="zh-CN" altLang="en-US" sz="2400" dirty="0">
                    <a:solidFill>
                      <a:prstClr val="white"/>
                    </a:solidFill>
                    <a:latin typeface="微软雅黑" pitchFamily="34" charset="-122"/>
                    <a:ea typeface="微软雅黑" pitchFamily="34" charset="-122"/>
                  </a:rPr>
                  <a:t>黑客主动攻击 </a:t>
                </a:r>
                <a:endParaRPr lang="en-US" altLang="zh-CN" sz="2400" dirty="0" smtClean="0">
                  <a:solidFill>
                    <a:prstClr val="white"/>
                  </a:solidFill>
                  <a:latin typeface="微软雅黑" pitchFamily="34" charset="-122"/>
                  <a:ea typeface="微软雅黑" pitchFamily="34" charset="-122"/>
                </a:endParaRPr>
              </a:p>
              <a:p>
                <a:pPr lvl="0"/>
                <a:r>
                  <a:rPr lang="en-US" sz="2400" dirty="0" smtClean="0">
                    <a:solidFill>
                      <a:prstClr val="white"/>
                    </a:solidFill>
                    <a:latin typeface="微软雅黑" pitchFamily="34" charset="-122"/>
                    <a:ea typeface="微软雅黑" pitchFamily="34" charset="-122"/>
                  </a:rPr>
                  <a:t>(</a:t>
                </a:r>
                <a:r>
                  <a:rPr lang="zh-CN" altLang="en-US" sz="2400" dirty="0">
                    <a:solidFill>
                      <a:prstClr val="white"/>
                    </a:solidFill>
                    <a:latin typeface="微软雅黑" pitchFamily="34" charset="-122"/>
                    <a:ea typeface="微软雅黑" pitchFamily="34" charset="-122"/>
                  </a:rPr>
                  <a:t>知名企业</a:t>
                </a:r>
                <a:r>
                  <a:rPr lang="en-US" sz="2400" dirty="0">
                    <a:solidFill>
                      <a:prstClr val="white"/>
                    </a:solidFill>
                    <a:latin typeface="微软雅黑" pitchFamily="34" charset="-122"/>
                    <a:ea typeface="微软雅黑" pitchFamily="34" charset="-122"/>
                  </a:rPr>
                  <a:t>,</a:t>
                </a:r>
                <a:r>
                  <a:rPr lang="zh-CN" altLang="en-US" sz="2400" dirty="0">
                    <a:solidFill>
                      <a:prstClr val="white"/>
                    </a:solidFill>
                    <a:latin typeface="微软雅黑" pitchFamily="34" charset="-122"/>
                    <a:ea typeface="微软雅黑" pitchFamily="34" charset="-122"/>
                  </a:rPr>
                  <a:t>竞争对手</a:t>
                </a:r>
                <a:r>
                  <a:rPr lang="en-US" sz="2400" dirty="0">
                    <a:solidFill>
                      <a:prstClr val="white"/>
                    </a:solidFill>
                    <a:latin typeface="微软雅黑" pitchFamily="34" charset="-122"/>
                    <a:ea typeface="微软雅黑" pitchFamily="34" charset="-122"/>
                  </a:rPr>
                  <a:t>)</a:t>
                </a:r>
              </a:p>
            </p:txBody>
          </p:sp>
          <p:sp>
            <p:nvSpPr>
              <p:cNvPr id="19" name="Rectangle 18"/>
              <p:cNvSpPr/>
              <p:nvPr/>
            </p:nvSpPr>
            <p:spPr>
              <a:xfrm>
                <a:off x="339413" y="1039846"/>
                <a:ext cx="774916" cy="804672"/>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4400" dirty="0">
                    <a:solidFill>
                      <a:schemeClr val="bg1"/>
                    </a:solidFill>
                    <a:latin typeface="微软雅黑" pitchFamily="34" charset="-122"/>
                    <a:ea typeface="微软雅黑" pitchFamily="34" charset="-122"/>
                  </a:rPr>
                  <a:t>1</a:t>
                </a:r>
              </a:p>
            </p:txBody>
          </p:sp>
        </p:grpSp>
        <p:sp>
          <p:nvSpPr>
            <p:cNvPr id="8" name="Rectangle 7"/>
            <p:cNvSpPr/>
            <p:nvPr/>
          </p:nvSpPr>
          <p:spPr>
            <a:xfrm>
              <a:off x="4676876" y="1792732"/>
              <a:ext cx="702298" cy="90108"/>
            </a:xfrm>
            <a:prstGeom prst="rect">
              <a:avLst/>
            </a:prstGeom>
          </p:spPr>
          <p:txBody>
            <a:bodyPr wrap="none" anchor="ctr">
              <a:noAutofit/>
            </a:bodyPr>
            <a:lstStyle/>
            <a:p>
              <a:pPr algn="ctr"/>
              <a:r>
                <a:rPr lang="zh-CN" altLang="en-US" dirty="0">
                  <a:latin typeface="微软雅黑" pitchFamily="34" charset="-122"/>
                  <a:ea typeface="微软雅黑" pitchFamily="34" charset="-122"/>
                </a:rPr>
                <a:t>研究</a:t>
              </a:r>
              <a:endParaRPr lang="en-US" dirty="0">
                <a:latin typeface="微软雅黑" pitchFamily="34" charset="-122"/>
                <a:ea typeface="微软雅黑" pitchFamily="34" charset="-122"/>
              </a:endParaRPr>
            </a:p>
          </p:txBody>
        </p:sp>
        <p:sp>
          <p:nvSpPr>
            <p:cNvPr id="9" name="Rectangle 8"/>
            <p:cNvSpPr/>
            <p:nvPr/>
          </p:nvSpPr>
          <p:spPr>
            <a:xfrm>
              <a:off x="5521159" y="1792732"/>
              <a:ext cx="702298" cy="90108"/>
            </a:xfrm>
            <a:prstGeom prst="rect">
              <a:avLst/>
            </a:prstGeom>
          </p:spPr>
          <p:txBody>
            <a:bodyPr wrap="none" anchor="ctr">
              <a:noAutofit/>
            </a:bodyPr>
            <a:lstStyle/>
            <a:p>
              <a:pPr algn="ctr"/>
              <a:r>
                <a:rPr lang="zh-CN" altLang="en-US" dirty="0">
                  <a:latin typeface="微软雅黑" pitchFamily="34" charset="-122"/>
                  <a:ea typeface="微软雅黑" pitchFamily="34" charset="-122"/>
                </a:rPr>
                <a:t>渗透</a:t>
              </a:r>
              <a:endParaRPr lang="en-US" dirty="0">
                <a:latin typeface="微软雅黑" pitchFamily="34" charset="-122"/>
                <a:ea typeface="微软雅黑" pitchFamily="34" charset="-122"/>
              </a:endParaRPr>
            </a:p>
          </p:txBody>
        </p:sp>
        <p:sp>
          <p:nvSpPr>
            <p:cNvPr id="10" name="Rectangle 9"/>
            <p:cNvSpPr/>
            <p:nvPr/>
          </p:nvSpPr>
          <p:spPr>
            <a:xfrm>
              <a:off x="6177084" y="1792732"/>
              <a:ext cx="702298" cy="90108"/>
            </a:xfrm>
            <a:prstGeom prst="rect">
              <a:avLst/>
            </a:prstGeom>
          </p:spPr>
          <p:txBody>
            <a:bodyPr wrap="none" anchor="ctr">
              <a:noAutofit/>
            </a:bodyPr>
            <a:lstStyle/>
            <a:p>
              <a:pPr algn="ctr"/>
              <a:r>
                <a:rPr lang="zh-CN" altLang="en-US" dirty="0">
                  <a:latin typeface="微软雅黑" pitchFamily="34" charset="-122"/>
                  <a:ea typeface="微软雅黑" pitchFamily="34" charset="-122"/>
                </a:rPr>
                <a:t>发现</a:t>
              </a:r>
              <a:endParaRPr lang="en-US" dirty="0">
                <a:latin typeface="微软雅黑" pitchFamily="34" charset="-122"/>
                <a:ea typeface="微软雅黑" pitchFamily="34" charset="-122"/>
              </a:endParaRPr>
            </a:p>
          </p:txBody>
        </p:sp>
        <p:sp>
          <p:nvSpPr>
            <p:cNvPr id="11" name="Rectangle 10"/>
            <p:cNvSpPr/>
            <p:nvPr/>
          </p:nvSpPr>
          <p:spPr>
            <a:xfrm>
              <a:off x="6927188" y="1792732"/>
              <a:ext cx="702298" cy="90108"/>
            </a:xfrm>
            <a:prstGeom prst="rect">
              <a:avLst/>
            </a:prstGeom>
          </p:spPr>
          <p:txBody>
            <a:bodyPr wrap="none" anchor="ctr">
              <a:noAutofit/>
            </a:bodyPr>
            <a:lstStyle/>
            <a:p>
              <a:pPr algn="ctr"/>
              <a:r>
                <a:rPr lang="zh-CN" altLang="en-US" dirty="0">
                  <a:latin typeface="微软雅黑" pitchFamily="34" charset="-122"/>
                  <a:ea typeface="微软雅黑" pitchFamily="34" charset="-122"/>
                </a:rPr>
                <a:t>捕获</a:t>
              </a:r>
              <a:endParaRPr lang="en-US" dirty="0">
                <a:latin typeface="微软雅黑" pitchFamily="34" charset="-122"/>
                <a:ea typeface="微软雅黑" pitchFamily="34" charset="-122"/>
              </a:endParaRPr>
            </a:p>
          </p:txBody>
        </p:sp>
        <p:sp>
          <p:nvSpPr>
            <p:cNvPr id="12" name="Rectangle 11"/>
            <p:cNvSpPr/>
            <p:nvPr/>
          </p:nvSpPr>
          <p:spPr>
            <a:xfrm>
              <a:off x="7677293" y="1792732"/>
              <a:ext cx="702298" cy="90108"/>
            </a:xfrm>
            <a:prstGeom prst="rect">
              <a:avLst/>
            </a:prstGeom>
          </p:spPr>
          <p:txBody>
            <a:bodyPr wrap="none" anchor="ctr">
              <a:noAutofit/>
            </a:bodyPr>
            <a:lstStyle/>
            <a:p>
              <a:pPr algn="ctr"/>
              <a:r>
                <a:rPr lang="zh-CN" altLang="en-US" dirty="0">
                  <a:latin typeface="微软雅黑" pitchFamily="34" charset="-122"/>
                  <a:ea typeface="微软雅黑" pitchFamily="34" charset="-122"/>
                </a:rPr>
                <a:t>外泄</a:t>
              </a:r>
              <a:endParaRPr lang="en-US" dirty="0">
                <a:latin typeface="微软雅黑" pitchFamily="34" charset="-122"/>
                <a:ea typeface="微软雅黑" pitchFamily="34" charset="-122"/>
              </a:endParaRPr>
            </a:p>
          </p:txBody>
        </p:sp>
        <p:pic>
          <p:nvPicPr>
            <p:cNvPr id="13" name="Picture 12" descr="security solutions icons-02.png"/>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4806375" y="1269936"/>
              <a:ext cx="447350" cy="438578"/>
            </a:xfrm>
            <a:prstGeom prst="rect">
              <a:avLst/>
            </a:prstGeom>
          </p:spPr>
        </p:pic>
        <p:pic>
          <p:nvPicPr>
            <p:cNvPr id="14" name="Picture 13" descr="security solutions icons-03.png"/>
            <p:cNvPicPr>
              <a:picLocks noChangeAspect="1"/>
            </p:cNvPicPr>
            <p:nvPr/>
          </p:nvPicPr>
          <p:blipFill>
            <a:blip r:embed="rId15">
              <a:extLst>
                <a:ext uri="{28A0092B-C50C-407E-A947-70E740481C1C}">
                  <a14:useLocalDpi xmlns:a14="http://schemas.microsoft.com/office/drawing/2010/main"/>
                </a:ext>
              </a:extLst>
            </a:blip>
            <a:stretch>
              <a:fillRect/>
            </a:stretch>
          </p:blipFill>
          <p:spPr>
            <a:xfrm>
              <a:off x="5572760" y="1276815"/>
              <a:ext cx="478050" cy="425421"/>
            </a:xfrm>
            <a:prstGeom prst="rect">
              <a:avLst/>
            </a:prstGeom>
          </p:spPr>
        </p:pic>
        <p:pic>
          <p:nvPicPr>
            <p:cNvPr id="15" name="Picture 14" descr="security solutions icons-04.png"/>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6371253" y="1285989"/>
              <a:ext cx="407877" cy="407877"/>
            </a:xfrm>
            <a:prstGeom prst="rect">
              <a:avLst/>
            </a:prstGeom>
          </p:spPr>
        </p:pic>
        <p:pic>
          <p:nvPicPr>
            <p:cNvPr id="16" name="Picture 15" descr="security solutions icons-05.png"/>
            <p:cNvPicPr>
              <a:picLocks noChangeAspect="1"/>
            </p:cNvPicPr>
            <p:nvPr/>
          </p:nvPicPr>
          <p:blipFill>
            <a:blip r:embed="rId17">
              <a:extLst>
                <a:ext uri="{28A0092B-C50C-407E-A947-70E740481C1C}">
                  <a14:useLocalDpi xmlns:a14="http://schemas.microsoft.com/office/drawing/2010/main"/>
                </a:ext>
              </a:extLst>
            </a:blip>
            <a:stretch>
              <a:fillRect/>
            </a:stretch>
          </p:blipFill>
          <p:spPr>
            <a:xfrm>
              <a:off x="7096357" y="1276815"/>
              <a:ext cx="381563" cy="425421"/>
            </a:xfrm>
            <a:prstGeom prst="rect">
              <a:avLst/>
            </a:prstGeom>
          </p:spPr>
        </p:pic>
        <p:pic>
          <p:nvPicPr>
            <p:cNvPr id="17" name="Picture 16" descr="security solutions icons-06.png"/>
            <p:cNvPicPr>
              <a:picLocks noChangeAspect="1"/>
            </p:cNvPicPr>
            <p:nvPr/>
          </p:nvPicPr>
          <p:blipFill>
            <a:blip r:embed="rId18">
              <a:extLst>
                <a:ext uri="{28A0092B-C50C-407E-A947-70E740481C1C}">
                  <a14:useLocalDpi xmlns:a14="http://schemas.microsoft.com/office/drawing/2010/main"/>
                </a:ext>
              </a:extLst>
            </a:blip>
            <a:stretch>
              <a:fillRect/>
            </a:stretch>
          </p:blipFill>
          <p:spPr>
            <a:xfrm>
              <a:off x="7793943" y="1272228"/>
              <a:ext cx="464892" cy="434192"/>
            </a:xfrm>
            <a:prstGeom prst="rect">
              <a:avLst/>
            </a:prstGeom>
          </p:spPr>
        </p:pic>
      </p:grpSp>
      <p:grpSp>
        <p:nvGrpSpPr>
          <p:cNvPr id="20" name="Group 19"/>
          <p:cNvGrpSpPr/>
          <p:nvPr/>
        </p:nvGrpSpPr>
        <p:grpSpPr>
          <a:xfrm>
            <a:off x="481955" y="3299552"/>
            <a:ext cx="11466625" cy="1625842"/>
            <a:chOff x="339413" y="2319996"/>
            <a:chExt cx="8075285" cy="1143170"/>
          </a:xfrm>
        </p:grpSpPr>
        <p:grpSp>
          <p:nvGrpSpPr>
            <p:cNvPr id="21" name="Group 20"/>
            <p:cNvGrpSpPr/>
            <p:nvPr/>
          </p:nvGrpSpPr>
          <p:grpSpPr>
            <a:xfrm>
              <a:off x="339413" y="2369117"/>
              <a:ext cx="4295379" cy="804672"/>
              <a:chOff x="339413" y="2024493"/>
              <a:chExt cx="4295379" cy="804672"/>
            </a:xfrm>
          </p:grpSpPr>
          <p:sp>
            <p:nvSpPr>
              <p:cNvPr id="40" name="Right Arrow 39"/>
              <p:cNvSpPr/>
              <p:nvPr>
                <p:custDataLst>
                  <p:tags r:id="rId11"/>
                </p:custDataLst>
              </p:nvPr>
            </p:nvSpPr>
            <p:spPr>
              <a:xfrm>
                <a:off x="1184070" y="2024493"/>
                <a:ext cx="3450722" cy="804672"/>
              </a:xfrm>
              <a:prstGeom prst="rightArrow">
                <a:avLst>
                  <a:gd name="adj1" fmla="val 100000"/>
                  <a:gd name="adj2" fmla="val 25905"/>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91440" tIns="45720" rtlCol="0" anchor="ctr"/>
              <a:lstStyle/>
              <a:p>
                <a:pPr lvl="0"/>
                <a:r>
                  <a:rPr lang="zh-CN" altLang="en-US" sz="2400" dirty="0">
                    <a:solidFill>
                      <a:prstClr val="white"/>
                    </a:solidFill>
                    <a:latin typeface="微软雅黑" pitchFamily="34" charset="-122"/>
                    <a:ea typeface="微软雅黑" pitchFamily="34" charset="-122"/>
                  </a:rPr>
                  <a:t>传统 信息化向新型转变</a:t>
                </a:r>
                <a:endParaRPr lang="en-US" altLang="zh-CN" sz="2400" dirty="0">
                  <a:solidFill>
                    <a:prstClr val="white"/>
                  </a:solidFill>
                  <a:latin typeface="微软雅黑" pitchFamily="34" charset="-122"/>
                  <a:ea typeface="微软雅黑" pitchFamily="34" charset="-122"/>
                </a:endParaRPr>
              </a:p>
              <a:p>
                <a:pPr lvl="0"/>
                <a:r>
                  <a:rPr lang="en-US" sz="2400" dirty="0">
                    <a:solidFill>
                      <a:prstClr val="white"/>
                    </a:solidFill>
                    <a:latin typeface="微软雅黑" pitchFamily="34" charset="-122"/>
                    <a:ea typeface="微软雅黑" pitchFamily="34" charset="-122"/>
                  </a:rPr>
                  <a:t>(</a:t>
                </a:r>
                <a:r>
                  <a:rPr lang="zh-CN" altLang="en-US" sz="2400" dirty="0">
                    <a:solidFill>
                      <a:prstClr val="white"/>
                    </a:solidFill>
                    <a:latin typeface="微软雅黑" pitchFamily="34" charset="-122"/>
                    <a:ea typeface="微软雅黑" pitchFamily="34" charset="-122"/>
                  </a:rPr>
                  <a:t>商业模式，消费习惯的改变</a:t>
                </a:r>
                <a:r>
                  <a:rPr lang="en-US" sz="2400" dirty="0">
                    <a:solidFill>
                      <a:prstClr val="white"/>
                    </a:solidFill>
                    <a:latin typeface="微软雅黑" pitchFamily="34" charset="-122"/>
                    <a:ea typeface="微软雅黑" pitchFamily="34" charset="-122"/>
                  </a:rPr>
                  <a:t>)</a:t>
                </a:r>
              </a:p>
            </p:txBody>
          </p:sp>
          <p:sp>
            <p:nvSpPr>
              <p:cNvPr id="41" name="Rectangle 40"/>
              <p:cNvSpPr/>
              <p:nvPr/>
            </p:nvSpPr>
            <p:spPr>
              <a:xfrm>
                <a:off x="339413" y="2024493"/>
                <a:ext cx="774916" cy="804672"/>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4400" dirty="0">
                    <a:solidFill>
                      <a:schemeClr val="bg1"/>
                    </a:solidFill>
                    <a:latin typeface="微软雅黑" pitchFamily="34" charset="-122"/>
                    <a:ea typeface="微软雅黑" pitchFamily="34" charset="-122"/>
                  </a:rPr>
                  <a:t>2</a:t>
                </a:r>
              </a:p>
            </p:txBody>
          </p:sp>
        </p:grpSp>
        <p:grpSp>
          <p:nvGrpSpPr>
            <p:cNvPr id="22" name="Group 21"/>
            <p:cNvGrpSpPr/>
            <p:nvPr/>
          </p:nvGrpSpPr>
          <p:grpSpPr>
            <a:xfrm>
              <a:off x="4688752" y="2319996"/>
              <a:ext cx="3725946" cy="1143170"/>
              <a:chOff x="4895784" y="2358780"/>
              <a:chExt cx="3725946" cy="1143170"/>
            </a:xfrm>
          </p:grpSpPr>
          <p:sp>
            <p:nvSpPr>
              <p:cNvPr id="23" name="Rectangle 22"/>
              <p:cNvSpPr/>
              <p:nvPr>
                <p:custDataLst>
                  <p:tags r:id="rId2"/>
                </p:custDataLst>
              </p:nvPr>
            </p:nvSpPr>
            <p:spPr>
              <a:xfrm>
                <a:off x="5716402" y="2828752"/>
                <a:ext cx="2104350" cy="21566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dirty="0">
                    <a:solidFill>
                      <a:srgbClr val="0096D6"/>
                    </a:solidFill>
                    <a:latin typeface="微软雅黑" pitchFamily="34" charset="-122"/>
                    <a:ea typeface="微软雅黑" pitchFamily="34" charset="-122"/>
                  </a:rPr>
                  <a:t>消费类设备</a:t>
                </a:r>
                <a:endParaRPr lang="en-US" dirty="0">
                  <a:solidFill>
                    <a:srgbClr val="0096D6"/>
                  </a:solidFill>
                  <a:latin typeface="微软雅黑" pitchFamily="34" charset="-122"/>
                  <a:ea typeface="微软雅黑" pitchFamily="34" charset="-122"/>
                </a:endParaRPr>
              </a:p>
            </p:txBody>
          </p:sp>
          <p:sp>
            <p:nvSpPr>
              <p:cNvPr id="24" name="Rectangle 23"/>
              <p:cNvSpPr/>
              <p:nvPr>
                <p:custDataLst>
                  <p:tags r:id="rId3"/>
                </p:custDataLst>
              </p:nvPr>
            </p:nvSpPr>
            <p:spPr>
              <a:xfrm>
                <a:off x="4991805" y="2657911"/>
                <a:ext cx="844321" cy="21640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45720" rIns="0" rtlCol="0" anchor="ctr" anchorCtr="0">
                <a:spAutoFit/>
              </a:bodyPr>
              <a:lstStyle/>
              <a:p>
                <a:pPr algn="ctr"/>
                <a:r>
                  <a:rPr lang="zh-CN" altLang="en-US" sz="1400" dirty="0">
                    <a:solidFill>
                      <a:schemeClr val="tx1"/>
                    </a:solidFill>
                    <a:latin typeface="微软雅黑" pitchFamily="34" charset="-122"/>
                    <a:ea typeface="微软雅黑" pitchFamily="34" charset="-122"/>
                  </a:rPr>
                  <a:t>传统网络</a:t>
                </a:r>
                <a:endParaRPr lang="en-US" sz="1400" dirty="0">
                  <a:solidFill>
                    <a:schemeClr val="tx1"/>
                  </a:solidFill>
                  <a:latin typeface="微软雅黑" pitchFamily="34" charset="-122"/>
                  <a:ea typeface="微软雅黑" pitchFamily="34" charset="-122"/>
                </a:endParaRPr>
              </a:p>
            </p:txBody>
          </p:sp>
          <p:sp>
            <p:nvSpPr>
              <p:cNvPr id="25" name="Rectangle 24"/>
              <p:cNvSpPr/>
              <p:nvPr>
                <p:custDataLst>
                  <p:tags r:id="rId4"/>
                </p:custDataLst>
              </p:nvPr>
            </p:nvSpPr>
            <p:spPr>
              <a:xfrm>
                <a:off x="5948772" y="2657911"/>
                <a:ext cx="751841" cy="21640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45720" rIns="0" rtlCol="0" anchor="ctr" anchorCtr="0">
                <a:spAutoFit/>
              </a:bodyPr>
              <a:lstStyle/>
              <a:p>
                <a:pPr algn="ctr"/>
                <a:r>
                  <a:rPr lang="zh-CN" altLang="en-US" sz="1400" dirty="0">
                    <a:solidFill>
                      <a:schemeClr val="tx1"/>
                    </a:solidFill>
                    <a:latin typeface="微软雅黑" pitchFamily="34" charset="-122"/>
                    <a:ea typeface="微软雅黑" pitchFamily="34" charset="-122"/>
                  </a:rPr>
                  <a:t>私有云</a:t>
                </a:r>
                <a:endParaRPr lang="en-US" sz="1400" dirty="0">
                  <a:solidFill>
                    <a:schemeClr val="tx1"/>
                  </a:solidFill>
                  <a:latin typeface="微软雅黑" pitchFamily="34" charset="-122"/>
                  <a:ea typeface="微软雅黑" pitchFamily="34" charset="-122"/>
                </a:endParaRPr>
              </a:p>
            </p:txBody>
          </p:sp>
          <p:sp>
            <p:nvSpPr>
              <p:cNvPr id="26" name="Rectangle 25"/>
              <p:cNvSpPr/>
              <p:nvPr>
                <p:custDataLst>
                  <p:tags r:id="rId5"/>
                </p:custDataLst>
              </p:nvPr>
            </p:nvSpPr>
            <p:spPr>
              <a:xfrm>
                <a:off x="6813259" y="2657911"/>
                <a:ext cx="882857" cy="21640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45720" rIns="0" rtlCol="0" anchor="ctr" anchorCtr="0">
                <a:spAutoFit/>
              </a:bodyPr>
              <a:lstStyle/>
              <a:p>
                <a:pPr algn="ctr"/>
                <a:r>
                  <a:rPr lang="zh-CN" altLang="en-US" sz="1400" dirty="0">
                    <a:solidFill>
                      <a:schemeClr val="tx1"/>
                    </a:solidFill>
                    <a:latin typeface="微软雅黑" pitchFamily="34" charset="-122"/>
                    <a:ea typeface="微软雅黑" pitchFamily="34" charset="-122"/>
                  </a:rPr>
                  <a:t>托管云</a:t>
                </a:r>
                <a:endParaRPr lang="en-US" sz="1400" dirty="0">
                  <a:solidFill>
                    <a:schemeClr val="tx1"/>
                  </a:solidFill>
                  <a:latin typeface="微软雅黑" pitchFamily="34" charset="-122"/>
                  <a:ea typeface="微软雅黑" pitchFamily="34" charset="-122"/>
                </a:endParaRPr>
              </a:p>
            </p:txBody>
          </p:sp>
          <p:sp>
            <p:nvSpPr>
              <p:cNvPr id="27" name="Rectangle 26"/>
              <p:cNvSpPr/>
              <p:nvPr>
                <p:custDataLst>
                  <p:tags r:id="rId6"/>
                </p:custDataLst>
              </p:nvPr>
            </p:nvSpPr>
            <p:spPr>
              <a:xfrm>
                <a:off x="7808761" y="2657911"/>
                <a:ext cx="751841" cy="21640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45720" rIns="0" rtlCol="0" anchor="ctr" anchorCtr="0">
                <a:spAutoFit/>
              </a:bodyPr>
              <a:lstStyle/>
              <a:p>
                <a:pPr algn="ctr"/>
                <a:r>
                  <a:rPr lang="zh-CN" altLang="en-US" sz="1400" dirty="0">
                    <a:solidFill>
                      <a:schemeClr val="tx1"/>
                    </a:solidFill>
                    <a:latin typeface="微软雅黑" pitchFamily="34" charset="-122"/>
                    <a:ea typeface="微软雅黑" pitchFamily="34" charset="-122"/>
                  </a:rPr>
                  <a:t>公有云</a:t>
                </a:r>
                <a:endParaRPr lang="en-US" sz="1400" dirty="0">
                  <a:solidFill>
                    <a:schemeClr val="tx1"/>
                  </a:solidFill>
                  <a:latin typeface="微软雅黑" pitchFamily="34" charset="-122"/>
                  <a:ea typeface="微软雅黑" pitchFamily="34" charset="-122"/>
                </a:endParaRPr>
              </a:p>
            </p:txBody>
          </p:sp>
          <p:sp>
            <p:nvSpPr>
              <p:cNvPr id="28" name="Rectangle 27"/>
              <p:cNvSpPr/>
              <p:nvPr>
                <p:custDataLst>
                  <p:tags r:id="rId7"/>
                </p:custDataLst>
              </p:nvPr>
            </p:nvSpPr>
            <p:spPr>
              <a:xfrm>
                <a:off x="4895784" y="3285544"/>
                <a:ext cx="1152694" cy="21640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45720" rIns="0" rtlCol="0" anchor="ctr" anchorCtr="0">
                <a:spAutoFit/>
              </a:bodyPr>
              <a:lstStyle/>
              <a:p>
                <a:pPr algn="ctr"/>
                <a:r>
                  <a:rPr lang="zh-CN" altLang="en-US" sz="1400" dirty="0">
                    <a:solidFill>
                      <a:schemeClr val="tx1"/>
                    </a:solidFill>
                    <a:latin typeface="微软雅黑" pitchFamily="34" charset="-122"/>
                    <a:ea typeface="微软雅黑" pitchFamily="34" charset="-122"/>
                  </a:rPr>
                  <a:t>虚拟桌面</a:t>
                </a:r>
                <a:endParaRPr lang="en-US" altLang="zh-CN" sz="1400" dirty="0">
                  <a:solidFill>
                    <a:schemeClr val="tx1"/>
                  </a:solidFill>
                  <a:latin typeface="微软雅黑" pitchFamily="34" charset="-122"/>
                  <a:ea typeface="微软雅黑" pitchFamily="34" charset="-122"/>
                </a:endParaRPr>
              </a:p>
            </p:txBody>
          </p:sp>
          <p:sp>
            <p:nvSpPr>
              <p:cNvPr id="29" name="Rectangle 28"/>
              <p:cNvSpPr/>
              <p:nvPr>
                <p:custDataLst>
                  <p:tags r:id="rId8"/>
                </p:custDataLst>
              </p:nvPr>
            </p:nvSpPr>
            <p:spPr>
              <a:xfrm>
                <a:off x="6065095" y="3285544"/>
                <a:ext cx="827653" cy="21640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45720" rIns="0" rtlCol="0" anchor="ctr" anchorCtr="0">
                <a:spAutoFit/>
              </a:bodyPr>
              <a:lstStyle/>
              <a:p>
                <a:pPr algn="ctr"/>
                <a:r>
                  <a:rPr lang="zh-CN" altLang="en-US" sz="1400" dirty="0">
                    <a:solidFill>
                      <a:schemeClr val="tx1"/>
                    </a:solidFill>
                    <a:latin typeface="微软雅黑" pitchFamily="34" charset="-122"/>
                    <a:ea typeface="微软雅黑" pitchFamily="34" charset="-122"/>
                  </a:rPr>
                  <a:t>笔记本电脑</a:t>
                </a:r>
                <a:endParaRPr lang="en-US" sz="1400" dirty="0">
                  <a:solidFill>
                    <a:schemeClr val="tx1"/>
                  </a:solidFill>
                  <a:latin typeface="微软雅黑" pitchFamily="34" charset="-122"/>
                  <a:ea typeface="微软雅黑" pitchFamily="34" charset="-122"/>
                </a:endParaRPr>
              </a:p>
            </p:txBody>
          </p:sp>
          <p:sp>
            <p:nvSpPr>
              <p:cNvPr id="30" name="Rectangle 29"/>
              <p:cNvSpPr/>
              <p:nvPr>
                <p:custDataLst>
                  <p:tags r:id="rId9"/>
                </p:custDataLst>
              </p:nvPr>
            </p:nvSpPr>
            <p:spPr>
              <a:xfrm>
                <a:off x="6909365" y="3285544"/>
                <a:ext cx="751841" cy="21640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45720" rIns="0" rtlCol="0" anchor="ctr" anchorCtr="0">
                <a:spAutoFit/>
              </a:bodyPr>
              <a:lstStyle/>
              <a:p>
                <a:pPr algn="ctr"/>
                <a:r>
                  <a:rPr lang="zh-CN" altLang="en-US" sz="1400" dirty="0">
                    <a:solidFill>
                      <a:schemeClr val="tx1"/>
                    </a:solidFill>
                    <a:latin typeface="微软雅黑" pitchFamily="34" charset="-122"/>
                    <a:ea typeface="微软雅黑" pitchFamily="34" charset="-122"/>
                  </a:rPr>
                  <a:t>平板设备</a:t>
                </a:r>
                <a:endParaRPr lang="en-US" sz="1400" dirty="0">
                  <a:solidFill>
                    <a:schemeClr val="tx1"/>
                  </a:solidFill>
                  <a:latin typeface="微软雅黑" pitchFamily="34" charset="-122"/>
                  <a:ea typeface="微软雅黑" pitchFamily="34" charset="-122"/>
                </a:endParaRPr>
              </a:p>
            </p:txBody>
          </p:sp>
          <p:sp>
            <p:nvSpPr>
              <p:cNvPr id="31" name="Rectangle 30"/>
              <p:cNvSpPr/>
              <p:nvPr>
                <p:custDataLst>
                  <p:tags r:id="rId10"/>
                </p:custDataLst>
              </p:nvPr>
            </p:nvSpPr>
            <p:spPr>
              <a:xfrm>
                <a:off x="7677824" y="3285544"/>
                <a:ext cx="943906" cy="21640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45720" rIns="0" rtlCol="0" anchor="ctr" anchorCtr="0">
                <a:spAutoFit/>
              </a:bodyPr>
              <a:lstStyle/>
              <a:p>
                <a:pPr algn="ctr"/>
                <a:r>
                  <a:rPr lang="zh-CN" altLang="en-US" sz="1400" dirty="0">
                    <a:solidFill>
                      <a:schemeClr val="tx1"/>
                    </a:solidFill>
                    <a:latin typeface="微软雅黑" pitchFamily="34" charset="-122"/>
                    <a:ea typeface="微软雅黑" pitchFamily="34" charset="-122"/>
                  </a:rPr>
                  <a:t>智能手机 </a:t>
                </a:r>
                <a:endParaRPr lang="en-US" sz="1400" dirty="0">
                  <a:solidFill>
                    <a:schemeClr val="tx1"/>
                  </a:solidFill>
                  <a:latin typeface="微软雅黑" pitchFamily="34" charset="-122"/>
                  <a:ea typeface="微软雅黑" pitchFamily="34" charset="-122"/>
                </a:endParaRPr>
              </a:p>
            </p:txBody>
          </p:sp>
          <p:pic>
            <p:nvPicPr>
              <p:cNvPr id="32" name="Picture 31" descr="security solutions icons-07.png"/>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5215448" y="2358780"/>
                <a:ext cx="397885" cy="358426"/>
              </a:xfrm>
              <a:prstGeom prst="rect">
                <a:avLst/>
              </a:prstGeom>
            </p:spPr>
          </p:pic>
          <p:pic>
            <p:nvPicPr>
              <p:cNvPr id="33" name="Picture 32" descr="security solutions icons-08.png"/>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6143441" y="2394952"/>
                <a:ext cx="404461" cy="286083"/>
              </a:xfrm>
              <a:prstGeom prst="rect">
                <a:avLst/>
              </a:prstGeom>
            </p:spPr>
          </p:pic>
          <p:pic>
            <p:nvPicPr>
              <p:cNvPr id="34" name="Picture 33" descr="security solutions icons-09.png"/>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7078010" y="2396596"/>
                <a:ext cx="401173" cy="282794"/>
              </a:xfrm>
              <a:prstGeom prst="rect">
                <a:avLst/>
              </a:prstGeom>
            </p:spPr>
          </p:pic>
          <p:pic>
            <p:nvPicPr>
              <p:cNvPr id="35" name="Picture 34" descr="security solutions icons-10.png"/>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8009291" y="2394952"/>
                <a:ext cx="404461" cy="286083"/>
              </a:xfrm>
              <a:prstGeom prst="rect">
                <a:avLst/>
              </a:prstGeom>
            </p:spPr>
          </p:pic>
          <p:pic>
            <p:nvPicPr>
              <p:cNvPr id="36" name="Picture 35" descr="security solutions icons-11.png"/>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6262416" y="3031384"/>
                <a:ext cx="365079" cy="275172"/>
              </a:xfrm>
              <a:prstGeom prst="rect">
                <a:avLst/>
              </a:prstGeom>
            </p:spPr>
          </p:pic>
          <p:pic>
            <p:nvPicPr>
              <p:cNvPr id="37" name="Picture 36" descr="security solutions icons-12.png"/>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7152978" y="3056433"/>
                <a:ext cx="272735" cy="202442"/>
              </a:xfrm>
              <a:prstGeom prst="rect">
                <a:avLst/>
              </a:prstGeom>
            </p:spPr>
          </p:pic>
          <p:pic>
            <p:nvPicPr>
              <p:cNvPr id="38" name="Picture 37" descr="security solutions icons-13.png"/>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5286511" y="3016870"/>
                <a:ext cx="345786" cy="269956"/>
              </a:xfrm>
              <a:prstGeom prst="rect">
                <a:avLst/>
              </a:prstGeom>
            </p:spPr>
          </p:pic>
          <p:pic>
            <p:nvPicPr>
              <p:cNvPr id="39" name="Picture 38" descr="security solutions icons-14.png"/>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8074981" y="3034715"/>
                <a:ext cx="167540" cy="245533"/>
              </a:xfrm>
              <a:prstGeom prst="rect">
                <a:avLst/>
              </a:prstGeom>
            </p:spPr>
          </p:pic>
        </p:grpSp>
      </p:grpSp>
      <p:grpSp>
        <p:nvGrpSpPr>
          <p:cNvPr id="42" name="Group 41"/>
          <p:cNvGrpSpPr/>
          <p:nvPr/>
        </p:nvGrpSpPr>
        <p:grpSpPr>
          <a:xfrm>
            <a:off x="481955" y="5259930"/>
            <a:ext cx="10340307" cy="1247727"/>
            <a:chOff x="339413" y="3698388"/>
            <a:chExt cx="7282084" cy="877308"/>
          </a:xfrm>
        </p:grpSpPr>
        <p:grpSp>
          <p:nvGrpSpPr>
            <p:cNvPr id="43" name="Group 42"/>
            <p:cNvGrpSpPr/>
            <p:nvPr/>
          </p:nvGrpSpPr>
          <p:grpSpPr>
            <a:xfrm>
              <a:off x="339413" y="3698388"/>
              <a:ext cx="4295379" cy="804672"/>
              <a:chOff x="339413" y="3019698"/>
              <a:chExt cx="4295379" cy="804672"/>
            </a:xfrm>
          </p:grpSpPr>
          <p:sp>
            <p:nvSpPr>
              <p:cNvPr id="48" name="Right Arrow 47"/>
              <p:cNvSpPr/>
              <p:nvPr>
                <p:custDataLst>
                  <p:tags r:id="rId1"/>
                </p:custDataLst>
              </p:nvPr>
            </p:nvSpPr>
            <p:spPr>
              <a:xfrm>
                <a:off x="1184070" y="3019698"/>
                <a:ext cx="3450722" cy="804672"/>
              </a:xfrm>
              <a:prstGeom prst="rightArrow">
                <a:avLst>
                  <a:gd name="adj1" fmla="val 100000"/>
                  <a:gd name="adj2" fmla="val 2349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91440" tIns="45720" rtlCol="0" anchor="ctr"/>
              <a:lstStyle/>
              <a:p>
                <a:pPr lvl="0"/>
                <a:r>
                  <a:rPr lang="zh-CN" altLang="en-US" sz="2300" dirty="0">
                    <a:solidFill>
                      <a:prstClr val="white"/>
                    </a:solidFill>
                    <a:latin typeface="微软雅黑" pitchFamily="34" charset="-122"/>
                    <a:ea typeface="微软雅黑" pitchFamily="34" charset="-122"/>
                  </a:rPr>
                  <a:t>管理带来的 压力</a:t>
                </a:r>
                <a:endParaRPr lang="en-US" altLang="zh-CN" sz="2300" dirty="0">
                  <a:solidFill>
                    <a:prstClr val="white"/>
                  </a:solidFill>
                  <a:latin typeface="微软雅黑" pitchFamily="34" charset="-122"/>
                  <a:ea typeface="微软雅黑" pitchFamily="34" charset="-122"/>
                </a:endParaRPr>
              </a:p>
              <a:p>
                <a:pPr lvl="0"/>
                <a:r>
                  <a:rPr lang="en-US" sz="2000" dirty="0">
                    <a:solidFill>
                      <a:prstClr val="white"/>
                    </a:solidFill>
                    <a:latin typeface="微软雅黑" pitchFamily="34" charset="-122"/>
                    <a:ea typeface="微软雅黑" pitchFamily="34" charset="-122"/>
                  </a:rPr>
                  <a:t>(</a:t>
                </a:r>
                <a:r>
                  <a:rPr lang="zh-CN" altLang="en-US" sz="2000" dirty="0">
                    <a:solidFill>
                      <a:prstClr val="white"/>
                    </a:solidFill>
                    <a:latin typeface="微软雅黑" pitchFamily="34" charset="-122"/>
                    <a:ea typeface="微软雅黑" pitchFamily="34" charset="-122"/>
                  </a:rPr>
                  <a:t>成本增加，复杂性增加</a:t>
                </a:r>
                <a:r>
                  <a:rPr lang="en-US" sz="2000" dirty="0">
                    <a:solidFill>
                      <a:prstClr val="white"/>
                    </a:solidFill>
                    <a:latin typeface="微软雅黑" pitchFamily="34" charset="-122"/>
                    <a:ea typeface="微软雅黑" pitchFamily="34" charset="-122"/>
                  </a:rPr>
                  <a:t>)</a:t>
                </a:r>
              </a:p>
            </p:txBody>
          </p:sp>
          <p:sp>
            <p:nvSpPr>
              <p:cNvPr id="49" name="Rectangle 48"/>
              <p:cNvSpPr/>
              <p:nvPr/>
            </p:nvSpPr>
            <p:spPr>
              <a:xfrm>
                <a:off x="339413" y="3019698"/>
                <a:ext cx="774916" cy="804672"/>
              </a:xfrm>
              <a:prstGeom prst="rect">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4000" dirty="0">
                    <a:solidFill>
                      <a:schemeClr val="bg1"/>
                    </a:solidFill>
                    <a:latin typeface="微软雅黑" pitchFamily="34" charset="-122"/>
                    <a:ea typeface="微软雅黑" pitchFamily="34" charset="-122"/>
                  </a:rPr>
                  <a:t>3</a:t>
                </a:r>
              </a:p>
            </p:txBody>
          </p:sp>
        </p:grpSp>
        <p:pic>
          <p:nvPicPr>
            <p:cNvPr id="44" name="Picture 2" descr="http://www.finjan.com/objects/logos/Sarbanes-Oxley_logo.gif"/>
            <p:cNvPicPr>
              <a:picLocks noChangeAspect="1" noChangeArrowheads="1"/>
            </p:cNvPicPr>
            <p:nvPr/>
          </p:nvPicPr>
          <p:blipFill>
            <a:blip r:embed="rId27" cstate="email">
              <a:extLst>
                <a:ext uri="{28A0092B-C50C-407E-A947-70E740481C1C}">
                  <a14:useLocalDpi xmlns:a14="http://schemas.microsoft.com/office/drawing/2010/main"/>
                </a:ext>
              </a:extLst>
            </a:blip>
            <a:srcRect/>
            <a:stretch>
              <a:fillRect/>
            </a:stretch>
          </p:blipFill>
          <p:spPr bwMode="auto">
            <a:xfrm>
              <a:off x="5444486" y="3926290"/>
              <a:ext cx="992778" cy="181591"/>
            </a:xfrm>
            <a:prstGeom prst="roundRect">
              <a:avLst/>
            </a:prstGeom>
            <a:noFill/>
            <a:extLst>
              <a:ext uri="{909E8E84-426E-40DD-AFC4-6F175D3DCCD1}">
                <a14:hiddenFill xmlns:a14="http://schemas.microsoft.com/office/drawing/2010/main">
                  <a:solidFill>
                    <a:srgbClr val="FFFFFF"/>
                  </a:solidFill>
                </a14:hiddenFill>
              </a:ext>
            </a:extLst>
          </p:spPr>
        </p:pic>
        <p:pic>
          <p:nvPicPr>
            <p:cNvPr id="45" name="Picture 4" descr="http://1.bp.blogspot.com/-OB2CcgvDtWQ/TTiJ9dleYvI/AAAAAAAAAL0/HxPrcsbaU3A/s1600/pci+logo+9-20-10.jpg"/>
            <p:cNvPicPr>
              <a:picLocks noChangeAspect="1" noChangeArrowheads="1"/>
            </p:cNvPicPr>
            <p:nvPr/>
          </p:nvPicPr>
          <p:blipFill>
            <a:blip r:embed="rId28" cstate="email">
              <a:extLst>
                <a:ext uri="{28A0092B-C50C-407E-A947-70E740481C1C}">
                  <a14:useLocalDpi xmlns:a14="http://schemas.microsoft.com/office/drawing/2010/main"/>
                </a:ext>
              </a:extLst>
            </a:blip>
            <a:srcRect/>
            <a:stretch>
              <a:fillRect/>
            </a:stretch>
          </p:blipFill>
          <p:spPr bwMode="auto">
            <a:xfrm>
              <a:off x="6707058" y="3886132"/>
              <a:ext cx="914439" cy="261906"/>
            </a:xfrm>
            <a:prstGeom prst="roundRect">
              <a:avLst/>
            </a:prstGeom>
            <a:noFill/>
            <a:extLst>
              <a:ext uri="{909E8E84-426E-40DD-AFC4-6F175D3DCCD1}">
                <a14:hiddenFill xmlns:a14="http://schemas.microsoft.com/office/drawing/2010/main">
                  <a:solidFill>
                    <a:srgbClr val="FFFFFF"/>
                  </a:solidFill>
                </a14:hiddenFill>
              </a:ext>
            </a:extLst>
          </p:spPr>
        </p:pic>
        <p:sp>
          <p:nvSpPr>
            <p:cNvPr id="46" name="Rectangle 45"/>
            <p:cNvSpPr/>
            <p:nvPr/>
          </p:nvSpPr>
          <p:spPr>
            <a:xfrm>
              <a:off x="5545081" y="4285944"/>
              <a:ext cx="830363" cy="248866"/>
            </a:xfrm>
            <a:prstGeom prst="rect">
              <a:avLst/>
            </a:prstGeom>
          </p:spPr>
          <p:txBody>
            <a:bodyPr wrap="square">
              <a:spAutoFit/>
            </a:bodyPr>
            <a:lstStyle/>
            <a:p>
              <a:pPr marL="0" lvl="2">
                <a:buSzPct val="100000"/>
              </a:pPr>
              <a:r>
                <a:rPr lang="en-US" sz="1700" dirty="0">
                  <a:solidFill>
                    <a:schemeClr val="accent2"/>
                  </a:solidFill>
                  <a:latin typeface="微软雅黑" pitchFamily="34" charset="-122"/>
                  <a:ea typeface="微软雅黑" pitchFamily="34" charset="-122"/>
                </a:rPr>
                <a:t>Basel III</a:t>
              </a:r>
            </a:p>
          </p:txBody>
        </p:sp>
        <p:pic>
          <p:nvPicPr>
            <p:cNvPr id="47" name="Picture 8" descr="http://intelligenttechnology.us/Pictures/GLBA.png"/>
            <p:cNvPicPr>
              <a:picLocks noChangeAspect="1" noChangeArrowheads="1"/>
            </p:cNvPicPr>
            <p:nvPr/>
          </p:nvPicPr>
          <p:blipFill>
            <a:blip r:embed="rId29" cstate="email">
              <a:extLst>
                <a:ext uri="{28A0092B-C50C-407E-A947-70E740481C1C}">
                  <a14:useLocalDpi xmlns:a14="http://schemas.microsoft.com/office/drawing/2010/main"/>
                </a:ext>
              </a:extLst>
            </a:blip>
            <a:srcRect/>
            <a:stretch>
              <a:fillRect/>
            </a:stretch>
          </p:blipFill>
          <p:spPr bwMode="auto">
            <a:xfrm>
              <a:off x="6875234" y="4324223"/>
              <a:ext cx="632371" cy="251473"/>
            </a:xfrm>
            <a:prstGeom prst="round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96625102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25159" y="-6191"/>
            <a:ext cx="13209323" cy="73152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779453" tIns="64954" rIns="909362" bIns="64954" rtlCol="0" anchor="ctr" anchorCtr="0"/>
          <a:lstStyle/>
          <a:p>
            <a:pPr algn="ctr"/>
            <a:r>
              <a:rPr lang="zh-CN" altLang="en-US" sz="6800" dirty="0">
                <a:solidFill>
                  <a:prstClr val="white"/>
                </a:solidFill>
                <a:latin typeface="微软雅黑" pitchFamily="34" charset="-122"/>
                <a:ea typeface="微软雅黑" pitchFamily="34" charset="-122"/>
              </a:rPr>
              <a:t>我们需要针对现实改变战略</a:t>
            </a:r>
            <a:endParaRPr lang="en-US" sz="7700" dirty="0">
              <a:solidFill>
                <a:prstClr val="white"/>
              </a:solidFill>
              <a:latin typeface="微软雅黑" pitchFamily="34" charset="-122"/>
              <a:ea typeface="微软雅黑" pitchFamily="34" charset="-122"/>
            </a:endParaRPr>
          </a:p>
        </p:txBody>
      </p:sp>
      <p:grpSp>
        <p:nvGrpSpPr>
          <p:cNvPr id="4" name="Group 3"/>
          <p:cNvGrpSpPr/>
          <p:nvPr/>
        </p:nvGrpSpPr>
        <p:grpSpPr>
          <a:xfrm>
            <a:off x="5823402" y="634642"/>
            <a:ext cx="877091" cy="1844014"/>
            <a:chOff x="8317246" y="2179418"/>
            <a:chExt cx="466416" cy="979045"/>
          </a:xfrm>
        </p:grpSpPr>
        <p:grpSp>
          <p:nvGrpSpPr>
            <p:cNvPr id="5" name="Group 4"/>
            <p:cNvGrpSpPr/>
            <p:nvPr/>
          </p:nvGrpSpPr>
          <p:grpSpPr>
            <a:xfrm>
              <a:off x="8317246" y="2399256"/>
              <a:ext cx="466416" cy="759207"/>
              <a:chOff x="8317246" y="2399256"/>
              <a:chExt cx="466416" cy="759207"/>
            </a:xfrm>
          </p:grpSpPr>
          <p:sp>
            <p:nvSpPr>
              <p:cNvPr id="13" name="Round Diagonal Corner Rectangle 4"/>
              <p:cNvSpPr/>
              <p:nvPr/>
            </p:nvSpPr>
            <p:spPr>
              <a:xfrm>
                <a:off x="8317246" y="2399256"/>
                <a:ext cx="466416" cy="640538"/>
              </a:xfrm>
              <a:custGeom>
                <a:avLst/>
                <a:gdLst/>
                <a:ahLst/>
                <a:cxnLst/>
                <a:rect l="l" t="t" r="r" b="b"/>
                <a:pathLst>
                  <a:path w="1387851" h="2273644">
                    <a:moveTo>
                      <a:pt x="710589" y="1"/>
                    </a:moveTo>
                    <a:cubicBezTo>
                      <a:pt x="1252226" y="925"/>
                      <a:pt x="1387851" y="487063"/>
                      <a:pt x="1387851" y="808732"/>
                    </a:cubicBezTo>
                    <a:cubicBezTo>
                      <a:pt x="1387851" y="1169194"/>
                      <a:pt x="1019096" y="1478693"/>
                      <a:pt x="1007152" y="1779374"/>
                    </a:cubicBezTo>
                    <a:cubicBezTo>
                      <a:pt x="1004846" y="1837426"/>
                      <a:pt x="992686" y="1883991"/>
                      <a:pt x="971928" y="1920126"/>
                    </a:cubicBezTo>
                    <a:lnTo>
                      <a:pt x="971928" y="2209799"/>
                    </a:lnTo>
                    <a:cubicBezTo>
                      <a:pt x="971928" y="2245060"/>
                      <a:pt x="943344" y="2273644"/>
                      <a:pt x="908083" y="2273644"/>
                    </a:cubicBezTo>
                    <a:lnTo>
                      <a:pt x="441703" y="2273644"/>
                    </a:lnTo>
                    <a:lnTo>
                      <a:pt x="441703" y="2016803"/>
                    </a:lnTo>
                    <a:cubicBezTo>
                      <a:pt x="418601" y="1969072"/>
                      <a:pt x="404263" y="1900464"/>
                      <a:pt x="403582" y="1804087"/>
                    </a:cubicBezTo>
                    <a:cubicBezTo>
                      <a:pt x="379018" y="1420353"/>
                      <a:pt x="4327" y="1142663"/>
                      <a:pt x="76" y="803190"/>
                    </a:cubicBezTo>
                    <a:cubicBezTo>
                      <a:pt x="-4175" y="463717"/>
                      <a:pt x="168952" y="-923"/>
                      <a:pt x="710589" y="1"/>
                    </a:cubicBezTo>
                    <a:close/>
                  </a:path>
                </a:pathLst>
              </a:custGeom>
              <a:solidFill>
                <a:srgbClr val="FFFFFF"/>
              </a:solidFill>
              <a:ln w="381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微软雅黑" pitchFamily="34" charset="-122"/>
                  <a:ea typeface="微软雅黑" pitchFamily="34" charset="-122"/>
                </a:endParaRPr>
              </a:p>
            </p:txBody>
          </p:sp>
          <p:cxnSp>
            <p:nvCxnSpPr>
              <p:cNvPr id="14" name="Straight Connector 13"/>
              <p:cNvCxnSpPr/>
              <p:nvPr/>
            </p:nvCxnSpPr>
            <p:spPr>
              <a:xfrm>
                <a:off x="8459014" y="3101522"/>
                <a:ext cx="182880" cy="0"/>
              </a:xfrm>
              <a:prstGeom prst="line">
                <a:avLst/>
              </a:prstGeom>
              <a:ln w="38100" cmpd="sng">
                <a:solidFill>
                  <a:srgbClr val="FFFFFF"/>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a:off x="8459014" y="3158463"/>
                <a:ext cx="182880" cy="0"/>
              </a:xfrm>
              <a:prstGeom prst="line">
                <a:avLst/>
              </a:prstGeom>
              <a:ln w="38100" cmpd="sng">
                <a:solidFill>
                  <a:srgbClr val="FFFFFF"/>
                </a:solidFill>
              </a:ln>
              <a:effectLst/>
            </p:spPr>
            <p:style>
              <a:lnRef idx="2">
                <a:schemeClr val="accent1"/>
              </a:lnRef>
              <a:fillRef idx="0">
                <a:schemeClr val="accent1"/>
              </a:fillRef>
              <a:effectRef idx="1">
                <a:schemeClr val="accent1"/>
              </a:effectRef>
              <a:fontRef idx="minor">
                <a:schemeClr val="tx1"/>
              </a:fontRef>
            </p:style>
          </p:cxnSp>
        </p:grpSp>
        <p:grpSp>
          <p:nvGrpSpPr>
            <p:cNvPr id="6" name="Group 5"/>
            <p:cNvGrpSpPr/>
            <p:nvPr/>
          </p:nvGrpSpPr>
          <p:grpSpPr>
            <a:xfrm>
              <a:off x="8351162" y="2179418"/>
              <a:ext cx="398585" cy="197449"/>
              <a:chOff x="8351161" y="2179418"/>
              <a:chExt cx="398585" cy="197449"/>
            </a:xfrm>
          </p:grpSpPr>
          <p:grpSp>
            <p:nvGrpSpPr>
              <p:cNvPr id="7" name="Group 6"/>
              <p:cNvGrpSpPr/>
              <p:nvPr/>
            </p:nvGrpSpPr>
            <p:grpSpPr>
              <a:xfrm>
                <a:off x="8550454" y="2179418"/>
                <a:ext cx="199292" cy="195775"/>
                <a:chOff x="8550454" y="2179418"/>
                <a:chExt cx="199292" cy="195775"/>
              </a:xfrm>
            </p:grpSpPr>
            <p:cxnSp>
              <p:nvCxnSpPr>
                <p:cNvPr id="10" name="Straight Connector 9"/>
                <p:cNvCxnSpPr/>
                <p:nvPr/>
              </p:nvCxnSpPr>
              <p:spPr>
                <a:xfrm rot="5400000" flipH="1">
                  <a:off x="8481874" y="2247998"/>
                  <a:ext cx="137160" cy="0"/>
                </a:xfrm>
                <a:prstGeom prst="line">
                  <a:avLst/>
                </a:prstGeom>
                <a:ln w="28575" cmpd="sng">
                  <a:solidFill>
                    <a:srgbClr val="FFFFFF"/>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p:nvCxnSpPr>
              <p:spPr>
                <a:xfrm rot="6600000" flipH="1">
                  <a:off x="8589057" y="2259721"/>
                  <a:ext cx="137160" cy="0"/>
                </a:xfrm>
                <a:prstGeom prst="line">
                  <a:avLst/>
                </a:prstGeom>
                <a:ln w="28575" cmpd="sng">
                  <a:solidFill>
                    <a:srgbClr val="FFFFFF"/>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rot="7560000" flipH="1">
                  <a:off x="8681166" y="2306613"/>
                  <a:ext cx="137160" cy="0"/>
                </a:xfrm>
                <a:prstGeom prst="line">
                  <a:avLst/>
                </a:prstGeom>
                <a:ln w="28575" cmpd="sng">
                  <a:solidFill>
                    <a:srgbClr val="FFFFFF"/>
                  </a:solidFill>
                </a:ln>
                <a:effectLst/>
              </p:spPr>
              <p:style>
                <a:lnRef idx="2">
                  <a:schemeClr val="accent1"/>
                </a:lnRef>
                <a:fillRef idx="0">
                  <a:schemeClr val="accent1"/>
                </a:fillRef>
                <a:effectRef idx="1">
                  <a:schemeClr val="accent1"/>
                </a:effectRef>
                <a:fontRef idx="minor">
                  <a:schemeClr val="tx1"/>
                </a:fontRef>
              </p:style>
            </p:cxnSp>
          </p:grpSp>
          <p:cxnSp>
            <p:nvCxnSpPr>
              <p:cNvPr id="8" name="Straight Connector 7"/>
              <p:cNvCxnSpPr/>
              <p:nvPr/>
            </p:nvCxnSpPr>
            <p:spPr>
              <a:xfrm rot="15000000">
                <a:off x="8374690" y="2261395"/>
                <a:ext cx="137160" cy="0"/>
              </a:xfrm>
              <a:prstGeom prst="line">
                <a:avLst/>
              </a:prstGeom>
              <a:ln w="28575" cmpd="sng">
                <a:solidFill>
                  <a:srgbClr val="FFFFFF"/>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rot="14040000">
                <a:off x="8282581" y="2308287"/>
                <a:ext cx="137160" cy="0"/>
              </a:xfrm>
              <a:prstGeom prst="line">
                <a:avLst/>
              </a:prstGeom>
              <a:ln>
                <a:solidFill>
                  <a:srgbClr val="FFFFFF"/>
                </a:solidFill>
              </a:ln>
            </p:spPr>
            <p:style>
              <a:lnRef idx="2">
                <a:schemeClr val="accent5"/>
              </a:lnRef>
              <a:fillRef idx="0">
                <a:schemeClr val="accent5"/>
              </a:fillRef>
              <a:effectRef idx="1">
                <a:schemeClr val="accent5"/>
              </a:effectRef>
              <a:fontRef idx="minor">
                <a:schemeClr val="tx1"/>
              </a:fontRef>
            </p:style>
          </p:cxnSp>
        </p:grpSp>
      </p:grpSp>
      <p:pic>
        <p:nvPicPr>
          <p:cNvPr id="16" name="Picture 3"/>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117863" y="5017749"/>
            <a:ext cx="2187388" cy="126431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Picture 4"/>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4502402" y="4508154"/>
            <a:ext cx="3754197" cy="2647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95377476"/>
      </p:ext>
    </p:extLst>
  </p:cSld>
  <p:clrMapOvr>
    <a:masterClrMapping/>
  </p:clrMapOvr>
  <p:transition spd="slow">
    <p:randomBar dir="vert"/>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7" name="Freeform 575"/>
          <p:cNvSpPr>
            <a:spLocks noEditPoints="1"/>
          </p:cNvSpPr>
          <p:nvPr/>
        </p:nvSpPr>
        <p:spPr bwMode="auto">
          <a:xfrm>
            <a:off x="5707947" y="1382790"/>
            <a:ext cx="2573849" cy="5204176"/>
          </a:xfrm>
          <a:custGeom>
            <a:avLst/>
            <a:gdLst>
              <a:gd name="T0" fmla="*/ 156 w 180"/>
              <a:gd name="T1" fmla="*/ 0 h 364"/>
              <a:gd name="T2" fmla="*/ 0 w 180"/>
              <a:gd name="T3" fmla="*/ 0 h 364"/>
              <a:gd name="T4" fmla="*/ 0 w 180"/>
              <a:gd name="T5" fmla="*/ 340 h 364"/>
              <a:gd name="T6" fmla="*/ 24 w 180"/>
              <a:gd name="T7" fmla="*/ 364 h 364"/>
              <a:gd name="T8" fmla="*/ 180 w 180"/>
              <a:gd name="T9" fmla="*/ 364 h 364"/>
              <a:gd name="T10" fmla="*/ 180 w 180"/>
              <a:gd name="T11" fmla="*/ 24 h 364"/>
              <a:gd name="T12" fmla="*/ 156 w 180"/>
              <a:gd name="T13" fmla="*/ 0 h 364"/>
              <a:gd name="T14" fmla="*/ 76 w 180"/>
              <a:gd name="T15" fmla="*/ 292 h 364"/>
              <a:gd name="T16" fmla="*/ 28 w 180"/>
              <a:gd name="T17" fmla="*/ 292 h 364"/>
              <a:gd name="T18" fmla="*/ 28 w 180"/>
              <a:gd name="T19" fmla="*/ 244 h 364"/>
              <a:gd name="T20" fmla="*/ 76 w 180"/>
              <a:gd name="T21" fmla="*/ 244 h 364"/>
              <a:gd name="T22" fmla="*/ 76 w 180"/>
              <a:gd name="T23" fmla="*/ 292 h 364"/>
              <a:gd name="T24" fmla="*/ 76 w 180"/>
              <a:gd name="T25" fmla="*/ 220 h 364"/>
              <a:gd name="T26" fmla="*/ 28 w 180"/>
              <a:gd name="T27" fmla="*/ 220 h 364"/>
              <a:gd name="T28" fmla="*/ 28 w 180"/>
              <a:gd name="T29" fmla="*/ 172 h 364"/>
              <a:gd name="T30" fmla="*/ 76 w 180"/>
              <a:gd name="T31" fmla="*/ 172 h 364"/>
              <a:gd name="T32" fmla="*/ 76 w 180"/>
              <a:gd name="T33" fmla="*/ 220 h 364"/>
              <a:gd name="T34" fmla="*/ 76 w 180"/>
              <a:gd name="T35" fmla="*/ 148 h 364"/>
              <a:gd name="T36" fmla="*/ 28 w 180"/>
              <a:gd name="T37" fmla="*/ 148 h 364"/>
              <a:gd name="T38" fmla="*/ 28 w 180"/>
              <a:gd name="T39" fmla="*/ 100 h 364"/>
              <a:gd name="T40" fmla="*/ 76 w 180"/>
              <a:gd name="T41" fmla="*/ 100 h 364"/>
              <a:gd name="T42" fmla="*/ 76 w 180"/>
              <a:gd name="T43" fmla="*/ 148 h 364"/>
              <a:gd name="T44" fmla="*/ 76 w 180"/>
              <a:gd name="T45" fmla="*/ 76 h 364"/>
              <a:gd name="T46" fmla="*/ 28 w 180"/>
              <a:gd name="T47" fmla="*/ 76 h 364"/>
              <a:gd name="T48" fmla="*/ 28 w 180"/>
              <a:gd name="T49" fmla="*/ 28 h 364"/>
              <a:gd name="T50" fmla="*/ 76 w 180"/>
              <a:gd name="T51" fmla="*/ 28 h 364"/>
              <a:gd name="T52" fmla="*/ 76 w 180"/>
              <a:gd name="T53" fmla="*/ 76 h 364"/>
              <a:gd name="T54" fmla="*/ 152 w 180"/>
              <a:gd name="T55" fmla="*/ 220 h 364"/>
              <a:gd name="T56" fmla="*/ 104 w 180"/>
              <a:gd name="T57" fmla="*/ 220 h 364"/>
              <a:gd name="T58" fmla="*/ 104 w 180"/>
              <a:gd name="T59" fmla="*/ 172 h 364"/>
              <a:gd name="T60" fmla="*/ 152 w 180"/>
              <a:gd name="T61" fmla="*/ 172 h 364"/>
              <a:gd name="T62" fmla="*/ 152 w 180"/>
              <a:gd name="T63" fmla="*/ 220 h 364"/>
              <a:gd name="T64" fmla="*/ 152 w 180"/>
              <a:gd name="T65" fmla="*/ 148 h 364"/>
              <a:gd name="T66" fmla="*/ 104 w 180"/>
              <a:gd name="T67" fmla="*/ 148 h 364"/>
              <a:gd name="T68" fmla="*/ 104 w 180"/>
              <a:gd name="T69" fmla="*/ 100 h 364"/>
              <a:gd name="T70" fmla="*/ 152 w 180"/>
              <a:gd name="T71" fmla="*/ 100 h 364"/>
              <a:gd name="T72" fmla="*/ 152 w 180"/>
              <a:gd name="T73" fmla="*/ 148 h 364"/>
              <a:gd name="T74" fmla="*/ 152 w 180"/>
              <a:gd name="T75" fmla="*/ 76 h 364"/>
              <a:gd name="T76" fmla="*/ 104 w 180"/>
              <a:gd name="T77" fmla="*/ 76 h 364"/>
              <a:gd name="T78" fmla="*/ 104 w 180"/>
              <a:gd name="T79" fmla="*/ 28 h 364"/>
              <a:gd name="T80" fmla="*/ 152 w 180"/>
              <a:gd name="T81" fmla="*/ 28 h 364"/>
              <a:gd name="T82" fmla="*/ 152 w 180"/>
              <a:gd name="T83" fmla="*/ 76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0" h="364">
                <a:moveTo>
                  <a:pt x="156" y="0"/>
                </a:moveTo>
                <a:cubicBezTo>
                  <a:pt x="0" y="0"/>
                  <a:pt x="0" y="0"/>
                  <a:pt x="0" y="0"/>
                </a:cubicBezTo>
                <a:cubicBezTo>
                  <a:pt x="0" y="340"/>
                  <a:pt x="0" y="340"/>
                  <a:pt x="0" y="340"/>
                </a:cubicBezTo>
                <a:cubicBezTo>
                  <a:pt x="0" y="353"/>
                  <a:pt x="10" y="364"/>
                  <a:pt x="24" y="364"/>
                </a:cubicBezTo>
                <a:cubicBezTo>
                  <a:pt x="180" y="364"/>
                  <a:pt x="180" y="364"/>
                  <a:pt x="180" y="364"/>
                </a:cubicBezTo>
                <a:cubicBezTo>
                  <a:pt x="180" y="24"/>
                  <a:pt x="180" y="24"/>
                  <a:pt x="180" y="24"/>
                </a:cubicBezTo>
                <a:cubicBezTo>
                  <a:pt x="180" y="11"/>
                  <a:pt x="169" y="0"/>
                  <a:pt x="156" y="0"/>
                </a:cubicBezTo>
                <a:moveTo>
                  <a:pt x="76" y="292"/>
                </a:moveTo>
                <a:cubicBezTo>
                  <a:pt x="28" y="292"/>
                  <a:pt x="28" y="292"/>
                  <a:pt x="28" y="292"/>
                </a:cubicBezTo>
                <a:cubicBezTo>
                  <a:pt x="28" y="244"/>
                  <a:pt x="28" y="244"/>
                  <a:pt x="28" y="244"/>
                </a:cubicBezTo>
                <a:cubicBezTo>
                  <a:pt x="76" y="244"/>
                  <a:pt x="76" y="244"/>
                  <a:pt x="76" y="244"/>
                </a:cubicBezTo>
                <a:lnTo>
                  <a:pt x="76" y="292"/>
                </a:lnTo>
                <a:close/>
                <a:moveTo>
                  <a:pt x="76" y="220"/>
                </a:moveTo>
                <a:cubicBezTo>
                  <a:pt x="28" y="220"/>
                  <a:pt x="28" y="220"/>
                  <a:pt x="28" y="220"/>
                </a:cubicBezTo>
                <a:cubicBezTo>
                  <a:pt x="28" y="172"/>
                  <a:pt x="28" y="172"/>
                  <a:pt x="28" y="172"/>
                </a:cubicBezTo>
                <a:cubicBezTo>
                  <a:pt x="76" y="172"/>
                  <a:pt x="76" y="172"/>
                  <a:pt x="76" y="172"/>
                </a:cubicBezTo>
                <a:lnTo>
                  <a:pt x="76" y="220"/>
                </a:lnTo>
                <a:close/>
                <a:moveTo>
                  <a:pt x="76" y="148"/>
                </a:moveTo>
                <a:cubicBezTo>
                  <a:pt x="28" y="148"/>
                  <a:pt x="28" y="148"/>
                  <a:pt x="28" y="148"/>
                </a:cubicBezTo>
                <a:cubicBezTo>
                  <a:pt x="28" y="100"/>
                  <a:pt x="28" y="100"/>
                  <a:pt x="28" y="100"/>
                </a:cubicBezTo>
                <a:cubicBezTo>
                  <a:pt x="76" y="100"/>
                  <a:pt x="76" y="100"/>
                  <a:pt x="76" y="100"/>
                </a:cubicBezTo>
                <a:lnTo>
                  <a:pt x="76" y="148"/>
                </a:lnTo>
                <a:close/>
                <a:moveTo>
                  <a:pt x="76" y="76"/>
                </a:moveTo>
                <a:cubicBezTo>
                  <a:pt x="28" y="76"/>
                  <a:pt x="28" y="76"/>
                  <a:pt x="28" y="76"/>
                </a:cubicBezTo>
                <a:cubicBezTo>
                  <a:pt x="28" y="28"/>
                  <a:pt x="28" y="28"/>
                  <a:pt x="28" y="28"/>
                </a:cubicBezTo>
                <a:cubicBezTo>
                  <a:pt x="76" y="28"/>
                  <a:pt x="76" y="28"/>
                  <a:pt x="76" y="28"/>
                </a:cubicBezTo>
                <a:lnTo>
                  <a:pt x="76" y="76"/>
                </a:lnTo>
                <a:close/>
                <a:moveTo>
                  <a:pt x="152" y="220"/>
                </a:moveTo>
                <a:cubicBezTo>
                  <a:pt x="104" y="220"/>
                  <a:pt x="104" y="220"/>
                  <a:pt x="104" y="220"/>
                </a:cubicBezTo>
                <a:cubicBezTo>
                  <a:pt x="104" y="172"/>
                  <a:pt x="104" y="172"/>
                  <a:pt x="104" y="172"/>
                </a:cubicBezTo>
                <a:cubicBezTo>
                  <a:pt x="152" y="172"/>
                  <a:pt x="152" y="172"/>
                  <a:pt x="152" y="172"/>
                </a:cubicBezTo>
                <a:lnTo>
                  <a:pt x="152" y="220"/>
                </a:lnTo>
                <a:close/>
                <a:moveTo>
                  <a:pt x="152" y="148"/>
                </a:moveTo>
                <a:cubicBezTo>
                  <a:pt x="104" y="148"/>
                  <a:pt x="104" y="148"/>
                  <a:pt x="104" y="148"/>
                </a:cubicBezTo>
                <a:cubicBezTo>
                  <a:pt x="104" y="100"/>
                  <a:pt x="104" y="100"/>
                  <a:pt x="104" y="100"/>
                </a:cubicBezTo>
                <a:cubicBezTo>
                  <a:pt x="152" y="100"/>
                  <a:pt x="152" y="100"/>
                  <a:pt x="152" y="100"/>
                </a:cubicBezTo>
                <a:lnTo>
                  <a:pt x="152" y="148"/>
                </a:lnTo>
                <a:close/>
                <a:moveTo>
                  <a:pt x="152" y="76"/>
                </a:moveTo>
                <a:cubicBezTo>
                  <a:pt x="104" y="76"/>
                  <a:pt x="104" y="76"/>
                  <a:pt x="104" y="76"/>
                </a:cubicBezTo>
                <a:cubicBezTo>
                  <a:pt x="104" y="28"/>
                  <a:pt x="104" y="28"/>
                  <a:pt x="104" y="28"/>
                </a:cubicBezTo>
                <a:cubicBezTo>
                  <a:pt x="152" y="28"/>
                  <a:pt x="152" y="28"/>
                  <a:pt x="152" y="28"/>
                </a:cubicBezTo>
                <a:lnTo>
                  <a:pt x="152" y="76"/>
                </a:lnTo>
                <a:close/>
              </a:path>
            </a:pathLst>
          </a:custGeom>
          <a:solidFill>
            <a:schemeClr val="accent4">
              <a:lumMod val="40000"/>
              <a:lumOff val="60000"/>
            </a:schemeClr>
          </a:solidFill>
          <a:ln>
            <a:noFill/>
          </a:ln>
        </p:spPr>
        <p:txBody>
          <a:bodyPr vert="horz" wrap="square" lIns="129909" tIns="64954" rIns="129909" bIns="64954" numCol="1" anchor="t" anchorCtr="0" compatLnSpc="1">
            <a:prstTxWarp prst="textNoShape">
              <a:avLst/>
            </a:prstTxWarp>
          </a:bodyPr>
          <a:lstStyle/>
          <a:p>
            <a:endParaRPr lang="en-US">
              <a:latin typeface="微软雅黑" pitchFamily="34" charset="-122"/>
              <a:ea typeface="微软雅黑" pitchFamily="34" charset="-122"/>
            </a:endParaRPr>
          </a:p>
        </p:txBody>
      </p:sp>
      <p:grpSp>
        <p:nvGrpSpPr>
          <p:cNvPr id="8" name="Group 7"/>
          <p:cNvGrpSpPr/>
          <p:nvPr/>
        </p:nvGrpSpPr>
        <p:grpSpPr>
          <a:xfrm>
            <a:off x="6521830" y="2476623"/>
            <a:ext cx="1481740" cy="2674644"/>
            <a:chOff x="4592950" y="1741375"/>
            <a:chExt cx="1043504" cy="1880609"/>
          </a:xfrm>
        </p:grpSpPr>
        <p:grpSp>
          <p:nvGrpSpPr>
            <p:cNvPr id="297" name="Group 322"/>
            <p:cNvGrpSpPr/>
            <p:nvPr/>
          </p:nvGrpSpPr>
          <p:grpSpPr>
            <a:xfrm>
              <a:off x="4756914" y="2780883"/>
              <a:ext cx="738382" cy="841101"/>
              <a:chOff x="2344975" y="3326629"/>
              <a:chExt cx="809388" cy="921985"/>
            </a:xfrm>
            <a:solidFill>
              <a:srgbClr val="000000"/>
            </a:solidFill>
          </p:grpSpPr>
          <p:sp>
            <p:nvSpPr>
              <p:cNvPr id="298" name="Freeform 158"/>
              <p:cNvSpPr>
                <a:spLocks/>
              </p:cNvSpPr>
              <p:nvPr/>
            </p:nvSpPr>
            <p:spPr bwMode="auto">
              <a:xfrm>
                <a:off x="2354350" y="3326629"/>
                <a:ext cx="32813" cy="89224"/>
              </a:xfrm>
              <a:custGeom>
                <a:avLst/>
                <a:gdLst/>
                <a:ahLst/>
                <a:cxnLst>
                  <a:cxn ang="0">
                    <a:pos x="21" y="57"/>
                  </a:cxn>
                  <a:cxn ang="0">
                    <a:pos x="11" y="57"/>
                  </a:cxn>
                  <a:cxn ang="0">
                    <a:pos x="11" y="10"/>
                  </a:cxn>
                  <a:cxn ang="0">
                    <a:pos x="0" y="10"/>
                  </a:cxn>
                  <a:cxn ang="0">
                    <a:pos x="4" y="0"/>
                  </a:cxn>
                  <a:cxn ang="0">
                    <a:pos x="21" y="0"/>
                  </a:cxn>
                  <a:cxn ang="0">
                    <a:pos x="21" y="57"/>
                  </a:cxn>
                </a:cxnLst>
                <a:rect l="0" t="0" r="r" b="b"/>
                <a:pathLst>
                  <a:path w="21" h="57">
                    <a:moveTo>
                      <a:pt x="21" y="57"/>
                    </a:moveTo>
                    <a:lnTo>
                      <a:pt x="11" y="57"/>
                    </a:lnTo>
                    <a:lnTo>
                      <a:pt x="11" y="10"/>
                    </a:lnTo>
                    <a:lnTo>
                      <a:pt x="0" y="10"/>
                    </a:lnTo>
                    <a:lnTo>
                      <a:pt x="4" y="0"/>
                    </a:lnTo>
                    <a:lnTo>
                      <a:pt x="21" y="0"/>
                    </a:lnTo>
                    <a:lnTo>
                      <a:pt x="21"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299" name="Freeform 159"/>
              <p:cNvSpPr>
                <a:spLocks noEditPoints="1"/>
              </p:cNvSpPr>
              <p:nvPr/>
            </p:nvSpPr>
            <p:spPr bwMode="auto">
              <a:xfrm>
                <a:off x="2402789" y="3326629"/>
                <a:ext cx="60938" cy="89224"/>
              </a:xfrm>
              <a:custGeom>
                <a:avLst/>
                <a:gdLst/>
                <a:ahLst/>
                <a:cxnLst>
                  <a:cxn ang="0">
                    <a:pos x="51" y="37"/>
                  </a:cxn>
                  <a:cxn ang="0">
                    <a:pos x="44" y="65"/>
                  </a:cxn>
                  <a:cxn ang="0">
                    <a:pos x="25" y="75"/>
                  </a:cxn>
                  <a:cxn ang="0">
                    <a:pos x="7" y="65"/>
                  </a:cxn>
                  <a:cxn ang="0">
                    <a:pos x="0" y="37"/>
                  </a:cxn>
                  <a:cxn ang="0">
                    <a:pos x="7" y="10"/>
                  </a:cxn>
                  <a:cxn ang="0">
                    <a:pos x="25" y="0"/>
                  </a:cxn>
                  <a:cxn ang="0">
                    <a:pos x="44" y="10"/>
                  </a:cxn>
                  <a:cxn ang="0">
                    <a:pos x="51" y="37"/>
                  </a:cxn>
                  <a:cxn ang="0">
                    <a:pos x="37" y="37"/>
                  </a:cxn>
                  <a:cxn ang="0">
                    <a:pos x="34" y="19"/>
                  </a:cxn>
                  <a:cxn ang="0">
                    <a:pos x="25" y="12"/>
                  </a:cxn>
                  <a:cxn ang="0">
                    <a:pos x="17" y="19"/>
                  </a:cxn>
                  <a:cxn ang="0">
                    <a:pos x="13" y="37"/>
                  </a:cxn>
                  <a:cxn ang="0">
                    <a:pos x="17" y="56"/>
                  </a:cxn>
                  <a:cxn ang="0">
                    <a:pos x="25" y="63"/>
                  </a:cxn>
                  <a:cxn ang="0">
                    <a:pos x="34" y="56"/>
                  </a:cxn>
                  <a:cxn ang="0">
                    <a:pos x="37" y="37"/>
                  </a:cxn>
                </a:cxnLst>
                <a:rect l="0" t="0" r="r" b="b"/>
                <a:pathLst>
                  <a:path w="51" h="75">
                    <a:moveTo>
                      <a:pt x="51" y="37"/>
                    </a:moveTo>
                    <a:cubicBezTo>
                      <a:pt x="51" y="49"/>
                      <a:pt x="49" y="58"/>
                      <a:pt x="44" y="65"/>
                    </a:cubicBezTo>
                    <a:cubicBezTo>
                      <a:pt x="39" y="72"/>
                      <a:pt x="33" y="75"/>
                      <a:pt x="25" y="75"/>
                    </a:cubicBezTo>
                    <a:cubicBezTo>
                      <a:pt x="18" y="75"/>
                      <a:pt x="11" y="72"/>
                      <a:pt x="7" y="65"/>
                    </a:cubicBezTo>
                    <a:cubicBezTo>
                      <a:pt x="2" y="58"/>
                      <a:pt x="0" y="49"/>
                      <a:pt x="0" y="37"/>
                    </a:cubicBezTo>
                    <a:cubicBezTo>
                      <a:pt x="0" y="26"/>
                      <a:pt x="2" y="17"/>
                      <a:pt x="7" y="10"/>
                    </a:cubicBezTo>
                    <a:cubicBezTo>
                      <a:pt x="11" y="3"/>
                      <a:pt x="18" y="0"/>
                      <a:pt x="25" y="0"/>
                    </a:cubicBezTo>
                    <a:cubicBezTo>
                      <a:pt x="33" y="0"/>
                      <a:pt x="40" y="3"/>
                      <a:pt x="44" y="10"/>
                    </a:cubicBezTo>
                    <a:cubicBezTo>
                      <a:pt x="49" y="17"/>
                      <a:pt x="51" y="26"/>
                      <a:pt x="51" y="37"/>
                    </a:cubicBezTo>
                    <a:close/>
                    <a:moveTo>
                      <a:pt x="37" y="37"/>
                    </a:moveTo>
                    <a:cubicBezTo>
                      <a:pt x="37" y="30"/>
                      <a:pt x="36" y="24"/>
                      <a:pt x="34" y="19"/>
                    </a:cubicBezTo>
                    <a:cubicBezTo>
                      <a:pt x="32" y="14"/>
                      <a:pt x="29" y="12"/>
                      <a:pt x="25" y="12"/>
                    </a:cubicBezTo>
                    <a:cubicBezTo>
                      <a:pt x="22" y="12"/>
                      <a:pt x="19" y="14"/>
                      <a:pt x="17" y="19"/>
                    </a:cubicBezTo>
                    <a:cubicBezTo>
                      <a:pt x="15" y="24"/>
                      <a:pt x="13" y="30"/>
                      <a:pt x="13" y="37"/>
                    </a:cubicBezTo>
                    <a:cubicBezTo>
                      <a:pt x="13" y="45"/>
                      <a:pt x="15" y="51"/>
                      <a:pt x="17" y="56"/>
                    </a:cubicBezTo>
                    <a:cubicBezTo>
                      <a:pt x="19" y="60"/>
                      <a:pt x="22" y="63"/>
                      <a:pt x="25" y="63"/>
                    </a:cubicBezTo>
                    <a:cubicBezTo>
                      <a:pt x="29" y="63"/>
                      <a:pt x="32" y="61"/>
                      <a:pt x="34" y="56"/>
                    </a:cubicBezTo>
                    <a:cubicBezTo>
                      <a:pt x="36" y="51"/>
                      <a:pt x="37" y="45"/>
                      <a:pt x="37"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0" name="Freeform 160"/>
              <p:cNvSpPr>
                <a:spLocks/>
              </p:cNvSpPr>
              <p:nvPr/>
            </p:nvSpPr>
            <p:spPr bwMode="auto">
              <a:xfrm>
                <a:off x="2465290" y="3326629"/>
                <a:ext cx="32813" cy="89224"/>
              </a:xfrm>
              <a:custGeom>
                <a:avLst/>
                <a:gdLst/>
                <a:ahLst/>
                <a:cxnLst>
                  <a:cxn ang="0">
                    <a:pos x="21" y="57"/>
                  </a:cxn>
                  <a:cxn ang="0">
                    <a:pos x="10" y="57"/>
                  </a:cxn>
                  <a:cxn ang="0">
                    <a:pos x="10" y="10"/>
                  </a:cxn>
                  <a:cxn ang="0">
                    <a:pos x="0" y="10"/>
                  </a:cxn>
                  <a:cxn ang="0">
                    <a:pos x="4" y="0"/>
                  </a:cxn>
                  <a:cxn ang="0">
                    <a:pos x="21" y="0"/>
                  </a:cxn>
                  <a:cxn ang="0">
                    <a:pos x="21" y="57"/>
                  </a:cxn>
                </a:cxnLst>
                <a:rect l="0" t="0" r="r" b="b"/>
                <a:pathLst>
                  <a:path w="21" h="57">
                    <a:moveTo>
                      <a:pt x="21" y="57"/>
                    </a:moveTo>
                    <a:lnTo>
                      <a:pt x="10" y="57"/>
                    </a:lnTo>
                    <a:lnTo>
                      <a:pt x="10" y="10"/>
                    </a:lnTo>
                    <a:lnTo>
                      <a:pt x="0" y="10"/>
                    </a:lnTo>
                    <a:lnTo>
                      <a:pt x="4" y="0"/>
                    </a:lnTo>
                    <a:lnTo>
                      <a:pt x="21" y="0"/>
                    </a:lnTo>
                    <a:lnTo>
                      <a:pt x="21"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1" name="Freeform 161"/>
              <p:cNvSpPr>
                <a:spLocks/>
              </p:cNvSpPr>
              <p:nvPr/>
            </p:nvSpPr>
            <p:spPr bwMode="auto">
              <a:xfrm>
                <a:off x="2505915" y="3326629"/>
                <a:ext cx="32813" cy="89224"/>
              </a:xfrm>
              <a:custGeom>
                <a:avLst/>
                <a:gdLst/>
                <a:ahLst/>
                <a:cxnLst>
                  <a:cxn ang="0">
                    <a:pos x="21" y="57"/>
                  </a:cxn>
                  <a:cxn ang="0">
                    <a:pos x="11" y="57"/>
                  </a:cxn>
                  <a:cxn ang="0">
                    <a:pos x="11" y="10"/>
                  </a:cxn>
                  <a:cxn ang="0">
                    <a:pos x="0" y="10"/>
                  </a:cxn>
                  <a:cxn ang="0">
                    <a:pos x="4" y="0"/>
                  </a:cxn>
                  <a:cxn ang="0">
                    <a:pos x="21" y="0"/>
                  </a:cxn>
                  <a:cxn ang="0">
                    <a:pos x="21" y="57"/>
                  </a:cxn>
                </a:cxnLst>
                <a:rect l="0" t="0" r="r" b="b"/>
                <a:pathLst>
                  <a:path w="21" h="57">
                    <a:moveTo>
                      <a:pt x="21" y="57"/>
                    </a:moveTo>
                    <a:lnTo>
                      <a:pt x="11" y="57"/>
                    </a:lnTo>
                    <a:lnTo>
                      <a:pt x="11" y="10"/>
                    </a:lnTo>
                    <a:lnTo>
                      <a:pt x="0" y="10"/>
                    </a:lnTo>
                    <a:lnTo>
                      <a:pt x="4" y="0"/>
                    </a:lnTo>
                    <a:lnTo>
                      <a:pt x="21" y="0"/>
                    </a:lnTo>
                    <a:lnTo>
                      <a:pt x="21"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2" name="Freeform 162"/>
              <p:cNvSpPr>
                <a:spLocks/>
              </p:cNvSpPr>
              <p:nvPr/>
            </p:nvSpPr>
            <p:spPr bwMode="auto">
              <a:xfrm>
                <a:off x="2546541" y="3326629"/>
                <a:ext cx="32813" cy="89224"/>
              </a:xfrm>
              <a:custGeom>
                <a:avLst/>
                <a:gdLst/>
                <a:ahLst/>
                <a:cxnLst>
                  <a:cxn ang="0">
                    <a:pos x="21" y="57"/>
                  </a:cxn>
                  <a:cxn ang="0">
                    <a:pos x="11" y="57"/>
                  </a:cxn>
                  <a:cxn ang="0">
                    <a:pos x="11" y="10"/>
                  </a:cxn>
                  <a:cxn ang="0">
                    <a:pos x="0" y="10"/>
                  </a:cxn>
                  <a:cxn ang="0">
                    <a:pos x="5" y="0"/>
                  </a:cxn>
                  <a:cxn ang="0">
                    <a:pos x="21" y="0"/>
                  </a:cxn>
                  <a:cxn ang="0">
                    <a:pos x="21" y="57"/>
                  </a:cxn>
                </a:cxnLst>
                <a:rect l="0" t="0" r="r" b="b"/>
                <a:pathLst>
                  <a:path w="21" h="57">
                    <a:moveTo>
                      <a:pt x="21" y="57"/>
                    </a:moveTo>
                    <a:lnTo>
                      <a:pt x="11" y="57"/>
                    </a:lnTo>
                    <a:lnTo>
                      <a:pt x="11" y="10"/>
                    </a:lnTo>
                    <a:lnTo>
                      <a:pt x="0" y="10"/>
                    </a:lnTo>
                    <a:lnTo>
                      <a:pt x="5" y="0"/>
                    </a:lnTo>
                    <a:lnTo>
                      <a:pt x="21" y="0"/>
                    </a:lnTo>
                    <a:lnTo>
                      <a:pt x="21"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3" name="Freeform 163"/>
              <p:cNvSpPr>
                <a:spLocks/>
              </p:cNvSpPr>
              <p:nvPr/>
            </p:nvSpPr>
            <p:spPr bwMode="auto">
              <a:xfrm>
                <a:off x="2587167" y="3326629"/>
                <a:ext cx="34376" cy="89224"/>
              </a:xfrm>
              <a:custGeom>
                <a:avLst/>
                <a:gdLst/>
                <a:ahLst/>
                <a:cxnLst>
                  <a:cxn ang="0">
                    <a:pos x="22" y="57"/>
                  </a:cxn>
                  <a:cxn ang="0">
                    <a:pos x="11" y="57"/>
                  </a:cxn>
                  <a:cxn ang="0">
                    <a:pos x="11" y="10"/>
                  </a:cxn>
                  <a:cxn ang="0">
                    <a:pos x="0" y="10"/>
                  </a:cxn>
                  <a:cxn ang="0">
                    <a:pos x="5" y="0"/>
                  </a:cxn>
                  <a:cxn ang="0">
                    <a:pos x="22" y="0"/>
                  </a:cxn>
                  <a:cxn ang="0">
                    <a:pos x="22" y="57"/>
                  </a:cxn>
                </a:cxnLst>
                <a:rect l="0" t="0" r="r" b="b"/>
                <a:pathLst>
                  <a:path w="22" h="57">
                    <a:moveTo>
                      <a:pt x="22" y="57"/>
                    </a:moveTo>
                    <a:lnTo>
                      <a:pt x="11" y="57"/>
                    </a:lnTo>
                    <a:lnTo>
                      <a:pt x="11" y="10"/>
                    </a:lnTo>
                    <a:lnTo>
                      <a:pt x="0" y="10"/>
                    </a:lnTo>
                    <a:lnTo>
                      <a:pt x="5" y="0"/>
                    </a:lnTo>
                    <a:lnTo>
                      <a:pt x="22" y="0"/>
                    </a:lnTo>
                    <a:lnTo>
                      <a:pt x="22"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4" name="Freeform 164"/>
              <p:cNvSpPr>
                <a:spLocks noEditPoints="1"/>
              </p:cNvSpPr>
              <p:nvPr/>
            </p:nvSpPr>
            <p:spPr bwMode="auto">
              <a:xfrm>
                <a:off x="2635605" y="3326629"/>
                <a:ext cx="60938" cy="89224"/>
              </a:xfrm>
              <a:custGeom>
                <a:avLst/>
                <a:gdLst/>
                <a:ahLst/>
                <a:cxnLst>
                  <a:cxn ang="0">
                    <a:pos x="51" y="37"/>
                  </a:cxn>
                  <a:cxn ang="0">
                    <a:pos x="44" y="65"/>
                  </a:cxn>
                  <a:cxn ang="0">
                    <a:pos x="25" y="75"/>
                  </a:cxn>
                  <a:cxn ang="0">
                    <a:pos x="7" y="65"/>
                  </a:cxn>
                  <a:cxn ang="0">
                    <a:pos x="0" y="37"/>
                  </a:cxn>
                  <a:cxn ang="0">
                    <a:pos x="7" y="10"/>
                  </a:cxn>
                  <a:cxn ang="0">
                    <a:pos x="25" y="0"/>
                  </a:cxn>
                  <a:cxn ang="0">
                    <a:pos x="44" y="10"/>
                  </a:cxn>
                  <a:cxn ang="0">
                    <a:pos x="51" y="37"/>
                  </a:cxn>
                  <a:cxn ang="0">
                    <a:pos x="37" y="37"/>
                  </a:cxn>
                  <a:cxn ang="0">
                    <a:pos x="34" y="19"/>
                  </a:cxn>
                  <a:cxn ang="0">
                    <a:pos x="25" y="12"/>
                  </a:cxn>
                  <a:cxn ang="0">
                    <a:pos x="17" y="19"/>
                  </a:cxn>
                  <a:cxn ang="0">
                    <a:pos x="13" y="37"/>
                  </a:cxn>
                  <a:cxn ang="0">
                    <a:pos x="17" y="56"/>
                  </a:cxn>
                  <a:cxn ang="0">
                    <a:pos x="25" y="63"/>
                  </a:cxn>
                  <a:cxn ang="0">
                    <a:pos x="34" y="56"/>
                  </a:cxn>
                  <a:cxn ang="0">
                    <a:pos x="37" y="37"/>
                  </a:cxn>
                </a:cxnLst>
                <a:rect l="0" t="0" r="r" b="b"/>
                <a:pathLst>
                  <a:path w="51" h="75">
                    <a:moveTo>
                      <a:pt x="51" y="37"/>
                    </a:moveTo>
                    <a:cubicBezTo>
                      <a:pt x="51" y="49"/>
                      <a:pt x="49" y="58"/>
                      <a:pt x="44" y="65"/>
                    </a:cubicBezTo>
                    <a:cubicBezTo>
                      <a:pt x="39" y="72"/>
                      <a:pt x="33" y="75"/>
                      <a:pt x="25" y="75"/>
                    </a:cubicBezTo>
                    <a:cubicBezTo>
                      <a:pt x="17" y="75"/>
                      <a:pt x="11" y="72"/>
                      <a:pt x="7" y="65"/>
                    </a:cubicBezTo>
                    <a:cubicBezTo>
                      <a:pt x="2" y="58"/>
                      <a:pt x="0" y="49"/>
                      <a:pt x="0" y="37"/>
                    </a:cubicBezTo>
                    <a:cubicBezTo>
                      <a:pt x="0" y="26"/>
                      <a:pt x="2" y="17"/>
                      <a:pt x="7" y="10"/>
                    </a:cubicBezTo>
                    <a:cubicBezTo>
                      <a:pt x="11" y="3"/>
                      <a:pt x="18" y="0"/>
                      <a:pt x="25" y="0"/>
                    </a:cubicBezTo>
                    <a:cubicBezTo>
                      <a:pt x="33" y="0"/>
                      <a:pt x="39" y="3"/>
                      <a:pt x="44" y="10"/>
                    </a:cubicBezTo>
                    <a:cubicBezTo>
                      <a:pt x="49" y="17"/>
                      <a:pt x="51" y="26"/>
                      <a:pt x="51" y="37"/>
                    </a:cubicBezTo>
                    <a:close/>
                    <a:moveTo>
                      <a:pt x="37" y="37"/>
                    </a:moveTo>
                    <a:cubicBezTo>
                      <a:pt x="37" y="30"/>
                      <a:pt x="36" y="24"/>
                      <a:pt x="34" y="19"/>
                    </a:cubicBezTo>
                    <a:cubicBezTo>
                      <a:pt x="32" y="14"/>
                      <a:pt x="29" y="12"/>
                      <a:pt x="25" y="12"/>
                    </a:cubicBezTo>
                    <a:cubicBezTo>
                      <a:pt x="22" y="12"/>
                      <a:pt x="19" y="14"/>
                      <a:pt x="17" y="19"/>
                    </a:cubicBezTo>
                    <a:cubicBezTo>
                      <a:pt x="15" y="24"/>
                      <a:pt x="13" y="30"/>
                      <a:pt x="13" y="37"/>
                    </a:cubicBezTo>
                    <a:cubicBezTo>
                      <a:pt x="13" y="45"/>
                      <a:pt x="15" y="51"/>
                      <a:pt x="17" y="56"/>
                    </a:cubicBezTo>
                    <a:cubicBezTo>
                      <a:pt x="19" y="60"/>
                      <a:pt x="22" y="63"/>
                      <a:pt x="25" y="63"/>
                    </a:cubicBezTo>
                    <a:cubicBezTo>
                      <a:pt x="29" y="63"/>
                      <a:pt x="32" y="61"/>
                      <a:pt x="34" y="56"/>
                    </a:cubicBezTo>
                    <a:cubicBezTo>
                      <a:pt x="36" y="51"/>
                      <a:pt x="37" y="45"/>
                      <a:pt x="37"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5" name="Freeform 165"/>
              <p:cNvSpPr>
                <a:spLocks noEditPoints="1"/>
              </p:cNvSpPr>
              <p:nvPr/>
            </p:nvSpPr>
            <p:spPr bwMode="auto">
              <a:xfrm>
                <a:off x="2701231" y="3326629"/>
                <a:ext cx="62501" cy="89224"/>
              </a:xfrm>
              <a:custGeom>
                <a:avLst/>
                <a:gdLst/>
                <a:ahLst/>
                <a:cxnLst>
                  <a:cxn ang="0">
                    <a:pos x="52" y="37"/>
                  </a:cxn>
                  <a:cxn ang="0">
                    <a:pos x="45" y="65"/>
                  </a:cxn>
                  <a:cxn ang="0">
                    <a:pos x="26" y="75"/>
                  </a:cxn>
                  <a:cxn ang="0">
                    <a:pos x="7" y="65"/>
                  </a:cxn>
                  <a:cxn ang="0">
                    <a:pos x="0" y="37"/>
                  </a:cxn>
                  <a:cxn ang="0">
                    <a:pos x="7" y="10"/>
                  </a:cxn>
                  <a:cxn ang="0">
                    <a:pos x="26" y="0"/>
                  </a:cxn>
                  <a:cxn ang="0">
                    <a:pos x="45" y="10"/>
                  </a:cxn>
                  <a:cxn ang="0">
                    <a:pos x="52" y="37"/>
                  </a:cxn>
                  <a:cxn ang="0">
                    <a:pos x="38" y="37"/>
                  </a:cxn>
                  <a:cxn ang="0">
                    <a:pos x="35" y="19"/>
                  </a:cxn>
                  <a:cxn ang="0">
                    <a:pos x="26" y="12"/>
                  </a:cxn>
                  <a:cxn ang="0">
                    <a:pos x="17" y="19"/>
                  </a:cxn>
                  <a:cxn ang="0">
                    <a:pos x="14" y="37"/>
                  </a:cxn>
                  <a:cxn ang="0">
                    <a:pos x="17" y="56"/>
                  </a:cxn>
                  <a:cxn ang="0">
                    <a:pos x="26" y="63"/>
                  </a:cxn>
                  <a:cxn ang="0">
                    <a:pos x="35" y="56"/>
                  </a:cxn>
                  <a:cxn ang="0">
                    <a:pos x="38" y="37"/>
                  </a:cxn>
                </a:cxnLst>
                <a:rect l="0" t="0" r="r" b="b"/>
                <a:pathLst>
                  <a:path w="52" h="75">
                    <a:moveTo>
                      <a:pt x="52" y="37"/>
                    </a:moveTo>
                    <a:cubicBezTo>
                      <a:pt x="52" y="49"/>
                      <a:pt x="49" y="58"/>
                      <a:pt x="45" y="65"/>
                    </a:cubicBezTo>
                    <a:cubicBezTo>
                      <a:pt x="40" y="72"/>
                      <a:pt x="34" y="75"/>
                      <a:pt x="26" y="75"/>
                    </a:cubicBezTo>
                    <a:cubicBezTo>
                      <a:pt x="18" y="75"/>
                      <a:pt x="12" y="72"/>
                      <a:pt x="7" y="65"/>
                    </a:cubicBezTo>
                    <a:cubicBezTo>
                      <a:pt x="2" y="58"/>
                      <a:pt x="0" y="49"/>
                      <a:pt x="0" y="37"/>
                    </a:cubicBezTo>
                    <a:cubicBezTo>
                      <a:pt x="0" y="26"/>
                      <a:pt x="2" y="17"/>
                      <a:pt x="7" y="10"/>
                    </a:cubicBezTo>
                    <a:cubicBezTo>
                      <a:pt x="12" y="3"/>
                      <a:pt x="18" y="0"/>
                      <a:pt x="26" y="0"/>
                    </a:cubicBezTo>
                    <a:cubicBezTo>
                      <a:pt x="34" y="0"/>
                      <a:pt x="40" y="3"/>
                      <a:pt x="45" y="10"/>
                    </a:cubicBezTo>
                    <a:cubicBezTo>
                      <a:pt x="49" y="17"/>
                      <a:pt x="52" y="26"/>
                      <a:pt x="52" y="37"/>
                    </a:cubicBezTo>
                    <a:close/>
                    <a:moveTo>
                      <a:pt x="38" y="37"/>
                    </a:moveTo>
                    <a:cubicBezTo>
                      <a:pt x="38" y="30"/>
                      <a:pt x="37" y="24"/>
                      <a:pt x="35" y="19"/>
                    </a:cubicBezTo>
                    <a:cubicBezTo>
                      <a:pt x="32" y="14"/>
                      <a:pt x="29" y="12"/>
                      <a:pt x="26" y="12"/>
                    </a:cubicBezTo>
                    <a:cubicBezTo>
                      <a:pt x="22" y="12"/>
                      <a:pt x="19" y="14"/>
                      <a:pt x="17" y="19"/>
                    </a:cubicBezTo>
                    <a:cubicBezTo>
                      <a:pt x="15" y="24"/>
                      <a:pt x="14" y="30"/>
                      <a:pt x="14" y="37"/>
                    </a:cubicBezTo>
                    <a:cubicBezTo>
                      <a:pt x="14" y="45"/>
                      <a:pt x="15" y="51"/>
                      <a:pt x="17" y="56"/>
                    </a:cubicBezTo>
                    <a:cubicBezTo>
                      <a:pt x="19" y="60"/>
                      <a:pt x="22" y="63"/>
                      <a:pt x="26" y="63"/>
                    </a:cubicBezTo>
                    <a:cubicBezTo>
                      <a:pt x="29" y="63"/>
                      <a:pt x="32" y="61"/>
                      <a:pt x="35"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6" name="Freeform 166"/>
              <p:cNvSpPr>
                <a:spLocks/>
              </p:cNvSpPr>
              <p:nvPr/>
            </p:nvSpPr>
            <p:spPr bwMode="auto">
              <a:xfrm>
                <a:off x="2765294" y="3326629"/>
                <a:ext cx="32813" cy="89224"/>
              </a:xfrm>
              <a:custGeom>
                <a:avLst/>
                <a:gdLst/>
                <a:ahLst/>
                <a:cxnLst>
                  <a:cxn ang="0">
                    <a:pos x="21" y="57"/>
                  </a:cxn>
                  <a:cxn ang="0">
                    <a:pos x="11" y="57"/>
                  </a:cxn>
                  <a:cxn ang="0">
                    <a:pos x="11" y="10"/>
                  </a:cxn>
                  <a:cxn ang="0">
                    <a:pos x="0" y="10"/>
                  </a:cxn>
                  <a:cxn ang="0">
                    <a:pos x="5" y="0"/>
                  </a:cxn>
                  <a:cxn ang="0">
                    <a:pos x="21" y="0"/>
                  </a:cxn>
                  <a:cxn ang="0">
                    <a:pos x="21" y="57"/>
                  </a:cxn>
                </a:cxnLst>
                <a:rect l="0" t="0" r="r" b="b"/>
                <a:pathLst>
                  <a:path w="21" h="57">
                    <a:moveTo>
                      <a:pt x="21" y="57"/>
                    </a:moveTo>
                    <a:lnTo>
                      <a:pt x="11" y="57"/>
                    </a:lnTo>
                    <a:lnTo>
                      <a:pt x="11" y="10"/>
                    </a:lnTo>
                    <a:lnTo>
                      <a:pt x="0" y="10"/>
                    </a:lnTo>
                    <a:lnTo>
                      <a:pt x="5" y="0"/>
                    </a:lnTo>
                    <a:lnTo>
                      <a:pt x="21" y="0"/>
                    </a:lnTo>
                    <a:lnTo>
                      <a:pt x="21"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7" name="Freeform 167"/>
              <p:cNvSpPr>
                <a:spLocks/>
              </p:cNvSpPr>
              <p:nvPr/>
            </p:nvSpPr>
            <p:spPr bwMode="auto">
              <a:xfrm>
                <a:off x="2805920" y="3326629"/>
                <a:ext cx="32813" cy="89224"/>
              </a:xfrm>
              <a:custGeom>
                <a:avLst/>
                <a:gdLst/>
                <a:ahLst/>
                <a:cxnLst>
                  <a:cxn ang="0">
                    <a:pos x="21" y="57"/>
                  </a:cxn>
                  <a:cxn ang="0">
                    <a:pos x="10" y="57"/>
                  </a:cxn>
                  <a:cxn ang="0">
                    <a:pos x="10" y="10"/>
                  </a:cxn>
                  <a:cxn ang="0">
                    <a:pos x="0" y="10"/>
                  </a:cxn>
                  <a:cxn ang="0">
                    <a:pos x="5" y="0"/>
                  </a:cxn>
                  <a:cxn ang="0">
                    <a:pos x="21" y="0"/>
                  </a:cxn>
                  <a:cxn ang="0">
                    <a:pos x="21" y="57"/>
                  </a:cxn>
                </a:cxnLst>
                <a:rect l="0" t="0" r="r" b="b"/>
                <a:pathLst>
                  <a:path w="21" h="57">
                    <a:moveTo>
                      <a:pt x="21" y="57"/>
                    </a:moveTo>
                    <a:lnTo>
                      <a:pt x="10" y="57"/>
                    </a:lnTo>
                    <a:lnTo>
                      <a:pt x="10" y="10"/>
                    </a:lnTo>
                    <a:lnTo>
                      <a:pt x="0" y="10"/>
                    </a:lnTo>
                    <a:lnTo>
                      <a:pt x="5" y="0"/>
                    </a:lnTo>
                    <a:lnTo>
                      <a:pt x="21" y="0"/>
                    </a:lnTo>
                    <a:lnTo>
                      <a:pt x="21"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8" name="Freeform 168"/>
              <p:cNvSpPr>
                <a:spLocks noEditPoints="1"/>
              </p:cNvSpPr>
              <p:nvPr/>
            </p:nvSpPr>
            <p:spPr bwMode="auto">
              <a:xfrm>
                <a:off x="2852796" y="3326629"/>
                <a:ext cx="62501" cy="89224"/>
              </a:xfrm>
              <a:custGeom>
                <a:avLst/>
                <a:gdLst/>
                <a:ahLst/>
                <a:cxnLst>
                  <a:cxn ang="0">
                    <a:pos x="52" y="37"/>
                  </a:cxn>
                  <a:cxn ang="0">
                    <a:pos x="45" y="65"/>
                  </a:cxn>
                  <a:cxn ang="0">
                    <a:pos x="26" y="75"/>
                  </a:cxn>
                  <a:cxn ang="0">
                    <a:pos x="7" y="65"/>
                  </a:cxn>
                  <a:cxn ang="0">
                    <a:pos x="0" y="37"/>
                  </a:cxn>
                  <a:cxn ang="0">
                    <a:pos x="7" y="10"/>
                  </a:cxn>
                  <a:cxn ang="0">
                    <a:pos x="26" y="0"/>
                  </a:cxn>
                  <a:cxn ang="0">
                    <a:pos x="45" y="10"/>
                  </a:cxn>
                  <a:cxn ang="0">
                    <a:pos x="52" y="37"/>
                  </a:cxn>
                  <a:cxn ang="0">
                    <a:pos x="38" y="37"/>
                  </a:cxn>
                  <a:cxn ang="0">
                    <a:pos x="35" y="19"/>
                  </a:cxn>
                  <a:cxn ang="0">
                    <a:pos x="26" y="12"/>
                  </a:cxn>
                  <a:cxn ang="0">
                    <a:pos x="17" y="19"/>
                  </a:cxn>
                  <a:cxn ang="0">
                    <a:pos x="14" y="37"/>
                  </a:cxn>
                  <a:cxn ang="0">
                    <a:pos x="17" y="56"/>
                  </a:cxn>
                  <a:cxn ang="0">
                    <a:pos x="26" y="63"/>
                  </a:cxn>
                  <a:cxn ang="0">
                    <a:pos x="35" y="56"/>
                  </a:cxn>
                  <a:cxn ang="0">
                    <a:pos x="38" y="37"/>
                  </a:cxn>
                </a:cxnLst>
                <a:rect l="0" t="0" r="r" b="b"/>
                <a:pathLst>
                  <a:path w="52" h="75">
                    <a:moveTo>
                      <a:pt x="52" y="37"/>
                    </a:moveTo>
                    <a:cubicBezTo>
                      <a:pt x="52" y="49"/>
                      <a:pt x="50" y="58"/>
                      <a:pt x="45" y="65"/>
                    </a:cubicBezTo>
                    <a:cubicBezTo>
                      <a:pt x="40" y="72"/>
                      <a:pt x="34" y="75"/>
                      <a:pt x="26" y="75"/>
                    </a:cubicBezTo>
                    <a:cubicBezTo>
                      <a:pt x="18" y="75"/>
                      <a:pt x="12" y="72"/>
                      <a:pt x="7" y="65"/>
                    </a:cubicBezTo>
                    <a:cubicBezTo>
                      <a:pt x="3" y="58"/>
                      <a:pt x="0" y="49"/>
                      <a:pt x="0" y="37"/>
                    </a:cubicBezTo>
                    <a:cubicBezTo>
                      <a:pt x="0" y="26"/>
                      <a:pt x="3" y="17"/>
                      <a:pt x="7" y="10"/>
                    </a:cubicBezTo>
                    <a:cubicBezTo>
                      <a:pt x="12" y="3"/>
                      <a:pt x="18" y="0"/>
                      <a:pt x="26" y="0"/>
                    </a:cubicBezTo>
                    <a:cubicBezTo>
                      <a:pt x="34" y="0"/>
                      <a:pt x="40" y="3"/>
                      <a:pt x="45" y="10"/>
                    </a:cubicBezTo>
                    <a:cubicBezTo>
                      <a:pt x="50" y="17"/>
                      <a:pt x="52" y="26"/>
                      <a:pt x="52" y="37"/>
                    </a:cubicBezTo>
                    <a:close/>
                    <a:moveTo>
                      <a:pt x="38" y="37"/>
                    </a:moveTo>
                    <a:cubicBezTo>
                      <a:pt x="38" y="30"/>
                      <a:pt x="37" y="24"/>
                      <a:pt x="35" y="19"/>
                    </a:cubicBezTo>
                    <a:cubicBezTo>
                      <a:pt x="32" y="14"/>
                      <a:pt x="30" y="12"/>
                      <a:pt x="26" y="12"/>
                    </a:cubicBezTo>
                    <a:cubicBezTo>
                      <a:pt x="22" y="12"/>
                      <a:pt x="20" y="14"/>
                      <a:pt x="17" y="19"/>
                    </a:cubicBezTo>
                    <a:cubicBezTo>
                      <a:pt x="15" y="24"/>
                      <a:pt x="14" y="30"/>
                      <a:pt x="14" y="37"/>
                    </a:cubicBezTo>
                    <a:cubicBezTo>
                      <a:pt x="14" y="45"/>
                      <a:pt x="15" y="51"/>
                      <a:pt x="17" y="56"/>
                    </a:cubicBezTo>
                    <a:cubicBezTo>
                      <a:pt x="20" y="60"/>
                      <a:pt x="22" y="63"/>
                      <a:pt x="26" y="63"/>
                    </a:cubicBezTo>
                    <a:cubicBezTo>
                      <a:pt x="30" y="63"/>
                      <a:pt x="33" y="61"/>
                      <a:pt x="35"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9" name="Freeform 169"/>
              <p:cNvSpPr>
                <a:spLocks/>
              </p:cNvSpPr>
              <p:nvPr/>
            </p:nvSpPr>
            <p:spPr bwMode="auto">
              <a:xfrm>
                <a:off x="2916859" y="3326629"/>
                <a:ext cx="32813" cy="89224"/>
              </a:xfrm>
              <a:custGeom>
                <a:avLst/>
                <a:gdLst/>
                <a:ahLst/>
                <a:cxnLst>
                  <a:cxn ang="0">
                    <a:pos x="21" y="57"/>
                  </a:cxn>
                  <a:cxn ang="0">
                    <a:pos x="11" y="57"/>
                  </a:cxn>
                  <a:cxn ang="0">
                    <a:pos x="11" y="10"/>
                  </a:cxn>
                  <a:cxn ang="0">
                    <a:pos x="0" y="10"/>
                  </a:cxn>
                  <a:cxn ang="0">
                    <a:pos x="4" y="0"/>
                  </a:cxn>
                  <a:cxn ang="0">
                    <a:pos x="21" y="0"/>
                  </a:cxn>
                  <a:cxn ang="0">
                    <a:pos x="21" y="57"/>
                  </a:cxn>
                </a:cxnLst>
                <a:rect l="0" t="0" r="r" b="b"/>
                <a:pathLst>
                  <a:path w="21" h="57">
                    <a:moveTo>
                      <a:pt x="21" y="57"/>
                    </a:moveTo>
                    <a:lnTo>
                      <a:pt x="11" y="57"/>
                    </a:lnTo>
                    <a:lnTo>
                      <a:pt x="11" y="10"/>
                    </a:lnTo>
                    <a:lnTo>
                      <a:pt x="0" y="10"/>
                    </a:lnTo>
                    <a:lnTo>
                      <a:pt x="4" y="0"/>
                    </a:lnTo>
                    <a:lnTo>
                      <a:pt x="21" y="0"/>
                    </a:lnTo>
                    <a:lnTo>
                      <a:pt x="21"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0" name="Freeform 170"/>
              <p:cNvSpPr>
                <a:spLocks noEditPoints="1"/>
              </p:cNvSpPr>
              <p:nvPr/>
            </p:nvSpPr>
            <p:spPr bwMode="auto">
              <a:xfrm>
                <a:off x="2963735" y="3326629"/>
                <a:ext cx="62501" cy="89224"/>
              </a:xfrm>
              <a:custGeom>
                <a:avLst/>
                <a:gdLst/>
                <a:ahLst/>
                <a:cxnLst>
                  <a:cxn ang="0">
                    <a:pos x="52" y="37"/>
                  </a:cxn>
                  <a:cxn ang="0">
                    <a:pos x="45" y="65"/>
                  </a:cxn>
                  <a:cxn ang="0">
                    <a:pos x="26" y="75"/>
                  </a:cxn>
                  <a:cxn ang="0">
                    <a:pos x="7" y="65"/>
                  </a:cxn>
                  <a:cxn ang="0">
                    <a:pos x="0" y="37"/>
                  </a:cxn>
                  <a:cxn ang="0">
                    <a:pos x="7" y="10"/>
                  </a:cxn>
                  <a:cxn ang="0">
                    <a:pos x="26" y="0"/>
                  </a:cxn>
                  <a:cxn ang="0">
                    <a:pos x="45" y="10"/>
                  </a:cxn>
                  <a:cxn ang="0">
                    <a:pos x="52" y="37"/>
                  </a:cxn>
                  <a:cxn ang="0">
                    <a:pos x="38" y="37"/>
                  </a:cxn>
                  <a:cxn ang="0">
                    <a:pos x="35" y="19"/>
                  </a:cxn>
                  <a:cxn ang="0">
                    <a:pos x="26" y="12"/>
                  </a:cxn>
                  <a:cxn ang="0">
                    <a:pos x="18" y="19"/>
                  </a:cxn>
                  <a:cxn ang="0">
                    <a:pos x="14" y="37"/>
                  </a:cxn>
                  <a:cxn ang="0">
                    <a:pos x="18" y="56"/>
                  </a:cxn>
                  <a:cxn ang="0">
                    <a:pos x="26" y="63"/>
                  </a:cxn>
                  <a:cxn ang="0">
                    <a:pos x="35" y="56"/>
                  </a:cxn>
                  <a:cxn ang="0">
                    <a:pos x="38" y="37"/>
                  </a:cxn>
                </a:cxnLst>
                <a:rect l="0" t="0" r="r" b="b"/>
                <a:pathLst>
                  <a:path w="52" h="75">
                    <a:moveTo>
                      <a:pt x="52" y="37"/>
                    </a:moveTo>
                    <a:cubicBezTo>
                      <a:pt x="52" y="49"/>
                      <a:pt x="50" y="58"/>
                      <a:pt x="45" y="65"/>
                    </a:cubicBezTo>
                    <a:cubicBezTo>
                      <a:pt x="40" y="72"/>
                      <a:pt x="34" y="75"/>
                      <a:pt x="26" y="75"/>
                    </a:cubicBezTo>
                    <a:cubicBezTo>
                      <a:pt x="18" y="75"/>
                      <a:pt x="12" y="72"/>
                      <a:pt x="7" y="65"/>
                    </a:cubicBezTo>
                    <a:cubicBezTo>
                      <a:pt x="3" y="58"/>
                      <a:pt x="0" y="49"/>
                      <a:pt x="0" y="37"/>
                    </a:cubicBezTo>
                    <a:cubicBezTo>
                      <a:pt x="0" y="26"/>
                      <a:pt x="3" y="17"/>
                      <a:pt x="7" y="10"/>
                    </a:cubicBezTo>
                    <a:cubicBezTo>
                      <a:pt x="12" y="3"/>
                      <a:pt x="18" y="0"/>
                      <a:pt x="26" y="0"/>
                    </a:cubicBezTo>
                    <a:cubicBezTo>
                      <a:pt x="34" y="0"/>
                      <a:pt x="40" y="3"/>
                      <a:pt x="45" y="10"/>
                    </a:cubicBezTo>
                    <a:cubicBezTo>
                      <a:pt x="50" y="17"/>
                      <a:pt x="52" y="26"/>
                      <a:pt x="52" y="37"/>
                    </a:cubicBezTo>
                    <a:close/>
                    <a:moveTo>
                      <a:pt x="38" y="37"/>
                    </a:moveTo>
                    <a:cubicBezTo>
                      <a:pt x="38" y="30"/>
                      <a:pt x="37" y="24"/>
                      <a:pt x="35" y="19"/>
                    </a:cubicBezTo>
                    <a:cubicBezTo>
                      <a:pt x="33" y="14"/>
                      <a:pt x="30" y="12"/>
                      <a:pt x="26" y="12"/>
                    </a:cubicBezTo>
                    <a:cubicBezTo>
                      <a:pt x="23" y="12"/>
                      <a:pt x="20" y="14"/>
                      <a:pt x="18" y="19"/>
                    </a:cubicBezTo>
                    <a:cubicBezTo>
                      <a:pt x="15" y="24"/>
                      <a:pt x="14" y="30"/>
                      <a:pt x="14" y="37"/>
                    </a:cubicBezTo>
                    <a:cubicBezTo>
                      <a:pt x="14" y="45"/>
                      <a:pt x="15" y="51"/>
                      <a:pt x="18" y="56"/>
                    </a:cubicBezTo>
                    <a:cubicBezTo>
                      <a:pt x="20" y="60"/>
                      <a:pt x="23" y="63"/>
                      <a:pt x="26" y="63"/>
                    </a:cubicBezTo>
                    <a:cubicBezTo>
                      <a:pt x="30" y="63"/>
                      <a:pt x="33" y="61"/>
                      <a:pt x="35"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1" name="Freeform 171"/>
              <p:cNvSpPr>
                <a:spLocks/>
              </p:cNvSpPr>
              <p:nvPr/>
            </p:nvSpPr>
            <p:spPr bwMode="auto">
              <a:xfrm>
                <a:off x="3027799" y="3326629"/>
                <a:ext cx="32813" cy="89224"/>
              </a:xfrm>
              <a:custGeom>
                <a:avLst/>
                <a:gdLst/>
                <a:ahLst/>
                <a:cxnLst>
                  <a:cxn ang="0">
                    <a:pos x="21" y="57"/>
                  </a:cxn>
                  <a:cxn ang="0">
                    <a:pos x="10" y="57"/>
                  </a:cxn>
                  <a:cxn ang="0">
                    <a:pos x="10" y="10"/>
                  </a:cxn>
                  <a:cxn ang="0">
                    <a:pos x="0" y="10"/>
                  </a:cxn>
                  <a:cxn ang="0">
                    <a:pos x="4" y="0"/>
                  </a:cxn>
                  <a:cxn ang="0">
                    <a:pos x="21" y="0"/>
                  </a:cxn>
                  <a:cxn ang="0">
                    <a:pos x="21" y="57"/>
                  </a:cxn>
                </a:cxnLst>
                <a:rect l="0" t="0" r="r" b="b"/>
                <a:pathLst>
                  <a:path w="21" h="57">
                    <a:moveTo>
                      <a:pt x="21" y="57"/>
                    </a:moveTo>
                    <a:lnTo>
                      <a:pt x="10" y="57"/>
                    </a:lnTo>
                    <a:lnTo>
                      <a:pt x="10" y="10"/>
                    </a:lnTo>
                    <a:lnTo>
                      <a:pt x="0" y="10"/>
                    </a:lnTo>
                    <a:lnTo>
                      <a:pt x="4" y="0"/>
                    </a:lnTo>
                    <a:lnTo>
                      <a:pt x="21" y="0"/>
                    </a:lnTo>
                    <a:lnTo>
                      <a:pt x="21"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2" name="Freeform 172"/>
              <p:cNvSpPr>
                <a:spLocks noEditPoints="1"/>
              </p:cNvSpPr>
              <p:nvPr/>
            </p:nvSpPr>
            <p:spPr bwMode="auto">
              <a:xfrm>
                <a:off x="3074674" y="3326629"/>
                <a:ext cx="62501" cy="89224"/>
              </a:xfrm>
              <a:custGeom>
                <a:avLst/>
                <a:gdLst/>
                <a:ahLst/>
                <a:cxnLst>
                  <a:cxn ang="0">
                    <a:pos x="51" y="37"/>
                  </a:cxn>
                  <a:cxn ang="0">
                    <a:pos x="44" y="65"/>
                  </a:cxn>
                  <a:cxn ang="0">
                    <a:pos x="25" y="75"/>
                  </a:cxn>
                  <a:cxn ang="0">
                    <a:pos x="7" y="65"/>
                  </a:cxn>
                  <a:cxn ang="0">
                    <a:pos x="0" y="37"/>
                  </a:cxn>
                  <a:cxn ang="0">
                    <a:pos x="7" y="10"/>
                  </a:cxn>
                  <a:cxn ang="0">
                    <a:pos x="25" y="0"/>
                  </a:cxn>
                  <a:cxn ang="0">
                    <a:pos x="44" y="10"/>
                  </a:cxn>
                  <a:cxn ang="0">
                    <a:pos x="51" y="37"/>
                  </a:cxn>
                  <a:cxn ang="0">
                    <a:pos x="38" y="37"/>
                  </a:cxn>
                  <a:cxn ang="0">
                    <a:pos x="34" y="19"/>
                  </a:cxn>
                  <a:cxn ang="0">
                    <a:pos x="25" y="12"/>
                  </a:cxn>
                  <a:cxn ang="0">
                    <a:pos x="17" y="19"/>
                  </a:cxn>
                  <a:cxn ang="0">
                    <a:pos x="14" y="37"/>
                  </a:cxn>
                  <a:cxn ang="0">
                    <a:pos x="17" y="56"/>
                  </a:cxn>
                  <a:cxn ang="0">
                    <a:pos x="25" y="63"/>
                  </a:cxn>
                  <a:cxn ang="0">
                    <a:pos x="34" y="56"/>
                  </a:cxn>
                  <a:cxn ang="0">
                    <a:pos x="38" y="37"/>
                  </a:cxn>
                </a:cxnLst>
                <a:rect l="0" t="0" r="r" b="b"/>
                <a:pathLst>
                  <a:path w="51" h="75">
                    <a:moveTo>
                      <a:pt x="51" y="37"/>
                    </a:moveTo>
                    <a:cubicBezTo>
                      <a:pt x="51" y="49"/>
                      <a:pt x="49" y="58"/>
                      <a:pt x="44" y="65"/>
                    </a:cubicBezTo>
                    <a:cubicBezTo>
                      <a:pt x="40" y="72"/>
                      <a:pt x="33" y="75"/>
                      <a:pt x="25" y="75"/>
                    </a:cubicBezTo>
                    <a:cubicBezTo>
                      <a:pt x="18" y="75"/>
                      <a:pt x="11" y="72"/>
                      <a:pt x="7" y="65"/>
                    </a:cubicBezTo>
                    <a:cubicBezTo>
                      <a:pt x="2" y="58"/>
                      <a:pt x="0" y="49"/>
                      <a:pt x="0" y="37"/>
                    </a:cubicBezTo>
                    <a:cubicBezTo>
                      <a:pt x="0" y="26"/>
                      <a:pt x="2" y="17"/>
                      <a:pt x="7" y="10"/>
                    </a:cubicBezTo>
                    <a:cubicBezTo>
                      <a:pt x="11" y="3"/>
                      <a:pt x="18" y="0"/>
                      <a:pt x="25" y="0"/>
                    </a:cubicBezTo>
                    <a:cubicBezTo>
                      <a:pt x="33" y="0"/>
                      <a:pt x="40" y="3"/>
                      <a:pt x="44" y="10"/>
                    </a:cubicBezTo>
                    <a:cubicBezTo>
                      <a:pt x="49" y="17"/>
                      <a:pt x="51" y="26"/>
                      <a:pt x="51" y="37"/>
                    </a:cubicBezTo>
                    <a:close/>
                    <a:moveTo>
                      <a:pt x="38" y="37"/>
                    </a:moveTo>
                    <a:cubicBezTo>
                      <a:pt x="38" y="30"/>
                      <a:pt x="36" y="24"/>
                      <a:pt x="34" y="19"/>
                    </a:cubicBezTo>
                    <a:cubicBezTo>
                      <a:pt x="32" y="14"/>
                      <a:pt x="29" y="12"/>
                      <a:pt x="25" y="12"/>
                    </a:cubicBezTo>
                    <a:cubicBezTo>
                      <a:pt x="22" y="12"/>
                      <a:pt x="19" y="14"/>
                      <a:pt x="17" y="19"/>
                    </a:cubicBezTo>
                    <a:cubicBezTo>
                      <a:pt x="15" y="24"/>
                      <a:pt x="14" y="30"/>
                      <a:pt x="14" y="37"/>
                    </a:cubicBezTo>
                    <a:cubicBezTo>
                      <a:pt x="14" y="45"/>
                      <a:pt x="15" y="51"/>
                      <a:pt x="17" y="56"/>
                    </a:cubicBezTo>
                    <a:cubicBezTo>
                      <a:pt x="19" y="60"/>
                      <a:pt x="22" y="63"/>
                      <a:pt x="25" y="63"/>
                    </a:cubicBezTo>
                    <a:cubicBezTo>
                      <a:pt x="29" y="63"/>
                      <a:pt x="32" y="61"/>
                      <a:pt x="34" y="56"/>
                    </a:cubicBezTo>
                    <a:cubicBezTo>
                      <a:pt x="36"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3" name="Freeform 183"/>
              <p:cNvSpPr>
                <a:spLocks/>
              </p:cNvSpPr>
              <p:nvPr/>
            </p:nvSpPr>
            <p:spPr bwMode="auto">
              <a:xfrm>
                <a:off x="2354350" y="3465945"/>
                <a:ext cx="32813" cy="87659"/>
              </a:xfrm>
              <a:custGeom>
                <a:avLst/>
                <a:gdLst/>
                <a:ahLst/>
                <a:cxnLst>
                  <a:cxn ang="0">
                    <a:pos x="21" y="56"/>
                  </a:cxn>
                  <a:cxn ang="0">
                    <a:pos x="11" y="56"/>
                  </a:cxn>
                  <a:cxn ang="0">
                    <a:pos x="11" y="10"/>
                  </a:cxn>
                  <a:cxn ang="0">
                    <a:pos x="0" y="10"/>
                  </a:cxn>
                  <a:cxn ang="0">
                    <a:pos x="4" y="0"/>
                  </a:cxn>
                  <a:cxn ang="0">
                    <a:pos x="21" y="0"/>
                  </a:cxn>
                  <a:cxn ang="0">
                    <a:pos x="21" y="56"/>
                  </a:cxn>
                </a:cxnLst>
                <a:rect l="0" t="0" r="r" b="b"/>
                <a:pathLst>
                  <a:path w="21" h="56">
                    <a:moveTo>
                      <a:pt x="21" y="56"/>
                    </a:moveTo>
                    <a:lnTo>
                      <a:pt x="11" y="56"/>
                    </a:lnTo>
                    <a:lnTo>
                      <a:pt x="11"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4" name="Freeform 184"/>
              <p:cNvSpPr>
                <a:spLocks/>
              </p:cNvSpPr>
              <p:nvPr/>
            </p:nvSpPr>
            <p:spPr bwMode="auto">
              <a:xfrm>
                <a:off x="2394976" y="3465945"/>
                <a:ext cx="34376" cy="87659"/>
              </a:xfrm>
              <a:custGeom>
                <a:avLst/>
                <a:gdLst/>
                <a:ahLst/>
                <a:cxnLst>
                  <a:cxn ang="0">
                    <a:pos x="22" y="56"/>
                  </a:cxn>
                  <a:cxn ang="0">
                    <a:pos x="11" y="56"/>
                  </a:cxn>
                  <a:cxn ang="0">
                    <a:pos x="11" y="10"/>
                  </a:cxn>
                  <a:cxn ang="0">
                    <a:pos x="0" y="10"/>
                  </a:cxn>
                  <a:cxn ang="0">
                    <a:pos x="5" y="0"/>
                  </a:cxn>
                  <a:cxn ang="0">
                    <a:pos x="22" y="0"/>
                  </a:cxn>
                  <a:cxn ang="0">
                    <a:pos x="22" y="56"/>
                  </a:cxn>
                </a:cxnLst>
                <a:rect l="0" t="0" r="r" b="b"/>
                <a:pathLst>
                  <a:path w="22" h="56">
                    <a:moveTo>
                      <a:pt x="22" y="56"/>
                    </a:moveTo>
                    <a:lnTo>
                      <a:pt x="11" y="56"/>
                    </a:lnTo>
                    <a:lnTo>
                      <a:pt x="11" y="10"/>
                    </a:lnTo>
                    <a:lnTo>
                      <a:pt x="0" y="10"/>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5" name="Freeform 185"/>
              <p:cNvSpPr>
                <a:spLocks noEditPoints="1"/>
              </p:cNvSpPr>
              <p:nvPr/>
            </p:nvSpPr>
            <p:spPr bwMode="auto">
              <a:xfrm>
                <a:off x="2443414" y="3464379"/>
                <a:ext cx="60938" cy="90790"/>
              </a:xfrm>
              <a:custGeom>
                <a:avLst/>
                <a:gdLst/>
                <a:ahLst/>
                <a:cxnLst>
                  <a:cxn ang="0">
                    <a:pos x="51" y="38"/>
                  </a:cxn>
                  <a:cxn ang="0">
                    <a:pos x="44" y="65"/>
                  </a:cxn>
                  <a:cxn ang="0">
                    <a:pos x="25" y="75"/>
                  </a:cxn>
                  <a:cxn ang="0">
                    <a:pos x="7" y="65"/>
                  </a:cxn>
                  <a:cxn ang="0">
                    <a:pos x="0" y="38"/>
                  </a:cxn>
                  <a:cxn ang="0">
                    <a:pos x="7" y="10"/>
                  </a:cxn>
                  <a:cxn ang="0">
                    <a:pos x="25" y="0"/>
                  </a:cxn>
                  <a:cxn ang="0">
                    <a:pos x="44" y="10"/>
                  </a:cxn>
                  <a:cxn ang="0">
                    <a:pos x="51" y="38"/>
                  </a:cxn>
                  <a:cxn ang="0">
                    <a:pos x="37" y="37"/>
                  </a:cxn>
                  <a:cxn ang="0">
                    <a:pos x="34" y="19"/>
                  </a:cxn>
                  <a:cxn ang="0">
                    <a:pos x="25" y="12"/>
                  </a:cxn>
                  <a:cxn ang="0">
                    <a:pos x="17" y="19"/>
                  </a:cxn>
                  <a:cxn ang="0">
                    <a:pos x="13" y="38"/>
                  </a:cxn>
                  <a:cxn ang="0">
                    <a:pos x="17" y="56"/>
                  </a:cxn>
                  <a:cxn ang="0">
                    <a:pos x="25" y="63"/>
                  </a:cxn>
                  <a:cxn ang="0">
                    <a:pos x="34" y="56"/>
                  </a:cxn>
                  <a:cxn ang="0">
                    <a:pos x="37" y="37"/>
                  </a:cxn>
                </a:cxnLst>
                <a:rect l="0" t="0" r="r" b="b"/>
                <a:pathLst>
                  <a:path w="51" h="75">
                    <a:moveTo>
                      <a:pt x="51" y="38"/>
                    </a:moveTo>
                    <a:cubicBezTo>
                      <a:pt x="51" y="49"/>
                      <a:pt x="49" y="58"/>
                      <a:pt x="44" y="65"/>
                    </a:cubicBezTo>
                    <a:cubicBezTo>
                      <a:pt x="39" y="72"/>
                      <a:pt x="33" y="75"/>
                      <a:pt x="25" y="75"/>
                    </a:cubicBezTo>
                    <a:cubicBezTo>
                      <a:pt x="17" y="75"/>
                      <a:pt x="11" y="72"/>
                      <a:pt x="7" y="65"/>
                    </a:cubicBezTo>
                    <a:cubicBezTo>
                      <a:pt x="2" y="58"/>
                      <a:pt x="0" y="49"/>
                      <a:pt x="0" y="38"/>
                    </a:cubicBezTo>
                    <a:cubicBezTo>
                      <a:pt x="0" y="26"/>
                      <a:pt x="2" y="17"/>
                      <a:pt x="7" y="10"/>
                    </a:cubicBezTo>
                    <a:cubicBezTo>
                      <a:pt x="11" y="3"/>
                      <a:pt x="17" y="0"/>
                      <a:pt x="25" y="0"/>
                    </a:cubicBezTo>
                    <a:cubicBezTo>
                      <a:pt x="33" y="0"/>
                      <a:pt x="39" y="3"/>
                      <a:pt x="44" y="10"/>
                    </a:cubicBezTo>
                    <a:cubicBezTo>
                      <a:pt x="49" y="17"/>
                      <a:pt x="51" y="26"/>
                      <a:pt x="51" y="38"/>
                    </a:cubicBezTo>
                    <a:close/>
                    <a:moveTo>
                      <a:pt x="37" y="37"/>
                    </a:moveTo>
                    <a:cubicBezTo>
                      <a:pt x="37" y="30"/>
                      <a:pt x="36" y="24"/>
                      <a:pt x="34" y="19"/>
                    </a:cubicBezTo>
                    <a:cubicBezTo>
                      <a:pt x="32" y="14"/>
                      <a:pt x="29" y="12"/>
                      <a:pt x="25" y="12"/>
                    </a:cubicBezTo>
                    <a:cubicBezTo>
                      <a:pt x="22" y="12"/>
                      <a:pt x="19" y="15"/>
                      <a:pt x="17" y="19"/>
                    </a:cubicBezTo>
                    <a:cubicBezTo>
                      <a:pt x="14" y="24"/>
                      <a:pt x="13" y="30"/>
                      <a:pt x="13" y="38"/>
                    </a:cubicBezTo>
                    <a:cubicBezTo>
                      <a:pt x="13" y="45"/>
                      <a:pt x="14" y="51"/>
                      <a:pt x="17" y="56"/>
                    </a:cubicBezTo>
                    <a:cubicBezTo>
                      <a:pt x="19" y="61"/>
                      <a:pt x="22" y="63"/>
                      <a:pt x="25" y="63"/>
                    </a:cubicBezTo>
                    <a:cubicBezTo>
                      <a:pt x="29" y="63"/>
                      <a:pt x="32" y="61"/>
                      <a:pt x="34" y="56"/>
                    </a:cubicBezTo>
                    <a:cubicBezTo>
                      <a:pt x="36" y="51"/>
                      <a:pt x="37" y="45"/>
                      <a:pt x="37"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6" name="Freeform 186"/>
              <p:cNvSpPr>
                <a:spLocks noEditPoints="1"/>
              </p:cNvSpPr>
              <p:nvPr/>
            </p:nvSpPr>
            <p:spPr bwMode="auto">
              <a:xfrm>
                <a:off x="2509040" y="3464379"/>
                <a:ext cx="62501" cy="90790"/>
              </a:xfrm>
              <a:custGeom>
                <a:avLst/>
                <a:gdLst/>
                <a:ahLst/>
                <a:cxnLst>
                  <a:cxn ang="0">
                    <a:pos x="52" y="38"/>
                  </a:cxn>
                  <a:cxn ang="0">
                    <a:pos x="45" y="65"/>
                  </a:cxn>
                  <a:cxn ang="0">
                    <a:pos x="26" y="75"/>
                  </a:cxn>
                  <a:cxn ang="0">
                    <a:pos x="7" y="65"/>
                  </a:cxn>
                  <a:cxn ang="0">
                    <a:pos x="0" y="38"/>
                  </a:cxn>
                  <a:cxn ang="0">
                    <a:pos x="7" y="10"/>
                  </a:cxn>
                  <a:cxn ang="0">
                    <a:pos x="26" y="0"/>
                  </a:cxn>
                  <a:cxn ang="0">
                    <a:pos x="45" y="10"/>
                  </a:cxn>
                  <a:cxn ang="0">
                    <a:pos x="52" y="38"/>
                  </a:cxn>
                  <a:cxn ang="0">
                    <a:pos x="38" y="37"/>
                  </a:cxn>
                  <a:cxn ang="0">
                    <a:pos x="35" y="19"/>
                  </a:cxn>
                  <a:cxn ang="0">
                    <a:pos x="26" y="12"/>
                  </a:cxn>
                  <a:cxn ang="0">
                    <a:pos x="17" y="19"/>
                  </a:cxn>
                  <a:cxn ang="0">
                    <a:pos x="14" y="38"/>
                  </a:cxn>
                  <a:cxn ang="0">
                    <a:pos x="17" y="56"/>
                  </a:cxn>
                  <a:cxn ang="0">
                    <a:pos x="26" y="63"/>
                  </a:cxn>
                  <a:cxn ang="0">
                    <a:pos x="35" y="56"/>
                  </a:cxn>
                  <a:cxn ang="0">
                    <a:pos x="38" y="37"/>
                  </a:cxn>
                </a:cxnLst>
                <a:rect l="0" t="0" r="r" b="b"/>
                <a:pathLst>
                  <a:path w="52" h="75">
                    <a:moveTo>
                      <a:pt x="52" y="38"/>
                    </a:moveTo>
                    <a:cubicBezTo>
                      <a:pt x="52" y="49"/>
                      <a:pt x="49" y="58"/>
                      <a:pt x="45" y="65"/>
                    </a:cubicBezTo>
                    <a:cubicBezTo>
                      <a:pt x="40" y="72"/>
                      <a:pt x="34" y="75"/>
                      <a:pt x="26" y="75"/>
                    </a:cubicBezTo>
                    <a:cubicBezTo>
                      <a:pt x="18" y="75"/>
                      <a:pt x="12" y="72"/>
                      <a:pt x="7" y="65"/>
                    </a:cubicBezTo>
                    <a:cubicBezTo>
                      <a:pt x="2" y="58"/>
                      <a:pt x="0" y="49"/>
                      <a:pt x="0" y="38"/>
                    </a:cubicBezTo>
                    <a:cubicBezTo>
                      <a:pt x="0" y="26"/>
                      <a:pt x="2" y="17"/>
                      <a:pt x="7" y="10"/>
                    </a:cubicBezTo>
                    <a:cubicBezTo>
                      <a:pt x="12" y="3"/>
                      <a:pt x="18" y="0"/>
                      <a:pt x="26" y="0"/>
                    </a:cubicBezTo>
                    <a:cubicBezTo>
                      <a:pt x="34" y="0"/>
                      <a:pt x="40" y="3"/>
                      <a:pt x="45" y="10"/>
                    </a:cubicBezTo>
                    <a:cubicBezTo>
                      <a:pt x="49" y="17"/>
                      <a:pt x="52" y="26"/>
                      <a:pt x="52" y="38"/>
                    </a:cubicBezTo>
                    <a:close/>
                    <a:moveTo>
                      <a:pt x="38" y="37"/>
                    </a:moveTo>
                    <a:cubicBezTo>
                      <a:pt x="38" y="30"/>
                      <a:pt x="37" y="24"/>
                      <a:pt x="35" y="19"/>
                    </a:cubicBezTo>
                    <a:cubicBezTo>
                      <a:pt x="32" y="14"/>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5"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7" name="Freeform 187"/>
              <p:cNvSpPr>
                <a:spLocks/>
              </p:cNvSpPr>
              <p:nvPr/>
            </p:nvSpPr>
            <p:spPr bwMode="auto">
              <a:xfrm>
                <a:off x="2573104" y="3465945"/>
                <a:ext cx="32813" cy="87659"/>
              </a:xfrm>
              <a:custGeom>
                <a:avLst/>
                <a:gdLst/>
                <a:ahLst/>
                <a:cxnLst>
                  <a:cxn ang="0">
                    <a:pos x="21" y="56"/>
                  </a:cxn>
                  <a:cxn ang="0">
                    <a:pos x="11" y="56"/>
                  </a:cxn>
                  <a:cxn ang="0">
                    <a:pos x="11" y="10"/>
                  </a:cxn>
                  <a:cxn ang="0">
                    <a:pos x="0" y="10"/>
                  </a:cxn>
                  <a:cxn ang="0">
                    <a:pos x="4" y="0"/>
                  </a:cxn>
                  <a:cxn ang="0">
                    <a:pos x="21" y="0"/>
                  </a:cxn>
                  <a:cxn ang="0">
                    <a:pos x="21" y="56"/>
                  </a:cxn>
                </a:cxnLst>
                <a:rect l="0" t="0" r="r" b="b"/>
                <a:pathLst>
                  <a:path w="21" h="56">
                    <a:moveTo>
                      <a:pt x="21" y="56"/>
                    </a:moveTo>
                    <a:lnTo>
                      <a:pt x="11" y="56"/>
                    </a:lnTo>
                    <a:lnTo>
                      <a:pt x="11"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8" name="Freeform 188"/>
              <p:cNvSpPr>
                <a:spLocks/>
              </p:cNvSpPr>
              <p:nvPr/>
            </p:nvSpPr>
            <p:spPr bwMode="auto">
              <a:xfrm>
                <a:off x="2613729" y="3465945"/>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9" name="Freeform 189"/>
              <p:cNvSpPr>
                <a:spLocks/>
              </p:cNvSpPr>
              <p:nvPr/>
            </p:nvSpPr>
            <p:spPr bwMode="auto">
              <a:xfrm>
                <a:off x="2654355" y="3465945"/>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0" name="Freeform 190"/>
              <p:cNvSpPr>
                <a:spLocks noEditPoints="1"/>
              </p:cNvSpPr>
              <p:nvPr/>
            </p:nvSpPr>
            <p:spPr bwMode="auto">
              <a:xfrm>
                <a:off x="2701231" y="3464379"/>
                <a:ext cx="62501" cy="90790"/>
              </a:xfrm>
              <a:custGeom>
                <a:avLst/>
                <a:gdLst/>
                <a:ahLst/>
                <a:cxnLst>
                  <a:cxn ang="0">
                    <a:pos x="52" y="38"/>
                  </a:cxn>
                  <a:cxn ang="0">
                    <a:pos x="45" y="65"/>
                  </a:cxn>
                  <a:cxn ang="0">
                    <a:pos x="26" y="75"/>
                  </a:cxn>
                  <a:cxn ang="0">
                    <a:pos x="7" y="65"/>
                  </a:cxn>
                  <a:cxn ang="0">
                    <a:pos x="0" y="38"/>
                  </a:cxn>
                  <a:cxn ang="0">
                    <a:pos x="7" y="10"/>
                  </a:cxn>
                  <a:cxn ang="0">
                    <a:pos x="26" y="0"/>
                  </a:cxn>
                  <a:cxn ang="0">
                    <a:pos x="45" y="10"/>
                  </a:cxn>
                  <a:cxn ang="0">
                    <a:pos x="52" y="38"/>
                  </a:cxn>
                  <a:cxn ang="0">
                    <a:pos x="38" y="37"/>
                  </a:cxn>
                  <a:cxn ang="0">
                    <a:pos x="35" y="19"/>
                  </a:cxn>
                  <a:cxn ang="0">
                    <a:pos x="26" y="12"/>
                  </a:cxn>
                  <a:cxn ang="0">
                    <a:pos x="17" y="19"/>
                  </a:cxn>
                  <a:cxn ang="0">
                    <a:pos x="14" y="38"/>
                  </a:cxn>
                  <a:cxn ang="0">
                    <a:pos x="17" y="56"/>
                  </a:cxn>
                  <a:cxn ang="0">
                    <a:pos x="26" y="63"/>
                  </a:cxn>
                  <a:cxn ang="0">
                    <a:pos x="35" y="56"/>
                  </a:cxn>
                  <a:cxn ang="0">
                    <a:pos x="38" y="37"/>
                  </a:cxn>
                </a:cxnLst>
                <a:rect l="0" t="0" r="r" b="b"/>
                <a:pathLst>
                  <a:path w="52" h="75">
                    <a:moveTo>
                      <a:pt x="52" y="38"/>
                    </a:moveTo>
                    <a:cubicBezTo>
                      <a:pt x="52" y="49"/>
                      <a:pt x="49" y="58"/>
                      <a:pt x="45" y="65"/>
                    </a:cubicBezTo>
                    <a:cubicBezTo>
                      <a:pt x="40" y="72"/>
                      <a:pt x="34" y="75"/>
                      <a:pt x="26" y="75"/>
                    </a:cubicBezTo>
                    <a:cubicBezTo>
                      <a:pt x="18" y="75"/>
                      <a:pt x="12" y="72"/>
                      <a:pt x="7" y="65"/>
                    </a:cubicBezTo>
                    <a:cubicBezTo>
                      <a:pt x="2" y="58"/>
                      <a:pt x="0" y="49"/>
                      <a:pt x="0" y="38"/>
                    </a:cubicBezTo>
                    <a:cubicBezTo>
                      <a:pt x="0" y="26"/>
                      <a:pt x="2" y="17"/>
                      <a:pt x="7" y="10"/>
                    </a:cubicBezTo>
                    <a:cubicBezTo>
                      <a:pt x="12" y="3"/>
                      <a:pt x="18" y="0"/>
                      <a:pt x="26" y="0"/>
                    </a:cubicBezTo>
                    <a:cubicBezTo>
                      <a:pt x="34" y="0"/>
                      <a:pt x="40" y="3"/>
                      <a:pt x="45" y="10"/>
                    </a:cubicBezTo>
                    <a:cubicBezTo>
                      <a:pt x="49" y="17"/>
                      <a:pt x="52" y="26"/>
                      <a:pt x="52" y="38"/>
                    </a:cubicBezTo>
                    <a:close/>
                    <a:moveTo>
                      <a:pt x="38" y="37"/>
                    </a:moveTo>
                    <a:cubicBezTo>
                      <a:pt x="38" y="30"/>
                      <a:pt x="37" y="24"/>
                      <a:pt x="35" y="19"/>
                    </a:cubicBezTo>
                    <a:cubicBezTo>
                      <a:pt x="32" y="14"/>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5"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1" name="Freeform 191"/>
              <p:cNvSpPr>
                <a:spLocks noEditPoints="1"/>
              </p:cNvSpPr>
              <p:nvPr/>
            </p:nvSpPr>
            <p:spPr bwMode="auto">
              <a:xfrm>
                <a:off x="2768419" y="3464379"/>
                <a:ext cx="60938" cy="90790"/>
              </a:xfrm>
              <a:custGeom>
                <a:avLst/>
                <a:gdLst/>
                <a:ahLst/>
                <a:cxnLst>
                  <a:cxn ang="0">
                    <a:pos x="51" y="38"/>
                  </a:cxn>
                  <a:cxn ang="0">
                    <a:pos x="44" y="65"/>
                  </a:cxn>
                  <a:cxn ang="0">
                    <a:pos x="25" y="75"/>
                  </a:cxn>
                  <a:cxn ang="0">
                    <a:pos x="7" y="65"/>
                  </a:cxn>
                  <a:cxn ang="0">
                    <a:pos x="0" y="38"/>
                  </a:cxn>
                  <a:cxn ang="0">
                    <a:pos x="7" y="10"/>
                  </a:cxn>
                  <a:cxn ang="0">
                    <a:pos x="25" y="0"/>
                  </a:cxn>
                  <a:cxn ang="0">
                    <a:pos x="44" y="10"/>
                  </a:cxn>
                  <a:cxn ang="0">
                    <a:pos x="51" y="38"/>
                  </a:cxn>
                  <a:cxn ang="0">
                    <a:pos x="37" y="37"/>
                  </a:cxn>
                  <a:cxn ang="0">
                    <a:pos x="34" y="19"/>
                  </a:cxn>
                  <a:cxn ang="0">
                    <a:pos x="25" y="12"/>
                  </a:cxn>
                  <a:cxn ang="0">
                    <a:pos x="17" y="19"/>
                  </a:cxn>
                  <a:cxn ang="0">
                    <a:pos x="13" y="38"/>
                  </a:cxn>
                  <a:cxn ang="0">
                    <a:pos x="17" y="56"/>
                  </a:cxn>
                  <a:cxn ang="0">
                    <a:pos x="25" y="63"/>
                  </a:cxn>
                  <a:cxn ang="0">
                    <a:pos x="34" y="56"/>
                  </a:cxn>
                  <a:cxn ang="0">
                    <a:pos x="37" y="37"/>
                  </a:cxn>
                </a:cxnLst>
                <a:rect l="0" t="0" r="r" b="b"/>
                <a:pathLst>
                  <a:path w="51" h="75">
                    <a:moveTo>
                      <a:pt x="51" y="38"/>
                    </a:moveTo>
                    <a:cubicBezTo>
                      <a:pt x="51" y="49"/>
                      <a:pt x="49" y="58"/>
                      <a:pt x="44" y="65"/>
                    </a:cubicBezTo>
                    <a:cubicBezTo>
                      <a:pt x="39" y="72"/>
                      <a:pt x="33" y="75"/>
                      <a:pt x="25" y="75"/>
                    </a:cubicBezTo>
                    <a:cubicBezTo>
                      <a:pt x="17" y="75"/>
                      <a:pt x="11" y="72"/>
                      <a:pt x="7" y="65"/>
                    </a:cubicBezTo>
                    <a:cubicBezTo>
                      <a:pt x="2" y="58"/>
                      <a:pt x="0" y="49"/>
                      <a:pt x="0" y="38"/>
                    </a:cubicBezTo>
                    <a:cubicBezTo>
                      <a:pt x="0" y="26"/>
                      <a:pt x="2" y="17"/>
                      <a:pt x="7" y="10"/>
                    </a:cubicBezTo>
                    <a:cubicBezTo>
                      <a:pt x="11" y="3"/>
                      <a:pt x="18" y="0"/>
                      <a:pt x="25" y="0"/>
                    </a:cubicBezTo>
                    <a:cubicBezTo>
                      <a:pt x="33" y="0"/>
                      <a:pt x="39" y="3"/>
                      <a:pt x="44" y="10"/>
                    </a:cubicBezTo>
                    <a:cubicBezTo>
                      <a:pt x="49" y="17"/>
                      <a:pt x="51" y="26"/>
                      <a:pt x="51" y="38"/>
                    </a:cubicBezTo>
                    <a:close/>
                    <a:moveTo>
                      <a:pt x="37" y="37"/>
                    </a:moveTo>
                    <a:cubicBezTo>
                      <a:pt x="37" y="30"/>
                      <a:pt x="36" y="24"/>
                      <a:pt x="34" y="19"/>
                    </a:cubicBezTo>
                    <a:cubicBezTo>
                      <a:pt x="32" y="14"/>
                      <a:pt x="29" y="12"/>
                      <a:pt x="25" y="12"/>
                    </a:cubicBezTo>
                    <a:cubicBezTo>
                      <a:pt x="22" y="12"/>
                      <a:pt x="19" y="15"/>
                      <a:pt x="17" y="19"/>
                    </a:cubicBezTo>
                    <a:cubicBezTo>
                      <a:pt x="15" y="24"/>
                      <a:pt x="13" y="30"/>
                      <a:pt x="13" y="38"/>
                    </a:cubicBezTo>
                    <a:cubicBezTo>
                      <a:pt x="13" y="45"/>
                      <a:pt x="15" y="51"/>
                      <a:pt x="17" y="56"/>
                    </a:cubicBezTo>
                    <a:cubicBezTo>
                      <a:pt x="19" y="61"/>
                      <a:pt x="22" y="63"/>
                      <a:pt x="25" y="63"/>
                    </a:cubicBezTo>
                    <a:cubicBezTo>
                      <a:pt x="29" y="63"/>
                      <a:pt x="32" y="61"/>
                      <a:pt x="34" y="56"/>
                    </a:cubicBezTo>
                    <a:cubicBezTo>
                      <a:pt x="36" y="51"/>
                      <a:pt x="37" y="45"/>
                      <a:pt x="37"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2" name="Freeform 192"/>
              <p:cNvSpPr>
                <a:spLocks/>
              </p:cNvSpPr>
              <p:nvPr/>
            </p:nvSpPr>
            <p:spPr bwMode="auto">
              <a:xfrm>
                <a:off x="2830920" y="3465945"/>
                <a:ext cx="34376" cy="87659"/>
              </a:xfrm>
              <a:custGeom>
                <a:avLst/>
                <a:gdLst/>
                <a:ahLst/>
                <a:cxnLst>
                  <a:cxn ang="0">
                    <a:pos x="22" y="56"/>
                  </a:cxn>
                  <a:cxn ang="0">
                    <a:pos x="11" y="56"/>
                  </a:cxn>
                  <a:cxn ang="0">
                    <a:pos x="11" y="10"/>
                  </a:cxn>
                  <a:cxn ang="0">
                    <a:pos x="0" y="10"/>
                  </a:cxn>
                  <a:cxn ang="0">
                    <a:pos x="5" y="0"/>
                  </a:cxn>
                  <a:cxn ang="0">
                    <a:pos x="22" y="0"/>
                  </a:cxn>
                  <a:cxn ang="0">
                    <a:pos x="22" y="56"/>
                  </a:cxn>
                </a:cxnLst>
                <a:rect l="0" t="0" r="r" b="b"/>
                <a:pathLst>
                  <a:path w="22" h="56">
                    <a:moveTo>
                      <a:pt x="22" y="56"/>
                    </a:moveTo>
                    <a:lnTo>
                      <a:pt x="11" y="56"/>
                    </a:lnTo>
                    <a:lnTo>
                      <a:pt x="11" y="10"/>
                    </a:lnTo>
                    <a:lnTo>
                      <a:pt x="0" y="10"/>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3" name="Freeform 193"/>
              <p:cNvSpPr>
                <a:spLocks/>
              </p:cNvSpPr>
              <p:nvPr/>
            </p:nvSpPr>
            <p:spPr bwMode="auto">
              <a:xfrm>
                <a:off x="2871546" y="3465945"/>
                <a:ext cx="34376" cy="87659"/>
              </a:xfrm>
              <a:custGeom>
                <a:avLst/>
                <a:gdLst/>
                <a:ahLst/>
                <a:cxnLst>
                  <a:cxn ang="0">
                    <a:pos x="22" y="56"/>
                  </a:cxn>
                  <a:cxn ang="0">
                    <a:pos x="11" y="56"/>
                  </a:cxn>
                  <a:cxn ang="0">
                    <a:pos x="11" y="10"/>
                  </a:cxn>
                  <a:cxn ang="0">
                    <a:pos x="0" y="10"/>
                  </a:cxn>
                  <a:cxn ang="0">
                    <a:pos x="5" y="0"/>
                  </a:cxn>
                  <a:cxn ang="0">
                    <a:pos x="22" y="0"/>
                  </a:cxn>
                  <a:cxn ang="0">
                    <a:pos x="22" y="56"/>
                  </a:cxn>
                </a:cxnLst>
                <a:rect l="0" t="0" r="r" b="b"/>
                <a:pathLst>
                  <a:path w="22" h="56">
                    <a:moveTo>
                      <a:pt x="22" y="56"/>
                    </a:moveTo>
                    <a:lnTo>
                      <a:pt x="11" y="56"/>
                    </a:lnTo>
                    <a:lnTo>
                      <a:pt x="11" y="10"/>
                    </a:lnTo>
                    <a:lnTo>
                      <a:pt x="0" y="10"/>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4" name="Freeform 194"/>
              <p:cNvSpPr>
                <a:spLocks noEditPoints="1"/>
              </p:cNvSpPr>
              <p:nvPr/>
            </p:nvSpPr>
            <p:spPr bwMode="auto">
              <a:xfrm>
                <a:off x="2919984" y="3464379"/>
                <a:ext cx="60938" cy="90790"/>
              </a:xfrm>
              <a:custGeom>
                <a:avLst/>
                <a:gdLst/>
                <a:ahLst/>
                <a:cxnLst>
                  <a:cxn ang="0">
                    <a:pos x="51" y="38"/>
                  </a:cxn>
                  <a:cxn ang="0">
                    <a:pos x="44" y="65"/>
                  </a:cxn>
                  <a:cxn ang="0">
                    <a:pos x="25" y="75"/>
                  </a:cxn>
                  <a:cxn ang="0">
                    <a:pos x="7" y="65"/>
                  </a:cxn>
                  <a:cxn ang="0">
                    <a:pos x="0" y="38"/>
                  </a:cxn>
                  <a:cxn ang="0">
                    <a:pos x="7" y="10"/>
                  </a:cxn>
                  <a:cxn ang="0">
                    <a:pos x="25" y="0"/>
                  </a:cxn>
                  <a:cxn ang="0">
                    <a:pos x="44" y="10"/>
                  </a:cxn>
                  <a:cxn ang="0">
                    <a:pos x="51" y="38"/>
                  </a:cxn>
                  <a:cxn ang="0">
                    <a:pos x="38" y="37"/>
                  </a:cxn>
                  <a:cxn ang="0">
                    <a:pos x="34" y="19"/>
                  </a:cxn>
                  <a:cxn ang="0">
                    <a:pos x="25" y="12"/>
                  </a:cxn>
                  <a:cxn ang="0">
                    <a:pos x="17" y="19"/>
                  </a:cxn>
                  <a:cxn ang="0">
                    <a:pos x="14" y="38"/>
                  </a:cxn>
                  <a:cxn ang="0">
                    <a:pos x="17" y="56"/>
                  </a:cxn>
                  <a:cxn ang="0">
                    <a:pos x="25" y="63"/>
                  </a:cxn>
                  <a:cxn ang="0">
                    <a:pos x="34" y="56"/>
                  </a:cxn>
                  <a:cxn ang="0">
                    <a:pos x="38" y="37"/>
                  </a:cxn>
                </a:cxnLst>
                <a:rect l="0" t="0" r="r" b="b"/>
                <a:pathLst>
                  <a:path w="51" h="75">
                    <a:moveTo>
                      <a:pt x="51" y="38"/>
                    </a:moveTo>
                    <a:cubicBezTo>
                      <a:pt x="51" y="49"/>
                      <a:pt x="49" y="58"/>
                      <a:pt x="44" y="65"/>
                    </a:cubicBezTo>
                    <a:cubicBezTo>
                      <a:pt x="40" y="72"/>
                      <a:pt x="33" y="75"/>
                      <a:pt x="25" y="75"/>
                    </a:cubicBezTo>
                    <a:cubicBezTo>
                      <a:pt x="18" y="75"/>
                      <a:pt x="11" y="72"/>
                      <a:pt x="7" y="65"/>
                    </a:cubicBezTo>
                    <a:cubicBezTo>
                      <a:pt x="2" y="58"/>
                      <a:pt x="0" y="49"/>
                      <a:pt x="0" y="38"/>
                    </a:cubicBezTo>
                    <a:cubicBezTo>
                      <a:pt x="0" y="26"/>
                      <a:pt x="2" y="17"/>
                      <a:pt x="7" y="10"/>
                    </a:cubicBezTo>
                    <a:cubicBezTo>
                      <a:pt x="11" y="3"/>
                      <a:pt x="18" y="0"/>
                      <a:pt x="25" y="0"/>
                    </a:cubicBezTo>
                    <a:cubicBezTo>
                      <a:pt x="33" y="0"/>
                      <a:pt x="40" y="3"/>
                      <a:pt x="44" y="10"/>
                    </a:cubicBezTo>
                    <a:cubicBezTo>
                      <a:pt x="49" y="17"/>
                      <a:pt x="51" y="26"/>
                      <a:pt x="51" y="38"/>
                    </a:cubicBezTo>
                    <a:close/>
                    <a:moveTo>
                      <a:pt x="38" y="37"/>
                    </a:moveTo>
                    <a:cubicBezTo>
                      <a:pt x="38" y="30"/>
                      <a:pt x="36" y="24"/>
                      <a:pt x="34" y="19"/>
                    </a:cubicBezTo>
                    <a:cubicBezTo>
                      <a:pt x="32" y="14"/>
                      <a:pt x="29" y="12"/>
                      <a:pt x="25" y="12"/>
                    </a:cubicBezTo>
                    <a:cubicBezTo>
                      <a:pt x="22" y="12"/>
                      <a:pt x="19" y="15"/>
                      <a:pt x="17" y="19"/>
                    </a:cubicBezTo>
                    <a:cubicBezTo>
                      <a:pt x="15" y="24"/>
                      <a:pt x="14" y="30"/>
                      <a:pt x="14" y="38"/>
                    </a:cubicBezTo>
                    <a:cubicBezTo>
                      <a:pt x="14" y="45"/>
                      <a:pt x="15" y="51"/>
                      <a:pt x="17" y="56"/>
                    </a:cubicBezTo>
                    <a:cubicBezTo>
                      <a:pt x="19" y="61"/>
                      <a:pt x="22" y="63"/>
                      <a:pt x="25" y="63"/>
                    </a:cubicBezTo>
                    <a:cubicBezTo>
                      <a:pt x="29" y="63"/>
                      <a:pt x="32" y="61"/>
                      <a:pt x="34" y="56"/>
                    </a:cubicBezTo>
                    <a:cubicBezTo>
                      <a:pt x="36"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5" name="Freeform 195"/>
              <p:cNvSpPr>
                <a:spLocks/>
              </p:cNvSpPr>
              <p:nvPr/>
            </p:nvSpPr>
            <p:spPr bwMode="auto">
              <a:xfrm>
                <a:off x="2984048" y="3465945"/>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6" name="Freeform 196"/>
              <p:cNvSpPr>
                <a:spLocks noEditPoints="1"/>
              </p:cNvSpPr>
              <p:nvPr/>
            </p:nvSpPr>
            <p:spPr bwMode="auto">
              <a:xfrm>
                <a:off x="3030924" y="3464379"/>
                <a:ext cx="62501" cy="90790"/>
              </a:xfrm>
              <a:custGeom>
                <a:avLst/>
                <a:gdLst/>
                <a:ahLst/>
                <a:cxnLst>
                  <a:cxn ang="0">
                    <a:pos x="52" y="38"/>
                  </a:cxn>
                  <a:cxn ang="0">
                    <a:pos x="45" y="65"/>
                  </a:cxn>
                  <a:cxn ang="0">
                    <a:pos x="26" y="75"/>
                  </a:cxn>
                  <a:cxn ang="0">
                    <a:pos x="7" y="65"/>
                  </a:cxn>
                  <a:cxn ang="0">
                    <a:pos x="0" y="38"/>
                  </a:cxn>
                  <a:cxn ang="0">
                    <a:pos x="7" y="10"/>
                  </a:cxn>
                  <a:cxn ang="0">
                    <a:pos x="26" y="0"/>
                  </a:cxn>
                  <a:cxn ang="0">
                    <a:pos x="45" y="10"/>
                  </a:cxn>
                  <a:cxn ang="0">
                    <a:pos x="52" y="38"/>
                  </a:cxn>
                  <a:cxn ang="0">
                    <a:pos x="38" y="37"/>
                  </a:cxn>
                  <a:cxn ang="0">
                    <a:pos x="34" y="19"/>
                  </a:cxn>
                  <a:cxn ang="0">
                    <a:pos x="26" y="12"/>
                  </a:cxn>
                  <a:cxn ang="0">
                    <a:pos x="17" y="19"/>
                  </a:cxn>
                  <a:cxn ang="0">
                    <a:pos x="14" y="38"/>
                  </a:cxn>
                  <a:cxn ang="0">
                    <a:pos x="17" y="56"/>
                  </a:cxn>
                  <a:cxn ang="0">
                    <a:pos x="26" y="63"/>
                  </a:cxn>
                  <a:cxn ang="0">
                    <a:pos x="34" y="56"/>
                  </a:cxn>
                  <a:cxn ang="0">
                    <a:pos x="38" y="37"/>
                  </a:cxn>
                </a:cxnLst>
                <a:rect l="0" t="0" r="r" b="b"/>
                <a:pathLst>
                  <a:path w="52" h="75">
                    <a:moveTo>
                      <a:pt x="52" y="38"/>
                    </a:moveTo>
                    <a:cubicBezTo>
                      <a:pt x="52" y="49"/>
                      <a:pt x="49" y="58"/>
                      <a:pt x="45" y="65"/>
                    </a:cubicBezTo>
                    <a:cubicBezTo>
                      <a:pt x="40" y="72"/>
                      <a:pt x="34" y="75"/>
                      <a:pt x="26" y="75"/>
                    </a:cubicBezTo>
                    <a:cubicBezTo>
                      <a:pt x="18" y="75"/>
                      <a:pt x="12" y="72"/>
                      <a:pt x="7" y="65"/>
                    </a:cubicBezTo>
                    <a:cubicBezTo>
                      <a:pt x="2" y="58"/>
                      <a:pt x="0" y="49"/>
                      <a:pt x="0" y="38"/>
                    </a:cubicBezTo>
                    <a:cubicBezTo>
                      <a:pt x="0" y="26"/>
                      <a:pt x="2" y="17"/>
                      <a:pt x="7" y="10"/>
                    </a:cubicBezTo>
                    <a:cubicBezTo>
                      <a:pt x="12" y="3"/>
                      <a:pt x="18" y="0"/>
                      <a:pt x="26" y="0"/>
                    </a:cubicBezTo>
                    <a:cubicBezTo>
                      <a:pt x="34" y="0"/>
                      <a:pt x="40" y="3"/>
                      <a:pt x="45" y="10"/>
                    </a:cubicBezTo>
                    <a:cubicBezTo>
                      <a:pt x="49" y="17"/>
                      <a:pt x="52" y="26"/>
                      <a:pt x="52" y="38"/>
                    </a:cubicBezTo>
                    <a:close/>
                    <a:moveTo>
                      <a:pt x="38" y="37"/>
                    </a:moveTo>
                    <a:cubicBezTo>
                      <a:pt x="38" y="30"/>
                      <a:pt x="37" y="24"/>
                      <a:pt x="34" y="19"/>
                    </a:cubicBezTo>
                    <a:cubicBezTo>
                      <a:pt x="32" y="14"/>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4"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7" name="Freeform 197"/>
              <p:cNvSpPr>
                <a:spLocks/>
              </p:cNvSpPr>
              <p:nvPr/>
            </p:nvSpPr>
            <p:spPr bwMode="auto">
              <a:xfrm>
                <a:off x="3094987" y="3465945"/>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8" name="Freeform 208"/>
              <p:cNvSpPr>
                <a:spLocks noEditPoints="1"/>
              </p:cNvSpPr>
              <p:nvPr/>
            </p:nvSpPr>
            <p:spPr bwMode="auto">
              <a:xfrm>
                <a:off x="2344975" y="3603694"/>
                <a:ext cx="62501" cy="90790"/>
              </a:xfrm>
              <a:custGeom>
                <a:avLst/>
                <a:gdLst/>
                <a:ahLst/>
                <a:cxnLst>
                  <a:cxn ang="0">
                    <a:pos x="52" y="38"/>
                  </a:cxn>
                  <a:cxn ang="0">
                    <a:pos x="44" y="65"/>
                  </a:cxn>
                  <a:cxn ang="0">
                    <a:pos x="26" y="76"/>
                  </a:cxn>
                  <a:cxn ang="0">
                    <a:pos x="7" y="65"/>
                  </a:cxn>
                  <a:cxn ang="0">
                    <a:pos x="0" y="38"/>
                  </a:cxn>
                  <a:cxn ang="0">
                    <a:pos x="7" y="10"/>
                  </a:cxn>
                  <a:cxn ang="0">
                    <a:pos x="26" y="0"/>
                  </a:cxn>
                  <a:cxn ang="0">
                    <a:pos x="44" y="10"/>
                  </a:cxn>
                  <a:cxn ang="0">
                    <a:pos x="52" y="38"/>
                  </a:cxn>
                  <a:cxn ang="0">
                    <a:pos x="38" y="38"/>
                  </a:cxn>
                  <a:cxn ang="0">
                    <a:pos x="34" y="19"/>
                  </a:cxn>
                  <a:cxn ang="0">
                    <a:pos x="26" y="12"/>
                  </a:cxn>
                  <a:cxn ang="0">
                    <a:pos x="17" y="19"/>
                  </a:cxn>
                  <a:cxn ang="0">
                    <a:pos x="14" y="38"/>
                  </a:cxn>
                  <a:cxn ang="0">
                    <a:pos x="17" y="56"/>
                  </a:cxn>
                  <a:cxn ang="0">
                    <a:pos x="26" y="63"/>
                  </a:cxn>
                  <a:cxn ang="0">
                    <a:pos x="34" y="56"/>
                  </a:cxn>
                  <a:cxn ang="0">
                    <a:pos x="38" y="38"/>
                  </a:cxn>
                </a:cxnLst>
                <a:rect l="0" t="0" r="r" b="b"/>
                <a:pathLst>
                  <a:path w="52" h="76">
                    <a:moveTo>
                      <a:pt x="52" y="38"/>
                    </a:moveTo>
                    <a:cubicBezTo>
                      <a:pt x="52" y="49"/>
                      <a:pt x="49" y="58"/>
                      <a:pt x="44" y="65"/>
                    </a:cubicBezTo>
                    <a:cubicBezTo>
                      <a:pt x="40" y="72"/>
                      <a:pt x="33" y="76"/>
                      <a:pt x="26" y="76"/>
                    </a:cubicBezTo>
                    <a:cubicBezTo>
                      <a:pt x="18" y="76"/>
                      <a:pt x="11" y="72"/>
                      <a:pt x="7" y="65"/>
                    </a:cubicBezTo>
                    <a:cubicBezTo>
                      <a:pt x="2" y="58"/>
                      <a:pt x="0" y="49"/>
                      <a:pt x="0" y="38"/>
                    </a:cubicBezTo>
                    <a:cubicBezTo>
                      <a:pt x="0" y="26"/>
                      <a:pt x="2" y="17"/>
                      <a:pt x="7" y="10"/>
                    </a:cubicBezTo>
                    <a:cubicBezTo>
                      <a:pt x="12" y="4"/>
                      <a:pt x="18" y="0"/>
                      <a:pt x="26" y="0"/>
                    </a:cubicBezTo>
                    <a:cubicBezTo>
                      <a:pt x="33" y="0"/>
                      <a:pt x="40" y="3"/>
                      <a:pt x="44" y="10"/>
                    </a:cubicBezTo>
                    <a:cubicBezTo>
                      <a:pt x="49" y="17"/>
                      <a:pt x="52" y="26"/>
                      <a:pt x="52" y="38"/>
                    </a:cubicBezTo>
                    <a:close/>
                    <a:moveTo>
                      <a:pt x="38" y="38"/>
                    </a:moveTo>
                    <a:cubicBezTo>
                      <a:pt x="38" y="30"/>
                      <a:pt x="37" y="24"/>
                      <a:pt x="34" y="19"/>
                    </a:cubicBezTo>
                    <a:cubicBezTo>
                      <a:pt x="32" y="15"/>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4" y="56"/>
                    </a:cubicBezTo>
                    <a:cubicBezTo>
                      <a:pt x="37" y="51"/>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9" name="Freeform 209"/>
              <p:cNvSpPr>
                <a:spLocks/>
              </p:cNvSpPr>
              <p:nvPr/>
            </p:nvSpPr>
            <p:spPr bwMode="auto">
              <a:xfrm>
                <a:off x="2407476" y="3605260"/>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0" name="Freeform 210"/>
              <p:cNvSpPr>
                <a:spLocks/>
              </p:cNvSpPr>
              <p:nvPr/>
            </p:nvSpPr>
            <p:spPr bwMode="auto">
              <a:xfrm>
                <a:off x="2449664" y="3605260"/>
                <a:ext cx="31250" cy="87659"/>
              </a:xfrm>
              <a:custGeom>
                <a:avLst/>
                <a:gdLst/>
                <a:ahLst/>
                <a:cxnLst>
                  <a:cxn ang="0">
                    <a:pos x="20" y="56"/>
                  </a:cxn>
                  <a:cxn ang="0">
                    <a:pos x="10" y="56"/>
                  </a:cxn>
                  <a:cxn ang="0">
                    <a:pos x="10" y="9"/>
                  </a:cxn>
                  <a:cxn ang="0">
                    <a:pos x="0" y="9"/>
                  </a:cxn>
                  <a:cxn ang="0">
                    <a:pos x="3" y="0"/>
                  </a:cxn>
                  <a:cxn ang="0">
                    <a:pos x="20" y="0"/>
                  </a:cxn>
                  <a:cxn ang="0">
                    <a:pos x="20" y="56"/>
                  </a:cxn>
                </a:cxnLst>
                <a:rect l="0" t="0" r="r" b="b"/>
                <a:pathLst>
                  <a:path w="20" h="56">
                    <a:moveTo>
                      <a:pt x="20" y="56"/>
                    </a:moveTo>
                    <a:lnTo>
                      <a:pt x="10" y="56"/>
                    </a:lnTo>
                    <a:lnTo>
                      <a:pt x="10" y="9"/>
                    </a:lnTo>
                    <a:lnTo>
                      <a:pt x="0" y="9"/>
                    </a:lnTo>
                    <a:lnTo>
                      <a:pt x="3" y="0"/>
                    </a:lnTo>
                    <a:lnTo>
                      <a:pt x="20" y="0"/>
                    </a:lnTo>
                    <a:lnTo>
                      <a:pt x="20"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1" name="Freeform 211"/>
              <p:cNvSpPr>
                <a:spLocks/>
              </p:cNvSpPr>
              <p:nvPr/>
            </p:nvSpPr>
            <p:spPr bwMode="auto">
              <a:xfrm>
                <a:off x="2488727" y="3605260"/>
                <a:ext cx="34376" cy="87659"/>
              </a:xfrm>
              <a:custGeom>
                <a:avLst/>
                <a:gdLst/>
                <a:ahLst/>
                <a:cxnLst>
                  <a:cxn ang="0">
                    <a:pos x="22" y="56"/>
                  </a:cxn>
                  <a:cxn ang="0">
                    <a:pos x="11" y="56"/>
                  </a:cxn>
                  <a:cxn ang="0">
                    <a:pos x="11" y="9"/>
                  </a:cxn>
                  <a:cxn ang="0">
                    <a:pos x="0" y="9"/>
                  </a:cxn>
                  <a:cxn ang="0">
                    <a:pos x="5" y="0"/>
                  </a:cxn>
                  <a:cxn ang="0">
                    <a:pos x="22" y="0"/>
                  </a:cxn>
                  <a:cxn ang="0">
                    <a:pos x="22" y="56"/>
                  </a:cxn>
                </a:cxnLst>
                <a:rect l="0" t="0" r="r" b="b"/>
                <a:pathLst>
                  <a:path w="22" h="56">
                    <a:moveTo>
                      <a:pt x="22" y="56"/>
                    </a:moveTo>
                    <a:lnTo>
                      <a:pt x="11" y="56"/>
                    </a:lnTo>
                    <a:lnTo>
                      <a:pt x="11" y="9"/>
                    </a:lnTo>
                    <a:lnTo>
                      <a:pt x="0" y="9"/>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2" name="Freeform 212"/>
              <p:cNvSpPr>
                <a:spLocks noEditPoints="1"/>
              </p:cNvSpPr>
              <p:nvPr/>
            </p:nvSpPr>
            <p:spPr bwMode="auto">
              <a:xfrm>
                <a:off x="2537166" y="3603694"/>
                <a:ext cx="62501" cy="90790"/>
              </a:xfrm>
              <a:custGeom>
                <a:avLst/>
                <a:gdLst/>
                <a:ahLst/>
                <a:cxnLst>
                  <a:cxn ang="0">
                    <a:pos x="52" y="38"/>
                  </a:cxn>
                  <a:cxn ang="0">
                    <a:pos x="44" y="65"/>
                  </a:cxn>
                  <a:cxn ang="0">
                    <a:pos x="26" y="76"/>
                  </a:cxn>
                  <a:cxn ang="0">
                    <a:pos x="7" y="65"/>
                  </a:cxn>
                  <a:cxn ang="0">
                    <a:pos x="0" y="38"/>
                  </a:cxn>
                  <a:cxn ang="0">
                    <a:pos x="7" y="10"/>
                  </a:cxn>
                  <a:cxn ang="0">
                    <a:pos x="26" y="0"/>
                  </a:cxn>
                  <a:cxn ang="0">
                    <a:pos x="44" y="10"/>
                  </a:cxn>
                  <a:cxn ang="0">
                    <a:pos x="52" y="38"/>
                  </a:cxn>
                  <a:cxn ang="0">
                    <a:pos x="38" y="38"/>
                  </a:cxn>
                  <a:cxn ang="0">
                    <a:pos x="34" y="19"/>
                  </a:cxn>
                  <a:cxn ang="0">
                    <a:pos x="26" y="12"/>
                  </a:cxn>
                  <a:cxn ang="0">
                    <a:pos x="17" y="19"/>
                  </a:cxn>
                  <a:cxn ang="0">
                    <a:pos x="14" y="38"/>
                  </a:cxn>
                  <a:cxn ang="0">
                    <a:pos x="17" y="56"/>
                  </a:cxn>
                  <a:cxn ang="0">
                    <a:pos x="26" y="63"/>
                  </a:cxn>
                  <a:cxn ang="0">
                    <a:pos x="34" y="56"/>
                  </a:cxn>
                  <a:cxn ang="0">
                    <a:pos x="38" y="38"/>
                  </a:cxn>
                </a:cxnLst>
                <a:rect l="0" t="0" r="r" b="b"/>
                <a:pathLst>
                  <a:path w="52" h="76">
                    <a:moveTo>
                      <a:pt x="52" y="38"/>
                    </a:moveTo>
                    <a:cubicBezTo>
                      <a:pt x="52" y="49"/>
                      <a:pt x="49" y="58"/>
                      <a:pt x="44" y="65"/>
                    </a:cubicBezTo>
                    <a:cubicBezTo>
                      <a:pt x="40" y="72"/>
                      <a:pt x="33" y="76"/>
                      <a:pt x="26" y="76"/>
                    </a:cubicBezTo>
                    <a:cubicBezTo>
                      <a:pt x="18" y="76"/>
                      <a:pt x="12" y="72"/>
                      <a:pt x="7" y="65"/>
                    </a:cubicBezTo>
                    <a:cubicBezTo>
                      <a:pt x="2" y="58"/>
                      <a:pt x="0" y="49"/>
                      <a:pt x="0" y="38"/>
                    </a:cubicBezTo>
                    <a:cubicBezTo>
                      <a:pt x="0" y="26"/>
                      <a:pt x="2" y="17"/>
                      <a:pt x="7" y="10"/>
                    </a:cubicBezTo>
                    <a:cubicBezTo>
                      <a:pt x="12" y="4"/>
                      <a:pt x="18" y="0"/>
                      <a:pt x="26" y="0"/>
                    </a:cubicBezTo>
                    <a:cubicBezTo>
                      <a:pt x="33" y="0"/>
                      <a:pt x="40" y="3"/>
                      <a:pt x="44" y="10"/>
                    </a:cubicBezTo>
                    <a:cubicBezTo>
                      <a:pt x="49" y="17"/>
                      <a:pt x="52" y="26"/>
                      <a:pt x="52" y="38"/>
                    </a:cubicBezTo>
                    <a:close/>
                    <a:moveTo>
                      <a:pt x="38" y="38"/>
                    </a:moveTo>
                    <a:cubicBezTo>
                      <a:pt x="38" y="30"/>
                      <a:pt x="37" y="24"/>
                      <a:pt x="34" y="19"/>
                    </a:cubicBezTo>
                    <a:cubicBezTo>
                      <a:pt x="32" y="15"/>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4" y="56"/>
                    </a:cubicBezTo>
                    <a:cubicBezTo>
                      <a:pt x="37" y="51"/>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3" name="Freeform 213"/>
              <p:cNvSpPr>
                <a:spLocks noEditPoints="1"/>
              </p:cNvSpPr>
              <p:nvPr/>
            </p:nvSpPr>
            <p:spPr bwMode="auto">
              <a:xfrm>
                <a:off x="2602792" y="3603694"/>
                <a:ext cx="62501" cy="90790"/>
              </a:xfrm>
              <a:custGeom>
                <a:avLst/>
                <a:gdLst/>
                <a:ahLst/>
                <a:cxnLst>
                  <a:cxn ang="0">
                    <a:pos x="52" y="38"/>
                  </a:cxn>
                  <a:cxn ang="0">
                    <a:pos x="45" y="65"/>
                  </a:cxn>
                  <a:cxn ang="0">
                    <a:pos x="26" y="76"/>
                  </a:cxn>
                  <a:cxn ang="0">
                    <a:pos x="7" y="65"/>
                  </a:cxn>
                  <a:cxn ang="0">
                    <a:pos x="0" y="38"/>
                  </a:cxn>
                  <a:cxn ang="0">
                    <a:pos x="7" y="10"/>
                  </a:cxn>
                  <a:cxn ang="0">
                    <a:pos x="26" y="0"/>
                  </a:cxn>
                  <a:cxn ang="0">
                    <a:pos x="45" y="10"/>
                  </a:cxn>
                  <a:cxn ang="0">
                    <a:pos x="52" y="38"/>
                  </a:cxn>
                  <a:cxn ang="0">
                    <a:pos x="38" y="38"/>
                  </a:cxn>
                  <a:cxn ang="0">
                    <a:pos x="35" y="19"/>
                  </a:cxn>
                  <a:cxn ang="0">
                    <a:pos x="26" y="12"/>
                  </a:cxn>
                  <a:cxn ang="0">
                    <a:pos x="17" y="19"/>
                  </a:cxn>
                  <a:cxn ang="0">
                    <a:pos x="14" y="38"/>
                  </a:cxn>
                  <a:cxn ang="0">
                    <a:pos x="18" y="56"/>
                  </a:cxn>
                  <a:cxn ang="0">
                    <a:pos x="26" y="63"/>
                  </a:cxn>
                  <a:cxn ang="0">
                    <a:pos x="35" y="56"/>
                  </a:cxn>
                  <a:cxn ang="0">
                    <a:pos x="38" y="38"/>
                  </a:cxn>
                </a:cxnLst>
                <a:rect l="0" t="0" r="r" b="b"/>
                <a:pathLst>
                  <a:path w="52" h="76">
                    <a:moveTo>
                      <a:pt x="52" y="38"/>
                    </a:moveTo>
                    <a:cubicBezTo>
                      <a:pt x="52" y="49"/>
                      <a:pt x="50" y="58"/>
                      <a:pt x="45" y="65"/>
                    </a:cubicBezTo>
                    <a:cubicBezTo>
                      <a:pt x="40" y="72"/>
                      <a:pt x="34" y="76"/>
                      <a:pt x="26" y="76"/>
                    </a:cubicBezTo>
                    <a:cubicBezTo>
                      <a:pt x="18" y="76"/>
                      <a:pt x="12" y="72"/>
                      <a:pt x="7" y="65"/>
                    </a:cubicBezTo>
                    <a:cubicBezTo>
                      <a:pt x="3" y="58"/>
                      <a:pt x="0" y="49"/>
                      <a:pt x="0" y="38"/>
                    </a:cubicBezTo>
                    <a:cubicBezTo>
                      <a:pt x="0" y="26"/>
                      <a:pt x="3" y="17"/>
                      <a:pt x="7" y="10"/>
                    </a:cubicBezTo>
                    <a:cubicBezTo>
                      <a:pt x="12" y="4"/>
                      <a:pt x="18" y="0"/>
                      <a:pt x="26" y="0"/>
                    </a:cubicBezTo>
                    <a:cubicBezTo>
                      <a:pt x="34" y="0"/>
                      <a:pt x="40" y="3"/>
                      <a:pt x="45" y="10"/>
                    </a:cubicBezTo>
                    <a:cubicBezTo>
                      <a:pt x="50" y="17"/>
                      <a:pt x="52" y="26"/>
                      <a:pt x="52" y="38"/>
                    </a:cubicBezTo>
                    <a:close/>
                    <a:moveTo>
                      <a:pt x="38" y="38"/>
                    </a:moveTo>
                    <a:cubicBezTo>
                      <a:pt x="38" y="30"/>
                      <a:pt x="37" y="24"/>
                      <a:pt x="35" y="19"/>
                    </a:cubicBezTo>
                    <a:cubicBezTo>
                      <a:pt x="33" y="15"/>
                      <a:pt x="30" y="12"/>
                      <a:pt x="26" y="12"/>
                    </a:cubicBezTo>
                    <a:cubicBezTo>
                      <a:pt x="23" y="12"/>
                      <a:pt x="20" y="15"/>
                      <a:pt x="17" y="19"/>
                    </a:cubicBezTo>
                    <a:cubicBezTo>
                      <a:pt x="15" y="24"/>
                      <a:pt x="14" y="30"/>
                      <a:pt x="14" y="38"/>
                    </a:cubicBezTo>
                    <a:cubicBezTo>
                      <a:pt x="14" y="45"/>
                      <a:pt x="15" y="51"/>
                      <a:pt x="18" y="56"/>
                    </a:cubicBezTo>
                    <a:cubicBezTo>
                      <a:pt x="20" y="61"/>
                      <a:pt x="23" y="63"/>
                      <a:pt x="26" y="63"/>
                    </a:cubicBezTo>
                    <a:cubicBezTo>
                      <a:pt x="30" y="63"/>
                      <a:pt x="33" y="61"/>
                      <a:pt x="35" y="56"/>
                    </a:cubicBezTo>
                    <a:cubicBezTo>
                      <a:pt x="37" y="51"/>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4" name="Freeform 214"/>
              <p:cNvSpPr>
                <a:spLocks/>
              </p:cNvSpPr>
              <p:nvPr/>
            </p:nvSpPr>
            <p:spPr bwMode="auto">
              <a:xfrm>
                <a:off x="2666855" y="3605260"/>
                <a:ext cx="32813" cy="87659"/>
              </a:xfrm>
              <a:custGeom>
                <a:avLst/>
                <a:gdLst/>
                <a:ahLst/>
                <a:cxnLst>
                  <a:cxn ang="0">
                    <a:pos x="21" y="56"/>
                  </a:cxn>
                  <a:cxn ang="0">
                    <a:pos x="11" y="56"/>
                  </a:cxn>
                  <a:cxn ang="0">
                    <a:pos x="11" y="9"/>
                  </a:cxn>
                  <a:cxn ang="0">
                    <a:pos x="0" y="9"/>
                  </a:cxn>
                  <a:cxn ang="0">
                    <a:pos x="4" y="0"/>
                  </a:cxn>
                  <a:cxn ang="0">
                    <a:pos x="21" y="0"/>
                  </a:cxn>
                  <a:cxn ang="0">
                    <a:pos x="21" y="56"/>
                  </a:cxn>
                </a:cxnLst>
                <a:rect l="0" t="0" r="r" b="b"/>
                <a:pathLst>
                  <a:path w="21" h="56">
                    <a:moveTo>
                      <a:pt x="21" y="56"/>
                    </a:moveTo>
                    <a:lnTo>
                      <a:pt x="11" y="56"/>
                    </a:lnTo>
                    <a:lnTo>
                      <a:pt x="11"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5" name="Freeform 215"/>
              <p:cNvSpPr>
                <a:spLocks/>
              </p:cNvSpPr>
              <p:nvPr/>
            </p:nvSpPr>
            <p:spPr bwMode="auto">
              <a:xfrm>
                <a:off x="2707481" y="3605260"/>
                <a:ext cx="34376" cy="87659"/>
              </a:xfrm>
              <a:custGeom>
                <a:avLst/>
                <a:gdLst/>
                <a:ahLst/>
                <a:cxnLst>
                  <a:cxn ang="0">
                    <a:pos x="22" y="56"/>
                  </a:cxn>
                  <a:cxn ang="0">
                    <a:pos x="11" y="56"/>
                  </a:cxn>
                  <a:cxn ang="0">
                    <a:pos x="11" y="9"/>
                  </a:cxn>
                  <a:cxn ang="0">
                    <a:pos x="0" y="9"/>
                  </a:cxn>
                  <a:cxn ang="0">
                    <a:pos x="5" y="0"/>
                  </a:cxn>
                  <a:cxn ang="0">
                    <a:pos x="22" y="0"/>
                  </a:cxn>
                  <a:cxn ang="0">
                    <a:pos x="22" y="56"/>
                  </a:cxn>
                </a:cxnLst>
                <a:rect l="0" t="0" r="r" b="b"/>
                <a:pathLst>
                  <a:path w="22" h="56">
                    <a:moveTo>
                      <a:pt x="22" y="56"/>
                    </a:moveTo>
                    <a:lnTo>
                      <a:pt x="11" y="56"/>
                    </a:lnTo>
                    <a:lnTo>
                      <a:pt x="11" y="9"/>
                    </a:lnTo>
                    <a:lnTo>
                      <a:pt x="0" y="9"/>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6" name="Freeform 216"/>
              <p:cNvSpPr>
                <a:spLocks noEditPoints="1"/>
              </p:cNvSpPr>
              <p:nvPr/>
            </p:nvSpPr>
            <p:spPr bwMode="auto">
              <a:xfrm>
                <a:off x="2755919" y="3603694"/>
                <a:ext cx="60938" cy="90790"/>
              </a:xfrm>
              <a:custGeom>
                <a:avLst/>
                <a:gdLst/>
                <a:ahLst/>
                <a:cxnLst>
                  <a:cxn ang="0">
                    <a:pos x="51" y="38"/>
                  </a:cxn>
                  <a:cxn ang="0">
                    <a:pos x="44" y="65"/>
                  </a:cxn>
                  <a:cxn ang="0">
                    <a:pos x="25" y="76"/>
                  </a:cxn>
                  <a:cxn ang="0">
                    <a:pos x="7" y="65"/>
                  </a:cxn>
                  <a:cxn ang="0">
                    <a:pos x="0" y="38"/>
                  </a:cxn>
                  <a:cxn ang="0">
                    <a:pos x="7" y="10"/>
                  </a:cxn>
                  <a:cxn ang="0">
                    <a:pos x="25" y="0"/>
                  </a:cxn>
                  <a:cxn ang="0">
                    <a:pos x="44" y="10"/>
                  </a:cxn>
                  <a:cxn ang="0">
                    <a:pos x="51" y="38"/>
                  </a:cxn>
                  <a:cxn ang="0">
                    <a:pos x="37" y="38"/>
                  </a:cxn>
                  <a:cxn ang="0">
                    <a:pos x="34" y="19"/>
                  </a:cxn>
                  <a:cxn ang="0">
                    <a:pos x="25" y="12"/>
                  </a:cxn>
                  <a:cxn ang="0">
                    <a:pos x="17" y="19"/>
                  </a:cxn>
                  <a:cxn ang="0">
                    <a:pos x="13" y="38"/>
                  </a:cxn>
                  <a:cxn ang="0">
                    <a:pos x="17" y="56"/>
                  </a:cxn>
                  <a:cxn ang="0">
                    <a:pos x="25" y="63"/>
                  </a:cxn>
                  <a:cxn ang="0">
                    <a:pos x="34" y="56"/>
                  </a:cxn>
                  <a:cxn ang="0">
                    <a:pos x="37" y="38"/>
                  </a:cxn>
                </a:cxnLst>
                <a:rect l="0" t="0" r="r" b="b"/>
                <a:pathLst>
                  <a:path w="51" h="76">
                    <a:moveTo>
                      <a:pt x="51" y="38"/>
                    </a:moveTo>
                    <a:cubicBezTo>
                      <a:pt x="51" y="49"/>
                      <a:pt x="49" y="58"/>
                      <a:pt x="44" y="65"/>
                    </a:cubicBezTo>
                    <a:cubicBezTo>
                      <a:pt x="39" y="72"/>
                      <a:pt x="33" y="76"/>
                      <a:pt x="25" y="76"/>
                    </a:cubicBezTo>
                    <a:cubicBezTo>
                      <a:pt x="17" y="76"/>
                      <a:pt x="11" y="72"/>
                      <a:pt x="7" y="65"/>
                    </a:cubicBezTo>
                    <a:cubicBezTo>
                      <a:pt x="2" y="58"/>
                      <a:pt x="0" y="49"/>
                      <a:pt x="0" y="38"/>
                    </a:cubicBezTo>
                    <a:cubicBezTo>
                      <a:pt x="0" y="26"/>
                      <a:pt x="2" y="17"/>
                      <a:pt x="7" y="10"/>
                    </a:cubicBezTo>
                    <a:cubicBezTo>
                      <a:pt x="11" y="4"/>
                      <a:pt x="17" y="0"/>
                      <a:pt x="25" y="0"/>
                    </a:cubicBezTo>
                    <a:cubicBezTo>
                      <a:pt x="33" y="0"/>
                      <a:pt x="39" y="3"/>
                      <a:pt x="44" y="10"/>
                    </a:cubicBezTo>
                    <a:cubicBezTo>
                      <a:pt x="49" y="17"/>
                      <a:pt x="51" y="26"/>
                      <a:pt x="51" y="38"/>
                    </a:cubicBezTo>
                    <a:close/>
                    <a:moveTo>
                      <a:pt x="37" y="38"/>
                    </a:moveTo>
                    <a:cubicBezTo>
                      <a:pt x="37" y="30"/>
                      <a:pt x="36" y="24"/>
                      <a:pt x="34" y="19"/>
                    </a:cubicBezTo>
                    <a:cubicBezTo>
                      <a:pt x="32" y="15"/>
                      <a:pt x="29" y="12"/>
                      <a:pt x="25" y="12"/>
                    </a:cubicBezTo>
                    <a:cubicBezTo>
                      <a:pt x="22" y="12"/>
                      <a:pt x="19" y="15"/>
                      <a:pt x="17" y="19"/>
                    </a:cubicBezTo>
                    <a:cubicBezTo>
                      <a:pt x="14" y="24"/>
                      <a:pt x="13" y="30"/>
                      <a:pt x="13" y="38"/>
                    </a:cubicBezTo>
                    <a:cubicBezTo>
                      <a:pt x="13" y="45"/>
                      <a:pt x="14" y="51"/>
                      <a:pt x="17" y="56"/>
                    </a:cubicBezTo>
                    <a:cubicBezTo>
                      <a:pt x="19" y="61"/>
                      <a:pt x="22" y="63"/>
                      <a:pt x="25" y="63"/>
                    </a:cubicBezTo>
                    <a:cubicBezTo>
                      <a:pt x="29" y="63"/>
                      <a:pt x="32" y="61"/>
                      <a:pt x="34" y="56"/>
                    </a:cubicBezTo>
                    <a:cubicBezTo>
                      <a:pt x="36" y="51"/>
                      <a:pt x="37" y="45"/>
                      <a:pt x="37"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7" name="Freeform 217"/>
              <p:cNvSpPr>
                <a:spLocks/>
              </p:cNvSpPr>
              <p:nvPr/>
            </p:nvSpPr>
            <p:spPr bwMode="auto">
              <a:xfrm>
                <a:off x="2818420" y="3605260"/>
                <a:ext cx="32813" cy="87659"/>
              </a:xfrm>
              <a:custGeom>
                <a:avLst/>
                <a:gdLst/>
                <a:ahLst/>
                <a:cxnLst>
                  <a:cxn ang="0">
                    <a:pos x="21" y="56"/>
                  </a:cxn>
                  <a:cxn ang="0">
                    <a:pos x="11" y="56"/>
                  </a:cxn>
                  <a:cxn ang="0">
                    <a:pos x="11" y="9"/>
                  </a:cxn>
                  <a:cxn ang="0">
                    <a:pos x="0" y="9"/>
                  </a:cxn>
                  <a:cxn ang="0">
                    <a:pos x="4" y="0"/>
                  </a:cxn>
                  <a:cxn ang="0">
                    <a:pos x="21" y="0"/>
                  </a:cxn>
                  <a:cxn ang="0">
                    <a:pos x="21" y="56"/>
                  </a:cxn>
                </a:cxnLst>
                <a:rect l="0" t="0" r="r" b="b"/>
                <a:pathLst>
                  <a:path w="21" h="56">
                    <a:moveTo>
                      <a:pt x="21" y="56"/>
                    </a:moveTo>
                    <a:lnTo>
                      <a:pt x="11" y="56"/>
                    </a:lnTo>
                    <a:lnTo>
                      <a:pt x="11"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8" name="Freeform 218"/>
              <p:cNvSpPr>
                <a:spLocks noEditPoints="1"/>
              </p:cNvSpPr>
              <p:nvPr/>
            </p:nvSpPr>
            <p:spPr bwMode="auto">
              <a:xfrm>
                <a:off x="2866858" y="3603694"/>
                <a:ext cx="60938" cy="90790"/>
              </a:xfrm>
              <a:custGeom>
                <a:avLst/>
                <a:gdLst/>
                <a:ahLst/>
                <a:cxnLst>
                  <a:cxn ang="0">
                    <a:pos x="51" y="38"/>
                  </a:cxn>
                  <a:cxn ang="0">
                    <a:pos x="44" y="65"/>
                  </a:cxn>
                  <a:cxn ang="0">
                    <a:pos x="26" y="76"/>
                  </a:cxn>
                  <a:cxn ang="0">
                    <a:pos x="7" y="65"/>
                  </a:cxn>
                  <a:cxn ang="0">
                    <a:pos x="0" y="38"/>
                  </a:cxn>
                  <a:cxn ang="0">
                    <a:pos x="7" y="10"/>
                  </a:cxn>
                  <a:cxn ang="0">
                    <a:pos x="26" y="0"/>
                  </a:cxn>
                  <a:cxn ang="0">
                    <a:pos x="44" y="10"/>
                  </a:cxn>
                  <a:cxn ang="0">
                    <a:pos x="51" y="38"/>
                  </a:cxn>
                  <a:cxn ang="0">
                    <a:pos x="38" y="38"/>
                  </a:cxn>
                  <a:cxn ang="0">
                    <a:pos x="34" y="19"/>
                  </a:cxn>
                  <a:cxn ang="0">
                    <a:pos x="26" y="12"/>
                  </a:cxn>
                  <a:cxn ang="0">
                    <a:pos x="17" y="19"/>
                  </a:cxn>
                  <a:cxn ang="0">
                    <a:pos x="14" y="38"/>
                  </a:cxn>
                  <a:cxn ang="0">
                    <a:pos x="17" y="56"/>
                  </a:cxn>
                  <a:cxn ang="0">
                    <a:pos x="26" y="63"/>
                  </a:cxn>
                  <a:cxn ang="0">
                    <a:pos x="34" y="56"/>
                  </a:cxn>
                  <a:cxn ang="0">
                    <a:pos x="38" y="38"/>
                  </a:cxn>
                </a:cxnLst>
                <a:rect l="0" t="0" r="r" b="b"/>
                <a:pathLst>
                  <a:path w="51" h="76">
                    <a:moveTo>
                      <a:pt x="51" y="38"/>
                    </a:moveTo>
                    <a:cubicBezTo>
                      <a:pt x="51" y="49"/>
                      <a:pt x="49" y="58"/>
                      <a:pt x="44" y="65"/>
                    </a:cubicBezTo>
                    <a:cubicBezTo>
                      <a:pt x="40" y="72"/>
                      <a:pt x="33" y="76"/>
                      <a:pt x="26" y="76"/>
                    </a:cubicBezTo>
                    <a:cubicBezTo>
                      <a:pt x="18" y="76"/>
                      <a:pt x="11" y="72"/>
                      <a:pt x="7" y="65"/>
                    </a:cubicBezTo>
                    <a:cubicBezTo>
                      <a:pt x="2" y="58"/>
                      <a:pt x="0" y="49"/>
                      <a:pt x="0" y="38"/>
                    </a:cubicBezTo>
                    <a:cubicBezTo>
                      <a:pt x="0" y="26"/>
                      <a:pt x="2" y="17"/>
                      <a:pt x="7" y="10"/>
                    </a:cubicBezTo>
                    <a:cubicBezTo>
                      <a:pt x="11" y="4"/>
                      <a:pt x="18" y="0"/>
                      <a:pt x="26" y="0"/>
                    </a:cubicBezTo>
                    <a:cubicBezTo>
                      <a:pt x="33" y="0"/>
                      <a:pt x="40" y="3"/>
                      <a:pt x="44" y="10"/>
                    </a:cubicBezTo>
                    <a:cubicBezTo>
                      <a:pt x="49" y="17"/>
                      <a:pt x="51" y="26"/>
                      <a:pt x="51" y="38"/>
                    </a:cubicBezTo>
                    <a:close/>
                    <a:moveTo>
                      <a:pt x="38" y="38"/>
                    </a:moveTo>
                    <a:cubicBezTo>
                      <a:pt x="38" y="30"/>
                      <a:pt x="36" y="24"/>
                      <a:pt x="34" y="19"/>
                    </a:cubicBezTo>
                    <a:cubicBezTo>
                      <a:pt x="32" y="15"/>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4" y="56"/>
                    </a:cubicBezTo>
                    <a:cubicBezTo>
                      <a:pt x="36" y="51"/>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9" name="Freeform 219"/>
              <p:cNvSpPr>
                <a:spLocks/>
              </p:cNvSpPr>
              <p:nvPr/>
            </p:nvSpPr>
            <p:spPr bwMode="auto">
              <a:xfrm>
                <a:off x="2929359" y="3605260"/>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0" name="Freeform 220"/>
              <p:cNvSpPr>
                <a:spLocks noEditPoints="1"/>
              </p:cNvSpPr>
              <p:nvPr/>
            </p:nvSpPr>
            <p:spPr bwMode="auto">
              <a:xfrm>
                <a:off x="2976235" y="3603694"/>
                <a:ext cx="62501" cy="90790"/>
              </a:xfrm>
              <a:custGeom>
                <a:avLst/>
                <a:gdLst/>
                <a:ahLst/>
                <a:cxnLst>
                  <a:cxn ang="0">
                    <a:pos x="52" y="38"/>
                  </a:cxn>
                  <a:cxn ang="0">
                    <a:pos x="45" y="65"/>
                  </a:cxn>
                  <a:cxn ang="0">
                    <a:pos x="26" y="76"/>
                  </a:cxn>
                  <a:cxn ang="0">
                    <a:pos x="7" y="65"/>
                  </a:cxn>
                  <a:cxn ang="0">
                    <a:pos x="0" y="38"/>
                  </a:cxn>
                  <a:cxn ang="0">
                    <a:pos x="7" y="10"/>
                  </a:cxn>
                  <a:cxn ang="0">
                    <a:pos x="26" y="0"/>
                  </a:cxn>
                  <a:cxn ang="0">
                    <a:pos x="45" y="10"/>
                  </a:cxn>
                  <a:cxn ang="0">
                    <a:pos x="52" y="38"/>
                  </a:cxn>
                  <a:cxn ang="0">
                    <a:pos x="38" y="38"/>
                  </a:cxn>
                  <a:cxn ang="0">
                    <a:pos x="34" y="19"/>
                  </a:cxn>
                  <a:cxn ang="0">
                    <a:pos x="26" y="12"/>
                  </a:cxn>
                  <a:cxn ang="0">
                    <a:pos x="17" y="19"/>
                  </a:cxn>
                  <a:cxn ang="0">
                    <a:pos x="14" y="38"/>
                  </a:cxn>
                  <a:cxn ang="0">
                    <a:pos x="17" y="56"/>
                  </a:cxn>
                  <a:cxn ang="0">
                    <a:pos x="26" y="63"/>
                  </a:cxn>
                  <a:cxn ang="0">
                    <a:pos x="35" y="56"/>
                  </a:cxn>
                  <a:cxn ang="0">
                    <a:pos x="38" y="38"/>
                  </a:cxn>
                </a:cxnLst>
                <a:rect l="0" t="0" r="r" b="b"/>
                <a:pathLst>
                  <a:path w="52" h="76">
                    <a:moveTo>
                      <a:pt x="52" y="38"/>
                    </a:moveTo>
                    <a:cubicBezTo>
                      <a:pt x="52" y="49"/>
                      <a:pt x="49" y="58"/>
                      <a:pt x="45" y="65"/>
                    </a:cubicBezTo>
                    <a:cubicBezTo>
                      <a:pt x="40" y="72"/>
                      <a:pt x="34" y="76"/>
                      <a:pt x="26" y="76"/>
                    </a:cubicBezTo>
                    <a:cubicBezTo>
                      <a:pt x="18" y="76"/>
                      <a:pt x="12" y="72"/>
                      <a:pt x="7" y="65"/>
                    </a:cubicBezTo>
                    <a:cubicBezTo>
                      <a:pt x="2" y="58"/>
                      <a:pt x="0" y="49"/>
                      <a:pt x="0" y="38"/>
                    </a:cubicBezTo>
                    <a:cubicBezTo>
                      <a:pt x="0" y="26"/>
                      <a:pt x="2" y="17"/>
                      <a:pt x="7" y="10"/>
                    </a:cubicBezTo>
                    <a:cubicBezTo>
                      <a:pt x="12" y="4"/>
                      <a:pt x="18" y="0"/>
                      <a:pt x="26" y="0"/>
                    </a:cubicBezTo>
                    <a:cubicBezTo>
                      <a:pt x="34" y="0"/>
                      <a:pt x="40" y="3"/>
                      <a:pt x="45" y="10"/>
                    </a:cubicBezTo>
                    <a:cubicBezTo>
                      <a:pt x="49" y="17"/>
                      <a:pt x="52" y="26"/>
                      <a:pt x="52" y="38"/>
                    </a:cubicBezTo>
                    <a:close/>
                    <a:moveTo>
                      <a:pt x="38" y="38"/>
                    </a:moveTo>
                    <a:cubicBezTo>
                      <a:pt x="38" y="30"/>
                      <a:pt x="37" y="24"/>
                      <a:pt x="34" y="19"/>
                    </a:cubicBezTo>
                    <a:cubicBezTo>
                      <a:pt x="32" y="15"/>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5" y="56"/>
                    </a:cubicBezTo>
                    <a:cubicBezTo>
                      <a:pt x="37" y="51"/>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1" name="Freeform 221"/>
              <p:cNvSpPr>
                <a:spLocks/>
              </p:cNvSpPr>
              <p:nvPr/>
            </p:nvSpPr>
            <p:spPr bwMode="auto">
              <a:xfrm>
                <a:off x="3040299" y="3605260"/>
                <a:ext cx="32813" cy="87659"/>
              </a:xfrm>
              <a:custGeom>
                <a:avLst/>
                <a:gdLst/>
                <a:ahLst/>
                <a:cxnLst>
                  <a:cxn ang="0">
                    <a:pos x="21" y="56"/>
                  </a:cxn>
                  <a:cxn ang="0">
                    <a:pos x="11" y="56"/>
                  </a:cxn>
                  <a:cxn ang="0">
                    <a:pos x="11" y="9"/>
                  </a:cxn>
                  <a:cxn ang="0">
                    <a:pos x="0" y="9"/>
                  </a:cxn>
                  <a:cxn ang="0">
                    <a:pos x="5" y="0"/>
                  </a:cxn>
                  <a:cxn ang="0">
                    <a:pos x="21" y="0"/>
                  </a:cxn>
                  <a:cxn ang="0">
                    <a:pos x="21" y="56"/>
                  </a:cxn>
                </a:cxnLst>
                <a:rect l="0" t="0" r="r" b="b"/>
                <a:pathLst>
                  <a:path w="21" h="56">
                    <a:moveTo>
                      <a:pt x="21" y="56"/>
                    </a:moveTo>
                    <a:lnTo>
                      <a:pt x="11" y="56"/>
                    </a:lnTo>
                    <a:lnTo>
                      <a:pt x="11" y="9"/>
                    </a:lnTo>
                    <a:lnTo>
                      <a:pt x="0" y="9"/>
                    </a:lnTo>
                    <a:lnTo>
                      <a:pt x="5"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2" name="Freeform 222"/>
              <p:cNvSpPr>
                <a:spLocks/>
              </p:cNvSpPr>
              <p:nvPr/>
            </p:nvSpPr>
            <p:spPr bwMode="auto">
              <a:xfrm>
                <a:off x="3080924" y="3605260"/>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3" name="Freeform 223"/>
              <p:cNvSpPr>
                <a:spLocks/>
              </p:cNvSpPr>
              <p:nvPr/>
            </p:nvSpPr>
            <p:spPr bwMode="auto">
              <a:xfrm>
                <a:off x="3121550" y="3605260"/>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4" name="Freeform 234"/>
              <p:cNvSpPr>
                <a:spLocks noEditPoints="1"/>
              </p:cNvSpPr>
              <p:nvPr/>
            </p:nvSpPr>
            <p:spPr bwMode="auto">
              <a:xfrm>
                <a:off x="2360600" y="3741444"/>
                <a:ext cx="62501" cy="92355"/>
              </a:xfrm>
              <a:custGeom>
                <a:avLst/>
                <a:gdLst/>
                <a:ahLst/>
                <a:cxnLst>
                  <a:cxn ang="0">
                    <a:pos x="51" y="38"/>
                  </a:cxn>
                  <a:cxn ang="0">
                    <a:pos x="44" y="65"/>
                  </a:cxn>
                  <a:cxn ang="0">
                    <a:pos x="26" y="76"/>
                  </a:cxn>
                  <a:cxn ang="0">
                    <a:pos x="7" y="65"/>
                  </a:cxn>
                  <a:cxn ang="0">
                    <a:pos x="0" y="38"/>
                  </a:cxn>
                  <a:cxn ang="0">
                    <a:pos x="7" y="11"/>
                  </a:cxn>
                  <a:cxn ang="0">
                    <a:pos x="26" y="0"/>
                  </a:cxn>
                  <a:cxn ang="0">
                    <a:pos x="44" y="10"/>
                  </a:cxn>
                  <a:cxn ang="0">
                    <a:pos x="51" y="38"/>
                  </a:cxn>
                  <a:cxn ang="0">
                    <a:pos x="38" y="38"/>
                  </a:cxn>
                  <a:cxn ang="0">
                    <a:pos x="34" y="20"/>
                  </a:cxn>
                  <a:cxn ang="0">
                    <a:pos x="26" y="13"/>
                  </a:cxn>
                  <a:cxn ang="0">
                    <a:pos x="17" y="20"/>
                  </a:cxn>
                  <a:cxn ang="0">
                    <a:pos x="14" y="38"/>
                  </a:cxn>
                  <a:cxn ang="0">
                    <a:pos x="17" y="56"/>
                  </a:cxn>
                  <a:cxn ang="0">
                    <a:pos x="26" y="63"/>
                  </a:cxn>
                  <a:cxn ang="0">
                    <a:pos x="34" y="56"/>
                  </a:cxn>
                  <a:cxn ang="0">
                    <a:pos x="38" y="38"/>
                  </a:cxn>
                </a:cxnLst>
                <a:rect l="0" t="0" r="r" b="b"/>
                <a:pathLst>
                  <a:path w="51" h="76">
                    <a:moveTo>
                      <a:pt x="51" y="38"/>
                    </a:moveTo>
                    <a:cubicBezTo>
                      <a:pt x="51" y="49"/>
                      <a:pt x="49" y="58"/>
                      <a:pt x="44" y="65"/>
                    </a:cubicBezTo>
                    <a:cubicBezTo>
                      <a:pt x="40" y="72"/>
                      <a:pt x="33" y="76"/>
                      <a:pt x="26" y="76"/>
                    </a:cubicBezTo>
                    <a:cubicBezTo>
                      <a:pt x="18" y="76"/>
                      <a:pt x="11" y="72"/>
                      <a:pt x="7" y="65"/>
                    </a:cubicBezTo>
                    <a:cubicBezTo>
                      <a:pt x="2" y="59"/>
                      <a:pt x="0" y="49"/>
                      <a:pt x="0" y="38"/>
                    </a:cubicBezTo>
                    <a:cubicBezTo>
                      <a:pt x="0" y="27"/>
                      <a:pt x="2" y="17"/>
                      <a:pt x="7" y="11"/>
                    </a:cubicBezTo>
                    <a:cubicBezTo>
                      <a:pt x="11" y="4"/>
                      <a:pt x="18" y="0"/>
                      <a:pt x="26" y="0"/>
                    </a:cubicBezTo>
                    <a:cubicBezTo>
                      <a:pt x="33" y="0"/>
                      <a:pt x="40" y="4"/>
                      <a:pt x="44" y="10"/>
                    </a:cubicBezTo>
                    <a:cubicBezTo>
                      <a:pt x="49" y="17"/>
                      <a:pt x="51" y="26"/>
                      <a:pt x="51" y="38"/>
                    </a:cubicBezTo>
                    <a:close/>
                    <a:moveTo>
                      <a:pt x="38" y="38"/>
                    </a:moveTo>
                    <a:cubicBezTo>
                      <a:pt x="38" y="30"/>
                      <a:pt x="36" y="24"/>
                      <a:pt x="34" y="20"/>
                    </a:cubicBezTo>
                    <a:cubicBezTo>
                      <a:pt x="32" y="15"/>
                      <a:pt x="29" y="13"/>
                      <a:pt x="26" y="13"/>
                    </a:cubicBezTo>
                    <a:cubicBezTo>
                      <a:pt x="22" y="13"/>
                      <a:pt x="19" y="15"/>
                      <a:pt x="17" y="20"/>
                    </a:cubicBezTo>
                    <a:cubicBezTo>
                      <a:pt x="15" y="24"/>
                      <a:pt x="14" y="30"/>
                      <a:pt x="14" y="38"/>
                    </a:cubicBezTo>
                    <a:cubicBezTo>
                      <a:pt x="14" y="45"/>
                      <a:pt x="15" y="52"/>
                      <a:pt x="17" y="56"/>
                    </a:cubicBezTo>
                    <a:cubicBezTo>
                      <a:pt x="19" y="61"/>
                      <a:pt x="22" y="63"/>
                      <a:pt x="26" y="63"/>
                    </a:cubicBezTo>
                    <a:cubicBezTo>
                      <a:pt x="29" y="63"/>
                      <a:pt x="32" y="61"/>
                      <a:pt x="34" y="56"/>
                    </a:cubicBezTo>
                    <a:cubicBezTo>
                      <a:pt x="36" y="52"/>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5" name="Freeform 235"/>
              <p:cNvSpPr>
                <a:spLocks/>
              </p:cNvSpPr>
              <p:nvPr/>
            </p:nvSpPr>
            <p:spPr bwMode="auto">
              <a:xfrm>
                <a:off x="2424664" y="3744575"/>
                <a:ext cx="32813" cy="86094"/>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6" name="Freeform 236"/>
              <p:cNvSpPr>
                <a:spLocks noEditPoints="1"/>
              </p:cNvSpPr>
              <p:nvPr/>
            </p:nvSpPr>
            <p:spPr bwMode="auto">
              <a:xfrm>
                <a:off x="2471540" y="3741444"/>
                <a:ext cx="62501" cy="92355"/>
              </a:xfrm>
              <a:custGeom>
                <a:avLst/>
                <a:gdLst/>
                <a:ahLst/>
                <a:cxnLst>
                  <a:cxn ang="0">
                    <a:pos x="52" y="38"/>
                  </a:cxn>
                  <a:cxn ang="0">
                    <a:pos x="45" y="65"/>
                  </a:cxn>
                  <a:cxn ang="0">
                    <a:pos x="26" y="76"/>
                  </a:cxn>
                  <a:cxn ang="0">
                    <a:pos x="7" y="65"/>
                  </a:cxn>
                  <a:cxn ang="0">
                    <a:pos x="0" y="38"/>
                  </a:cxn>
                  <a:cxn ang="0">
                    <a:pos x="7" y="11"/>
                  </a:cxn>
                  <a:cxn ang="0">
                    <a:pos x="26" y="0"/>
                  </a:cxn>
                  <a:cxn ang="0">
                    <a:pos x="45" y="10"/>
                  </a:cxn>
                  <a:cxn ang="0">
                    <a:pos x="52" y="38"/>
                  </a:cxn>
                  <a:cxn ang="0">
                    <a:pos x="38" y="38"/>
                  </a:cxn>
                  <a:cxn ang="0">
                    <a:pos x="34" y="20"/>
                  </a:cxn>
                  <a:cxn ang="0">
                    <a:pos x="26" y="13"/>
                  </a:cxn>
                  <a:cxn ang="0">
                    <a:pos x="17" y="20"/>
                  </a:cxn>
                  <a:cxn ang="0">
                    <a:pos x="14" y="38"/>
                  </a:cxn>
                  <a:cxn ang="0">
                    <a:pos x="17" y="56"/>
                  </a:cxn>
                  <a:cxn ang="0">
                    <a:pos x="26" y="63"/>
                  </a:cxn>
                  <a:cxn ang="0">
                    <a:pos x="35" y="56"/>
                  </a:cxn>
                  <a:cxn ang="0">
                    <a:pos x="38" y="38"/>
                  </a:cxn>
                </a:cxnLst>
                <a:rect l="0" t="0" r="r" b="b"/>
                <a:pathLst>
                  <a:path w="52" h="76">
                    <a:moveTo>
                      <a:pt x="52" y="38"/>
                    </a:moveTo>
                    <a:cubicBezTo>
                      <a:pt x="52" y="49"/>
                      <a:pt x="49" y="58"/>
                      <a:pt x="45" y="65"/>
                    </a:cubicBezTo>
                    <a:cubicBezTo>
                      <a:pt x="40" y="72"/>
                      <a:pt x="34" y="76"/>
                      <a:pt x="26" y="76"/>
                    </a:cubicBezTo>
                    <a:cubicBezTo>
                      <a:pt x="18" y="76"/>
                      <a:pt x="12" y="72"/>
                      <a:pt x="7" y="65"/>
                    </a:cubicBezTo>
                    <a:cubicBezTo>
                      <a:pt x="2" y="59"/>
                      <a:pt x="0" y="49"/>
                      <a:pt x="0" y="38"/>
                    </a:cubicBezTo>
                    <a:cubicBezTo>
                      <a:pt x="0" y="27"/>
                      <a:pt x="2" y="17"/>
                      <a:pt x="7" y="11"/>
                    </a:cubicBezTo>
                    <a:cubicBezTo>
                      <a:pt x="12" y="4"/>
                      <a:pt x="18" y="0"/>
                      <a:pt x="26" y="0"/>
                    </a:cubicBezTo>
                    <a:cubicBezTo>
                      <a:pt x="34" y="0"/>
                      <a:pt x="40" y="4"/>
                      <a:pt x="45" y="10"/>
                    </a:cubicBezTo>
                    <a:cubicBezTo>
                      <a:pt x="49" y="17"/>
                      <a:pt x="52" y="26"/>
                      <a:pt x="52" y="38"/>
                    </a:cubicBezTo>
                    <a:close/>
                    <a:moveTo>
                      <a:pt x="38" y="38"/>
                    </a:moveTo>
                    <a:cubicBezTo>
                      <a:pt x="38" y="30"/>
                      <a:pt x="37" y="24"/>
                      <a:pt x="34" y="20"/>
                    </a:cubicBezTo>
                    <a:cubicBezTo>
                      <a:pt x="32" y="15"/>
                      <a:pt x="29" y="13"/>
                      <a:pt x="26" y="13"/>
                    </a:cubicBezTo>
                    <a:cubicBezTo>
                      <a:pt x="22" y="13"/>
                      <a:pt x="19" y="15"/>
                      <a:pt x="17" y="20"/>
                    </a:cubicBezTo>
                    <a:cubicBezTo>
                      <a:pt x="15" y="24"/>
                      <a:pt x="14" y="30"/>
                      <a:pt x="14" y="38"/>
                    </a:cubicBezTo>
                    <a:cubicBezTo>
                      <a:pt x="14" y="45"/>
                      <a:pt x="15" y="52"/>
                      <a:pt x="17" y="56"/>
                    </a:cubicBezTo>
                    <a:cubicBezTo>
                      <a:pt x="19" y="61"/>
                      <a:pt x="22" y="63"/>
                      <a:pt x="26" y="63"/>
                    </a:cubicBezTo>
                    <a:cubicBezTo>
                      <a:pt x="29" y="63"/>
                      <a:pt x="32" y="61"/>
                      <a:pt x="35" y="56"/>
                    </a:cubicBezTo>
                    <a:cubicBezTo>
                      <a:pt x="37" y="52"/>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7" name="Freeform 237"/>
              <p:cNvSpPr>
                <a:spLocks/>
              </p:cNvSpPr>
              <p:nvPr/>
            </p:nvSpPr>
            <p:spPr bwMode="auto">
              <a:xfrm>
                <a:off x="2535603" y="3744575"/>
                <a:ext cx="32813" cy="86094"/>
              </a:xfrm>
              <a:custGeom>
                <a:avLst/>
                <a:gdLst/>
                <a:ahLst/>
                <a:cxnLst>
                  <a:cxn ang="0">
                    <a:pos x="21" y="55"/>
                  </a:cxn>
                  <a:cxn ang="0">
                    <a:pos x="11" y="55"/>
                  </a:cxn>
                  <a:cxn ang="0">
                    <a:pos x="11" y="9"/>
                  </a:cxn>
                  <a:cxn ang="0">
                    <a:pos x="0" y="9"/>
                  </a:cxn>
                  <a:cxn ang="0">
                    <a:pos x="5" y="0"/>
                  </a:cxn>
                  <a:cxn ang="0">
                    <a:pos x="21" y="0"/>
                  </a:cxn>
                  <a:cxn ang="0">
                    <a:pos x="21" y="55"/>
                  </a:cxn>
                </a:cxnLst>
                <a:rect l="0" t="0" r="r" b="b"/>
                <a:pathLst>
                  <a:path w="21" h="55">
                    <a:moveTo>
                      <a:pt x="21" y="55"/>
                    </a:moveTo>
                    <a:lnTo>
                      <a:pt x="11" y="55"/>
                    </a:lnTo>
                    <a:lnTo>
                      <a:pt x="11" y="9"/>
                    </a:lnTo>
                    <a:lnTo>
                      <a:pt x="0" y="9"/>
                    </a:lnTo>
                    <a:lnTo>
                      <a:pt x="5" y="0"/>
                    </a:lnTo>
                    <a:lnTo>
                      <a:pt x="21" y="0"/>
                    </a:lnTo>
                    <a:lnTo>
                      <a:pt x="21"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8" name="Freeform 238"/>
              <p:cNvSpPr>
                <a:spLocks/>
              </p:cNvSpPr>
              <p:nvPr/>
            </p:nvSpPr>
            <p:spPr bwMode="auto">
              <a:xfrm>
                <a:off x="2576229" y="3744575"/>
                <a:ext cx="32813" cy="86094"/>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9" name="Freeform 239"/>
              <p:cNvSpPr>
                <a:spLocks/>
              </p:cNvSpPr>
              <p:nvPr/>
            </p:nvSpPr>
            <p:spPr bwMode="auto">
              <a:xfrm>
                <a:off x="2616855" y="3744575"/>
                <a:ext cx="32813" cy="86094"/>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0" name="Freeform 240"/>
              <p:cNvSpPr>
                <a:spLocks/>
              </p:cNvSpPr>
              <p:nvPr/>
            </p:nvSpPr>
            <p:spPr bwMode="auto">
              <a:xfrm>
                <a:off x="2657480" y="3744575"/>
                <a:ext cx="32813" cy="86094"/>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1" name="Freeform 241"/>
              <p:cNvSpPr>
                <a:spLocks noEditPoints="1"/>
              </p:cNvSpPr>
              <p:nvPr/>
            </p:nvSpPr>
            <p:spPr bwMode="auto">
              <a:xfrm>
                <a:off x="2704356" y="3741444"/>
                <a:ext cx="62501" cy="92355"/>
              </a:xfrm>
              <a:custGeom>
                <a:avLst/>
                <a:gdLst/>
                <a:ahLst/>
                <a:cxnLst>
                  <a:cxn ang="0">
                    <a:pos x="52" y="38"/>
                  </a:cxn>
                  <a:cxn ang="0">
                    <a:pos x="44" y="65"/>
                  </a:cxn>
                  <a:cxn ang="0">
                    <a:pos x="26" y="76"/>
                  </a:cxn>
                  <a:cxn ang="0">
                    <a:pos x="7" y="65"/>
                  </a:cxn>
                  <a:cxn ang="0">
                    <a:pos x="0" y="38"/>
                  </a:cxn>
                  <a:cxn ang="0">
                    <a:pos x="7" y="11"/>
                  </a:cxn>
                  <a:cxn ang="0">
                    <a:pos x="26" y="0"/>
                  </a:cxn>
                  <a:cxn ang="0">
                    <a:pos x="45" y="10"/>
                  </a:cxn>
                  <a:cxn ang="0">
                    <a:pos x="52" y="38"/>
                  </a:cxn>
                  <a:cxn ang="0">
                    <a:pos x="38" y="38"/>
                  </a:cxn>
                  <a:cxn ang="0">
                    <a:pos x="34" y="20"/>
                  </a:cxn>
                  <a:cxn ang="0">
                    <a:pos x="26" y="13"/>
                  </a:cxn>
                  <a:cxn ang="0">
                    <a:pos x="17" y="20"/>
                  </a:cxn>
                  <a:cxn ang="0">
                    <a:pos x="14" y="38"/>
                  </a:cxn>
                  <a:cxn ang="0">
                    <a:pos x="17" y="56"/>
                  </a:cxn>
                  <a:cxn ang="0">
                    <a:pos x="26" y="63"/>
                  </a:cxn>
                  <a:cxn ang="0">
                    <a:pos x="34" y="56"/>
                  </a:cxn>
                  <a:cxn ang="0">
                    <a:pos x="38" y="38"/>
                  </a:cxn>
                </a:cxnLst>
                <a:rect l="0" t="0" r="r" b="b"/>
                <a:pathLst>
                  <a:path w="52" h="76">
                    <a:moveTo>
                      <a:pt x="52" y="38"/>
                    </a:moveTo>
                    <a:cubicBezTo>
                      <a:pt x="52" y="49"/>
                      <a:pt x="49" y="58"/>
                      <a:pt x="44" y="65"/>
                    </a:cubicBezTo>
                    <a:cubicBezTo>
                      <a:pt x="40" y="72"/>
                      <a:pt x="33" y="76"/>
                      <a:pt x="26" y="76"/>
                    </a:cubicBezTo>
                    <a:cubicBezTo>
                      <a:pt x="18" y="76"/>
                      <a:pt x="12" y="72"/>
                      <a:pt x="7" y="65"/>
                    </a:cubicBezTo>
                    <a:cubicBezTo>
                      <a:pt x="2" y="59"/>
                      <a:pt x="0" y="49"/>
                      <a:pt x="0" y="38"/>
                    </a:cubicBezTo>
                    <a:cubicBezTo>
                      <a:pt x="0" y="27"/>
                      <a:pt x="2" y="17"/>
                      <a:pt x="7" y="11"/>
                    </a:cubicBezTo>
                    <a:cubicBezTo>
                      <a:pt x="12" y="4"/>
                      <a:pt x="18" y="0"/>
                      <a:pt x="26" y="0"/>
                    </a:cubicBezTo>
                    <a:cubicBezTo>
                      <a:pt x="34" y="0"/>
                      <a:pt x="40" y="4"/>
                      <a:pt x="45" y="10"/>
                    </a:cubicBezTo>
                    <a:cubicBezTo>
                      <a:pt x="49" y="17"/>
                      <a:pt x="52" y="26"/>
                      <a:pt x="52" y="38"/>
                    </a:cubicBezTo>
                    <a:close/>
                    <a:moveTo>
                      <a:pt x="38" y="38"/>
                    </a:moveTo>
                    <a:cubicBezTo>
                      <a:pt x="38" y="30"/>
                      <a:pt x="37" y="24"/>
                      <a:pt x="34" y="20"/>
                    </a:cubicBezTo>
                    <a:cubicBezTo>
                      <a:pt x="32" y="15"/>
                      <a:pt x="29" y="13"/>
                      <a:pt x="26" y="13"/>
                    </a:cubicBezTo>
                    <a:cubicBezTo>
                      <a:pt x="22" y="13"/>
                      <a:pt x="19" y="15"/>
                      <a:pt x="17" y="20"/>
                    </a:cubicBezTo>
                    <a:cubicBezTo>
                      <a:pt x="15" y="24"/>
                      <a:pt x="14" y="30"/>
                      <a:pt x="14" y="38"/>
                    </a:cubicBezTo>
                    <a:cubicBezTo>
                      <a:pt x="14" y="45"/>
                      <a:pt x="15" y="52"/>
                      <a:pt x="17" y="56"/>
                    </a:cubicBezTo>
                    <a:cubicBezTo>
                      <a:pt x="19" y="61"/>
                      <a:pt x="22" y="63"/>
                      <a:pt x="26" y="63"/>
                    </a:cubicBezTo>
                    <a:cubicBezTo>
                      <a:pt x="29" y="63"/>
                      <a:pt x="32" y="61"/>
                      <a:pt x="34" y="56"/>
                    </a:cubicBezTo>
                    <a:cubicBezTo>
                      <a:pt x="37" y="52"/>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2" name="Freeform 242"/>
              <p:cNvSpPr>
                <a:spLocks noEditPoints="1"/>
              </p:cNvSpPr>
              <p:nvPr/>
            </p:nvSpPr>
            <p:spPr bwMode="auto">
              <a:xfrm>
                <a:off x="2771544" y="3741444"/>
                <a:ext cx="62501" cy="92355"/>
              </a:xfrm>
              <a:custGeom>
                <a:avLst/>
                <a:gdLst/>
                <a:ahLst/>
                <a:cxnLst>
                  <a:cxn ang="0">
                    <a:pos x="52" y="38"/>
                  </a:cxn>
                  <a:cxn ang="0">
                    <a:pos x="45" y="65"/>
                  </a:cxn>
                  <a:cxn ang="0">
                    <a:pos x="26" y="76"/>
                  </a:cxn>
                  <a:cxn ang="0">
                    <a:pos x="7" y="65"/>
                  </a:cxn>
                  <a:cxn ang="0">
                    <a:pos x="0" y="38"/>
                  </a:cxn>
                  <a:cxn ang="0">
                    <a:pos x="7" y="11"/>
                  </a:cxn>
                  <a:cxn ang="0">
                    <a:pos x="26" y="0"/>
                  </a:cxn>
                  <a:cxn ang="0">
                    <a:pos x="45" y="10"/>
                  </a:cxn>
                  <a:cxn ang="0">
                    <a:pos x="52" y="38"/>
                  </a:cxn>
                  <a:cxn ang="0">
                    <a:pos x="38" y="38"/>
                  </a:cxn>
                  <a:cxn ang="0">
                    <a:pos x="35" y="20"/>
                  </a:cxn>
                  <a:cxn ang="0">
                    <a:pos x="26" y="13"/>
                  </a:cxn>
                  <a:cxn ang="0">
                    <a:pos x="18" y="20"/>
                  </a:cxn>
                  <a:cxn ang="0">
                    <a:pos x="14" y="38"/>
                  </a:cxn>
                  <a:cxn ang="0">
                    <a:pos x="18" y="56"/>
                  </a:cxn>
                  <a:cxn ang="0">
                    <a:pos x="26" y="63"/>
                  </a:cxn>
                  <a:cxn ang="0">
                    <a:pos x="35" y="56"/>
                  </a:cxn>
                  <a:cxn ang="0">
                    <a:pos x="38" y="38"/>
                  </a:cxn>
                </a:cxnLst>
                <a:rect l="0" t="0" r="r" b="b"/>
                <a:pathLst>
                  <a:path w="52" h="76">
                    <a:moveTo>
                      <a:pt x="52" y="38"/>
                    </a:moveTo>
                    <a:cubicBezTo>
                      <a:pt x="52" y="49"/>
                      <a:pt x="50" y="58"/>
                      <a:pt x="45" y="65"/>
                    </a:cubicBezTo>
                    <a:cubicBezTo>
                      <a:pt x="40" y="72"/>
                      <a:pt x="34" y="76"/>
                      <a:pt x="26" y="76"/>
                    </a:cubicBezTo>
                    <a:cubicBezTo>
                      <a:pt x="18" y="76"/>
                      <a:pt x="12" y="72"/>
                      <a:pt x="7" y="65"/>
                    </a:cubicBezTo>
                    <a:cubicBezTo>
                      <a:pt x="3" y="59"/>
                      <a:pt x="0" y="49"/>
                      <a:pt x="0" y="38"/>
                    </a:cubicBezTo>
                    <a:cubicBezTo>
                      <a:pt x="0" y="27"/>
                      <a:pt x="3" y="17"/>
                      <a:pt x="7" y="11"/>
                    </a:cubicBezTo>
                    <a:cubicBezTo>
                      <a:pt x="12" y="4"/>
                      <a:pt x="18" y="0"/>
                      <a:pt x="26" y="0"/>
                    </a:cubicBezTo>
                    <a:cubicBezTo>
                      <a:pt x="34" y="0"/>
                      <a:pt x="40" y="4"/>
                      <a:pt x="45" y="10"/>
                    </a:cubicBezTo>
                    <a:cubicBezTo>
                      <a:pt x="50" y="17"/>
                      <a:pt x="52" y="26"/>
                      <a:pt x="52" y="38"/>
                    </a:cubicBezTo>
                    <a:close/>
                    <a:moveTo>
                      <a:pt x="38" y="38"/>
                    </a:moveTo>
                    <a:cubicBezTo>
                      <a:pt x="38" y="30"/>
                      <a:pt x="37" y="24"/>
                      <a:pt x="35" y="20"/>
                    </a:cubicBezTo>
                    <a:cubicBezTo>
                      <a:pt x="33" y="15"/>
                      <a:pt x="30" y="13"/>
                      <a:pt x="26" y="13"/>
                    </a:cubicBezTo>
                    <a:cubicBezTo>
                      <a:pt x="23" y="13"/>
                      <a:pt x="20" y="15"/>
                      <a:pt x="18" y="20"/>
                    </a:cubicBezTo>
                    <a:cubicBezTo>
                      <a:pt x="15" y="24"/>
                      <a:pt x="14" y="30"/>
                      <a:pt x="14" y="38"/>
                    </a:cubicBezTo>
                    <a:cubicBezTo>
                      <a:pt x="14" y="45"/>
                      <a:pt x="15" y="52"/>
                      <a:pt x="18" y="56"/>
                    </a:cubicBezTo>
                    <a:cubicBezTo>
                      <a:pt x="20" y="61"/>
                      <a:pt x="23" y="63"/>
                      <a:pt x="26" y="63"/>
                    </a:cubicBezTo>
                    <a:cubicBezTo>
                      <a:pt x="30" y="63"/>
                      <a:pt x="33" y="61"/>
                      <a:pt x="35" y="56"/>
                    </a:cubicBezTo>
                    <a:cubicBezTo>
                      <a:pt x="37" y="52"/>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3" name="Freeform 243"/>
              <p:cNvSpPr>
                <a:spLocks/>
              </p:cNvSpPr>
              <p:nvPr/>
            </p:nvSpPr>
            <p:spPr bwMode="auto">
              <a:xfrm>
                <a:off x="2835608" y="3744575"/>
                <a:ext cx="32813" cy="86094"/>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4" name="Freeform 244"/>
              <p:cNvSpPr>
                <a:spLocks noEditPoints="1"/>
              </p:cNvSpPr>
              <p:nvPr/>
            </p:nvSpPr>
            <p:spPr bwMode="auto">
              <a:xfrm>
                <a:off x="2882484" y="3741444"/>
                <a:ext cx="62501" cy="92355"/>
              </a:xfrm>
              <a:custGeom>
                <a:avLst/>
                <a:gdLst/>
                <a:ahLst/>
                <a:cxnLst>
                  <a:cxn ang="0">
                    <a:pos x="51" y="38"/>
                  </a:cxn>
                  <a:cxn ang="0">
                    <a:pos x="44" y="65"/>
                  </a:cxn>
                  <a:cxn ang="0">
                    <a:pos x="25" y="76"/>
                  </a:cxn>
                  <a:cxn ang="0">
                    <a:pos x="7" y="65"/>
                  </a:cxn>
                  <a:cxn ang="0">
                    <a:pos x="0" y="38"/>
                  </a:cxn>
                  <a:cxn ang="0">
                    <a:pos x="7" y="11"/>
                  </a:cxn>
                  <a:cxn ang="0">
                    <a:pos x="25" y="0"/>
                  </a:cxn>
                  <a:cxn ang="0">
                    <a:pos x="44" y="10"/>
                  </a:cxn>
                  <a:cxn ang="0">
                    <a:pos x="51" y="38"/>
                  </a:cxn>
                  <a:cxn ang="0">
                    <a:pos x="38" y="38"/>
                  </a:cxn>
                  <a:cxn ang="0">
                    <a:pos x="34" y="20"/>
                  </a:cxn>
                  <a:cxn ang="0">
                    <a:pos x="25" y="13"/>
                  </a:cxn>
                  <a:cxn ang="0">
                    <a:pos x="17" y="20"/>
                  </a:cxn>
                  <a:cxn ang="0">
                    <a:pos x="14" y="38"/>
                  </a:cxn>
                  <a:cxn ang="0">
                    <a:pos x="17" y="56"/>
                  </a:cxn>
                  <a:cxn ang="0">
                    <a:pos x="25" y="63"/>
                  </a:cxn>
                  <a:cxn ang="0">
                    <a:pos x="34" y="56"/>
                  </a:cxn>
                  <a:cxn ang="0">
                    <a:pos x="38" y="38"/>
                  </a:cxn>
                </a:cxnLst>
                <a:rect l="0" t="0" r="r" b="b"/>
                <a:pathLst>
                  <a:path w="51" h="76">
                    <a:moveTo>
                      <a:pt x="51" y="38"/>
                    </a:moveTo>
                    <a:cubicBezTo>
                      <a:pt x="51" y="49"/>
                      <a:pt x="49" y="58"/>
                      <a:pt x="44" y="65"/>
                    </a:cubicBezTo>
                    <a:cubicBezTo>
                      <a:pt x="40" y="72"/>
                      <a:pt x="33" y="76"/>
                      <a:pt x="25" y="76"/>
                    </a:cubicBezTo>
                    <a:cubicBezTo>
                      <a:pt x="18" y="76"/>
                      <a:pt x="11" y="72"/>
                      <a:pt x="7" y="65"/>
                    </a:cubicBezTo>
                    <a:cubicBezTo>
                      <a:pt x="2" y="59"/>
                      <a:pt x="0" y="49"/>
                      <a:pt x="0" y="38"/>
                    </a:cubicBezTo>
                    <a:cubicBezTo>
                      <a:pt x="0" y="27"/>
                      <a:pt x="2" y="17"/>
                      <a:pt x="7" y="11"/>
                    </a:cubicBezTo>
                    <a:cubicBezTo>
                      <a:pt x="11" y="4"/>
                      <a:pt x="18" y="0"/>
                      <a:pt x="25" y="0"/>
                    </a:cubicBezTo>
                    <a:cubicBezTo>
                      <a:pt x="33" y="0"/>
                      <a:pt x="40" y="4"/>
                      <a:pt x="44" y="10"/>
                    </a:cubicBezTo>
                    <a:cubicBezTo>
                      <a:pt x="49" y="17"/>
                      <a:pt x="51" y="26"/>
                      <a:pt x="51" y="38"/>
                    </a:cubicBezTo>
                    <a:close/>
                    <a:moveTo>
                      <a:pt x="38" y="38"/>
                    </a:moveTo>
                    <a:cubicBezTo>
                      <a:pt x="38" y="30"/>
                      <a:pt x="36" y="24"/>
                      <a:pt x="34" y="20"/>
                    </a:cubicBezTo>
                    <a:cubicBezTo>
                      <a:pt x="32" y="15"/>
                      <a:pt x="29" y="13"/>
                      <a:pt x="25" y="13"/>
                    </a:cubicBezTo>
                    <a:cubicBezTo>
                      <a:pt x="22" y="13"/>
                      <a:pt x="19" y="15"/>
                      <a:pt x="17" y="20"/>
                    </a:cubicBezTo>
                    <a:cubicBezTo>
                      <a:pt x="15" y="24"/>
                      <a:pt x="14" y="30"/>
                      <a:pt x="14" y="38"/>
                    </a:cubicBezTo>
                    <a:cubicBezTo>
                      <a:pt x="14" y="45"/>
                      <a:pt x="15" y="52"/>
                      <a:pt x="17" y="56"/>
                    </a:cubicBezTo>
                    <a:cubicBezTo>
                      <a:pt x="19" y="61"/>
                      <a:pt x="22" y="63"/>
                      <a:pt x="25" y="63"/>
                    </a:cubicBezTo>
                    <a:cubicBezTo>
                      <a:pt x="29" y="63"/>
                      <a:pt x="32" y="61"/>
                      <a:pt x="34" y="56"/>
                    </a:cubicBezTo>
                    <a:cubicBezTo>
                      <a:pt x="36" y="52"/>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5" name="Freeform 245"/>
              <p:cNvSpPr>
                <a:spLocks/>
              </p:cNvSpPr>
              <p:nvPr/>
            </p:nvSpPr>
            <p:spPr bwMode="auto">
              <a:xfrm>
                <a:off x="2944985" y="3744575"/>
                <a:ext cx="34376" cy="86094"/>
              </a:xfrm>
              <a:custGeom>
                <a:avLst/>
                <a:gdLst/>
                <a:ahLst/>
                <a:cxnLst>
                  <a:cxn ang="0">
                    <a:pos x="22" y="55"/>
                  </a:cxn>
                  <a:cxn ang="0">
                    <a:pos x="11" y="55"/>
                  </a:cxn>
                  <a:cxn ang="0">
                    <a:pos x="11" y="9"/>
                  </a:cxn>
                  <a:cxn ang="0">
                    <a:pos x="0" y="9"/>
                  </a:cxn>
                  <a:cxn ang="0">
                    <a:pos x="5" y="0"/>
                  </a:cxn>
                  <a:cxn ang="0">
                    <a:pos x="22" y="0"/>
                  </a:cxn>
                  <a:cxn ang="0">
                    <a:pos x="22" y="55"/>
                  </a:cxn>
                </a:cxnLst>
                <a:rect l="0" t="0" r="r" b="b"/>
                <a:pathLst>
                  <a:path w="22" h="55">
                    <a:moveTo>
                      <a:pt x="22" y="55"/>
                    </a:moveTo>
                    <a:lnTo>
                      <a:pt x="11" y="55"/>
                    </a:lnTo>
                    <a:lnTo>
                      <a:pt x="11" y="9"/>
                    </a:lnTo>
                    <a:lnTo>
                      <a:pt x="0" y="9"/>
                    </a:lnTo>
                    <a:lnTo>
                      <a:pt x="5" y="0"/>
                    </a:lnTo>
                    <a:lnTo>
                      <a:pt x="22" y="0"/>
                    </a:lnTo>
                    <a:lnTo>
                      <a:pt x="22"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6" name="Freeform 246"/>
              <p:cNvSpPr>
                <a:spLocks noEditPoints="1"/>
              </p:cNvSpPr>
              <p:nvPr/>
            </p:nvSpPr>
            <p:spPr bwMode="auto">
              <a:xfrm>
                <a:off x="2993423" y="3741444"/>
                <a:ext cx="62501" cy="92355"/>
              </a:xfrm>
              <a:custGeom>
                <a:avLst/>
                <a:gdLst/>
                <a:ahLst/>
                <a:cxnLst>
                  <a:cxn ang="0">
                    <a:pos x="52" y="38"/>
                  </a:cxn>
                  <a:cxn ang="0">
                    <a:pos x="44" y="65"/>
                  </a:cxn>
                  <a:cxn ang="0">
                    <a:pos x="26" y="76"/>
                  </a:cxn>
                  <a:cxn ang="0">
                    <a:pos x="7" y="65"/>
                  </a:cxn>
                  <a:cxn ang="0">
                    <a:pos x="0" y="38"/>
                  </a:cxn>
                  <a:cxn ang="0">
                    <a:pos x="7" y="11"/>
                  </a:cxn>
                  <a:cxn ang="0">
                    <a:pos x="26" y="0"/>
                  </a:cxn>
                  <a:cxn ang="0">
                    <a:pos x="45" y="10"/>
                  </a:cxn>
                  <a:cxn ang="0">
                    <a:pos x="52" y="38"/>
                  </a:cxn>
                  <a:cxn ang="0">
                    <a:pos x="38" y="38"/>
                  </a:cxn>
                  <a:cxn ang="0">
                    <a:pos x="34" y="20"/>
                  </a:cxn>
                  <a:cxn ang="0">
                    <a:pos x="26" y="13"/>
                  </a:cxn>
                  <a:cxn ang="0">
                    <a:pos x="17" y="20"/>
                  </a:cxn>
                  <a:cxn ang="0">
                    <a:pos x="14" y="38"/>
                  </a:cxn>
                  <a:cxn ang="0">
                    <a:pos x="17" y="56"/>
                  </a:cxn>
                  <a:cxn ang="0">
                    <a:pos x="26" y="63"/>
                  </a:cxn>
                  <a:cxn ang="0">
                    <a:pos x="34" y="56"/>
                  </a:cxn>
                  <a:cxn ang="0">
                    <a:pos x="38" y="38"/>
                  </a:cxn>
                </a:cxnLst>
                <a:rect l="0" t="0" r="r" b="b"/>
                <a:pathLst>
                  <a:path w="52" h="76">
                    <a:moveTo>
                      <a:pt x="52" y="38"/>
                    </a:moveTo>
                    <a:cubicBezTo>
                      <a:pt x="52" y="49"/>
                      <a:pt x="49" y="58"/>
                      <a:pt x="44" y="65"/>
                    </a:cubicBezTo>
                    <a:cubicBezTo>
                      <a:pt x="40" y="72"/>
                      <a:pt x="33" y="76"/>
                      <a:pt x="26" y="76"/>
                    </a:cubicBezTo>
                    <a:cubicBezTo>
                      <a:pt x="18" y="76"/>
                      <a:pt x="12" y="72"/>
                      <a:pt x="7" y="65"/>
                    </a:cubicBezTo>
                    <a:cubicBezTo>
                      <a:pt x="2" y="59"/>
                      <a:pt x="0" y="49"/>
                      <a:pt x="0" y="38"/>
                    </a:cubicBezTo>
                    <a:cubicBezTo>
                      <a:pt x="0" y="27"/>
                      <a:pt x="2" y="17"/>
                      <a:pt x="7" y="11"/>
                    </a:cubicBezTo>
                    <a:cubicBezTo>
                      <a:pt x="12" y="4"/>
                      <a:pt x="18" y="0"/>
                      <a:pt x="26" y="0"/>
                    </a:cubicBezTo>
                    <a:cubicBezTo>
                      <a:pt x="34" y="0"/>
                      <a:pt x="40" y="4"/>
                      <a:pt x="45" y="10"/>
                    </a:cubicBezTo>
                    <a:cubicBezTo>
                      <a:pt x="49" y="17"/>
                      <a:pt x="52" y="26"/>
                      <a:pt x="52" y="38"/>
                    </a:cubicBezTo>
                    <a:close/>
                    <a:moveTo>
                      <a:pt x="38" y="38"/>
                    </a:moveTo>
                    <a:cubicBezTo>
                      <a:pt x="38" y="30"/>
                      <a:pt x="37" y="24"/>
                      <a:pt x="34" y="20"/>
                    </a:cubicBezTo>
                    <a:cubicBezTo>
                      <a:pt x="32" y="15"/>
                      <a:pt x="29" y="13"/>
                      <a:pt x="26" y="13"/>
                    </a:cubicBezTo>
                    <a:cubicBezTo>
                      <a:pt x="22" y="13"/>
                      <a:pt x="19" y="15"/>
                      <a:pt x="17" y="20"/>
                    </a:cubicBezTo>
                    <a:cubicBezTo>
                      <a:pt x="15" y="24"/>
                      <a:pt x="14" y="30"/>
                      <a:pt x="14" y="38"/>
                    </a:cubicBezTo>
                    <a:cubicBezTo>
                      <a:pt x="14" y="45"/>
                      <a:pt x="15" y="52"/>
                      <a:pt x="17" y="56"/>
                    </a:cubicBezTo>
                    <a:cubicBezTo>
                      <a:pt x="19" y="61"/>
                      <a:pt x="22" y="63"/>
                      <a:pt x="26" y="63"/>
                    </a:cubicBezTo>
                    <a:cubicBezTo>
                      <a:pt x="29" y="63"/>
                      <a:pt x="32" y="61"/>
                      <a:pt x="34" y="56"/>
                    </a:cubicBezTo>
                    <a:cubicBezTo>
                      <a:pt x="37" y="52"/>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7" name="Freeform 247"/>
              <p:cNvSpPr>
                <a:spLocks/>
              </p:cNvSpPr>
              <p:nvPr/>
            </p:nvSpPr>
            <p:spPr bwMode="auto">
              <a:xfrm>
                <a:off x="3057486" y="3744575"/>
                <a:ext cx="32813" cy="86094"/>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8" name="Freeform 248"/>
              <p:cNvSpPr>
                <a:spLocks/>
              </p:cNvSpPr>
              <p:nvPr/>
            </p:nvSpPr>
            <p:spPr bwMode="auto">
              <a:xfrm>
                <a:off x="3098112" y="3744575"/>
                <a:ext cx="32813" cy="86094"/>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9" name="Freeform 259"/>
              <p:cNvSpPr>
                <a:spLocks/>
              </p:cNvSpPr>
              <p:nvPr/>
            </p:nvSpPr>
            <p:spPr bwMode="auto">
              <a:xfrm>
                <a:off x="2366851" y="3882325"/>
                <a:ext cx="32813" cy="87659"/>
              </a:xfrm>
              <a:custGeom>
                <a:avLst/>
                <a:gdLst/>
                <a:ahLst/>
                <a:cxnLst>
                  <a:cxn ang="0">
                    <a:pos x="21" y="56"/>
                  </a:cxn>
                  <a:cxn ang="0">
                    <a:pos x="10" y="56"/>
                  </a:cxn>
                  <a:cxn ang="0">
                    <a:pos x="10" y="9"/>
                  </a:cxn>
                  <a:cxn ang="0">
                    <a:pos x="0" y="9"/>
                  </a:cxn>
                  <a:cxn ang="0">
                    <a:pos x="5" y="0"/>
                  </a:cxn>
                  <a:cxn ang="0">
                    <a:pos x="21" y="0"/>
                  </a:cxn>
                  <a:cxn ang="0">
                    <a:pos x="21" y="56"/>
                  </a:cxn>
                </a:cxnLst>
                <a:rect l="0" t="0" r="r" b="b"/>
                <a:pathLst>
                  <a:path w="21" h="56">
                    <a:moveTo>
                      <a:pt x="21" y="56"/>
                    </a:moveTo>
                    <a:lnTo>
                      <a:pt x="10" y="56"/>
                    </a:lnTo>
                    <a:lnTo>
                      <a:pt x="10" y="9"/>
                    </a:lnTo>
                    <a:lnTo>
                      <a:pt x="0" y="9"/>
                    </a:lnTo>
                    <a:lnTo>
                      <a:pt x="5"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0" name="Freeform 260"/>
              <p:cNvSpPr>
                <a:spLocks/>
              </p:cNvSpPr>
              <p:nvPr/>
            </p:nvSpPr>
            <p:spPr bwMode="auto">
              <a:xfrm>
                <a:off x="2407476" y="3882325"/>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1" name="Freeform 261"/>
              <p:cNvSpPr>
                <a:spLocks/>
              </p:cNvSpPr>
              <p:nvPr/>
            </p:nvSpPr>
            <p:spPr bwMode="auto">
              <a:xfrm>
                <a:off x="2449664" y="3882325"/>
                <a:ext cx="31250" cy="87659"/>
              </a:xfrm>
              <a:custGeom>
                <a:avLst/>
                <a:gdLst/>
                <a:ahLst/>
                <a:cxnLst>
                  <a:cxn ang="0">
                    <a:pos x="20" y="56"/>
                  </a:cxn>
                  <a:cxn ang="0">
                    <a:pos x="10" y="56"/>
                  </a:cxn>
                  <a:cxn ang="0">
                    <a:pos x="10" y="9"/>
                  </a:cxn>
                  <a:cxn ang="0">
                    <a:pos x="0" y="9"/>
                  </a:cxn>
                  <a:cxn ang="0">
                    <a:pos x="3" y="0"/>
                  </a:cxn>
                  <a:cxn ang="0">
                    <a:pos x="20" y="0"/>
                  </a:cxn>
                  <a:cxn ang="0">
                    <a:pos x="20" y="56"/>
                  </a:cxn>
                </a:cxnLst>
                <a:rect l="0" t="0" r="r" b="b"/>
                <a:pathLst>
                  <a:path w="20" h="56">
                    <a:moveTo>
                      <a:pt x="20" y="56"/>
                    </a:moveTo>
                    <a:lnTo>
                      <a:pt x="10" y="56"/>
                    </a:lnTo>
                    <a:lnTo>
                      <a:pt x="10" y="9"/>
                    </a:lnTo>
                    <a:lnTo>
                      <a:pt x="0" y="9"/>
                    </a:lnTo>
                    <a:lnTo>
                      <a:pt x="3" y="0"/>
                    </a:lnTo>
                    <a:lnTo>
                      <a:pt x="20" y="0"/>
                    </a:lnTo>
                    <a:lnTo>
                      <a:pt x="20"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2" name="Freeform 262"/>
              <p:cNvSpPr>
                <a:spLocks noEditPoints="1"/>
              </p:cNvSpPr>
              <p:nvPr/>
            </p:nvSpPr>
            <p:spPr bwMode="auto">
              <a:xfrm>
                <a:off x="2496540" y="3880759"/>
                <a:ext cx="62501" cy="90790"/>
              </a:xfrm>
              <a:custGeom>
                <a:avLst/>
                <a:gdLst/>
                <a:ahLst/>
                <a:cxnLst>
                  <a:cxn ang="0">
                    <a:pos x="52" y="38"/>
                  </a:cxn>
                  <a:cxn ang="0">
                    <a:pos x="45" y="66"/>
                  </a:cxn>
                  <a:cxn ang="0">
                    <a:pos x="26" y="76"/>
                  </a:cxn>
                  <a:cxn ang="0">
                    <a:pos x="7" y="66"/>
                  </a:cxn>
                  <a:cxn ang="0">
                    <a:pos x="0" y="38"/>
                  </a:cxn>
                  <a:cxn ang="0">
                    <a:pos x="7" y="11"/>
                  </a:cxn>
                  <a:cxn ang="0">
                    <a:pos x="26" y="0"/>
                  </a:cxn>
                  <a:cxn ang="0">
                    <a:pos x="45" y="11"/>
                  </a:cxn>
                  <a:cxn ang="0">
                    <a:pos x="52" y="38"/>
                  </a:cxn>
                  <a:cxn ang="0">
                    <a:pos x="38" y="38"/>
                  </a:cxn>
                  <a:cxn ang="0">
                    <a:pos x="34" y="20"/>
                  </a:cxn>
                  <a:cxn ang="0">
                    <a:pos x="26" y="13"/>
                  </a:cxn>
                  <a:cxn ang="0">
                    <a:pos x="17" y="20"/>
                  </a:cxn>
                  <a:cxn ang="0">
                    <a:pos x="14" y="38"/>
                  </a:cxn>
                  <a:cxn ang="0">
                    <a:pos x="17" y="57"/>
                  </a:cxn>
                  <a:cxn ang="0">
                    <a:pos x="26" y="64"/>
                  </a:cxn>
                  <a:cxn ang="0">
                    <a:pos x="34" y="57"/>
                  </a:cxn>
                  <a:cxn ang="0">
                    <a:pos x="38" y="38"/>
                  </a:cxn>
                </a:cxnLst>
                <a:rect l="0" t="0" r="r" b="b"/>
                <a:pathLst>
                  <a:path w="52" h="76">
                    <a:moveTo>
                      <a:pt x="52" y="38"/>
                    </a:moveTo>
                    <a:cubicBezTo>
                      <a:pt x="52" y="49"/>
                      <a:pt x="49" y="59"/>
                      <a:pt x="45" y="66"/>
                    </a:cubicBezTo>
                    <a:cubicBezTo>
                      <a:pt x="40" y="72"/>
                      <a:pt x="34" y="76"/>
                      <a:pt x="26" y="76"/>
                    </a:cubicBezTo>
                    <a:cubicBezTo>
                      <a:pt x="18" y="76"/>
                      <a:pt x="12" y="73"/>
                      <a:pt x="7" y="66"/>
                    </a:cubicBezTo>
                    <a:cubicBezTo>
                      <a:pt x="2" y="59"/>
                      <a:pt x="0" y="50"/>
                      <a:pt x="0" y="38"/>
                    </a:cubicBezTo>
                    <a:cubicBezTo>
                      <a:pt x="0" y="27"/>
                      <a:pt x="2" y="18"/>
                      <a:pt x="7" y="11"/>
                    </a:cubicBezTo>
                    <a:cubicBezTo>
                      <a:pt x="12" y="4"/>
                      <a:pt x="18" y="0"/>
                      <a:pt x="26" y="0"/>
                    </a:cubicBezTo>
                    <a:cubicBezTo>
                      <a:pt x="34" y="0"/>
                      <a:pt x="40" y="4"/>
                      <a:pt x="45" y="11"/>
                    </a:cubicBezTo>
                    <a:cubicBezTo>
                      <a:pt x="49" y="18"/>
                      <a:pt x="52" y="27"/>
                      <a:pt x="52" y="38"/>
                    </a:cubicBezTo>
                    <a:close/>
                    <a:moveTo>
                      <a:pt x="38" y="38"/>
                    </a:moveTo>
                    <a:cubicBezTo>
                      <a:pt x="38" y="31"/>
                      <a:pt x="37" y="24"/>
                      <a:pt x="34" y="20"/>
                    </a:cubicBezTo>
                    <a:cubicBezTo>
                      <a:pt x="32" y="15"/>
                      <a:pt x="29" y="13"/>
                      <a:pt x="26" y="13"/>
                    </a:cubicBezTo>
                    <a:cubicBezTo>
                      <a:pt x="22" y="13"/>
                      <a:pt x="19" y="15"/>
                      <a:pt x="17" y="20"/>
                    </a:cubicBezTo>
                    <a:cubicBezTo>
                      <a:pt x="15" y="25"/>
                      <a:pt x="14" y="31"/>
                      <a:pt x="14" y="38"/>
                    </a:cubicBezTo>
                    <a:cubicBezTo>
                      <a:pt x="14" y="46"/>
                      <a:pt x="15" y="52"/>
                      <a:pt x="17" y="57"/>
                    </a:cubicBezTo>
                    <a:cubicBezTo>
                      <a:pt x="19" y="61"/>
                      <a:pt x="22" y="64"/>
                      <a:pt x="26" y="64"/>
                    </a:cubicBezTo>
                    <a:cubicBezTo>
                      <a:pt x="29" y="64"/>
                      <a:pt x="32" y="61"/>
                      <a:pt x="34" y="57"/>
                    </a:cubicBezTo>
                    <a:cubicBezTo>
                      <a:pt x="37" y="52"/>
                      <a:pt x="38" y="46"/>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3" name="Freeform 263"/>
              <p:cNvSpPr>
                <a:spLocks noEditPoints="1"/>
              </p:cNvSpPr>
              <p:nvPr/>
            </p:nvSpPr>
            <p:spPr bwMode="auto">
              <a:xfrm>
                <a:off x="2562166" y="3880759"/>
                <a:ext cx="62501" cy="90790"/>
              </a:xfrm>
              <a:custGeom>
                <a:avLst/>
                <a:gdLst/>
                <a:ahLst/>
                <a:cxnLst>
                  <a:cxn ang="0">
                    <a:pos x="52" y="38"/>
                  </a:cxn>
                  <a:cxn ang="0">
                    <a:pos x="45" y="66"/>
                  </a:cxn>
                  <a:cxn ang="0">
                    <a:pos x="26" y="76"/>
                  </a:cxn>
                  <a:cxn ang="0">
                    <a:pos x="7" y="66"/>
                  </a:cxn>
                  <a:cxn ang="0">
                    <a:pos x="0" y="38"/>
                  </a:cxn>
                  <a:cxn ang="0">
                    <a:pos x="7" y="11"/>
                  </a:cxn>
                  <a:cxn ang="0">
                    <a:pos x="26" y="0"/>
                  </a:cxn>
                  <a:cxn ang="0">
                    <a:pos x="45" y="11"/>
                  </a:cxn>
                  <a:cxn ang="0">
                    <a:pos x="52" y="38"/>
                  </a:cxn>
                  <a:cxn ang="0">
                    <a:pos x="38" y="38"/>
                  </a:cxn>
                  <a:cxn ang="0">
                    <a:pos x="35" y="20"/>
                  </a:cxn>
                  <a:cxn ang="0">
                    <a:pos x="26" y="13"/>
                  </a:cxn>
                  <a:cxn ang="0">
                    <a:pos x="18" y="20"/>
                  </a:cxn>
                  <a:cxn ang="0">
                    <a:pos x="14" y="38"/>
                  </a:cxn>
                  <a:cxn ang="0">
                    <a:pos x="18" y="57"/>
                  </a:cxn>
                  <a:cxn ang="0">
                    <a:pos x="26" y="64"/>
                  </a:cxn>
                  <a:cxn ang="0">
                    <a:pos x="35" y="57"/>
                  </a:cxn>
                  <a:cxn ang="0">
                    <a:pos x="38" y="38"/>
                  </a:cxn>
                </a:cxnLst>
                <a:rect l="0" t="0" r="r" b="b"/>
                <a:pathLst>
                  <a:path w="52" h="76">
                    <a:moveTo>
                      <a:pt x="52" y="38"/>
                    </a:moveTo>
                    <a:cubicBezTo>
                      <a:pt x="52" y="49"/>
                      <a:pt x="50" y="59"/>
                      <a:pt x="45" y="66"/>
                    </a:cubicBezTo>
                    <a:cubicBezTo>
                      <a:pt x="40" y="72"/>
                      <a:pt x="34" y="76"/>
                      <a:pt x="26" y="76"/>
                    </a:cubicBezTo>
                    <a:cubicBezTo>
                      <a:pt x="18" y="76"/>
                      <a:pt x="12" y="73"/>
                      <a:pt x="7" y="66"/>
                    </a:cubicBezTo>
                    <a:cubicBezTo>
                      <a:pt x="3" y="59"/>
                      <a:pt x="0" y="50"/>
                      <a:pt x="0" y="38"/>
                    </a:cubicBezTo>
                    <a:cubicBezTo>
                      <a:pt x="0" y="27"/>
                      <a:pt x="3" y="18"/>
                      <a:pt x="7" y="11"/>
                    </a:cubicBezTo>
                    <a:cubicBezTo>
                      <a:pt x="12" y="4"/>
                      <a:pt x="18" y="0"/>
                      <a:pt x="26" y="0"/>
                    </a:cubicBezTo>
                    <a:cubicBezTo>
                      <a:pt x="34" y="0"/>
                      <a:pt x="40" y="4"/>
                      <a:pt x="45" y="11"/>
                    </a:cubicBezTo>
                    <a:cubicBezTo>
                      <a:pt x="50" y="18"/>
                      <a:pt x="52" y="27"/>
                      <a:pt x="52" y="38"/>
                    </a:cubicBezTo>
                    <a:close/>
                    <a:moveTo>
                      <a:pt x="38" y="38"/>
                    </a:moveTo>
                    <a:cubicBezTo>
                      <a:pt x="38" y="31"/>
                      <a:pt x="37" y="24"/>
                      <a:pt x="35" y="20"/>
                    </a:cubicBezTo>
                    <a:cubicBezTo>
                      <a:pt x="33" y="15"/>
                      <a:pt x="30" y="13"/>
                      <a:pt x="26" y="13"/>
                    </a:cubicBezTo>
                    <a:cubicBezTo>
                      <a:pt x="23" y="13"/>
                      <a:pt x="20" y="15"/>
                      <a:pt x="18" y="20"/>
                    </a:cubicBezTo>
                    <a:cubicBezTo>
                      <a:pt x="15" y="25"/>
                      <a:pt x="14" y="31"/>
                      <a:pt x="14" y="38"/>
                    </a:cubicBezTo>
                    <a:cubicBezTo>
                      <a:pt x="14" y="46"/>
                      <a:pt x="15" y="52"/>
                      <a:pt x="18" y="57"/>
                    </a:cubicBezTo>
                    <a:cubicBezTo>
                      <a:pt x="20" y="61"/>
                      <a:pt x="23" y="64"/>
                      <a:pt x="26" y="64"/>
                    </a:cubicBezTo>
                    <a:cubicBezTo>
                      <a:pt x="30" y="64"/>
                      <a:pt x="33" y="61"/>
                      <a:pt x="35" y="57"/>
                    </a:cubicBezTo>
                    <a:cubicBezTo>
                      <a:pt x="37" y="52"/>
                      <a:pt x="38" y="46"/>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4" name="Freeform 264"/>
              <p:cNvSpPr>
                <a:spLocks/>
              </p:cNvSpPr>
              <p:nvPr/>
            </p:nvSpPr>
            <p:spPr bwMode="auto">
              <a:xfrm>
                <a:off x="2626230" y="3882325"/>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5" name="Freeform 265"/>
              <p:cNvSpPr>
                <a:spLocks noEditPoints="1"/>
              </p:cNvSpPr>
              <p:nvPr/>
            </p:nvSpPr>
            <p:spPr bwMode="auto">
              <a:xfrm>
                <a:off x="2673105" y="3880759"/>
                <a:ext cx="62501" cy="90790"/>
              </a:xfrm>
              <a:custGeom>
                <a:avLst/>
                <a:gdLst/>
                <a:ahLst/>
                <a:cxnLst>
                  <a:cxn ang="0">
                    <a:pos x="51" y="38"/>
                  </a:cxn>
                  <a:cxn ang="0">
                    <a:pos x="44" y="66"/>
                  </a:cxn>
                  <a:cxn ang="0">
                    <a:pos x="25" y="76"/>
                  </a:cxn>
                  <a:cxn ang="0">
                    <a:pos x="7" y="66"/>
                  </a:cxn>
                  <a:cxn ang="0">
                    <a:pos x="0" y="38"/>
                  </a:cxn>
                  <a:cxn ang="0">
                    <a:pos x="7" y="11"/>
                  </a:cxn>
                  <a:cxn ang="0">
                    <a:pos x="25" y="0"/>
                  </a:cxn>
                  <a:cxn ang="0">
                    <a:pos x="44" y="11"/>
                  </a:cxn>
                  <a:cxn ang="0">
                    <a:pos x="51" y="38"/>
                  </a:cxn>
                  <a:cxn ang="0">
                    <a:pos x="38" y="38"/>
                  </a:cxn>
                  <a:cxn ang="0">
                    <a:pos x="34" y="20"/>
                  </a:cxn>
                  <a:cxn ang="0">
                    <a:pos x="25" y="13"/>
                  </a:cxn>
                  <a:cxn ang="0">
                    <a:pos x="17" y="20"/>
                  </a:cxn>
                  <a:cxn ang="0">
                    <a:pos x="14" y="38"/>
                  </a:cxn>
                  <a:cxn ang="0">
                    <a:pos x="17" y="57"/>
                  </a:cxn>
                  <a:cxn ang="0">
                    <a:pos x="25" y="64"/>
                  </a:cxn>
                  <a:cxn ang="0">
                    <a:pos x="34" y="57"/>
                  </a:cxn>
                  <a:cxn ang="0">
                    <a:pos x="38" y="38"/>
                  </a:cxn>
                </a:cxnLst>
                <a:rect l="0" t="0" r="r" b="b"/>
                <a:pathLst>
                  <a:path w="51" h="76">
                    <a:moveTo>
                      <a:pt x="51" y="38"/>
                    </a:moveTo>
                    <a:cubicBezTo>
                      <a:pt x="51" y="49"/>
                      <a:pt x="49" y="59"/>
                      <a:pt x="44" y="66"/>
                    </a:cubicBezTo>
                    <a:cubicBezTo>
                      <a:pt x="40" y="72"/>
                      <a:pt x="33" y="76"/>
                      <a:pt x="25" y="76"/>
                    </a:cubicBezTo>
                    <a:cubicBezTo>
                      <a:pt x="18" y="76"/>
                      <a:pt x="11" y="73"/>
                      <a:pt x="7" y="66"/>
                    </a:cubicBezTo>
                    <a:cubicBezTo>
                      <a:pt x="2" y="59"/>
                      <a:pt x="0" y="50"/>
                      <a:pt x="0" y="38"/>
                    </a:cubicBezTo>
                    <a:cubicBezTo>
                      <a:pt x="0" y="27"/>
                      <a:pt x="2" y="18"/>
                      <a:pt x="7" y="11"/>
                    </a:cubicBezTo>
                    <a:cubicBezTo>
                      <a:pt x="11" y="4"/>
                      <a:pt x="18" y="0"/>
                      <a:pt x="25" y="0"/>
                    </a:cubicBezTo>
                    <a:cubicBezTo>
                      <a:pt x="33" y="0"/>
                      <a:pt x="40" y="4"/>
                      <a:pt x="44" y="11"/>
                    </a:cubicBezTo>
                    <a:cubicBezTo>
                      <a:pt x="49" y="18"/>
                      <a:pt x="51" y="27"/>
                      <a:pt x="51" y="38"/>
                    </a:cubicBezTo>
                    <a:close/>
                    <a:moveTo>
                      <a:pt x="38" y="38"/>
                    </a:moveTo>
                    <a:cubicBezTo>
                      <a:pt x="38" y="31"/>
                      <a:pt x="36" y="24"/>
                      <a:pt x="34" y="20"/>
                    </a:cubicBezTo>
                    <a:cubicBezTo>
                      <a:pt x="32" y="15"/>
                      <a:pt x="29" y="13"/>
                      <a:pt x="25" y="13"/>
                    </a:cubicBezTo>
                    <a:cubicBezTo>
                      <a:pt x="22" y="13"/>
                      <a:pt x="19" y="15"/>
                      <a:pt x="17" y="20"/>
                    </a:cubicBezTo>
                    <a:cubicBezTo>
                      <a:pt x="15" y="25"/>
                      <a:pt x="14" y="31"/>
                      <a:pt x="14" y="38"/>
                    </a:cubicBezTo>
                    <a:cubicBezTo>
                      <a:pt x="14" y="46"/>
                      <a:pt x="15" y="52"/>
                      <a:pt x="17" y="57"/>
                    </a:cubicBezTo>
                    <a:cubicBezTo>
                      <a:pt x="19" y="61"/>
                      <a:pt x="22" y="64"/>
                      <a:pt x="25" y="64"/>
                    </a:cubicBezTo>
                    <a:cubicBezTo>
                      <a:pt x="29" y="64"/>
                      <a:pt x="32" y="61"/>
                      <a:pt x="34" y="57"/>
                    </a:cubicBezTo>
                    <a:cubicBezTo>
                      <a:pt x="36" y="52"/>
                      <a:pt x="38" y="46"/>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6" name="Freeform 266"/>
              <p:cNvSpPr>
                <a:spLocks/>
              </p:cNvSpPr>
              <p:nvPr/>
            </p:nvSpPr>
            <p:spPr bwMode="auto">
              <a:xfrm>
                <a:off x="2737169" y="3882325"/>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7" name="Freeform 267"/>
              <p:cNvSpPr>
                <a:spLocks noEditPoints="1"/>
              </p:cNvSpPr>
              <p:nvPr/>
            </p:nvSpPr>
            <p:spPr bwMode="auto">
              <a:xfrm>
                <a:off x="2784045" y="3880759"/>
                <a:ext cx="62501" cy="90790"/>
              </a:xfrm>
              <a:custGeom>
                <a:avLst/>
                <a:gdLst/>
                <a:ahLst/>
                <a:cxnLst>
                  <a:cxn ang="0">
                    <a:pos x="52" y="38"/>
                  </a:cxn>
                  <a:cxn ang="0">
                    <a:pos x="45" y="66"/>
                  </a:cxn>
                  <a:cxn ang="0">
                    <a:pos x="26" y="76"/>
                  </a:cxn>
                  <a:cxn ang="0">
                    <a:pos x="7" y="66"/>
                  </a:cxn>
                  <a:cxn ang="0">
                    <a:pos x="0" y="38"/>
                  </a:cxn>
                  <a:cxn ang="0">
                    <a:pos x="7" y="11"/>
                  </a:cxn>
                  <a:cxn ang="0">
                    <a:pos x="26" y="0"/>
                  </a:cxn>
                  <a:cxn ang="0">
                    <a:pos x="45" y="11"/>
                  </a:cxn>
                  <a:cxn ang="0">
                    <a:pos x="52" y="38"/>
                  </a:cxn>
                  <a:cxn ang="0">
                    <a:pos x="38" y="38"/>
                  </a:cxn>
                  <a:cxn ang="0">
                    <a:pos x="34" y="20"/>
                  </a:cxn>
                  <a:cxn ang="0">
                    <a:pos x="26" y="13"/>
                  </a:cxn>
                  <a:cxn ang="0">
                    <a:pos x="17" y="20"/>
                  </a:cxn>
                  <a:cxn ang="0">
                    <a:pos x="14" y="38"/>
                  </a:cxn>
                  <a:cxn ang="0">
                    <a:pos x="17" y="57"/>
                  </a:cxn>
                  <a:cxn ang="0">
                    <a:pos x="26" y="64"/>
                  </a:cxn>
                  <a:cxn ang="0">
                    <a:pos x="34" y="57"/>
                  </a:cxn>
                  <a:cxn ang="0">
                    <a:pos x="38" y="38"/>
                  </a:cxn>
                </a:cxnLst>
                <a:rect l="0" t="0" r="r" b="b"/>
                <a:pathLst>
                  <a:path w="52" h="76">
                    <a:moveTo>
                      <a:pt x="52" y="38"/>
                    </a:moveTo>
                    <a:cubicBezTo>
                      <a:pt x="52" y="49"/>
                      <a:pt x="49" y="59"/>
                      <a:pt x="45" y="66"/>
                    </a:cubicBezTo>
                    <a:cubicBezTo>
                      <a:pt x="40" y="72"/>
                      <a:pt x="34" y="76"/>
                      <a:pt x="26" y="76"/>
                    </a:cubicBezTo>
                    <a:cubicBezTo>
                      <a:pt x="18" y="76"/>
                      <a:pt x="12" y="73"/>
                      <a:pt x="7" y="66"/>
                    </a:cubicBezTo>
                    <a:cubicBezTo>
                      <a:pt x="2" y="59"/>
                      <a:pt x="0" y="50"/>
                      <a:pt x="0" y="38"/>
                    </a:cubicBezTo>
                    <a:cubicBezTo>
                      <a:pt x="0" y="27"/>
                      <a:pt x="2" y="18"/>
                      <a:pt x="7" y="11"/>
                    </a:cubicBezTo>
                    <a:cubicBezTo>
                      <a:pt x="12" y="4"/>
                      <a:pt x="18" y="0"/>
                      <a:pt x="26" y="0"/>
                    </a:cubicBezTo>
                    <a:cubicBezTo>
                      <a:pt x="34" y="0"/>
                      <a:pt x="40" y="4"/>
                      <a:pt x="45" y="11"/>
                    </a:cubicBezTo>
                    <a:cubicBezTo>
                      <a:pt x="49" y="18"/>
                      <a:pt x="52" y="27"/>
                      <a:pt x="52" y="38"/>
                    </a:cubicBezTo>
                    <a:close/>
                    <a:moveTo>
                      <a:pt x="38" y="38"/>
                    </a:moveTo>
                    <a:cubicBezTo>
                      <a:pt x="38" y="31"/>
                      <a:pt x="37" y="24"/>
                      <a:pt x="34" y="20"/>
                    </a:cubicBezTo>
                    <a:cubicBezTo>
                      <a:pt x="32" y="15"/>
                      <a:pt x="29" y="13"/>
                      <a:pt x="26" y="13"/>
                    </a:cubicBezTo>
                    <a:cubicBezTo>
                      <a:pt x="22" y="13"/>
                      <a:pt x="19" y="15"/>
                      <a:pt x="17" y="20"/>
                    </a:cubicBezTo>
                    <a:cubicBezTo>
                      <a:pt x="15" y="25"/>
                      <a:pt x="14" y="31"/>
                      <a:pt x="14" y="38"/>
                    </a:cubicBezTo>
                    <a:cubicBezTo>
                      <a:pt x="14" y="46"/>
                      <a:pt x="15" y="52"/>
                      <a:pt x="17" y="57"/>
                    </a:cubicBezTo>
                    <a:cubicBezTo>
                      <a:pt x="19" y="61"/>
                      <a:pt x="22" y="64"/>
                      <a:pt x="26" y="64"/>
                    </a:cubicBezTo>
                    <a:cubicBezTo>
                      <a:pt x="29" y="64"/>
                      <a:pt x="32" y="61"/>
                      <a:pt x="34" y="57"/>
                    </a:cubicBezTo>
                    <a:cubicBezTo>
                      <a:pt x="37" y="52"/>
                      <a:pt x="38" y="46"/>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8" name="Freeform 268"/>
              <p:cNvSpPr>
                <a:spLocks/>
              </p:cNvSpPr>
              <p:nvPr/>
            </p:nvSpPr>
            <p:spPr bwMode="auto">
              <a:xfrm>
                <a:off x="2848108" y="3882325"/>
                <a:ext cx="32813" cy="87659"/>
              </a:xfrm>
              <a:custGeom>
                <a:avLst/>
                <a:gdLst/>
                <a:ahLst/>
                <a:cxnLst>
                  <a:cxn ang="0">
                    <a:pos x="21" y="56"/>
                  </a:cxn>
                  <a:cxn ang="0">
                    <a:pos x="11" y="56"/>
                  </a:cxn>
                  <a:cxn ang="0">
                    <a:pos x="11" y="9"/>
                  </a:cxn>
                  <a:cxn ang="0">
                    <a:pos x="0" y="9"/>
                  </a:cxn>
                  <a:cxn ang="0">
                    <a:pos x="5" y="0"/>
                  </a:cxn>
                  <a:cxn ang="0">
                    <a:pos x="21" y="0"/>
                  </a:cxn>
                  <a:cxn ang="0">
                    <a:pos x="21" y="56"/>
                  </a:cxn>
                </a:cxnLst>
                <a:rect l="0" t="0" r="r" b="b"/>
                <a:pathLst>
                  <a:path w="21" h="56">
                    <a:moveTo>
                      <a:pt x="21" y="56"/>
                    </a:moveTo>
                    <a:lnTo>
                      <a:pt x="11" y="56"/>
                    </a:lnTo>
                    <a:lnTo>
                      <a:pt x="11" y="9"/>
                    </a:lnTo>
                    <a:lnTo>
                      <a:pt x="0" y="9"/>
                    </a:lnTo>
                    <a:lnTo>
                      <a:pt x="5"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9" name="Freeform 269"/>
              <p:cNvSpPr>
                <a:spLocks/>
              </p:cNvSpPr>
              <p:nvPr/>
            </p:nvSpPr>
            <p:spPr bwMode="auto">
              <a:xfrm>
                <a:off x="2888734" y="3882325"/>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0" name="Freeform 270"/>
              <p:cNvSpPr>
                <a:spLocks noEditPoints="1"/>
              </p:cNvSpPr>
              <p:nvPr/>
            </p:nvSpPr>
            <p:spPr bwMode="auto">
              <a:xfrm>
                <a:off x="2935610" y="3880759"/>
                <a:ext cx="62501" cy="90790"/>
              </a:xfrm>
              <a:custGeom>
                <a:avLst/>
                <a:gdLst/>
                <a:ahLst/>
                <a:cxnLst>
                  <a:cxn ang="0">
                    <a:pos x="52" y="38"/>
                  </a:cxn>
                  <a:cxn ang="0">
                    <a:pos x="45" y="66"/>
                  </a:cxn>
                  <a:cxn ang="0">
                    <a:pos x="26" y="76"/>
                  </a:cxn>
                  <a:cxn ang="0">
                    <a:pos x="7" y="66"/>
                  </a:cxn>
                  <a:cxn ang="0">
                    <a:pos x="0" y="38"/>
                  </a:cxn>
                  <a:cxn ang="0">
                    <a:pos x="7" y="11"/>
                  </a:cxn>
                  <a:cxn ang="0">
                    <a:pos x="26" y="0"/>
                  </a:cxn>
                  <a:cxn ang="0">
                    <a:pos x="45" y="11"/>
                  </a:cxn>
                  <a:cxn ang="0">
                    <a:pos x="52" y="38"/>
                  </a:cxn>
                  <a:cxn ang="0">
                    <a:pos x="38" y="38"/>
                  </a:cxn>
                  <a:cxn ang="0">
                    <a:pos x="35" y="20"/>
                  </a:cxn>
                  <a:cxn ang="0">
                    <a:pos x="26" y="13"/>
                  </a:cxn>
                  <a:cxn ang="0">
                    <a:pos x="17" y="20"/>
                  </a:cxn>
                  <a:cxn ang="0">
                    <a:pos x="14" y="38"/>
                  </a:cxn>
                  <a:cxn ang="0">
                    <a:pos x="17" y="57"/>
                  </a:cxn>
                  <a:cxn ang="0">
                    <a:pos x="26" y="64"/>
                  </a:cxn>
                  <a:cxn ang="0">
                    <a:pos x="35" y="57"/>
                  </a:cxn>
                  <a:cxn ang="0">
                    <a:pos x="38" y="38"/>
                  </a:cxn>
                </a:cxnLst>
                <a:rect l="0" t="0" r="r" b="b"/>
                <a:pathLst>
                  <a:path w="52" h="76">
                    <a:moveTo>
                      <a:pt x="52" y="38"/>
                    </a:moveTo>
                    <a:cubicBezTo>
                      <a:pt x="52" y="49"/>
                      <a:pt x="49" y="59"/>
                      <a:pt x="45" y="66"/>
                    </a:cubicBezTo>
                    <a:cubicBezTo>
                      <a:pt x="40" y="72"/>
                      <a:pt x="34" y="76"/>
                      <a:pt x="26" y="76"/>
                    </a:cubicBezTo>
                    <a:cubicBezTo>
                      <a:pt x="18" y="76"/>
                      <a:pt x="12" y="73"/>
                      <a:pt x="7" y="66"/>
                    </a:cubicBezTo>
                    <a:cubicBezTo>
                      <a:pt x="2" y="59"/>
                      <a:pt x="0" y="50"/>
                      <a:pt x="0" y="38"/>
                    </a:cubicBezTo>
                    <a:cubicBezTo>
                      <a:pt x="0" y="27"/>
                      <a:pt x="2" y="18"/>
                      <a:pt x="7" y="11"/>
                    </a:cubicBezTo>
                    <a:cubicBezTo>
                      <a:pt x="12" y="4"/>
                      <a:pt x="18" y="0"/>
                      <a:pt x="26" y="0"/>
                    </a:cubicBezTo>
                    <a:cubicBezTo>
                      <a:pt x="34" y="0"/>
                      <a:pt x="40" y="4"/>
                      <a:pt x="45" y="11"/>
                    </a:cubicBezTo>
                    <a:cubicBezTo>
                      <a:pt x="49" y="18"/>
                      <a:pt x="52" y="27"/>
                      <a:pt x="52" y="38"/>
                    </a:cubicBezTo>
                    <a:close/>
                    <a:moveTo>
                      <a:pt x="38" y="38"/>
                    </a:moveTo>
                    <a:cubicBezTo>
                      <a:pt x="38" y="31"/>
                      <a:pt x="37" y="24"/>
                      <a:pt x="35" y="20"/>
                    </a:cubicBezTo>
                    <a:cubicBezTo>
                      <a:pt x="32" y="15"/>
                      <a:pt x="29" y="13"/>
                      <a:pt x="26" y="13"/>
                    </a:cubicBezTo>
                    <a:cubicBezTo>
                      <a:pt x="22" y="13"/>
                      <a:pt x="19" y="15"/>
                      <a:pt x="17" y="20"/>
                    </a:cubicBezTo>
                    <a:cubicBezTo>
                      <a:pt x="15" y="25"/>
                      <a:pt x="14" y="31"/>
                      <a:pt x="14" y="38"/>
                    </a:cubicBezTo>
                    <a:cubicBezTo>
                      <a:pt x="14" y="46"/>
                      <a:pt x="15" y="52"/>
                      <a:pt x="17" y="57"/>
                    </a:cubicBezTo>
                    <a:cubicBezTo>
                      <a:pt x="19" y="61"/>
                      <a:pt x="22" y="64"/>
                      <a:pt x="26" y="64"/>
                    </a:cubicBezTo>
                    <a:cubicBezTo>
                      <a:pt x="29" y="64"/>
                      <a:pt x="32" y="61"/>
                      <a:pt x="35" y="57"/>
                    </a:cubicBezTo>
                    <a:cubicBezTo>
                      <a:pt x="37" y="52"/>
                      <a:pt x="38" y="46"/>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1" name="Freeform 271"/>
              <p:cNvSpPr>
                <a:spLocks noEditPoints="1"/>
              </p:cNvSpPr>
              <p:nvPr/>
            </p:nvSpPr>
            <p:spPr bwMode="auto">
              <a:xfrm>
                <a:off x="3002798" y="3880759"/>
                <a:ext cx="62501" cy="90790"/>
              </a:xfrm>
              <a:custGeom>
                <a:avLst/>
                <a:gdLst/>
                <a:ahLst/>
                <a:cxnLst>
                  <a:cxn ang="0">
                    <a:pos x="51" y="38"/>
                  </a:cxn>
                  <a:cxn ang="0">
                    <a:pos x="44" y="66"/>
                  </a:cxn>
                  <a:cxn ang="0">
                    <a:pos x="25" y="76"/>
                  </a:cxn>
                  <a:cxn ang="0">
                    <a:pos x="7" y="66"/>
                  </a:cxn>
                  <a:cxn ang="0">
                    <a:pos x="0" y="38"/>
                  </a:cxn>
                  <a:cxn ang="0">
                    <a:pos x="7" y="11"/>
                  </a:cxn>
                  <a:cxn ang="0">
                    <a:pos x="25" y="0"/>
                  </a:cxn>
                  <a:cxn ang="0">
                    <a:pos x="44" y="11"/>
                  </a:cxn>
                  <a:cxn ang="0">
                    <a:pos x="51" y="38"/>
                  </a:cxn>
                  <a:cxn ang="0">
                    <a:pos x="37" y="38"/>
                  </a:cxn>
                  <a:cxn ang="0">
                    <a:pos x="34" y="20"/>
                  </a:cxn>
                  <a:cxn ang="0">
                    <a:pos x="25" y="13"/>
                  </a:cxn>
                  <a:cxn ang="0">
                    <a:pos x="17" y="20"/>
                  </a:cxn>
                  <a:cxn ang="0">
                    <a:pos x="13" y="38"/>
                  </a:cxn>
                  <a:cxn ang="0">
                    <a:pos x="17" y="57"/>
                  </a:cxn>
                  <a:cxn ang="0">
                    <a:pos x="25" y="64"/>
                  </a:cxn>
                  <a:cxn ang="0">
                    <a:pos x="34" y="57"/>
                  </a:cxn>
                  <a:cxn ang="0">
                    <a:pos x="37" y="38"/>
                  </a:cxn>
                </a:cxnLst>
                <a:rect l="0" t="0" r="r" b="b"/>
                <a:pathLst>
                  <a:path w="51" h="76">
                    <a:moveTo>
                      <a:pt x="51" y="38"/>
                    </a:moveTo>
                    <a:cubicBezTo>
                      <a:pt x="51" y="49"/>
                      <a:pt x="49" y="59"/>
                      <a:pt x="44" y="66"/>
                    </a:cubicBezTo>
                    <a:cubicBezTo>
                      <a:pt x="39" y="72"/>
                      <a:pt x="33" y="76"/>
                      <a:pt x="25" y="76"/>
                    </a:cubicBezTo>
                    <a:cubicBezTo>
                      <a:pt x="18" y="76"/>
                      <a:pt x="11" y="73"/>
                      <a:pt x="7" y="66"/>
                    </a:cubicBezTo>
                    <a:cubicBezTo>
                      <a:pt x="2" y="59"/>
                      <a:pt x="0" y="50"/>
                      <a:pt x="0" y="38"/>
                    </a:cubicBezTo>
                    <a:cubicBezTo>
                      <a:pt x="0" y="27"/>
                      <a:pt x="2" y="18"/>
                      <a:pt x="7" y="11"/>
                    </a:cubicBezTo>
                    <a:cubicBezTo>
                      <a:pt x="11" y="4"/>
                      <a:pt x="18" y="0"/>
                      <a:pt x="25" y="0"/>
                    </a:cubicBezTo>
                    <a:cubicBezTo>
                      <a:pt x="33" y="0"/>
                      <a:pt x="40" y="4"/>
                      <a:pt x="44" y="11"/>
                    </a:cubicBezTo>
                    <a:cubicBezTo>
                      <a:pt x="49" y="18"/>
                      <a:pt x="51" y="27"/>
                      <a:pt x="51" y="38"/>
                    </a:cubicBezTo>
                    <a:close/>
                    <a:moveTo>
                      <a:pt x="37" y="38"/>
                    </a:moveTo>
                    <a:cubicBezTo>
                      <a:pt x="37" y="31"/>
                      <a:pt x="36" y="24"/>
                      <a:pt x="34" y="20"/>
                    </a:cubicBezTo>
                    <a:cubicBezTo>
                      <a:pt x="32" y="15"/>
                      <a:pt x="29" y="13"/>
                      <a:pt x="25" y="13"/>
                    </a:cubicBezTo>
                    <a:cubicBezTo>
                      <a:pt x="22" y="13"/>
                      <a:pt x="19" y="15"/>
                      <a:pt x="17" y="20"/>
                    </a:cubicBezTo>
                    <a:cubicBezTo>
                      <a:pt x="15" y="25"/>
                      <a:pt x="13" y="31"/>
                      <a:pt x="13" y="38"/>
                    </a:cubicBezTo>
                    <a:cubicBezTo>
                      <a:pt x="13" y="46"/>
                      <a:pt x="15" y="52"/>
                      <a:pt x="17" y="57"/>
                    </a:cubicBezTo>
                    <a:cubicBezTo>
                      <a:pt x="19" y="61"/>
                      <a:pt x="22" y="64"/>
                      <a:pt x="25" y="64"/>
                    </a:cubicBezTo>
                    <a:cubicBezTo>
                      <a:pt x="29" y="64"/>
                      <a:pt x="32" y="61"/>
                      <a:pt x="34" y="57"/>
                    </a:cubicBezTo>
                    <a:cubicBezTo>
                      <a:pt x="36" y="52"/>
                      <a:pt x="37" y="46"/>
                      <a:pt x="37"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2" name="Freeform 272"/>
              <p:cNvSpPr>
                <a:spLocks/>
              </p:cNvSpPr>
              <p:nvPr/>
            </p:nvSpPr>
            <p:spPr bwMode="auto">
              <a:xfrm>
                <a:off x="3065299" y="3882325"/>
                <a:ext cx="34376" cy="87659"/>
              </a:xfrm>
              <a:custGeom>
                <a:avLst/>
                <a:gdLst/>
                <a:ahLst/>
                <a:cxnLst>
                  <a:cxn ang="0">
                    <a:pos x="22" y="56"/>
                  </a:cxn>
                  <a:cxn ang="0">
                    <a:pos x="11" y="56"/>
                  </a:cxn>
                  <a:cxn ang="0">
                    <a:pos x="11" y="9"/>
                  </a:cxn>
                  <a:cxn ang="0">
                    <a:pos x="0" y="9"/>
                  </a:cxn>
                  <a:cxn ang="0">
                    <a:pos x="5" y="0"/>
                  </a:cxn>
                  <a:cxn ang="0">
                    <a:pos x="22" y="0"/>
                  </a:cxn>
                  <a:cxn ang="0">
                    <a:pos x="22" y="56"/>
                  </a:cxn>
                </a:cxnLst>
                <a:rect l="0" t="0" r="r" b="b"/>
                <a:pathLst>
                  <a:path w="22" h="56">
                    <a:moveTo>
                      <a:pt x="22" y="56"/>
                    </a:moveTo>
                    <a:lnTo>
                      <a:pt x="11" y="56"/>
                    </a:lnTo>
                    <a:lnTo>
                      <a:pt x="11" y="9"/>
                    </a:lnTo>
                    <a:lnTo>
                      <a:pt x="0" y="9"/>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3" name="Freeform 273"/>
              <p:cNvSpPr>
                <a:spLocks/>
              </p:cNvSpPr>
              <p:nvPr/>
            </p:nvSpPr>
            <p:spPr bwMode="auto">
              <a:xfrm>
                <a:off x="3105925" y="3882325"/>
                <a:ext cx="34376" cy="87659"/>
              </a:xfrm>
              <a:custGeom>
                <a:avLst/>
                <a:gdLst/>
                <a:ahLst/>
                <a:cxnLst>
                  <a:cxn ang="0">
                    <a:pos x="22" y="56"/>
                  </a:cxn>
                  <a:cxn ang="0">
                    <a:pos x="11" y="56"/>
                  </a:cxn>
                  <a:cxn ang="0">
                    <a:pos x="11" y="9"/>
                  </a:cxn>
                  <a:cxn ang="0">
                    <a:pos x="0" y="9"/>
                  </a:cxn>
                  <a:cxn ang="0">
                    <a:pos x="5" y="0"/>
                  </a:cxn>
                  <a:cxn ang="0">
                    <a:pos x="22" y="0"/>
                  </a:cxn>
                  <a:cxn ang="0">
                    <a:pos x="22" y="56"/>
                  </a:cxn>
                </a:cxnLst>
                <a:rect l="0" t="0" r="r" b="b"/>
                <a:pathLst>
                  <a:path w="22" h="56">
                    <a:moveTo>
                      <a:pt x="22" y="56"/>
                    </a:moveTo>
                    <a:lnTo>
                      <a:pt x="11" y="56"/>
                    </a:lnTo>
                    <a:lnTo>
                      <a:pt x="11" y="9"/>
                    </a:lnTo>
                    <a:lnTo>
                      <a:pt x="0" y="9"/>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5" name="Freeform 284"/>
              <p:cNvSpPr>
                <a:spLocks/>
              </p:cNvSpPr>
              <p:nvPr/>
            </p:nvSpPr>
            <p:spPr bwMode="auto">
              <a:xfrm>
                <a:off x="2384038" y="402164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6" name="Freeform 285"/>
              <p:cNvSpPr>
                <a:spLocks/>
              </p:cNvSpPr>
              <p:nvPr/>
            </p:nvSpPr>
            <p:spPr bwMode="auto">
              <a:xfrm>
                <a:off x="2424664" y="402164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7" name="Freeform 286"/>
              <p:cNvSpPr>
                <a:spLocks/>
              </p:cNvSpPr>
              <p:nvPr/>
            </p:nvSpPr>
            <p:spPr bwMode="auto">
              <a:xfrm>
                <a:off x="2465290" y="402164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8" name="Freeform 287"/>
              <p:cNvSpPr>
                <a:spLocks/>
              </p:cNvSpPr>
              <p:nvPr/>
            </p:nvSpPr>
            <p:spPr bwMode="auto">
              <a:xfrm>
                <a:off x="2505915" y="4021640"/>
                <a:ext cx="32813" cy="87659"/>
              </a:xfrm>
              <a:custGeom>
                <a:avLst/>
                <a:gdLst/>
                <a:ahLst/>
                <a:cxnLst>
                  <a:cxn ang="0">
                    <a:pos x="21" y="56"/>
                  </a:cxn>
                  <a:cxn ang="0">
                    <a:pos x="11" y="56"/>
                  </a:cxn>
                  <a:cxn ang="0">
                    <a:pos x="11" y="10"/>
                  </a:cxn>
                  <a:cxn ang="0">
                    <a:pos x="0" y="10"/>
                  </a:cxn>
                  <a:cxn ang="0">
                    <a:pos x="4" y="0"/>
                  </a:cxn>
                  <a:cxn ang="0">
                    <a:pos x="21" y="0"/>
                  </a:cxn>
                  <a:cxn ang="0">
                    <a:pos x="21" y="56"/>
                  </a:cxn>
                </a:cxnLst>
                <a:rect l="0" t="0" r="r" b="b"/>
                <a:pathLst>
                  <a:path w="21" h="56">
                    <a:moveTo>
                      <a:pt x="21" y="56"/>
                    </a:moveTo>
                    <a:lnTo>
                      <a:pt x="11" y="56"/>
                    </a:lnTo>
                    <a:lnTo>
                      <a:pt x="11"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9" name="Freeform 288"/>
              <p:cNvSpPr>
                <a:spLocks noEditPoints="1"/>
              </p:cNvSpPr>
              <p:nvPr/>
            </p:nvSpPr>
            <p:spPr bwMode="auto">
              <a:xfrm>
                <a:off x="2554354" y="4020075"/>
                <a:ext cx="60938" cy="90790"/>
              </a:xfrm>
              <a:custGeom>
                <a:avLst/>
                <a:gdLst/>
                <a:ahLst/>
                <a:cxnLst>
                  <a:cxn ang="0">
                    <a:pos x="51" y="37"/>
                  </a:cxn>
                  <a:cxn ang="0">
                    <a:pos x="44" y="65"/>
                  </a:cxn>
                  <a:cxn ang="0">
                    <a:pos x="26" y="75"/>
                  </a:cxn>
                  <a:cxn ang="0">
                    <a:pos x="7" y="65"/>
                  </a:cxn>
                  <a:cxn ang="0">
                    <a:pos x="0" y="37"/>
                  </a:cxn>
                  <a:cxn ang="0">
                    <a:pos x="7" y="10"/>
                  </a:cxn>
                  <a:cxn ang="0">
                    <a:pos x="26" y="0"/>
                  </a:cxn>
                  <a:cxn ang="0">
                    <a:pos x="44" y="10"/>
                  </a:cxn>
                  <a:cxn ang="0">
                    <a:pos x="51" y="37"/>
                  </a:cxn>
                  <a:cxn ang="0">
                    <a:pos x="38" y="37"/>
                  </a:cxn>
                  <a:cxn ang="0">
                    <a:pos x="34" y="19"/>
                  </a:cxn>
                  <a:cxn ang="0">
                    <a:pos x="26" y="12"/>
                  </a:cxn>
                  <a:cxn ang="0">
                    <a:pos x="17" y="19"/>
                  </a:cxn>
                  <a:cxn ang="0">
                    <a:pos x="14" y="37"/>
                  </a:cxn>
                  <a:cxn ang="0">
                    <a:pos x="17" y="56"/>
                  </a:cxn>
                  <a:cxn ang="0">
                    <a:pos x="26" y="63"/>
                  </a:cxn>
                  <a:cxn ang="0">
                    <a:pos x="34" y="56"/>
                  </a:cxn>
                  <a:cxn ang="0">
                    <a:pos x="38" y="37"/>
                  </a:cxn>
                </a:cxnLst>
                <a:rect l="0" t="0" r="r" b="b"/>
                <a:pathLst>
                  <a:path w="51" h="75">
                    <a:moveTo>
                      <a:pt x="51" y="37"/>
                    </a:moveTo>
                    <a:cubicBezTo>
                      <a:pt x="51" y="49"/>
                      <a:pt x="49" y="58"/>
                      <a:pt x="44" y="65"/>
                    </a:cubicBezTo>
                    <a:cubicBezTo>
                      <a:pt x="40" y="72"/>
                      <a:pt x="33" y="75"/>
                      <a:pt x="26" y="75"/>
                    </a:cubicBezTo>
                    <a:cubicBezTo>
                      <a:pt x="18" y="75"/>
                      <a:pt x="11" y="72"/>
                      <a:pt x="7" y="65"/>
                    </a:cubicBezTo>
                    <a:cubicBezTo>
                      <a:pt x="2" y="58"/>
                      <a:pt x="0" y="49"/>
                      <a:pt x="0" y="37"/>
                    </a:cubicBezTo>
                    <a:cubicBezTo>
                      <a:pt x="0" y="26"/>
                      <a:pt x="2" y="17"/>
                      <a:pt x="7" y="10"/>
                    </a:cubicBezTo>
                    <a:cubicBezTo>
                      <a:pt x="11" y="3"/>
                      <a:pt x="18" y="0"/>
                      <a:pt x="26" y="0"/>
                    </a:cubicBezTo>
                    <a:cubicBezTo>
                      <a:pt x="33" y="0"/>
                      <a:pt x="40" y="3"/>
                      <a:pt x="44" y="10"/>
                    </a:cubicBezTo>
                    <a:cubicBezTo>
                      <a:pt x="49" y="17"/>
                      <a:pt x="51" y="26"/>
                      <a:pt x="51" y="37"/>
                    </a:cubicBezTo>
                    <a:close/>
                    <a:moveTo>
                      <a:pt x="38" y="37"/>
                    </a:moveTo>
                    <a:cubicBezTo>
                      <a:pt x="38" y="30"/>
                      <a:pt x="37" y="24"/>
                      <a:pt x="34" y="19"/>
                    </a:cubicBezTo>
                    <a:cubicBezTo>
                      <a:pt x="32" y="14"/>
                      <a:pt x="29" y="12"/>
                      <a:pt x="26" y="12"/>
                    </a:cubicBezTo>
                    <a:cubicBezTo>
                      <a:pt x="22" y="12"/>
                      <a:pt x="19" y="14"/>
                      <a:pt x="17" y="19"/>
                    </a:cubicBezTo>
                    <a:cubicBezTo>
                      <a:pt x="15" y="24"/>
                      <a:pt x="14" y="30"/>
                      <a:pt x="14" y="37"/>
                    </a:cubicBezTo>
                    <a:cubicBezTo>
                      <a:pt x="14" y="45"/>
                      <a:pt x="15" y="51"/>
                      <a:pt x="17" y="56"/>
                    </a:cubicBezTo>
                    <a:cubicBezTo>
                      <a:pt x="19" y="60"/>
                      <a:pt x="22" y="63"/>
                      <a:pt x="26" y="63"/>
                    </a:cubicBezTo>
                    <a:cubicBezTo>
                      <a:pt x="29" y="63"/>
                      <a:pt x="32" y="61"/>
                      <a:pt x="34"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0" name="Freeform 289"/>
              <p:cNvSpPr>
                <a:spLocks noEditPoints="1"/>
              </p:cNvSpPr>
              <p:nvPr/>
            </p:nvSpPr>
            <p:spPr bwMode="auto">
              <a:xfrm>
                <a:off x="2619980" y="4020075"/>
                <a:ext cx="62501" cy="90790"/>
              </a:xfrm>
              <a:custGeom>
                <a:avLst/>
                <a:gdLst/>
                <a:ahLst/>
                <a:cxnLst>
                  <a:cxn ang="0">
                    <a:pos x="52" y="37"/>
                  </a:cxn>
                  <a:cxn ang="0">
                    <a:pos x="45" y="65"/>
                  </a:cxn>
                  <a:cxn ang="0">
                    <a:pos x="26" y="75"/>
                  </a:cxn>
                  <a:cxn ang="0">
                    <a:pos x="7" y="65"/>
                  </a:cxn>
                  <a:cxn ang="0">
                    <a:pos x="0" y="37"/>
                  </a:cxn>
                  <a:cxn ang="0">
                    <a:pos x="7" y="10"/>
                  </a:cxn>
                  <a:cxn ang="0">
                    <a:pos x="26" y="0"/>
                  </a:cxn>
                  <a:cxn ang="0">
                    <a:pos x="45" y="10"/>
                  </a:cxn>
                  <a:cxn ang="0">
                    <a:pos x="52" y="37"/>
                  </a:cxn>
                  <a:cxn ang="0">
                    <a:pos x="38" y="37"/>
                  </a:cxn>
                  <a:cxn ang="0">
                    <a:pos x="35" y="19"/>
                  </a:cxn>
                  <a:cxn ang="0">
                    <a:pos x="26" y="12"/>
                  </a:cxn>
                  <a:cxn ang="0">
                    <a:pos x="17" y="19"/>
                  </a:cxn>
                  <a:cxn ang="0">
                    <a:pos x="14" y="37"/>
                  </a:cxn>
                  <a:cxn ang="0">
                    <a:pos x="17" y="56"/>
                  </a:cxn>
                  <a:cxn ang="0">
                    <a:pos x="26" y="63"/>
                  </a:cxn>
                  <a:cxn ang="0">
                    <a:pos x="35" y="56"/>
                  </a:cxn>
                  <a:cxn ang="0">
                    <a:pos x="38" y="37"/>
                  </a:cxn>
                </a:cxnLst>
                <a:rect l="0" t="0" r="r" b="b"/>
                <a:pathLst>
                  <a:path w="52" h="75">
                    <a:moveTo>
                      <a:pt x="52" y="37"/>
                    </a:moveTo>
                    <a:cubicBezTo>
                      <a:pt x="52" y="49"/>
                      <a:pt x="50" y="58"/>
                      <a:pt x="45" y="65"/>
                    </a:cubicBezTo>
                    <a:cubicBezTo>
                      <a:pt x="40" y="72"/>
                      <a:pt x="34" y="75"/>
                      <a:pt x="26" y="75"/>
                    </a:cubicBezTo>
                    <a:cubicBezTo>
                      <a:pt x="18" y="75"/>
                      <a:pt x="12" y="72"/>
                      <a:pt x="7" y="65"/>
                    </a:cubicBezTo>
                    <a:cubicBezTo>
                      <a:pt x="3" y="58"/>
                      <a:pt x="0" y="49"/>
                      <a:pt x="0" y="37"/>
                    </a:cubicBezTo>
                    <a:cubicBezTo>
                      <a:pt x="0" y="26"/>
                      <a:pt x="3" y="17"/>
                      <a:pt x="7" y="10"/>
                    </a:cubicBezTo>
                    <a:cubicBezTo>
                      <a:pt x="12" y="3"/>
                      <a:pt x="18" y="0"/>
                      <a:pt x="26" y="0"/>
                    </a:cubicBezTo>
                    <a:cubicBezTo>
                      <a:pt x="34" y="0"/>
                      <a:pt x="40" y="3"/>
                      <a:pt x="45" y="10"/>
                    </a:cubicBezTo>
                    <a:cubicBezTo>
                      <a:pt x="50" y="17"/>
                      <a:pt x="52" y="26"/>
                      <a:pt x="52" y="37"/>
                    </a:cubicBezTo>
                    <a:close/>
                    <a:moveTo>
                      <a:pt x="38" y="37"/>
                    </a:moveTo>
                    <a:cubicBezTo>
                      <a:pt x="38" y="30"/>
                      <a:pt x="37" y="24"/>
                      <a:pt x="35" y="19"/>
                    </a:cubicBezTo>
                    <a:cubicBezTo>
                      <a:pt x="33" y="14"/>
                      <a:pt x="30" y="12"/>
                      <a:pt x="26" y="12"/>
                    </a:cubicBezTo>
                    <a:cubicBezTo>
                      <a:pt x="22" y="12"/>
                      <a:pt x="20" y="14"/>
                      <a:pt x="17" y="19"/>
                    </a:cubicBezTo>
                    <a:cubicBezTo>
                      <a:pt x="15" y="24"/>
                      <a:pt x="14" y="30"/>
                      <a:pt x="14" y="37"/>
                    </a:cubicBezTo>
                    <a:cubicBezTo>
                      <a:pt x="14" y="45"/>
                      <a:pt x="15" y="51"/>
                      <a:pt x="17" y="56"/>
                    </a:cubicBezTo>
                    <a:cubicBezTo>
                      <a:pt x="20" y="60"/>
                      <a:pt x="23" y="63"/>
                      <a:pt x="26" y="63"/>
                    </a:cubicBezTo>
                    <a:cubicBezTo>
                      <a:pt x="30" y="63"/>
                      <a:pt x="33" y="61"/>
                      <a:pt x="35"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1" name="Freeform 290"/>
              <p:cNvSpPr>
                <a:spLocks/>
              </p:cNvSpPr>
              <p:nvPr/>
            </p:nvSpPr>
            <p:spPr bwMode="auto">
              <a:xfrm>
                <a:off x="2684043" y="402164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2" name="Freeform 291"/>
              <p:cNvSpPr>
                <a:spLocks noEditPoints="1"/>
              </p:cNvSpPr>
              <p:nvPr/>
            </p:nvSpPr>
            <p:spPr bwMode="auto">
              <a:xfrm>
                <a:off x="2730919" y="4020075"/>
                <a:ext cx="62501" cy="90790"/>
              </a:xfrm>
              <a:custGeom>
                <a:avLst/>
                <a:gdLst/>
                <a:ahLst/>
                <a:cxnLst>
                  <a:cxn ang="0">
                    <a:pos x="51" y="37"/>
                  </a:cxn>
                  <a:cxn ang="0">
                    <a:pos x="44" y="65"/>
                  </a:cxn>
                  <a:cxn ang="0">
                    <a:pos x="25" y="75"/>
                  </a:cxn>
                  <a:cxn ang="0">
                    <a:pos x="7" y="65"/>
                  </a:cxn>
                  <a:cxn ang="0">
                    <a:pos x="0" y="37"/>
                  </a:cxn>
                  <a:cxn ang="0">
                    <a:pos x="7" y="10"/>
                  </a:cxn>
                  <a:cxn ang="0">
                    <a:pos x="25" y="0"/>
                  </a:cxn>
                  <a:cxn ang="0">
                    <a:pos x="44" y="10"/>
                  </a:cxn>
                  <a:cxn ang="0">
                    <a:pos x="51" y="37"/>
                  </a:cxn>
                  <a:cxn ang="0">
                    <a:pos x="37" y="37"/>
                  </a:cxn>
                  <a:cxn ang="0">
                    <a:pos x="34" y="19"/>
                  </a:cxn>
                  <a:cxn ang="0">
                    <a:pos x="25" y="12"/>
                  </a:cxn>
                  <a:cxn ang="0">
                    <a:pos x="17" y="19"/>
                  </a:cxn>
                  <a:cxn ang="0">
                    <a:pos x="13" y="37"/>
                  </a:cxn>
                  <a:cxn ang="0">
                    <a:pos x="17" y="56"/>
                  </a:cxn>
                  <a:cxn ang="0">
                    <a:pos x="25" y="63"/>
                  </a:cxn>
                  <a:cxn ang="0">
                    <a:pos x="34" y="56"/>
                  </a:cxn>
                  <a:cxn ang="0">
                    <a:pos x="37" y="37"/>
                  </a:cxn>
                </a:cxnLst>
                <a:rect l="0" t="0" r="r" b="b"/>
                <a:pathLst>
                  <a:path w="51" h="75">
                    <a:moveTo>
                      <a:pt x="51" y="37"/>
                    </a:moveTo>
                    <a:cubicBezTo>
                      <a:pt x="51" y="49"/>
                      <a:pt x="49" y="58"/>
                      <a:pt x="44" y="65"/>
                    </a:cubicBezTo>
                    <a:cubicBezTo>
                      <a:pt x="39" y="72"/>
                      <a:pt x="33" y="75"/>
                      <a:pt x="25" y="75"/>
                    </a:cubicBezTo>
                    <a:cubicBezTo>
                      <a:pt x="17" y="75"/>
                      <a:pt x="11" y="72"/>
                      <a:pt x="7" y="65"/>
                    </a:cubicBezTo>
                    <a:cubicBezTo>
                      <a:pt x="2" y="58"/>
                      <a:pt x="0" y="49"/>
                      <a:pt x="0" y="37"/>
                    </a:cubicBezTo>
                    <a:cubicBezTo>
                      <a:pt x="0" y="26"/>
                      <a:pt x="2" y="17"/>
                      <a:pt x="7" y="10"/>
                    </a:cubicBezTo>
                    <a:cubicBezTo>
                      <a:pt x="11" y="3"/>
                      <a:pt x="17" y="0"/>
                      <a:pt x="25" y="0"/>
                    </a:cubicBezTo>
                    <a:cubicBezTo>
                      <a:pt x="33" y="0"/>
                      <a:pt x="39" y="3"/>
                      <a:pt x="44" y="10"/>
                    </a:cubicBezTo>
                    <a:cubicBezTo>
                      <a:pt x="49" y="17"/>
                      <a:pt x="51" y="26"/>
                      <a:pt x="51" y="37"/>
                    </a:cubicBezTo>
                    <a:close/>
                    <a:moveTo>
                      <a:pt x="37" y="37"/>
                    </a:moveTo>
                    <a:cubicBezTo>
                      <a:pt x="37" y="30"/>
                      <a:pt x="36" y="24"/>
                      <a:pt x="34" y="19"/>
                    </a:cubicBezTo>
                    <a:cubicBezTo>
                      <a:pt x="32" y="14"/>
                      <a:pt x="29" y="12"/>
                      <a:pt x="25" y="12"/>
                    </a:cubicBezTo>
                    <a:cubicBezTo>
                      <a:pt x="22" y="12"/>
                      <a:pt x="19" y="14"/>
                      <a:pt x="17" y="19"/>
                    </a:cubicBezTo>
                    <a:cubicBezTo>
                      <a:pt x="14" y="24"/>
                      <a:pt x="13" y="30"/>
                      <a:pt x="13" y="37"/>
                    </a:cubicBezTo>
                    <a:cubicBezTo>
                      <a:pt x="13" y="45"/>
                      <a:pt x="14" y="51"/>
                      <a:pt x="17" y="56"/>
                    </a:cubicBezTo>
                    <a:cubicBezTo>
                      <a:pt x="19" y="60"/>
                      <a:pt x="22" y="63"/>
                      <a:pt x="25" y="63"/>
                    </a:cubicBezTo>
                    <a:cubicBezTo>
                      <a:pt x="29" y="63"/>
                      <a:pt x="32" y="61"/>
                      <a:pt x="34" y="56"/>
                    </a:cubicBezTo>
                    <a:cubicBezTo>
                      <a:pt x="36" y="51"/>
                      <a:pt x="37" y="45"/>
                      <a:pt x="37"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3" name="Freeform 292"/>
              <p:cNvSpPr>
                <a:spLocks/>
              </p:cNvSpPr>
              <p:nvPr/>
            </p:nvSpPr>
            <p:spPr bwMode="auto">
              <a:xfrm>
                <a:off x="2793420" y="4021640"/>
                <a:ext cx="34376" cy="87659"/>
              </a:xfrm>
              <a:custGeom>
                <a:avLst/>
                <a:gdLst/>
                <a:ahLst/>
                <a:cxnLst>
                  <a:cxn ang="0">
                    <a:pos x="22" y="56"/>
                  </a:cxn>
                  <a:cxn ang="0">
                    <a:pos x="11" y="56"/>
                  </a:cxn>
                  <a:cxn ang="0">
                    <a:pos x="11" y="10"/>
                  </a:cxn>
                  <a:cxn ang="0">
                    <a:pos x="0" y="10"/>
                  </a:cxn>
                  <a:cxn ang="0">
                    <a:pos x="5" y="0"/>
                  </a:cxn>
                  <a:cxn ang="0">
                    <a:pos x="22" y="0"/>
                  </a:cxn>
                  <a:cxn ang="0">
                    <a:pos x="22" y="56"/>
                  </a:cxn>
                </a:cxnLst>
                <a:rect l="0" t="0" r="r" b="b"/>
                <a:pathLst>
                  <a:path w="22" h="56">
                    <a:moveTo>
                      <a:pt x="22" y="56"/>
                    </a:moveTo>
                    <a:lnTo>
                      <a:pt x="11" y="56"/>
                    </a:lnTo>
                    <a:lnTo>
                      <a:pt x="11" y="10"/>
                    </a:lnTo>
                    <a:lnTo>
                      <a:pt x="0" y="10"/>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4" name="Freeform 293"/>
              <p:cNvSpPr>
                <a:spLocks/>
              </p:cNvSpPr>
              <p:nvPr/>
            </p:nvSpPr>
            <p:spPr bwMode="auto">
              <a:xfrm>
                <a:off x="2835608" y="402164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5" name="Freeform 294"/>
              <p:cNvSpPr>
                <a:spLocks noEditPoints="1"/>
              </p:cNvSpPr>
              <p:nvPr/>
            </p:nvSpPr>
            <p:spPr bwMode="auto">
              <a:xfrm>
                <a:off x="2882484" y="4020075"/>
                <a:ext cx="62501" cy="90790"/>
              </a:xfrm>
              <a:custGeom>
                <a:avLst/>
                <a:gdLst/>
                <a:ahLst/>
                <a:cxnLst>
                  <a:cxn ang="0">
                    <a:pos x="51" y="37"/>
                  </a:cxn>
                  <a:cxn ang="0">
                    <a:pos x="44" y="65"/>
                  </a:cxn>
                  <a:cxn ang="0">
                    <a:pos x="25" y="75"/>
                  </a:cxn>
                  <a:cxn ang="0">
                    <a:pos x="7" y="65"/>
                  </a:cxn>
                  <a:cxn ang="0">
                    <a:pos x="0" y="37"/>
                  </a:cxn>
                  <a:cxn ang="0">
                    <a:pos x="7" y="10"/>
                  </a:cxn>
                  <a:cxn ang="0">
                    <a:pos x="25" y="0"/>
                  </a:cxn>
                  <a:cxn ang="0">
                    <a:pos x="44" y="10"/>
                  </a:cxn>
                  <a:cxn ang="0">
                    <a:pos x="51" y="37"/>
                  </a:cxn>
                  <a:cxn ang="0">
                    <a:pos x="38" y="37"/>
                  </a:cxn>
                  <a:cxn ang="0">
                    <a:pos x="34" y="19"/>
                  </a:cxn>
                  <a:cxn ang="0">
                    <a:pos x="25" y="12"/>
                  </a:cxn>
                  <a:cxn ang="0">
                    <a:pos x="17" y="19"/>
                  </a:cxn>
                  <a:cxn ang="0">
                    <a:pos x="14" y="37"/>
                  </a:cxn>
                  <a:cxn ang="0">
                    <a:pos x="17" y="56"/>
                  </a:cxn>
                  <a:cxn ang="0">
                    <a:pos x="25" y="63"/>
                  </a:cxn>
                  <a:cxn ang="0">
                    <a:pos x="34" y="56"/>
                  </a:cxn>
                  <a:cxn ang="0">
                    <a:pos x="38" y="37"/>
                  </a:cxn>
                </a:cxnLst>
                <a:rect l="0" t="0" r="r" b="b"/>
                <a:pathLst>
                  <a:path w="51" h="75">
                    <a:moveTo>
                      <a:pt x="51" y="37"/>
                    </a:moveTo>
                    <a:cubicBezTo>
                      <a:pt x="51" y="49"/>
                      <a:pt x="49" y="58"/>
                      <a:pt x="44" y="65"/>
                    </a:cubicBezTo>
                    <a:cubicBezTo>
                      <a:pt x="40" y="72"/>
                      <a:pt x="33" y="75"/>
                      <a:pt x="25" y="75"/>
                    </a:cubicBezTo>
                    <a:cubicBezTo>
                      <a:pt x="18" y="75"/>
                      <a:pt x="11" y="72"/>
                      <a:pt x="7" y="65"/>
                    </a:cubicBezTo>
                    <a:cubicBezTo>
                      <a:pt x="2" y="58"/>
                      <a:pt x="0" y="49"/>
                      <a:pt x="0" y="37"/>
                    </a:cubicBezTo>
                    <a:cubicBezTo>
                      <a:pt x="0" y="26"/>
                      <a:pt x="2" y="17"/>
                      <a:pt x="7" y="10"/>
                    </a:cubicBezTo>
                    <a:cubicBezTo>
                      <a:pt x="11" y="3"/>
                      <a:pt x="18" y="0"/>
                      <a:pt x="25" y="0"/>
                    </a:cubicBezTo>
                    <a:cubicBezTo>
                      <a:pt x="33" y="0"/>
                      <a:pt x="40" y="3"/>
                      <a:pt x="44" y="10"/>
                    </a:cubicBezTo>
                    <a:cubicBezTo>
                      <a:pt x="49" y="17"/>
                      <a:pt x="51" y="26"/>
                      <a:pt x="51" y="37"/>
                    </a:cubicBezTo>
                    <a:close/>
                    <a:moveTo>
                      <a:pt x="38" y="37"/>
                    </a:moveTo>
                    <a:cubicBezTo>
                      <a:pt x="38" y="30"/>
                      <a:pt x="36" y="24"/>
                      <a:pt x="34" y="19"/>
                    </a:cubicBezTo>
                    <a:cubicBezTo>
                      <a:pt x="32" y="14"/>
                      <a:pt x="29" y="12"/>
                      <a:pt x="25" y="12"/>
                    </a:cubicBezTo>
                    <a:cubicBezTo>
                      <a:pt x="22" y="12"/>
                      <a:pt x="19" y="14"/>
                      <a:pt x="17" y="19"/>
                    </a:cubicBezTo>
                    <a:cubicBezTo>
                      <a:pt x="15" y="24"/>
                      <a:pt x="14" y="30"/>
                      <a:pt x="14" y="37"/>
                    </a:cubicBezTo>
                    <a:cubicBezTo>
                      <a:pt x="14" y="45"/>
                      <a:pt x="15" y="51"/>
                      <a:pt x="17" y="56"/>
                    </a:cubicBezTo>
                    <a:cubicBezTo>
                      <a:pt x="19" y="60"/>
                      <a:pt x="22" y="63"/>
                      <a:pt x="25" y="63"/>
                    </a:cubicBezTo>
                    <a:cubicBezTo>
                      <a:pt x="29" y="63"/>
                      <a:pt x="32" y="61"/>
                      <a:pt x="34" y="56"/>
                    </a:cubicBezTo>
                    <a:cubicBezTo>
                      <a:pt x="36"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6" name="Freeform 295"/>
              <p:cNvSpPr>
                <a:spLocks/>
              </p:cNvSpPr>
              <p:nvPr/>
            </p:nvSpPr>
            <p:spPr bwMode="auto">
              <a:xfrm>
                <a:off x="2944985" y="4021640"/>
                <a:ext cx="34376" cy="87659"/>
              </a:xfrm>
              <a:custGeom>
                <a:avLst/>
                <a:gdLst/>
                <a:ahLst/>
                <a:cxnLst>
                  <a:cxn ang="0">
                    <a:pos x="22" y="56"/>
                  </a:cxn>
                  <a:cxn ang="0">
                    <a:pos x="11" y="56"/>
                  </a:cxn>
                  <a:cxn ang="0">
                    <a:pos x="11" y="10"/>
                  </a:cxn>
                  <a:cxn ang="0">
                    <a:pos x="0" y="10"/>
                  </a:cxn>
                  <a:cxn ang="0">
                    <a:pos x="5" y="0"/>
                  </a:cxn>
                  <a:cxn ang="0">
                    <a:pos x="22" y="0"/>
                  </a:cxn>
                  <a:cxn ang="0">
                    <a:pos x="22" y="56"/>
                  </a:cxn>
                </a:cxnLst>
                <a:rect l="0" t="0" r="r" b="b"/>
                <a:pathLst>
                  <a:path w="22" h="56">
                    <a:moveTo>
                      <a:pt x="22" y="56"/>
                    </a:moveTo>
                    <a:lnTo>
                      <a:pt x="11" y="56"/>
                    </a:lnTo>
                    <a:lnTo>
                      <a:pt x="11" y="10"/>
                    </a:lnTo>
                    <a:lnTo>
                      <a:pt x="0" y="10"/>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7" name="Freeform 296"/>
              <p:cNvSpPr>
                <a:spLocks noEditPoints="1"/>
              </p:cNvSpPr>
              <p:nvPr/>
            </p:nvSpPr>
            <p:spPr bwMode="auto">
              <a:xfrm>
                <a:off x="2993423" y="4020075"/>
                <a:ext cx="62501" cy="90790"/>
              </a:xfrm>
              <a:custGeom>
                <a:avLst/>
                <a:gdLst/>
                <a:ahLst/>
                <a:cxnLst>
                  <a:cxn ang="0">
                    <a:pos x="52" y="37"/>
                  </a:cxn>
                  <a:cxn ang="0">
                    <a:pos x="44" y="65"/>
                  </a:cxn>
                  <a:cxn ang="0">
                    <a:pos x="26" y="75"/>
                  </a:cxn>
                  <a:cxn ang="0">
                    <a:pos x="7" y="65"/>
                  </a:cxn>
                  <a:cxn ang="0">
                    <a:pos x="0" y="37"/>
                  </a:cxn>
                  <a:cxn ang="0">
                    <a:pos x="7" y="10"/>
                  </a:cxn>
                  <a:cxn ang="0">
                    <a:pos x="26" y="0"/>
                  </a:cxn>
                  <a:cxn ang="0">
                    <a:pos x="45" y="10"/>
                  </a:cxn>
                  <a:cxn ang="0">
                    <a:pos x="52" y="37"/>
                  </a:cxn>
                  <a:cxn ang="0">
                    <a:pos x="38" y="37"/>
                  </a:cxn>
                  <a:cxn ang="0">
                    <a:pos x="34" y="19"/>
                  </a:cxn>
                  <a:cxn ang="0">
                    <a:pos x="26" y="12"/>
                  </a:cxn>
                  <a:cxn ang="0">
                    <a:pos x="17" y="19"/>
                  </a:cxn>
                  <a:cxn ang="0">
                    <a:pos x="14" y="37"/>
                  </a:cxn>
                  <a:cxn ang="0">
                    <a:pos x="17" y="56"/>
                  </a:cxn>
                  <a:cxn ang="0">
                    <a:pos x="26" y="63"/>
                  </a:cxn>
                  <a:cxn ang="0">
                    <a:pos x="34" y="56"/>
                  </a:cxn>
                  <a:cxn ang="0">
                    <a:pos x="38" y="37"/>
                  </a:cxn>
                </a:cxnLst>
                <a:rect l="0" t="0" r="r" b="b"/>
                <a:pathLst>
                  <a:path w="52" h="75">
                    <a:moveTo>
                      <a:pt x="52" y="37"/>
                    </a:moveTo>
                    <a:cubicBezTo>
                      <a:pt x="52" y="49"/>
                      <a:pt x="49" y="58"/>
                      <a:pt x="44" y="65"/>
                    </a:cubicBezTo>
                    <a:cubicBezTo>
                      <a:pt x="40" y="72"/>
                      <a:pt x="33" y="75"/>
                      <a:pt x="26" y="75"/>
                    </a:cubicBezTo>
                    <a:cubicBezTo>
                      <a:pt x="18" y="75"/>
                      <a:pt x="12" y="72"/>
                      <a:pt x="7" y="65"/>
                    </a:cubicBezTo>
                    <a:cubicBezTo>
                      <a:pt x="2" y="58"/>
                      <a:pt x="0" y="49"/>
                      <a:pt x="0" y="37"/>
                    </a:cubicBezTo>
                    <a:cubicBezTo>
                      <a:pt x="0" y="26"/>
                      <a:pt x="2" y="17"/>
                      <a:pt x="7" y="10"/>
                    </a:cubicBezTo>
                    <a:cubicBezTo>
                      <a:pt x="12" y="3"/>
                      <a:pt x="18" y="0"/>
                      <a:pt x="26" y="0"/>
                    </a:cubicBezTo>
                    <a:cubicBezTo>
                      <a:pt x="34" y="0"/>
                      <a:pt x="40" y="3"/>
                      <a:pt x="45" y="10"/>
                    </a:cubicBezTo>
                    <a:cubicBezTo>
                      <a:pt x="49" y="17"/>
                      <a:pt x="52" y="26"/>
                      <a:pt x="52" y="37"/>
                    </a:cubicBezTo>
                    <a:close/>
                    <a:moveTo>
                      <a:pt x="38" y="37"/>
                    </a:moveTo>
                    <a:cubicBezTo>
                      <a:pt x="38" y="30"/>
                      <a:pt x="37" y="24"/>
                      <a:pt x="34" y="19"/>
                    </a:cubicBezTo>
                    <a:cubicBezTo>
                      <a:pt x="32" y="14"/>
                      <a:pt x="29" y="12"/>
                      <a:pt x="26" y="12"/>
                    </a:cubicBezTo>
                    <a:cubicBezTo>
                      <a:pt x="22" y="12"/>
                      <a:pt x="19" y="14"/>
                      <a:pt x="17" y="19"/>
                    </a:cubicBezTo>
                    <a:cubicBezTo>
                      <a:pt x="15" y="24"/>
                      <a:pt x="14" y="30"/>
                      <a:pt x="14" y="37"/>
                    </a:cubicBezTo>
                    <a:cubicBezTo>
                      <a:pt x="14" y="45"/>
                      <a:pt x="15" y="51"/>
                      <a:pt x="17" y="56"/>
                    </a:cubicBezTo>
                    <a:cubicBezTo>
                      <a:pt x="19" y="60"/>
                      <a:pt x="22" y="63"/>
                      <a:pt x="26" y="63"/>
                    </a:cubicBezTo>
                    <a:cubicBezTo>
                      <a:pt x="29" y="63"/>
                      <a:pt x="32" y="61"/>
                      <a:pt x="34"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8" name="Freeform 297"/>
              <p:cNvSpPr>
                <a:spLocks/>
              </p:cNvSpPr>
              <p:nvPr/>
            </p:nvSpPr>
            <p:spPr bwMode="auto">
              <a:xfrm>
                <a:off x="3057486" y="402164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9" name="Freeform 298"/>
              <p:cNvSpPr>
                <a:spLocks/>
              </p:cNvSpPr>
              <p:nvPr/>
            </p:nvSpPr>
            <p:spPr bwMode="auto">
              <a:xfrm>
                <a:off x="3098112" y="402164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1" name="Freeform 310"/>
              <p:cNvSpPr>
                <a:spLocks/>
              </p:cNvSpPr>
              <p:nvPr/>
            </p:nvSpPr>
            <p:spPr bwMode="auto">
              <a:xfrm>
                <a:off x="2424664" y="415939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2" name="Freeform 311"/>
              <p:cNvSpPr>
                <a:spLocks noEditPoints="1"/>
              </p:cNvSpPr>
              <p:nvPr/>
            </p:nvSpPr>
            <p:spPr bwMode="auto">
              <a:xfrm>
                <a:off x="2471540" y="4159390"/>
                <a:ext cx="62501" cy="89224"/>
              </a:xfrm>
              <a:custGeom>
                <a:avLst/>
                <a:gdLst/>
                <a:ahLst/>
                <a:cxnLst>
                  <a:cxn ang="0">
                    <a:pos x="52" y="38"/>
                  </a:cxn>
                  <a:cxn ang="0">
                    <a:pos x="45" y="65"/>
                  </a:cxn>
                  <a:cxn ang="0">
                    <a:pos x="26" y="75"/>
                  </a:cxn>
                  <a:cxn ang="0">
                    <a:pos x="7" y="65"/>
                  </a:cxn>
                  <a:cxn ang="0">
                    <a:pos x="0" y="38"/>
                  </a:cxn>
                  <a:cxn ang="0">
                    <a:pos x="7" y="10"/>
                  </a:cxn>
                  <a:cxn ang="0">
                    <a:pos x="26" y="0"/>
                  </a:cxn>
                  <a:cxn ang="0">
                    <a:pos x="45" y="10"/>
                  </a:cxn>
                  <a:cxn ang="0">
                    <a:pos x="52" y="38"/>
                  </a:cxn>
                  <a:cxn ang="0">
                    <a:pos x="38" y="37"/>
                  </a:cxn>
                  <a:cxn ang="0">
                    <a:pos x="34" y="19"/>
                  </a:cxn>
                  <a:cxn ang="0">
                    <a:pos x="26" y="12"/>
                  </a:cxn>
                  <a:cxn ang="0">
                    <a:pos x="17" y="19"/>
                  </a:cxn>
                  <a:cxn ang="0">
                    <a:pos x="14" y="38"/>
                  </a:cxn>
                  <a:cxn ang="0">
                    <a:pos x="17" y="56"/>
                  </a:cxn>
                  <a:cxn ang="0">
                    <a:pos x="26" y="63"/>
                  </a:cxn>
                  <a:cxn ang="0">
                    <a:pos x="35" y="56"/>
                  </a:cxn>
                  <a:cxn ang="0">
                    <a:pos x="38" y="37"/>
                  </a:cxn>
                </a:cxnLst>
                <a:rect l="0" t="0" r="r" b="b"/>
                <a:pathLst>
                  <a:path w="52" h="75">
                    <a:moveTo>
                      <a:pt x="52" y="38"/>
                    </a:moveTo>
                    <a:cubicBezTo>
                      <a:pt x="52" y="49"/>
                      <a:pt x="49" y="58"/>
                      <a:pt x="45" y="65"/>
                    </a:cubicBezTo>
                    <a:cubicBezTo>
                      <a:pt x="40" y="72"/>
                      <a:pt x="34" y="75"/>
                      <a:pt x="26" y="75"/>
                    </a:cubicBezTo>
                    <a:cubicBezTo>
                      <a:pt x="18" y="75"/>
                      <a:pt x="12" y="72"/>
                      <a:pt x="7" y="65"/>
                    </a:cubicBezTo>
                    <a:cubicBezTo>
                      <a:pt x="2" y="58"/>
                      <a:pt x="0" y="49"/>
                      <a:pt x="0" y="38"/>
                    </a:cubicBezTo>
                    <a:cubicBezTo>
                      <a:pt x="0" y="26"/>
                      <a:pt x="2" y="17"/>
                      <a:pt x="7" y="10"/>
                    </a:cubicBezTo>
                    <a:cubicBezTo>
                      <a:pt x="12" y="3"/>
                      <a:pt x="18" y="0"/>
                      <a:pt x="26" y="0"/>
                    </a:cubicBezTo>
                    <a:cubicBezTo>
                      <a:pt x="34" y="0"/>
                      <a:pt x="40" y="3"/>
                      <a:pt x="45" y="10"/>
                    </a:cubicBezTo>
                    <a:cubicBezTo>
                      <a:pt x="49" y="17"/>
                      <a:pt x="52" y="26"/>
                      <a:pt x="52" y="38"/>
                    </a:cubicBezTo>
                    <a:close/>
                    <a:moveTo>
                      <a:pt x="38" y="37"/>
                    </a:moveTo>
                    <a:cubicBezTo>
                      <a:pt x="38" y="30"/>
                      <a:pt x="37" y="24"/>
                      <a:pt x="34" y="19"/>
                    </a:cubicBezTo>
                    <a:cubicBezTo>
                      <a:pt x="32" y="14"/>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5"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3" name="Freeform 312"/>
              <p:cNvSpPr>
                <a:spLocks/>
              </p:cNvSpPr>
              <p:nvPr/>
            </p:nvSpPr>
            <p:spPr bwMode="auto">
              <a:xfrm>
                <a:off x="2535603" y="4159390"/>
                <a:ext cx="32813" cy="87659"/>
              </a:xfrm>
              <a:custGeom>
                <a:avLst/>
                <a:gdLst/>
                <a:ahLst/>
                <a:cxnLst>
                  <a:cxn ang="0">
                    <a:pos x="21" y="56"/>
                  </a:cxn>
                  <a:cxn ang="0">
                    <a:pos x="11" y="56"/>
                  </a:cxn>
                  <a:cxn ang="0">
                    <a:pos x="11" y="10"/>
                  </a:cxn>
                  <a:cxn ang="0">
                    <a:pos x="0" y="10"/>
                  </a:cxn>
                  <a:cxn ang="0">
                    <a:pos x="5" y="0"/>
                  </a:cxn>
                  <a:cxn ang="0">
                    <a:pos x="21" y="0"/>
                  </a:cxn>
                  <a:cxn ang="0">
                    <a:pos x="21" y="56"/>
                  </a:cxn>
                </a:cxnLst>
                <a:rect l="0" t="0" r="r" b="b"/>
                <a:pathLst>
                  <a:path w="21" h="56">
                    <a:moveTo>
                      <a:pt x="21" y="56"/>
                    </a:moveTo>
                    <a:lnTo>
                      <a:pt x="11" y="56"/>
                    </a:lnTo>
                    <a:lnTo>
                      <a:pt x="11" y="10"/>
                    </a:lnTo>
                    <a:lnTo>
                      <a:pt x="0" y="10"/>
                    </a:lnTo>
                    <a:lnTo>
                      <a:pt x="5"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4" name="Freeform 313"/>
              <p:cNvSpPr>
                <a:spLocks/>
              </p:cNvSpPr>
              <p:nvPr/>
            </p:nvSpPr>
            <p:spPr bwMode="auto">
              <a:xfrm>
                <a:off x="2576229" y="415939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5" name="Freeform 314"/>
              <p:cNvSpPr>
                <a:spLocks/>
              </p:cNvSpPr>
              <p:nvPr/>
            </p:nvSpPr>
            <p:spPr bwMode="auto">
              <a:xfrm>
                <a:off x="2616855" y="415939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6" name="Freeform 315"/>
              <p:cNvSpPr>
                <a:spLocks/>
              </p:cNvSpPr>
              <p:nvPr/>
            </p:nvSpPr>
            <p:spPr bwMode="auto">
              <a:xfrm>
                <a:off x="2657480" y="415939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7" name="Freeform 316"/>
              <p:cNvSpPr>
                <a:spLocks noEditPoints="1"/>
              </p:cNvSpPr>
              <p:nvPr/>
            </p:nvSpPr>
            <p:spPr bwMode="auto">
              <a:xfrm>
                <a:off x="2704356" y="4159390"/>
                <a:ext cx="62501" cy="89224"/>
              </a:xfrm>
              <a:custGeom>
                <a:avLst/>
                <a:gdLst/>
                <a:ahLst/>
                <a:cxnLst>
                  <a:cxn ang="0">
                    <a:pos x="52" y="38"/>
                  </a:cxn>
                  <a:cxn ang="0">
                    <a:pos x="44" y="65"/>
                  </a:cxn>
                  <a:cxn ang="0">
                    <a:pos x="26" y="75"/>
                  </a:cxn>
                  <a:cxn ang="0">
                    <a:pos x="7" y="65"/>
                  </a:cxn>
                  <a:cxn ang="0">
                    <a:pos x="0" y="38"/>
                  </a:cxn>
                  <a:cxn ang="0">
                    <a:pos x="7" y="10"/>
                  </a:cxn>
                  <a:cxn ang="0">
                    <a:pos x="26" y="0"/>
                  </a:cxn>
                  <a:cxn ang="0">
                    <a:pos x="45" y="10"/>
                  </a:cxn>
                  <a:cxn ang="0">
                    <a:pos x="52" y="38"/>
                  </a:cxn>
                  <a:cxn ang="0">
                    <a:pos x="38" y="37"/>
                  </a:cxn>
                  <a:cxn ang="0">
                    <a:pos x="34" y="19"/>
                  </a:cxn>
                  <a:cxn ang="0">
                    <a:pos x="26" y="12"/>
                  </a:cxn>
                  <a:cxn ang="0">
                    <a:pos x="17" y="19"/>
                  </a:cxn>
                  <a:cxn ang="0">
                    <a:pos x="14" y="38"/>
                  </a:cxn>
                  <a:cxn ang="0">
                    <a:pos x="17" y="56"/>
                  </a:cxn>
                  <a:cxn ang="0">
                    <a:pos x="26" y="63"/>
                  </a:cxn>
                  <a:cxn ang="0">
                    <a:pos x="34" y="56"/>
                  </a:cxn>
                  <a:cxn ang="0">
                    <a:pos x="38" y="37"/>
                  </a:cxn>
                </a:cxnLst>
                <a:rect l="0" t="0" r="r" b="b"/>
                <a:pathLst>
                  <a:path w="52" h="75">
                    <a:moveTo>
                      <a:pt x="52" y="38"/>
                    </a:moveTo>
                    <a:cubicBezTo>
                      <a:pt x="52" y="49"/>
                      <a:pt x="49" y="58"/>
                      <a:pt x="44" y="65"/>
                    </a:cubicBezTo>
                    <a:cubicBezTo>
                      <a:pt x="40" y="72"/>
                      <a:pt x="33" y="75"/>
                      <a:pt x="26" y="75"/>
                    </a:cubicBezTo>
                    <a:cubicBezTo>
                      <a:pt x="18" y="75"/>
                      <a:pt x="12" y="72"/>
                      <a:pt x="7" y="65"/>
                    </a:cubicBezTo>
                    <a:cubicBezTo>
                      <a:pt x="2" y="58"/>
                      <a:pt x="0" y="49"/>
                      <a:pt x="0" y="38"/>
                    </a:cubicBezTo>
                    <a:cubicBezTo>
                      <a:pt x="0" y="26"/>
                      <a:pt x="2" y="17"/>
                      <a:pt x="7" y="10"/>
                    </a:cubicBezTo>
                    <a:cubicBezTo>
                      <a:pt x="12" y="3"/>
                      <a:pt x="18" y="0"/>
                      <a:pt x="26" y="0"/>
                    </a:cubicBezTo>
                    <a:cubicBezTo>
                      <a:pt x="34" y="0"/>
                      <a:pt x="40" y="3"/>
                      <a:pt x="45" y="10"/>
                    </a:cubicBezTo>
                    <a:cubicBezTo>
                      <a:pt x="49" y="17"/>
                      <a:pt x="52" y="26"/>
                      <a:pt x="52" y="38"/>
                    </a:cubicBezTo>
                    <a:close/>
                    <a:moveTo>
                      <a:pt x="38" y="37"/>
                    </a:moveTo>
                    <a:cubicBezTo>
                      <a:pt x="38" y="30"/>
                      <a:pt x="37" y="24"/>
                      <a:pt x="34" y="19"/>
                    </a:cubicBezTo>
                    <a:cubicBezTo>
                      <a:pt x="32" y="14"/>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4"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8" name="Freeform 317"/>
              <p:cNvSpPr>
                <a:spLocks noEditPoints="1"/>
              </p:cNvSpPr>
              <p:nvPr/>
            </p:nvSpPr>
            <p:spPr bwMode="auto">
              <a:xfrm>
                <a:off x="2771544" y="4159390"/>
                <a:ext cx="62501" cy="89224"/>
              </a:xfrm>
              <a:custGeom>
                <a:avLst/>
                <a:gdLst/>
                <a:ahLst/>
                <a:cxnLst>
                  <a:cxn ang="0">
                    <a:pos x="52" y="38"/>
                  </a:cxn>
                  <a:cxn ang="0">
                    <a:pos x="45" y="65"/>
                  </a:cxn>
                  <a:cxn ang="0">
                    <a:pos x="26" y="75"/>
                  </a:cxn>
                  <a:cxn ang="0">
                    <a:pos x="7" y="65"/>
                  </a:cxn>
                  <a:cxn ang="0">
                    <a:pos x="0" y="38"/>
                  </a:cxn>
                  <a:cxn ang="0">
                    <a:pos x="7" y="10"/>
                  </a:cxn>
                  <a:cxn ang="0">
                    <a:pos x="26" y="0"/>
                  </a:cxn>
                  <a:cxn ang="0">
                    <a:pos x="45" y="10"/>
                  </a:cxn>
                  <a:cxn ang="0">
                    <a:pos x="52" y="38"/>
                  </a:cxn>
                  <a:cxn ang="0">
                    <a:pos x="38" y="37"/>
                  </a:cxn>
                  <a:cxn ang="0">
                    <a:pos x="35" y="19"/>
                  </a:cxn>
                  <a:cxn ang="0">
                    <a:pos x="26" y="12"/>
                  </a:cxn>
                  <a:cxn ang="0">
                    <a:pos x="18" y="19"/>
                  </a:cxn>
                  <a:cxn ang="0">
                    <a:pos x="14" y="38"/>
                  </a:cxn>
                  <a:cxn ang="0">
                    <a:pos x="18" y="56"/>
                  </a:cxn>
                  <a:cxn ang="0">
                    <a:pos x="26" y="63"/>
                  </a:cxn>
                  <a:cxn ang="0">
                    <a:pos x="35" y="56"/>
                  </a:cxn>
                  <a:cxn ang="0">
                    <a:pos x="38" y="37"/>
                  </a:cxn>
                </a:cxnLst>
                <a:rect l="0" t="0" r="r" b="b"/>
                <a:pathLst>
                  <a:path w="52" h="75">
                    <a:moveTo>
                      <a:pt x="52" y="38"/>
                    </a:moveTo>
                    <a:cubicBezTo>
                      <a:pt x="52" y="49"/>
                      <a:pt x="50" y="58"/>
                      <a:pt x="45" y="65"/>
                    </a:cubicBezTo>
                    <a:cubicBezTo>
                      <a:pt x="40" y="72"/>
                      <a:pt x="34" y="75"/>
                      <a:pt x="26" y="75"/>
                    </a:cubicBezTo>
                    <a:cubicBezTo>
                      <a:pt x="18" y="75"/>
                      <a:pt x="12" y="72"/>
                      <a:pt x="7" y="65"/>
                    </a:cubicBezTo>
                    <a:cubicBezTo>
                      <a:pt x="3" y="58"/>
                      <a:pt x="0" y="49"/>
                      <a:pt x="0" y="38"/>
                    </a:cubicBezTo>
                    <a:cubicBezTo>
                      <a:pt x="0" y="26"/>
                      <a:pt x="3" y="17"/>
                      <a:pt x="7" y="10"/>
                    </a:cubicBezTo>
                    <a:cubicBezTo>
                      <a:pt x="12" y="3"/>
                      <a:pt x="18" y="0"/>
                      <a:pt x="26" y="0"/>
                    </a:cubicBezTo>
                    <a:cubicBezTo>
                      <a:pt x="34" y="0"/>
                      <a:pt x="40" y="3"/>
                      <a:pt x="45" y="10"/>
                    </a:cubicBezTo>
                    <a:cubicBezTo>
                      <a:pt x="50" y="17"/>
                      <a:pt x="52" y="26"/>
                      <a:pt x="52" y="38"/>
                    </a:cubicBezTo>
                    <a:close/>
                    <a:moveTo>
                      <a:pt x="38" y="37"/>
                    </a:moveTo>
                    <a:cubicBezTo>
                      <a:pt x="38" y="30"/>
                      <a:pt x="37" y="24"/>
                      <a:pt x="35" y="19"/>
                    </a:cubicBezTo>
                    <a:cubicBezTo>
                      <a:pt x="33" y="14"/>
                      <a:pt x="30" y="12"/>
                      <a:pt x="26" y="12"/>
                    </a:cubicBezTo>
                    <a:cubicBezTo>
                      <a:pt x="23" y="12"/>
                      <a:pt x="20" y="15"/>
                      <a:pt x="18" y="19"/>
                    </a:cubicBezTo>
                    <a:cubicBezTo>
                      <a:pt x="15" y="24"/>
                      <a:pt x="14" y="30"/>
                      <a:pt x="14" y="38"/>
                    </a:cubicBezTo>
                    <a:cubicBezTo>
                      <a:pt x="14" y="45"/>
                      <a:pt x="15" y="51"/>
                      <a:pt x="18" y="56"/>
                    </a:cubicBezTo>
                    <a:cubicBezTo>
                      <a:pt x="20" y="61"/>
                      <a:pt x="23" y="63"/>
                      <a:pt x="26" y="63"/>
                    </a:cubicBezTo>
                    <a:cubicBezTo>
                      <a:pt x="30" y="63"/>
                      <a:pt x="33" y="61"/>
                      <a:pt x="35"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9" name="Freeform 318"/>
              <p:cNvSpPr>
                <a:spLocks/>
              </p:cNvSpPr>
              <p:nvPr/>
            </p:nvSpPr>
            <p:spPr bwMode="auto">
              <a:xfrm>
                <a:off x="2835608" y="415939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400" name="Freeform 319"/>
              <p:cNvSpPr>
                <a:spLocks noEditPoints="1"/>
              </p:cNvSpPr>
              <p:nvPr/>
            </p:nvSpPr>
            <p:spPr bwMode="auto">
              <a:xfrm>
                <a:off x="2882484" y="4159390"/>
                <a:ext cx="62501" cy="89224"/>
              </a:xfrm>
              <a:custGeom>
                <a:avLst/>
                <a:gdLst/>
                <a:ahLst/>
                <a:cxnLst>
                  <a:cxn ang="0">
                    <a:pos x="51" y="38"/>
                  </a:cxn>
                  <a:cxn ang="0">
                    <a:pos x="44" y="65"/>
                  </a:cxn>
                  <a:cxn ang="0">
                    <a:pos x="25" y="75"/>
                  </a:cxn>
                  <a:cxn ang="0">
                    <a:pos x="7" y="65"/>
                  </a:cxn>
                  <a:cxn ang="0">
                    <a:pos x="0" y="38"/>
                  </a:cxn>
                  <a:cxn ang="0">
                    <a:pos x="7" y="10"/>
                  </a:cxn>
                  <a:cxn ang="0">
                    <a:pos x="25" y="0"/>
                  </a:cxn>
                  <a:cxn ang="0">
                    <a:pos x="44" y="10"/>
                  </a:cxn>
                  <a:cxn ang="0">
                    <a:pos x="51" y="38"/>
                  </a:cxn>
                  <a:cxn ang="0">
                    <a:pos x="38" y="37"/>
                  </a:cxn>
                  <a:cxn ang="0">
                    <a:pos x="34" y="19"/>
                  </a:cxn>
                  <a:cxn ang="0">
                    <a:pos x="25" y="12"/>
                  </a:cxn>
                  <a:cxn ang="0">
                    <a:pos x="17" y="19"/>
                  </a:cxn>
                  <a:cxn ang="0">
                    <a:pos x="14" y="38"/>
                  </a:cxn>
                  <a:cxn ang="0">
                    <a:pos x="17" y="56"/>
                  </a:cxn>
                  <a:cxn ang="0">
                    <a:pos x="25" y="63"/>
                  </a:cxn>
                  <a:cxn ang="0">
                    <a:pos x="34" y="56"/>
                  </a:cxn>
                  <a:cxn ang="0">
                    <a:pos x="38" y="37"/>
                  </a:cxn>
                </a:cxnLst>
                <a:rect l="0" t="0" r="r" b="b"/>
                <a:pathLst>
                  <a:path w="51" h="75">
                    <a:moveTo>
                      <a:pt x="51" y="38"/>
                    </a:moveTo>
                    <a:cubicBezTo>
                      <a:pt x="51" y="49"/>
                      <a:pt x="49" y="58"/>
                      <a:pt x="44" y="65"/>
                    </a:cubicBezTo>
                    <a:cubicBezTo>
                      <a:pt x="40" y="72"/>
                      <a:pt x="33" y="75"/>
                      <a:pt x="25" y="75"/>
                    </a:cubicBezTo>
                    <a:cubicBezTo>
                      <a:pt x="18" y="75"/>
                      <a:pt x="11" y="72"/>
                      <a:pt x="7" y="65"/>
                    </a:cubicBezTo>
                    <a:cubicBezTo>
                      <a:pt x="2" y="58"/>
                      <a:pt x="0" y="49"/>
                      <a:pt x="0" y="38"/>
                    </a:cubicBezTo>
                    <a:cubicBezTo>
                      <a:pt x="0" y="26"/>
                      <a:pt x="2" y="17"/>
                      <a:pt x="7" y="10"/>
                    </a:cubicBezTo>
                    <a:cubicBezTo>
                      <a:pt x="11" y="3"/>
                      <a:pt x="18" y="0"/>
                      <a:pt x="25" y="0"/>
                    </a:cubicBezTo>
                    <a:cubicBezTo>
                      <a:pt x="33" y="0"/>
                      <a:pt x="40" y="3"/>
                      <a:pt x="44" y="10"/>
                    </a:cubicBezTo>
                    <a:cubicBezTo>
                      <a:pt x="49" y="17"/>
                      <a:pt x="51" y="26"/>
                      <a:pt x="51" y="38"/>
                    </a:cubicBezTo>
                    <a:close/>
                    <a:moveTo>
                      <a:pt x="38" y="37"/>
                    </a:moveTo>
                    <a:cubicBezTo>
                      <a:pt x="38" y="30"/>
                      <a:pt x="36" y="24"/>
                      <a:pt x="34" y="19"/>
                    </a:cubicBezTo>
                    <a:cubicBezTo>
                      <a:pt x="32" y="14"/>
                      <a:pt x="29" y="12"/>
                      <a:pt x="25" y="12"/>
                    </a:cubicBezTo>
                    <a:cubicBezTo>
                      <a:pt x="22" y="12"/>
                      <a:pt x="19" y="15"/>
                      <a:pt x="17" y="19"/>
                    </a:cubicBezTo>
                    <a:cubicBezTo>
                      <a:pt x="15" y="24"/>
                      <a:pt x="14" y="30"/>
                      <a:pt x="14" y="38"/>
                    </a:cubicBezTo>
                    <a:cubicBezTo>
                      <a:pt x="14" y="45"/>
                      <a:pt x="15" y="51"/>
                      <a:pt x="17" y="56"/>
                    </a:cubicBezTo>
                    <a:cubicBezTo>
                      <a:pt x="19" y="61"/>
                      <a:pt x="22" y="63"/>
                      <a:pt x="25" y="63"/>
                    </a:cubicBezTo>
                    <a:cubicBezTo>
                      <a:pt x="29" y="63"/>
                      <a:pt x="32" y="61"/>
                      <a:pt x="34" y="56"/>
                    </a:cubicBezTo>
                    <a:cubicBezTo>
                      <a:pt x="36"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401" name="Freeform 320"/>
              <p:cNvSpPr>
                <a:spLocks/>
              </p:cNvSpPr>
              <p:nvPr/>
            </p:nvSpPr>
            <p:spPr bwMode="auto">
              <a:xfrm>
                <a:off x="2944985" y="4159390"/>
                <a:ext cx="34376" cy="87659"/>
              </a:xfrm>
              <a:custGeom>
                <a:avLst/>
                <a:gdLst/>
                <a:ahLst/>
                <a:cxnLst>
                  <a:cxn ang="0">
                    <a:pos x="22" y="56"/>
                  </a:cxn>
                  <a:cxn ang="0">
                    <a:pos x="11" y="56"/>
                  </a:cxn>
                  <a:cxn ang="0">
                    <a:pos x="11" y="10"/>
                  </a:cxn>
                  <a:cxn ang="0">
                    <a:pos x="0" y="10"/>
                  </a:cxn>
                  <a:cxn ang="0">
                    <a:pos x="5" y="0"/>
                  </a:cxn>
                  <a:cxn ang="0">
                    <a:pos x="22" y="0"/>
                  </a:cxn>
                  <a:cxn ang="0">
                    <a:pos x="22" y="56"/>
                  </a:cxn>
                </a:cxnLst>
                <a:rect l="0" t="0" r="r" b="b"/>
                <a:pathLst>
                  <a:path w="22" h="56">
                    <a:moveTo>
                      <a:pt x="22" y="56"/>
                    </a:moveTo>
                    <a:lnTo>
                      <a:pt x="11" y="56"/>
                    </a:lnTo>
                    <a:lnTo>
                      <a:pt x="11" y="10"/>
                    </a:lnTo>
                    <a:lnTo>
                      <a:pt x="0" y="10"/>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402" name="Freeform 321"/>
              <p:cNvSpPr>
                <a:spLocks noEditPoints="1"/>
              </p:cNvSpPr>
              <p:nvPr/>
            </p:nvSpPr>
            <p:spPr bwMode="auto">
              <a:xfrm>
                <a:off x="2993423" y="4159390"/>
                <a:ext cx="62501" cy="89224"/>
              </a:xfrm>
              <a:custGeom>
                <a:avLst/>
                <a:gdLst/>
                <a:ahLst/>
                <a:cxnLst>
                  <a:cxn ang="0">
                    <a:pos x="52" y="38"/>
                  </a:cxn>
                  <a:cxn ang="0">
                    <a:pos x="44" y="65"/>
                  </a:cxn>
                  <a:cxn ang="0">
                    <a:pos x="26" y="75"/>
                  </a:cxn>
                  <a:cxn ang="0">
                    <a:pos x="7" y="65"/>
                  </a:cxn>
                  <a:cxn ang="0">
                    <a:pos x="0" y="38"/>
                  </a:cxn>
                  <a:cxn ang="0">
                    <a:pos x="7" y="10"/>
                  </a:cxn>
                  <a:cxn ang="0">
                    <a:pos x="26" y="0"/>
                  </a:cxn>
                  <a:cxn ang="0">
                    <a:pos x="45" y="10"/>
                  </a:cxn>
                  <a:cxn ang="0">
                    <a:pos x="52" y="38"/>
                  </a:cxn>
                  <a:cxn ang="0">
                    <a:pos x="38" y="37"/>
                  </a:cxn>
                  <a:cxn ang="0">
                    <a:pos x="34" y="19"/>
                  </a:cxn>
                  <a:cxn ang="0">
                    <a:pos x="26" y="12"/>
                  </a:cxn>
                  <a:cxn ang="0">
                    <a:pos x="17" y="19"/>
                  </a:cxn>
                  <a:cxn ang="0">
                    <a:pos x="14" y="38"/>
                  </a:cxn>
                  <a:cxn ang="0">
                    <a:pos x="17" y="56"/>
                  </a:cxn>
                  <a:cxn ang="0">
                    <a:pos x="26" y="63"/>
                  </a:cxn>
                  <a:cxn ang="0">
                    <a:pos x="34" y="56"/>
                  </a:cxn>
                  <a:cxn ang="0">
                    <a:pos x="38" y="37"/>
                  </a:cxn>
                </a:cxnLst>
                <a:rect l="0" t="0" r="r" b="b"/>
                <a:pathLst>
                  <a:path w="52" h="75">
                    <a:moveTo>
                      <a:pt x="52" y="38"/>
                    </a:moveTo>
                    <a:cubicBezTo>
                      <a:pt x="52" y="49"/>
                      <a:pt x="49" y="58"/>
                      <a:pt x="44" y="65"/>
                    </a:cubicBezTo>
                    <a:cubicBezTo>
                      <a:pt x="40" y="72"/>
                      <a:pt x="33" y="75"/>
                      <a:pt x="26" y="75"/>
                    </a:cubicBezTo>
                    <a:cubicBezTo>
                      <a:pt x="18" y="75"/>
                      <a:pt x="12" y="72"/>
                      <a:pt x="7" y="65"/>
                    </a:cubicBezTo>
                    <a:cubicBezTo>
                      <a:pt x="2" y="58"/>
                      <a:pt x="0" y="49"/>
                      <a:pt x="0" y="38"/>
                    </a:cubicBezTo>
                    <a:cubicBezTo>
                      <a:pt x="0" y="26"/>
                      <a:pt x="2" y="17"/>
                      <a:pt x="7" y="10"/>
                    </a:cubicBezTo>
                    <a:cubicBezTo>
                      <a:pt x="12" y="3"/>
                      <a:pt x="18" y="0"/>
                      <a:pt x="26" y="0"/>
                    </a:cubicBezTo>
                    <a:cubicBezTo>
                      <a:pt x="34" y="0"/>
                      <a:pt x="40" y="3"/>
                      <a:pt x="45" y="10"/>
                    </a:cubicBezTo>
                    <a:cubicBezTo>
                      <a:pt x="49" y="17"/>
                      <a:pt x="52" y="26"/>
                      <a:pt x="52" y="38"/>
                    </a:cubicBezTo>
                    <a:close/>
                    <a:moveTo>
                      <a:pt x="38" y="37"/>
                    </a:moveTo>
                    <a:cubicBezTo>
                      <a:pt x="38" y="30"/>
                      <a:pt x="37" y="24"/>
                      <a:pt x="34" y="19"/>
                    </a:cubicBezTo>
                    <a:cubicBezTo>
                      <a:pt x="32" y="14"/>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4"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403" name="Freeform 322"/>
              <p:cNvSpPr>
                <a:spLocks/>
              </p:cNvSpPr>
              <p:nvPr/>
            </p:nvSpPr>
            <p:spPr bwMode="auto">
              <a:xfrm>
                <a:off x="3057486" y="415939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404" name="Freeform 323"/>
              <p:cNvSpPr>
                <a:spLocks/>
              </p:cNvSpPr>
              <p:nvPr/>
            </p:nvSpPr>
            <p:spPr bwMode="auto">
              <a:xfrm>
                <a:off x="3098112" y="415939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grpSp>
        <p:sp>
          <p:nvSpPr>
            <p:cNvPr id="431" name="Right Arrow 430"/>
            <p:cNvSpPr/>
            <p:nvPr/>
          </p:nvSpPr>
          <p:spPr>
            <a:xfrm rot="5400000">
              <a:off x="4596424" y="2103395"/>
              <a:ext cx="1036557" cy="312517"/>
            </a:xfrm>
            <a:prstGeom prst="rightArrow">
              <a:avLst>
                <a:gd name="adj1" fmla="val 42593"/>
                <a:gd name="adj2" fmla="val 87037"/>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微软雅黑" pitchFamily="34" charset="-122"/>
                <a:ea typeface="微软雅黑" pitchFamily="34" charset="-122"/>
              </a:endParaRPr>
            </a:p>
          </p:txBody>
        </p:sp>
        <p:grpSp>
          <p:nvGrpSpPr>
            <p:cNvPr id="265" name="Group 264"/>
            <p:cNvGrpSpPr/>
            <p:nvPr/>
          </p:nvGrpSpPr>
          <p:grpSpPr>
            <a:xfrm>
              <a:off x="4592950" y="1949920"/>
              <a:ext cx="1043504" cy="321946"/>
              <a:chOff x="161386" y="1052961"/>
              <a:chExt cx="314542" cy="387627"/>
            </a:xfrm>
          </p:grpSpPr>
          <p:sp>
            <p:nvSpPr>
              <p:cNvPr id="266" name="Round Diagonal Corner Rectangle 265"/>
              <p:cNvSpPr/>
              <p:nvPr/>
            </p:nvSpPr>
            <p:spPr>
              <a:xfrm flipV="1">
                <a:off x="171035" y="1052961"/>
                <a:ext cx="291924" cy="387627"/>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00" dirty="0">
                  <a:latin typeface="微软雅黑" pitchFamily="34" charset="-122"/>
                  <a:ea typeface="微软雅黑" pitchFamily="34" charset="-122"/>
                </a:endParaRPr>
              </a:p>
            </p:txBody>
          </p:sp>
          <p:sp>
            <p:nvSpPr>
              <p:cNvPr id="267" name="Round Diagonal Corner Rectangle 266"/>
              <p:cNvSpPr/>
              <p:nvPr/>
            </p:nvSpPr>
            <p:spPr>
              <a:xfrm>
                <a:off x="161386" y="1052962"/>
                <a:ext cx="314542" cy="387626"/>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2300" dirty="0">
                    <a:latin typeface="微软雅黑" pitchFamily="34" charset="-122"/>
                    <a:ea typeface="微软雅黑" pitchFamily="34" charset="-122"/>
                  </a:rPr>
                  <a:t>发现</a:t>
                </a:r>
                <a:endParaRPr lang="en-US" sz="2300" dirty="0">
                  <a:latin typeface="微软雅黑" pitchFamily="34" charset="-122"/>
                  <a:ea typeface="微软雅黑" pitchFamily="34" charset="-122"/>
                </a:endParaRPr>
              </a:p>
            </p:txBody>
          </p:sp>
        </p:grpSp>
      </p:grpSp>
      <p:sp>
        <p:nvSpPr>
          <p:cNvPr id="3" name="Title 2"/>
          <p:cNvSpPr>
            <a:spLocks noGrp="1"/>
          </p:cNvSpPr>
          <p:nvPr>
            <p:ph type="title"/>
          </p:nvPr>
        </p:nvSpPr>
        <p:spPr>
          <a:xfrm>
            <a:off x="470676" y="334314"/>
            <a:ext cx="12513487" cy="612817"/>
          </a:xfrm>
        </p:spPr>
        <p:txBody>
          <a:bodyPr/>
          <a:lstStyle/>
          <a:p>
            <a:r>
              <a:rPr lang="zh-CN" altLang="en-US" dirty="0" smtClean="0">
                <a:solidFill>
                  <a:srgbClr val="C00000"/>
                </a:solidFill>
                <a:latin typeface="微软雅黑" pitchFamily="34" charset="-122"/>
                <a:ea typeface="微软雅黑" pitchFamily="34" charset="-122"/>
              </a:rPr>
              <a:t>新型的信息安全攻击</a:t>
            </a:r>
            <a:endParaRPr lang="en-US" b="0" dirty="0">
              <a:solidFill>
                <a:srgbClr val="C00000"/>
              </a:solidFill>
              <a:latin typeface="微软雅黑" pitchFamily="34" charset="-122"/>
              <a:ea typeface="微软雅黑" pitchFamily="34" charset="-122"/>
            </a:endParaRPr>
          </a:p>
        </p:txBody>
      </p:sp>
      <p:sp>
        <p:nvSpPr>
          <p:cNvPr id="428" name="Freeform 575"/>
          <p:cNvSpPr>
            <a:spLocks noEditPoints="1"/>
          </p:cNvSpPr>
          <p:nvPr/>
        </p:nvSpPr>
        <p:spPr bwMode="auto">
          <a:xfrm>
            <a:off x="8350556" y="4476947"/>
            <a:ext cx="1053058" cy="2129222"/>
          </a:xfrm>
          <a:custGeom>
            <a:avLst/>
            <a:gdLst>
              <a:gd name="T0" fmla="*/ 156 w 180"/>
              <a:gd name="T1" fmla="*/ 0 h 364"/>
              <a:gd name="T2" fmla="*/ 0 w 180"/>
              <a:gd name="T3" fmla="*/ 0 h 364"/>
              <a:gd name="T4" fmla="*/ 0 w 180"/>
              <a:gd name="T5" fmla="*/ 340 h 364"/>
              <a:gd name="T6" fmla="*/ 24 w 180"/>
              <a:gd name="T7" fmla="*/ 364 h 364"/>
              <a:gd name="T8" fmla="*/ 180 w 180"/>
              <a:gd name="T9" fmla="*/ 364 h 364"/>
              <a:gd name="T10" fmla="*/ 180 w 180"/>
              <a:gd name="T11" fmla="*/ 24 h 364"/>
              <a:gd name="T12" fmla="*/ 156 w 180"/>
              <a:gd name="T13" fmla="*/ 0 h 364"/>
              <a:gd name="T14" fmla="*/ 76 w 180"/>
              <a:gd name="T15" fmla="*/ 292 h 364"/>
              <a:gd name="T16" fmla="*/ 28 w 180"/>
              <a:gd name="T17" fmla="*/ 292 h 364"/>
              <a:gd name="T18" fmla="*/ 28 w 180"/>
              <a:gd name="T19" fmla="*/ 244 h 364"/>
              <a:gd name="T20" fmla="*/ 76 w 180"/>
              <a:gd name="T21" fmla="*/ 244 h 364"/>
              <a:gd name="T22" fmla="*/ 76 w 180"/>
              <a:gd name="T23" fmla="*/ 292 h 364"/>
              <a:gd name="T24" fmla="*/ 76 w 180"/>
              <a:gd name="T25" fmla="*/ 220 h 364"/>
              <a:gd name="T26" fmla="*/ 28 w 180"/>
              <a:gd name="T27" fmla="*/ 220 h 364"/>
              <a:gd name="T28" fmla="*/ 28 w 180"/>
              <a:gd name="T29" fmla="*/ 172 h 364"/>
              <a:gd name="T30" fmla="*/ 76 w 180"/>
              <a:gd name="T31" fmla="*/ 172 h 364"/>
              <a:gd name="T32" fmla="*/ 76 w 180"/>
              <a:gd name="T33" fmla="*/ 220 h 364"/>
              <a:gd name="T34" fmla="*/ 76 w 180"/>
              <a:gd name="T35" fmla="*/ 148 h 364"/>
              <a:gd name="T36" fmla="*/ 28 w 180"/>
              <a:gd name="T37" fmla="*/ 148 h 364"/>
              <a:gd name="T38" fmla="*/ 28 w 180"/>
              <a:gd name="T39" fmla="*/ 100 h 364"/>
              <a:gd name="T40" fmla="*/ 76 w 180"/>
              <a:gd name="T41" fmla="*/ 100 h 364"/>
              <a:gd name="T42" fmla="*/ 76 w 180"/>
              <a:gd name="T43" fmla="*/ 148 h 364"/>
              <a:gd name="T44" fmla="*/ 76 w 180"/>
              <a:gd name="T45" fmla="*/ 76 h 364"/>
              <a:gd name="T46" fmla="*/ 28 w 180"/>
              <a:gd name="T47" fmla="*/ 76 h 364"/>
              <a:gd name="T48" fmla="*/ 28 w 180"/>
              <a:gd name="T49" fmla="*/ 28 h 364"/>
              <a:gd name="T50" fmla="*/ 76 w 180"/>
              <a:gd name="T51" fmla="*/ 28 h 364"/>
              <a:gd name="T52" fmla="*/ 76 w 180"/>
              <a:gd name="T53" fmla="*/ 76 h 364"/>
              <a:gd name="T54" fmla="*/ 152 w 180"/>
              <a:gd name="T55" fmla="*/ 220 h 364"/>
              <a:gd name="T56" fmla="*/ 104 w 180"/>
              <a:gd name="T57" fmla="*/ 220 h 364"/>
              <a:gd name="T58" fmla="*/ 104 w 180"/>
              <a:gd name="T59" fmla="*/ 172 h 364"/>
              <a:gd name="T60" fmla="*/ 152 w 180"/>
              <a:gd name="T61" fmla="*/ 172 h 364"/>
              <a:gd name="T62" fmla="*/ 152 w 180"/>
              <a:gd name="T63" fmla="*/ 220 h 364"/>
              <a:gd name="T64" fmla="*/ 152 w 180"/>
              <a:gd name="T65" fmla="*/ 148 h 364"/>
              <a:gd name="T66" fmla="*/ 104 w 180"/>
              <a:gd name="T67" fmla="*/ 148 h 364"/>
              <a:gd name="T68" fmla="*/ 104 w 180"/>
              <a:gd name="T69" fmla="*/ 100 h 364"/>
              <a:gd name="T70" fmla="*/ 152 w 180"/>
              <a:gd name="T71" fmla="*/ 100 h 364"/>
              <a:gd name="T72" fmla="*/ 152 w 180"/>
              <a:gd name="T73" fmla="*/ 148 h 364"/>
              <a:gd name="T74" fmla="*/ 152 w 180"/>
              <a:gd name="T75" fmla="*/ 76 h 364"/>
              <a:gd name="T76" fmla="*/ 104 w 180"/>
              <a:gd name="T77" fmla="*/ 76 h 364"/>
              <a:gd name="T78" fmla="*/ 104 w 180"/>
              <a:gd name="T79" fmla="*/ 28 h 364"/>
              <a:gd name="T80" fmla="*/ 152 w 180"/>
              <a:gd name="T81" fmla="*/ 28 h 364"/>
              <a:gd name="T82" fmla="*/ 152 w 180"/>
              <a:gd name="T83" fmla="*/ 76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0" h="364">
                <a:moveTo>
                  <a:pt x="156" y="0"/>
                </a:moveTo>
                <a:cubicBezTo>
                  <a:pt x="0" y="0"/>
                  <a:pt x="0" y="0"/>
                  <a:pt x="0" y="0"/>
                </a:cubicBezTo>
                <a:cubicBezTo>
                  <a:pt x="0" y="340"/>
                  <a:pt x="0" y="340"/>
                  <a:pt x="0" y="340"/>
                </a:cubicBezTo>
                <a:cubicBezTo>
                  <a:pt x="0" y="353"/>
                  <a:pt x="10" y="364"/>
                  <a:pt x="24" y="364"/>
                </a:cubicBezTo>
                <a:cubicBezTo>
                  <a:pt x="180" y="364"/>
                  <a:pt x="180" y="364"/>
                  <a:pt x="180" y="364"/>
                </a:cubicBezTo>
                <a:cubicBezTo>
                  <a:pt x="180" y="24"/>
                  <a:pt x="180" y="24"/>
                  <a:pt x="180" y="24"/>
                </a:cubicBezTo>
                <a:cubicBezTo>
                  <a:pt x="180" y="11"/>
                  <a:pt x="169" y="0"/>
                  <a:pt x="156" y="0"/>
                </a:cubicBezTo>
                <a:moveTo>
                  <a:pt x="76" y="292"/>
                </a:moveTo>
                <a:cubicBezTo>
                  <a:pt x="28" y="292"/>
                  <a:pt x="28" y="292"/>
                  <a:pt x="28" y="292"/>
                </a:cubicBezTo>
                <a:cubicBezTo>
                  <a:pt x="28" y="244"/>
                  <a:pt x="28" y="244"/>
                  <a:pt x="28" y="244"/>
                </a:cubicBezTo>
                <a:cubicBezTo>
                  <a:pt x="76" y="244"/>
                  <a:pt x="76" y="244"/>
                  <a:pt x="76" y="244"/>
                </a:cubicBezTo>
                <a:lnTo>
                  <a:pt x="76" y="292"/>
                </a:lnTo>
                <a:close/>
                <a:moveTo>
                  <a:pt x="76" y="220"/>
                </a:moveTo>
                <a:cubicBezTo>
                  <a:pt x="28" y="220"/>
                  <a:pt x="28" y="220"/>
                  <a:pt x="28" y="220"/>
                </a:cubicBezTo>
                <a:cubicBezTo>
                  <a:pt x="28" y="172"/>
                  <a:pt x="28" y="172"/>
                  <a:pt x="28" y="172"/>
                </a:cubicBezTo>
                <a:cubicBezTo>
                  <a:pt x="76" y="172"/>
                  <a:pt x="76" y="172"/>
                  <a:pt x="76" y="172"/>
                </a:cubicBezTo>
                <a:lnTo>
                  <a:pt x="76" y="220"/>
                </a:lnTo>
                <a:close/>
                <a:moveTo>
                  <a:pt x="76" y="148"/>
                </a:moveTo>
                <a:cubicBezTo>
                  <a:pt x="28" y="148"/>
                  <a:pt x="28" y="148"/>
                  <a:pt x="28" y="148"/>
                </a:cubicBezTo>
                <a:cubicBezTo>
                  <a:pt x="28" y="100"/>
                  <a:pt x="28" y="100"/>
                  <a:pt x="28" y="100"/>
                </a:cubicBezTo>
                <a:cubicBezTo>
                  <a:pt x="76" y="100"/>
                  <a:pt x="76" y="100"/>
                  <a:pt x="76" y="100"/>
                </a:cubicBezTo>
                <a:lnTo>
                  <a:pt x="76" y="148"/>
                </a:lnTo>
                <a:close/>
                <a:moveTo>
                  <a:pt x="76" y="76"/>
                </a:moveTo>
                <a:cubicBezTo>
                  <a:pt x="28" y="76"/>
                  <a:pt x="28" y="76"/>
                  <a:pt x="28" y="76"/>
                </a:cubicBezTo>
                <a:cubicBezTo>
                  <a:pt x="28" y="28"/>
                  <a:pt x="28" y="28"/>
                  <a:pt x="28" y="28"/>
                </a:cubicBezTo>
                <a:cubicBezTo>
                  <a:pt x="76" y="28"/>
                  <a:pt x="76" y="28"/>
                  <a:pt x="76" y="28"/>
                </a:cubicBezTo>
                <a:lnTo>
                  <a:pt x="76" y="76"/>
                </a:lnTo>
                <a:close/>
                <a:moveTo>
                  <a:pt x="152" y="220"/>
                </a:moveTo>
                <a:cubicBezTo>
                  <a:pt x="104" y="220"/>
                  <a:pt x="104" y="220"/>
                  <a:pt x="104" y="220"/>
                </a:cubicBezTo>
                <a:cubicBezTo>
                  <a:pt x="104" y="172"/>
                  <a:pt x="104" y="172"/>
                  <a:pt x="104" y="172"/>
                </a:cubicBezTo>
                <a:cubicBezTo>
                  <a:pt x="152" y="172"/>
                  <a:pt x="152" y="172"/>
                  <a:pt x="152" y="172"/>
                </a:cubicBezTo>
                <a:lnTo>
                  <a:pt x="152" y="220"/>
                </a:lnTo>
                <a:close/>
                <a:moveTo>
                  <a:pt x="152" y="148"/>
                </a:moveTo>
                <a:cubicBezTo>
                  <a:pt x="104" y="148"/>
                  <a:pt x="104" y="148"/>
                  <a:pt x="104" y="148"/>
                </a:cubicBezTo>
                <a:cubicBezTo>
                  <a:pt x="104" y="100"/>
                  <a:pt x="104" y="100"/>
                  <a:pt x="104" y="100"/>
                </a:cubicBezTo>
                <a:cubicBezTo>
                  <a:pt x="152" y="100"/>
                  <a:pt x="152" y="100"/>
                  <a:pt x="152" y="100"/>
                </a:cubicBezTo>
                <a:lnTo>
                  <a:pt x="152" y="148"/>
                </a:lnTo>
                <a:close/>
                <a:moveTo>
                  <a:pt x="152" y="76"/>
                </a:moveTo>
                <a:cubicBezTo>
                  <a:pt x="104" y="76"/>
                  <a:pt x="104" y="76"/>
                  <a:pt x="104" y="76"/>
                </a:cubicBezTo>
                <a:cubicBezTo>
                  <a:pt x="104" y="28"/>
                  <a:pt x="104" y="28"/>
                  <a:pt x="104" y="28"/>
                </a:cubicBezTo>
                <a:cubicBezTo>
                  <a:pt x="152" y="28"/>
                  <a:pt x="152" y="28"/>
                  <a:pt x="152" y="28"/>
                </a:cubicBezTo>
                <a:lnTo>
                  <a:pt x="152" y="76"/>
                </a:lnTo>
                <a:close/>
              </a:path>
            </a:pathLst>
          </a:custGeom>
          <a:solidFill>
            <a:schemeClr val="accent4">
              <a:lumMod val="40000"/>
              <a:lumOff val="60000"/>
            </a:schemeClr>
          </a:solidFill>
          <a:ln>
            <a:noFill/>
          </a:ln>
        </p:spPr>
        <p:txBody>
          <a:bodyPr vert="horz" wrap="square" lIns="129909" tIns="64954" rIns="129909" bIns="64954" numCol="1" anchor="t" anchorCtr="0" compatLnSpc="1">
            <a:prstTxWarp prst="textNoShape">
              <a:avLst/>
            </a:prstTxWarp>
          </a:bodyPr>
          <a:lstStyle/>
          <a:p>
            <a:endParaRPr lang="en-US">
              <a:latin typeface="微软雅黑" pitchFamily="34" charset="-122"/>
              <a:ea typeface="微软雅黑" pitchFamily="34" charset="-122"/>
            </a:endParaRPr>
          </a:p>
        </p:txBody>
      </p:sp>
      <p:grpSp>
        <p:nvGrpSpPr>
          <p:cNvPr id="6" name="Group 5"/>
          <p:cNvGrpSpPr/>
          <p:nvPr/>
        </p:nvGrpSpPr>
        <p:grpSpPr>
          <a:xfrm>
            <a:off x="3000810" y="1414046"/>
            <a:ext cx="1481740" cy="1221955"/>
            <a:chOff x="2113298" y="994251"/>
            <a:chExt cx="1043504" cy="859187"/>
          </a:xfrm>
        </p:grpSpPr>
        <p:grpSp>
          <p:nvGrpSpPr>
            <p:cNvPr id="405" name="Group 404"/>
            <p:cNvGrpSpPr/>
            <p:nvPr/>
          </p:nvGrpSpPr>
          <p:grpSpPr>
            <a:xfrm>
              <a:off x="2113298" y="994251"/>
              <a:ext cx="1043504" cy="321946"/>
              <a:chOff x="161386" y="954156"/>
              <a:chExt cx="314542" cy="387627"/>
            </a:xfrm>
          </p:grpSpPr>
          <p:sp>
            <p:nvSpPr>
              <p:cNvPr id="406" name="Round Diagonal Corner Rectangle 405"/>
              <p:cNvSpPr/>
              <p:nvPr/>
            </p:nvSpPr>
            <p:spPr>
              <a:xfrm flipV="1">
                <a:off x="171035" y="954156"/>
                <a:ext cx="291924" cy="387626"/>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00" dirty="0">
                  <a:latin typeface="微软雅黑" pitchFamily="34" charset="-122"/>
                  <a:ea typeface="微软雅黑" pitchFamily="34" charset="-122"/>
                </a:endParaRPr>
              </a:p>
            </p:txBody>
          </p:sp>
          <p:sp>
            <p:nvSpPr>
              <p:cNvPr id="407" name="Round Diagonal Corner Rectangle 406"/>
              <p:cNvSpPr/>
              <p:nvPr/>
            </p:nvSpPr>
            <p:spPr>
              <a:xfrm>
                <a:off x="161386" y="954157"/>
                <a:ext cx="314542" cy="387626"/>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2300" dirty="0">
                    <a:latin typeface="微软雅黑" pitchFamily="34" charset="-122"/>
                    <a:ea typeface="微软雅黑" pitchFamily="34" charset="-122"/>
                  </a:rPr>
                  <a:t>搜索</a:t>
                </a:r>
                <a:endParaRPr lang="en-US" sz="2300" dirty="0">
                  <a:latin typeface="微软雅黑" pitchFamily="34" charset="-122"/>
                  <a:ea typeface="微软雅黑" pitchFamily="34" charset="-122"/>
                </a:endParaRPr>
              </a:p>
            </p:txBody>
          </p:sp>
        </p:grpSp>
        <p:sp>
          <p:nvSpPr>
            <p:cNvPr id="422" name="Freeform 248"/>
            <p:cNvSpPr>
              <a:spLocks noEditPoints="1"/>
            </p:cNvSpPr>
            <p:nvPr/>
          </p:nvSpPr>
          <p:spPr bwMode="auto">
            <a:xfrm>
              <a:off x="2246142" y="1370083"/>
              <a:ext cx="492004" cy="483355"/>
            </a:xfrm>
            <a:custGeom>
              <a:avLst/>
              <a:gdLst>
                <a:gd name="T0" fmla="*/ 136 w 216"/>
                <a:gd name="T1" fmla="*/ 134 h 212"/>
                <a:gd name="T2" fmla="*/ 116 w 216"/>
                <a:gd name="T3" fmla="*/ 130 h 212"/>
                <a:gd name="T4" fmla="*/ 87 w 216"/>
                <a:gd name="T5" fmla="*/ 101 h 212"/>
                <a:gd name="T6" fmla="*/ 83 w 216"/>
                <a:gd name="T7" fmla="*/ 81 h 212"/>
                <a:gd name="T8" fmla="*/ 136 w 216"/>
                <a:gd name="T9" fmla="*/ 28 h 212"/>
                <a:gd name="T10" fmla="*/ 189 w 216"/>
                <a:gd name="T11" fmla="*/ 81 h 212"/>
                <a:gd name="T12" fmla="*/ 136 w 216"/>
                <a:gd name="T13" fmla="*/ 134 h 212"/>
                <a:gd name="T14" fmla="*/ 136 w 216"/>
                <a:gd name="T15" fmla="*/ 0 h 212"/>
                <a:gd name="T16" fmla="*/ 56 w 216"/>
                <a:gd name="T17" fmla="*/ 81 h 212"/>
                <a:gd name="T18" fmla="*/ 67 w 216"/>
                <a:gd name="T19" fmla="*/ 121 h 212"/>
                <a:gd name="T20" fmla="*/ 15 w 216"/>
                <a:gd name="T21" fmla="*/ 173 h 212"/>
                <a:gd name="T22" fmla="*/ 15 w 216"/>
                <a:gd name="T23" fmla="*/ 173 h 212"/>
                <a:gd name="T24" fmla="*/ 0 w 216"/>
                <a:gd name="T25" fmla="*/ 189 h 212"/>
                <a:gd name="T26" fmla="*/ 17 w 216"/>
                <a:gd name="T27" fmla="*/ 207 h 212"/>
                <a:gd name="T28" fmla="*/ 39 w 216"/>
                <a:gd name="T29" fmla="*/ 207 h 212"/>
                <a:gd name="T30" fmla="*/ 96 w 216"/>
                <a:gd name="T31" fmla="*/ 150 h 212"/>
                <a:gd name="T32" fmla="*/ 136 w 216"/>
                <a:gd name="T33" fmla="*/ 161 h 212"/>
                <a:gd name="T34" fmla="*/ 216 w 216"/>
                <a:gd name="T35" fmla="*/ 81 h 212"/>
                <a:gd name="T36" fmla="*/ 136 w 216"/>
                <a:gd name="T3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6" h="212">
                  <a:moveTo>
                    <a:pt x="136" y="134"/>
                  </a:moveTo>
                  <a:cubicBezTo>
                    <a:pt x="129" y="134"/>
                    <a:pt x="122" y="132"/>
                    <a:pt x="116" y="130"/>
                  </a:cubicBezTo>
                  <a:cubicBezTo>
                    <a:pt x="103" y="124"/>
                    <a:pt x="93" y="114"/>
                    <a:pt x="87" y="101"/>
                  </a:cubicBezTo>
                  <a:cubicBezTo>
                    <a:pt x="84" y="95"/>
                    <a:pt x="83" y="88"/>
                    <a:pt x="83" y="81"/>
                  </a:cubicBezTo>
                  <a:cubicBezTo>
                    <a:pt x="83" y="51"/>
                    <a:pt x="107" y="28"/>
                    <a:pt x="136" y="28"/>
                  </a:cubicBezTo>
                  <a:cubicBezTo>
                    <a:pt x="165" y="28"/>
                    <a:pt x="189" y="51"/>
                    <a:pt x="189" y="81"/>
                  </a:cubicBezTo>
                  <a:cubicBezTo>
                    <a:pt x="189" y="110"/>
                    <a:pt x="165" y="134"/>
                    <a:pt x="136" y="134"/>
                  </a:cubicBezTo>
                  <a:moveTo>
                    <a:pt x="136" y="0"/>
                  </a:moveTo>
                  <a:cubicBezTo>
                    <a:pt x="92" y="0"/>
                    <a:pt x="56" y="36"/>
                    <a:pt x="56" y="81"/>
                  </a:cubicBezTo>
                  <a:cubicBezTo>
                    <a:pt x="56" y="95"/>
                    <a:pt x="60" y="109"/>
                    <a:pt x="67" y="121"/>
                  </a:cubicBezTo>
                  <a:cubicBezTo>
                    <a:pt x="15" y="173"/>
                    <a:pt x="15" y="173"/>
                    <a:pt x="15" y="173"/>
                  </a:cubicBezTo>
                  <a:cubicBezTo>
                    <a:pt x="15" y="173"/>
                    <a:pt x="15" y="173"/>
                    <a:pt x="15" y="173"/>
                  </a:cubicBezTo>
                  <a:cubicBezTo>
                    <a:pt x="0" y="189"/>
                    <a:pt x="0" y="189"/>
                    <a:pt x="0" y="189"/>
                  </a:cubicBezTo>
                  <a:cubicBezTo>
                    <a:pt x="17" y="207"/>
                    <a:pt x="17" y="207"/>
                    <a:pt x="17" y="207"/>
                  </a:cubicBezTo>
                  <a:cubicBezTo>
                    <a:pt x="23" y="212"/>
                    <a:pt x="33" y="212"/>
                    <a:pt x="39" y="207"/>
                  </a:cubicBezTo>
                  <a:cubicBezTo>
                    <a:pt x="96" y="150"/>
                    <a:pt x="96" y="150"/>
                    <a:pt x="96" y="150"/>
                  </a:cubicBezTo>
                  <a:cubicBezTo>
                    <a:pt x="108" y="157"/>
                    <a:pt x="121" y="161"/>
                    <a:pt x="136" y="161"/>
                  </a:cubicBezTo>
                  <a:cubicBezTo>
                    <a:pt x="180" y="161"/>
                    <a:pt x="216" y="125"/>
                    <a:pt x="216" y="81"/>
                  </a:cubicBezTo>
                  <a:cubicBezTo>
                    <a:pt x="216" y="36"/>
                    <a:pt x="180" y="0"/>
                    <a:pt x="136" y="0"/>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nvGrpSpPr>
          <p:cNvPr id="432" name="Group 431"/>
          <p:cNvGrpSpPr/>
          <p:nvPr/>
        </p:nvGrpSpPr>
        <p:grpSpPr>
          <a:xfrm>
            <a:off x="3055350" y="5170062"/>
            <a:ext cx="1004809" cy="1200649"/>
            <a:chOff x="4008438" y="1887538"/>
            <a:chExt cx="1135063" cy="1354138"/>
          </a:xfrm>
          <a:solidFill>
            <a:srgbClr val="000000"/>
          </a:solidFill>
        </p:grpSpPr>
        <p:sp>
          <p:nvSpPr>
            <p:cNvPr id="433" name="Oval 796"/>
            <p:cNvSpPr>
              <a:spLocks noChangeArrowheads="1"/>
            </p:cNvSpPr>
            <p:nvPr/>
          </p:nvSpPr>
          <p:spPr bwMode="auto">
            <a:xfrm>
              <a:off x="4094163" y="2252663"/>
              <a:ext cx="184150" cy="195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34" name="Freeform 797"/>
            <p:cNvSpPr>
              <a:spLocks/>
            </p:cNvSpPr>
            <p:nvPr/>
          </p:nvSpPr>
          <p:spPr bwMode="auto">
            <a:xfrm>
              <a:off x="4008438" y="2478088"/>
              <a:ext cx="357188" cy="665163"/>
            </a:xfrm>
            <a:custGeom>
              <a:avLst/>
              <a:gdLst>
                <a:gd name="T0" fmla="*/ 75 w 95"/>
                <a:gd name="T1" fmla="*/ 0 h 177"/>
                <a:gd name="T2" fmla="*/ 48 w 95"/>
                <a:gd name="T3" fmla="*/ 0 h 177"/>
                <a:gd name="T4" fmla="*/ 20 w 95"/>
                <a:gd name="T5" fmla="*/ 0 h 177"/>
                <a:gd name="T6" fmla="*/ 0 w 95"/>
                <a:gd name="T7" fmla="*/ 21 h 177"/>
                <a:gd name="T8" fmla="*/ 0 w 95"/>
                <a:gd name="T9" fmla="*/ 24 h 177"/>
                <a:gd name="T10" fmla="*/ 0 w 95"/>
                <a:gd name="T11" fmla="*/ 40 h 177"/>
                <a:gd name="T12" fmla="*/ 0 w 95"/>
                <a:gd name="T13" fmla="*/ 55 h 177"/>
                <a:gd name="T14" fmla="*/ 0 w 95"/>
                <a:gd name="T15" fmla="*/ 83 h 177"/>
                <a:gd name="T16" fmla="*/ 0 w 95"/>
                <a:gd name="T17" fmla="*/ 83 h 177"/>
                <a:gd name="T18" fmla="*/ 8 w 95"/>
                <a:gd name="T19" fmla="*/ 91 h 177"/>
                <a:gd name="T20" fmla="*/ 16 w 95"/>
                <a:gd name="T21" fmla="*/ 84 h 177"/>
                <a:gd name="T22" fmla="*/ 16 w 95"/>
                <a:gd name="T23" fmla="*/ 83 h 177"/>
                <a:gd name="T24" fmla="*/ 16 w 95"/>
                <a:gd name="T25" fmla="*/ 27 h 177"/>
                <a:gd name="T26" fmla="*/ 18 w 95"/>
                <a:gd name="T27" fmla="*/ 25 h 177"/>
                <a:gd name="T28" fmla="*/ 20 w 95"/>
                <a:gd name="T29" fmla="*/ 27 h 177"/>
                <a:gd name="T30" fmla="*/ 20 w 95"/>
                <a:gd name="T31" fmla="*/ 87 h 177"/>
                <a:gd name="T32" fmla="*/ 20 w 95"/>
                <a:gd name="T33" fmla="*/ 95 h 177"/>
                <a:gd name="T34" fmla="*/ 20 w 95"/>
                <a:gd name="T35" fmla="*/ 96 h 177"/>
                <a:gd name="T36" fmla="*/ 20 w 95"/>
                <a:gd name="T37" fmla="*/ 96 h 177"/>
                <a:gd name="T38" fmla="*/ 26 w 95"/>
                <a:gd name="T39" fmla="*/ 163 h 177"/>
                <a:gd name="T40" fmla="*/ 40 w 95"/>
                <a:gd name="T41" fmla="*/ 177 h 177"/>
                <a:gd name="T42" fmla="*/ 48 w 95"/>
                <a:gd name="T43" fmla="*/ 177 h 177"/>
                <a:gd name="T44" fmla="*/ 55 w 95"/>
                <a:gd name="T45" fmla="*/ 177 h 177"/>
                <a:gd name="T46" fmla="*/ 69 w 95"/>
                <a:gd name="T47" fmla="*/ 163 h 177"/>
                <a:gd name="T48" fmla="*/ 75 w 95"/>
                <a:gd name="T49" fmla="*/ 96 h 177"/>
                <a:gd name="T50" fmla="*/ 75 w 95"/>
                <a:gd name="T51" fmla="*/ 96 h 177"/>
                <a:gd name="T52" fmla="*/ 75 w 95"/>
                <a:gd name="T53" fmla="*/ 95 h 177"/>
                <a:gd name="T54" fmla="*/ 75 w 95"/>
                <a:gd name="T55" fmla="*/ 87 h 177"/>
                <a:gd name="T56" fmla="*/ 75 w 95"/>
                <a:gd name="T57" fmla="*/ 27 h 177"/>
                <a:gd name="T58" fmla="*/ 77 w 95"/>
                <a:gd name="T59" fmla="*/ 25 h 177"/>
                <a:gd name="T60" fmla="*/ 79 w 95"/>
                <a:gd name="T61" fmla="*/ 27 h 177"/>
                <a:gd name="T62" fmla="*/ 79 w 95"/>
                <a:gd name="T63" fmla="*/ 83 h 177"/>
                <a:gd name="T64" fmla="*/ 79 w 95"/>
                <a:gd name="T65" fmla="*/ 84 h 177"/>
                <a:gd name="T66" fmla="*/ 87 w 95"/>
                <a:gd name="T67" fmla="*/ 91 h 177"/>
                <a:gd name="T68" fmla="*/ 95 w 95"/>
                <a:gd name="T69" fmla="*/ 83 h 177"/>
                <a:gd name="T70" fmla="*/ 95 w 95"/>
                <a:gd name="T71" fmla="*/ 83 h 177"/>
                <a:gd name="T72" fmla="*/ 95 w 95"/>
                <a:gd name="T73" fmla="*/ 40 h 177"/>
                <a:gd name="T74" fmla="*/ 95 w 95"/>
                <a:gd name="T75" fmla="*/ 24 h 177"/>
                <a:gd name="T76" fmla="*/ 95 w 95"/>
                <a:gd name="T77" fmla="*/ 21 h 177"/>
                <a:gd name="T78" fmla="*/ 75 w 95"/>
                <a:gd name="T79"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5" h="177">
                  <a:moveTo>
                    <a:pt x="75" y="0"/>
                  </a:moveTo>
                  <a:cubicBezTo>
                    <a:pt x="48" y="0"/>
                    <a:pt x="48" y="0"/>
                    <a:pt x="48" y="0"/>
                  </a:cubicBezTo>
                  <a:cubicBezTo>
                    <a:pt x="20" y="0"/>
                    <a:pt x="20" y="0"/>
                    <a:pt x="20" y="0"/>
                  </a:cubicBezTo>
                  <a:cubicBezTo>
                    <a:pt x="7" y="0"/>
                    <a:pt x="0" y="6"/>
                    <a:pt x="0" y="21"/>
                  </a:cubicBezTo>
                  <a:cubicBezTo>
                    <a:pt x="0" y="24"/>
                    <a:pt x="0" y="24"/>
                    <a:pt x="0" y="24"/>
                  </a:cubicBezTo>
                  <a:cubicBezTo>
                    <a:pt x="0" y="40"/>
                    <a:pt x="0" y="40"/>
                    <a:pt x="0" y="40"/>
                  </a:cubicBezTo>
                  <a:cubicBezTo>
                    <a:pt x="0" y="55"/>
                    <a:pt x="0" y="55"/>
                    <a:pt x="0" y="55"/>
                  </a:cubicBezTo>
                  <a:cubicBezTo>
                    <a:pt x="0" y="83"/>
                    <a:pt x="0" y="83"/>
                    <a:pt x="0" y="83"/>
                  </a:cubicBezTo>
                  <a:cubicBezTo>
                    <a:pt x="0" y="83"/>
                    <a:pt x="0" y="83"/>
                    <a:pt x="0" y="83"/>
                  </a:cubicBezTo>
                  <a:cubicBezTo>
                    <a:pt x="0" y="88"/>
                    <a:pt x="4" y="91"/>
                    <a:pt x="8" y="91"/>
                  </a:cubicBezTo>
                  <a:cubicBezTo>
                    <a:pt x="12" y="91"/>
                    <a:pt x="15" y="88"/>
                    <a:pt x="16" y="84"/>
                  </a:cubicBezTo>
                  <a:cubicBezTo>
                    <a:pt x="16" y="84"/>
                    <a:pt x="16" y="84"/>
                    <a:pt x="16" y="83"/>
                  </a:cubicBezTo>
                  <a:cubicBezTo>
                    <a:pt x="16" y="27"/>
                    <a:pt x="16" y="27"/>
                    <a:pt x="16" y="27"/>
                  </a:cubicBezTo>
                  <a:cubicBezTo>
                    <a:pt x="16" y="26"/>
                    <a:pt x="17" y="25"/>
                    <a:pt x="18" y="25"/>
                  </a:cubicBezTo>
                  <a:cubicBezTo>
                    <a:pt x="19" y="25"/>
                    <a:pt x="20" y="26"/>
                    <a:pt x="20" y="27"/>
                  </a:cubicBezTo>
                  <a:cubicBezTo>
                    <a:pt x="20" y="87"/>
                    <a:pt x="20" y="87"/>
                    <a:pt x="20" y="87"/>
                  </a:cubicBezTo>
                  <a:cubicBezTo>
                    <a:pt x="20" y="87"/>
                    <a:pt x="20" y="92"/>
                    <a:pt x="20" y="95"/>
                  </a:cubicBezTo>
                  <a:cubicBezTo>
                    <a:pt x="20" y="96"/>
                    <a:pt x="20" y="96"/>
                    <a:pt x="20" y="96"/>
                  </a:cubicBezTo>
                  <a:cubicBezTo>
                    <a:pt x="20" y="96"/>
                    <a:pt x="20" y="96"/>
                    <a:pt x="20" y="96"/>
                  </a:cubicBezTo>
                  <a:cubicBezTo>
                    <a:pt x="26" y="163"/>
                    <a:pt x="26" y="163"/>
                    <a:pt x="26" y="163"/>
                  </a:cubicBezTo>
                  <a:cubicBezTo>
                    <a:pt x="27" y="173"/>
                    <a:pt x="31" y="177"/>
                    <a:pt x="40" y="177"/>
                  </a:cubicBezTo>
                  <a:cubicBezTo>
                    <a:pt x="48" y="177"/>
                    <a:pt x="48" y="177"/>
                    <a:pt x="48" y="177"/>
                  </a:cubicBezTo>
                  <a:cubicBezTo>
                    <a:pt x="55" y="177"/>
                    <a:pt x="55" y="177"/>
                    <a:pt x="55" y="177"/>
                  </a:cubicBezTo>
                  <a:cubicBezTo>
                    <a:pt x="64" y="177"/>
                    <a:pt x="68" y="173"/>
                    <a:pt x="69" y="163"/>
                  </a:cubicBezTo>
                  <a:cubicBezTo>
                    <a:pt x="75" y="96"/>
                    <a:pt x="75" y="96"/>
                    <a:pt x="75" y="96"/>
                  </a:cubicBezTo>
                  <a:cubicBezTo>
                    <a:pt x="75" y="96"/>
                    <a:pt x="75" y="96"/>
                    <a:pt x="75" y="96"/>
                  </a:cubicBezTo>
                  <a:cubicBezTo>
                    <a:pt x="75" y="95"/>
                    <a:pt x="75" y="95"/>
                    <a:pt x="75" y="95"/>
                  </a:cubicBezTo>
                  <a:cubicBezTo>
                    <a:pt x="75" y="92"/>
                    <a:pt x="75" y="87"/>
                    <a:pt x="75" y="87"/>
                  </a:cubicBezTo>
                  <a:cubicBezTo>
                    <a:pt x="75" y="27"/>
                    <a:pt x="75" y="27"/>
                    <a:pt x="75" y="27"/>
                  </a:cubicBezTo>
                  <a:cubicBezTo>
                    <a:pt x="75" y="26"/>
                    <a:pt x="76" y="25"/>
                    <a:pt x="77" y="25"/>
                  </a:cubicBezTo>
                  <a:cubicBezTo>
                    <a:pt x="78" y="25"/>
                    <a:pt x="79" y="26"/>
                    <a:pt x="79" y="27"/>
                  </a:cubicBezTo>
                  <a:cubicBezTo>
                    <a:pt x="79" y="83"/>
                    <a:pt x="79" y="83"/>
                    <a:pt x="79" y="83"/>
                  </a:cubicBezTo>
                  <a:cubicBezTo>
                    <a:pt x="79" y="84"/>
                    <a:pt x="79" y="84"/>
                    <a:pt x="79" y="84"/>
                  </a:cubicBezTo>
                  <a:cubicBezTo>
                    <a:pt x="80" y="88"/>
                    <a:pt x="83" y="91"/>
                    <a:pt x="87" y="91"/>
                  </a:cubicBezTo>
                  <a:cubicBezTo>
                    <a:pt x="91" y="91"/>
                    <a:pt x="95" y="88"/>
                    <a:pt x="95" y="83"/>
                  </a:cubicBezTo>
                  <a:cubicBezTo>
                    <a:pt x="95" y="83"/>
                    <a:pt x="95" y="83"/>
                    <a:pt x="95" y="83"/>
                  </a:cubicBezTo>
                  <a:cubicBezTo>
                    <a:pt x="95" y="40"/>
                    <a:pt x="95" y="40"/>
                    <a:pt x="95" y="40"/>
                  </a:cubicBezTo>
                  <a:cubicBezTo>
                    <a:pt x="95" y="24"/>
                    <a:pt x="95" y="24"/>
                    <a:pt x="95" y="24"/>
                  </a:cubicBezTo>
                  <a:cubicBezTo>
                    <a:pt x="95" y="21"/>
                    <a:pt x="95" y="21"/>
                    <a:pt x="95" y="21"/>
                  </a:cubicBezTo>
                  <a:cubicBezTo>
                    <a:pt x="95" y="6"/>
                    <a:pt x="88" y="0"/>
                    <a:pt x="7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35" name="Oval 798"/>
            <p:cNvSpPr>
              <a:spLocks noChangeArrowheads="1"/>
            </p:cNvSpPr>
            <p:nvPr/>
          </p:nvSpPr>
          <p:spPr bwMode="auto">
            <a:xfrm>
              <a:off x="4778376" y="2041526"/>
              <a:ext cx="249238" cy="2667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36" name="Freeform 799"/>
            <p:cNvSpPr>
              <a:spLocks/>
            </p:cNvSpPr>
            <p:nvPr/>
          </p:nvSpPr>
          <p:spPr bwMode="auto">
            <a:xfrm>
              <a:off x="4157663" y="1887538"/>
              <a:ext cx="771525" cy="250825"/>
            </a:xfrm>
            <a:custGeom>
              <a:avLst/>
              <a:gdLst>
                <a:gd name="T0" fmla="*/ 16 w 205"/>
                <a:gd name="T1" fmla="*/ 16 h 67"/>
                <a:gd name="T2" fmla="*/ 104 w 205"/>
                <a:gd name="T3" fmla="*/ 16 h 67"/>
                <a:gd name="T4" fmla="*/ 104 w 205"/>
                <a:gd name="T5" fmla="*/ 67 h 67"/>
                <a:gd name="T6" fmla="*/ 120 w 205"/>
                <a:gd name="T7" fmla="*/ 67 h 67"/>
                <a:gd name="T8" fmla="*/ 120 w 205"/>
                <a:gd name="T9" fmla="*/ 16 h 67"/>
                <a:gd name="T10" fmla="*/ 189 w 205"/>
                <a:gd name="T11" fmla="*/ 16 h 67"/>
                <a:gd name="T12" fmla="*/ 189 w 205"/>
                <a:gd name="T13" fmla="*/ 32 h 67"/>
                <a:gd name="T14" fmla="*/ 198 w 205"/>
                <a:gd name="T15" fmla="*/ 32 h 67"/>
                <a:gd name="T16" fmla="*/ 205 w 205"/>
                <a:gd name="T17" fmla="*/ 32 h 67"/>
                <a:gd name="T18" fmla="*/ 205 w 205"/>
                <a:gd name="T19" fmla="*/ 0 h 67"/>
                <a:gd name="T20" fmla="*/ 0 w 205"/>
                <a:gd name="T21" fmla="*/ 0 h 67"/>
                <a:gd name="T22" fmla="*/ 0 w 205"/>
                <a:gd name="T23" fmla="*/ 67 h 67"/>
                <a:gd name="T24" fmla="*/ 16 w 205"/>
                <a:gd name="T25" fmla="*/ 67 h 67"/>
                <a:gd name="T26" fmla="*/ 16 w 205"/>
                <a:gd name="T27" fmla="*/ 16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5" h="67">
                  <a:moveTo>
                    <a:pt x="16" y="16"/>
                  </a:moveTo>
                  <a:cubicBezTo>
                    <a:pt x="104" y="16"/>
                    <a:pt x="104" y="16"/>
                    <a:pt x="104" y="16"/>
                  </a:cubicBezTo>
                  <a:cubicBezTo>
                    <a:pt x="104" y="67"/>
                    <a:pt x="104" y="67"/>
                    <a:pt x="104" y="67"/>
                  </a:cubicBezTo>
                  <a:cubicBezTo>
                    <a:pt x="120" y="67"/>
                    <a:pt x="120" y="67"/>
                    <a:pt x="120" y="67"/>
                  </a:cubicBezTo>
                  <a:cubicBezTo>
                    <a:pt x="120" y="16"/>
                    <a:pt x="120" y="16"/>
                    <a:pt x="120" y="16"/>
                  </a:cubicBezTo>
                  <a:cubicBezTo>
                    <a:pt x="189" y="16"/>
                    <a:pt x="189" y="16"/>
                    <a:pt x="189" y="16"/>
                  </a:cubicBezTo>
                  <a:cubicBezTo>
                    <a:pt x="189" y="32"/>
                    <a:pt x="189" y="32"/>
                    <a:pt x="189" y="32"/>
                  </a:cubicBezTo>
                  <a:cubicBezTo>
                    <a:pt x="192" y="32"/>
                    <a:pt x="195" y="32"/>
                    <a:pt x="198" y="32"/>
                  </a:cubicBezTo>
                  <a:cubicBezTo>
                    <a:pt x="201" y="32"/>
                    <a:pt x="203" y="32"/>
                    <a:pt x="205" y="32"/>
                  </a:cubicBezTo>
                  <a:cubicBezTo>
                    <a:pt x="205" y="0"/>
                    <a:pt x="205" y="0"/>
                    <a:pt x="205" y="0"/>
                  </a:cubicBezTo>
                  <a:cubicBezTo>
                    <a:pt x="0" y="0"/>
                    <a:pt x="0" y="0"/>
                    <a:pt x="0" y="0"/>
                  </a:cubicBezTo>
                  <a:cubicBezTo>
                    <a:pt x="0" y="67"/>
                    <a:pt x="0" y="67"/>
                    <a:pt x="0" y="67"/>
                  </a:cubicBezTo>
                  <a:cubicBezTo>
                    <a:pt x="16" y="67"/>
                    <a:pt x="16" y="67"/>
                    <a:pt x="16" y="67"/>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37" name="Freeform 800"/>
            <p:cNvSpPr>
              <a:spLocks/>
            </p:cNvSpPr>
            <p:nvPr/>
          </p:nvSpPr>
          <p:spPr bwMode="auto">
            <a:xfrm>
              <a:off x="4489451" y="2252663"/>
              <a:ext cx="184150" cy="195263"/>
            </a:xfrm>
            <a:custGeom>
              <a:avLst/>
              <a:gdLst>
                <a:gd name="T0" fmla="*/ 0 w 49"/>
                <a:gd name="T1" fmla="*/ 26 h 52"/>
                <a:gd name="T2" fmla="*/ 25 w 49"/>
                <a:gd name="T3" fmla="*/ 52 h 52"/>
                <a:gd name="T4" fmla="*/ 38 w 49"/>
                <a:gd name="T5" fmla="*/ 50 h 52"/>
                <a:gd name="T6" fmla="*/ 49 w 49"/>
                <a:gd name="T7" fmla="*/ 25 h 52"/>
                <a:gd name="T8" fmla="*/ 25 w 49"/>
                <a:gd name="T9" fmla="*/ 0 h 52"/>
                <a:gd name="T10" fmla="*/ 0 w 49"/>
                <a:gd name="T11" fmla="*/ 26 h 52"/>
              </a:gdLst>
              <a:ahLst/>
              <a:cxnLst>
                <a:cxn ang="0">
                  <a:pos x="T0" y="T1"/>
                </a:cxn>
                <a:cxn ang="0">
                  <a:pos x="T2" y="T3"/>
                </a:cxn>
                <a:cxn ang="0">
                  <a:pos x="T4" y="T5"/>
                </a:cxn>
                <a:cxn ang="0">
                  <a:pos x="T6" y="T7"/>
                </a:cxn>
                <a:cxn ang="0">
                  <a:pos x="T8" y="T9"/>
                </a:cxn>
                <a:cxn ang="0">
                  <a:pos x="T10" y="T11"/>
                </a:cxn>
              </a:cxnLst>
              <a:rect l="0" t="0" r="r" b="b"/>
              <a:pathLst>
                <a:path w="49" h="52">
                  <a:moveTo>
                    <a:pt x="0" y="26"/>
                  </a:moveTo>
                  <a:cubicBezTo>
                    <a:pt x="0" y="45"/>
                    <a:pt x="7" y="52"/>
                    <a:pt x="25" y="52"/>
                  </a:cubicBezTo>
                  <a:cubicBezTo>
                    <a:pt x="30" y="52"/>
                    <a:pt x="35" y="52"/>
                    <a:pt x="38" y="50"/>
                  </a:cubicBezTo>
                  <a:cubicBezTo>
                    <a:pt x="39" y="39"/>
                    <a:pt x="43" y="30"/>
                    <a:pt x="49" y="25"/>
                  </a:cubicBezTo>
                  <a:cubicBezTo>
                    <a:pt x="49" y="7"/>
                    <a:pt x="42" y="0"/>
                    <a:pt x="25" y="0"/>
                  </a:cubicBezTo>
                  <a:cubicBezTo>
                    <a:pt x="7" y="0"/>
                    <a:pt x="0" y="7"/>
                    <a:pt x="0" y="2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38" name="Freeform 801"/>
            <p:cNvSpPr>
              <a:spLocks/>
            </p:cNvSpPr>
            <p:nvPr/>
          </p:nvSpPr>
          <p:spPr bwMode="auto">
            <a:xfrm>
              <a:off x="4402138" y="2478088"/>
              <a:ext cx="282575" cy="665163"/>
            </a:xfrm>
            <a:custGeom>
              <a:avLst/>
              <a:gdLst>
                <a:gd name="T0" fmla="*/ 61 w 75"/>
                <a:gd name="T1" fmla="*/ 77 h 177"/>
                <a:gd name="T2" fmla="*/ 61 w 75"/>
                <a:gd name="T3" fmla="*/ 0 h 177"/>
                <a:gd name="T4" fmla="*/ 48 w 75"/>
                <a:gd name="T5" fmla="*/ 0 h 177"/>
                <a:gd name="T6" fmla="*/ 20 w 75"/>
                <a:gd name="T7" fmla="*/ 0 h 177"/>
                <a:gd name="T8" fmla="*/ 0 w 75"/>
                <a:gd name="T9" fmla="*/ 21 h 177"/>
                <a:gd name="T10" fmla="*/ 0 w 75"/>
                <a:gd name="T11" fmla="*/ 24 h 177"/>
                <a:gd name="T12" fmla="*/ 0 w 75"/>
                <a:gd name="T13" fmla="*/ 40 h 177"/>
                <a:gd name="T14" fmla="*/ 0 w 75"/>
                <a:gd name="T15" fmla="*/ 55 h 177"/>
                <a:gd name="T16" fmla="*/ 0 w 75"/>
                <a:gd name="T17" fmla="*/ 83 h 177"/>
                <a:gd name="T18" fmla="*/ 0 w 75"/>
                <a:gd name="T19" fmla="*/ 83 h 177"/>
                <a:gd name="T20" fmla="*/ 8 w 75"/>
                <a:gd name="T21" fmla="*/ 91 h 177"/>
                <a:gd name="T22" fmla="*/ 16 w 75"/>
                <a:gd name="T23" fmla="*/ 84 h 177"/>
                <a:gd name="T24" fmla="*/ 16 w 75"/>
                <a:gd name="T25" fmla="*/ 83 h 177"/>
                <a:gd name="T26" fmla="*/ 16 w 75"/>
                <a:gd name="T27" fmla="*/ 27 h 177"/>
                <a:gd name="T28" fmla="*/ 18 w 75"/>
                <a:gd name="T29" fmla="*/ 25 h 177"/>
                <a:gd name="T30" fmla="*/ 20 w 75"/>
                <a:gd name="T31" fmla="*/ 27 h 177"/>
                <a:gd name="T32" fmla="*/ 20 w 75"/>
                <a:gd name="T33" fmla="*/ 87 h 177"/>
                <a:gd name="T34" fmla="*/ 20 w 75"/>
                <a:gd name="T35" fmla="*/ 95 h 177"/>
                <a:gd name="T36" fmla="*/ 20 w 75"/>
                <a:gd name="T37" fmla="*/ 96 h 177"/>
                <a:gd name="T38" fmla="*/ 20 w 75"/>
                <a:gd name="T39" fmla="*/ 96 h 177"/>
                <a:gd name="T40" fmla="*/ 27 w 75"/>
                <a:gd name="T41" fmla="*/ 163 h 177"/>
                <a:gd name="T42" fmla="*/ 40 w 75"/>
                <a:gd name="T43" fmla="*/ 177 h 177"/>
                <a:gd name="T44" fmla="*/ 48 w 75"/>
                <a:gd name="T45" fmla="*/ 177 h 177"/>
                <a:gd name="T46" fmla="*/ 55 w 75"/>
                <a:gd name="T47" fmla="*/ 177 h 177"/>
                <a:gd name="T48" fmla="*/ 69 w 75"/>
                <a:gd name="T49" fmla="*/ 163 h 177"/>
                <a:gd name="T50" fmla="*/ 75 w 75"/>
                <a:gd name="T51" fmla="*/ 96 h 177"/>
                <a:gd name="T52" fmla="*/ 75 w 75"/>
                <a:gd name="T53" fmla="*/ 96 h 177"/>
                <a:gd name="T54" fmla="*/ 75 w 75"/>
                <a:gd name="T55" fmla="*/ 95 h 177"/>
                <a:gd name="T56" fmla="*/ 75 w 75"/>
                <a:gd name="T57" fmla="*/ 95 h 177"/>
                <a:gd name="T58" fmla="*/ 61 w 75"/>
                <a:gd name="T59" fmla="*/ 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5" h="177">
                  <a:moveTo>
                    <a:pt x="61" y="77"/>
                  </a:moveTo>
                  <a:cubicBezTo>
                    <a:pt x="61" y="0"/>
                    <a:pt x="61" y="0"/>
                    <a:pt x="61" y="0"/>
                  </a:cubicBezTo>
                  <a:cubicBezTo>
                    <a:pt x="48" y="0"/>
                    <a:pt x="48" y="0"/>
                    <a:pt x="48" y="0"/>
                  </a:cubicBezTo>
                  <a:cubicBezTo>
                    <a:pt x="20" y="0"/>
                    <a:pt x="20" y="0"/>
                    <a:pt x="20" y="0"/>
                  </a:cubicBezTo>
                  <a:cubicBezTo>
                    <a:pt x="7" y="0"/>
                    <a:pt x="0" y="6"/>
                    <a:pt x="0" y="21"/>
                  </a:cubicBezTo>
                  <a:cubicBezTo>
                    <a:pt x="0" y="24"/>
                    <a:pt x="0" y="24"/>
                    <a:pt x="0" y="24"/>
                  </a:cubicBezTo>
                  <a:cubicBezTo>
                    <a:pt x="0" y="40"/>
                    <a:pt x="0" y="40"/>
                    <a:pt x="0" y="40"/>
                  </a:cubicBezTo>
                  <a:cubicBezTo>
                    <a:pt x="0" y="55"/>
                    <a:pt x="0" y="55"/>
                    <a:pt x="0" y="55"/>
                  </a:cubicBezTo>
                  <a:cubicBezTo>
                    <a:pt x="0" y="83"/>
                    <a:pt x="0" y="83"/>
                    <a:pt x="0" y="83"/>
                  </a:cubicBezTo>
                  <a:cubicBezTo>
                    <a:pt x="0" y="83"/>
                    <a:pt x="0" y="83"/>
                    <a:pt x="0" y="83"/>
                  </a:cubicBezTo>
                  <a:cubicBezTo>
                    <a:pt x="0" y="88"/>
                    <a:pt x="4" y="91"/>
                    <a:pt x="8" y="91"/>
                  </a:cubicBezTo>
                  <a:cubicBezTo>
                    <a:pt x="12" y="91"/>
                    <a:pt x="15" y="88"/>
                    <a:pt x="16" y="84"/>
                  </a:cubicBezTo>
                  <a:cubicBezTo>
                    <a:pt x="16" y="84"/>
                    <a:pt x="16" y="84"/>
                    <a:pt x="16" y="83"/>
                  </a:cubicBezTo>
                  <a:cubicBezTo>
                    <a:pt x="16" y="27"/>
                    <a:pt x="16" y="27"/>
                    <a:pt x="16" y="27"/>
                  </a:cubicBezTo>
                  <a:cubicBezTo>
                    <a:pt x="16" y="26"/>
                    <a:pt x="17" y="25"/>
                    <a:pt x="18" y="25"/>
                  </a:cubicBezTo>
                  <a:cubicBezTo>
                    <a:pt x="19" y="25"/>
                    <a:pt x="20" y="26"/>
                    <a:pt x="20" y="27"/>
                  </a:cubicBezTo>
                  <a:cubicBezTo>
                    <a:pt x="20" y="87"/>
                    <a:pt x="20" y="87"/>
                    <a:pt x="20" y="87"/>
                  </a:cubicBezTo>
                  <a:cubicBezTo>
                    <a:pt x="20" y="87"/>
                    <a:pt x="20" y="92"/>
                    <a:pt x="20" y="95"/>
                  </a:cubicBezTo>
                  <a:cubicBezTo>
                    <a:pt x="20" y="96"/>
                    <a:pt x="20" y="96"/>
                    <a:pt x="20" y="96"/>
                  </a:cubicBezTo>
                  <a:cubicBezTo>
                    <a:pt x="20" y="96"/>
                    <a:pt x="20" y="96"/>
                    <a:pt x="20" y="96"/>
                  </a:cubicBezTo>
                  <a:cubicBezTo>
                    <a:pt x="27" y="163"/>
                    <a:pt x="27" y="163"/>
                    <a:pt x="27" y="163"/>
                  </a:cubicBezTo>
                  <a:cubicBezTo>
                    <a:pt x="28" y="173"/>
                    <a:pt x="31" y="177"/>
                    <a:pt x="40" y="177"/>
                  </a:cubicBezTo>
                  <a:cubicBezTo>
                    <a:pt x="48" y="177"/>
                    <a:pt x="48" y="177"/>
                    <a:pt x="48" y="177"/>
                  </a:cubicBezTo>
                  <a:cubicBezTo>
                    <a:pt x="55" y="177"/>
                    <a:pt x="55" y="177"/>
                    <a:pt x="55" y="177"/>
                  </a:cubicBezTo>
                  <a:cubicBezTo>
                    <a:pt x="64" y="177"/>
                    <a:pt x="68" y="173"/>
                    <a:pt x="69" y="163"/>
                  </a:cubicBezTo>
                  <a:cubicBezTo>
                    <a:pt x="75" y="96"/>
                    <a:pt x="75" y="96"/>
                    <a:pt x="75" y="96"/>
                  </a:cubicBezTo>
                  <a:cubicBezTo>
                    <a:pt x="75" y="96"/>
                    <a:pt x="75" y="96"/>
                    <a:pt x="75" y="96"/>
                  </a:cubicBezTo>
                  <a:cubicBezTo>
                    <a:pt x="75" y="95"/>
                    <a:pt x="75" y="95"/>
                    <a:pt x="75" y="95"/>
                  </a:cubicBezTo>
                  <a:cubicBezTo>
                    <a:pt x="75" y="95"/>
                    <a:pt x="75" y="95"/>
                    <a:pt x="75" y="95"/>
                  </a:cubicBezTo>
                  <a:cubicBezTo>
                    <a:pt x="67" y="93"/>
                    <a:pt x="61" y="85"/>
                    <a:pt x="61" y="7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39" name="Freeform 802"/>
            <p:cNvSpPr>
              <a:spLocks/>
            </p:cNvSpPr>
            <p:nvPr/>
          </p:nvSpPr>
          <p:spPr bwMode="auto">
            <a:xfrm>
              <a:off x="4662488" y="2346326"/>
              <a:ext cx="481013" cy="895350"/>
            </a:xfrm>
            <a:custGeom>
              <a:avLst/>
              <a:gdLst>
                <a:gd name="T0" fmla="*/ 101 w 128"/>
                <a:gd name="T1" fmla="*/ 0 h 238"/>
                <a:gd name="T2" fmla="*/ 64 w 128"/>
                <a:gd name="T3" fmla="*/ 0 h 238"/>
                <a:gd name="T4" fmla="*/ 27 w 128"/>
                <a:gd name="T5" fmla="*/ 0 h 238"/>
                <a:gd name="T6" fmla="*/ 0 w 128"/>
                <a:gd name="T7" fmla="*/ 29 h 238"/>
                <a:gd name="T8" fmla="*/ 0 w 128"/>
                <a:gd name="T9" fmla="*/ 32 h 238"/>
                <a:gd name="T10" fmla="*/ 0 w 128"/>
                <a:gd name="T11" fmla="*/ 54 h 238"/>
                <a:gd name="T12" fmla="*/ 0 w 128"/>
                <a:gd name="T13" fmla="*/ 74 h 238"/>
                <a:gd name="T14" fmla="*/ 0 w 128"/>
                <a:gd name="T15" fmla="*/ 112 h 238"/>
                <a:gd name="T16" fmla="*/ 0 w 128"/>
                <a:gd name="T17" fmla="*/ 112 h 238"/>
                <a:gd name="T18" fmla="*/ 11 w 128"/>
                <a:gd name="T19" fmla="*/ 122 h 238"/>
                <a:gd name="T20" fmla="*/ 21 w 128"/>
                <a:gd name="T21" fmla="*/ 113 h 238"/>
                <a:gd name="T22" fmla="*/ 21 w 128"/>
                <a:gd name="T23" fmla="*/ 112 h 238"/>
                <a:gd name="T24" fmla="*/ 21 w 128"/>
                <a:gd name="T25" fmla="*/ 36 h 238"/>
                <a:gd name="T26" fmla="*/ 24 w 128"/>
                <a:gd name="T27" fmla="*/ 33 h 238"/>
                <a:gd name="T28" fmla="*/ 27 w 128"/>
                <a:gd name="T29" fmla="*/ 36 h 238"/>
                <a:gd name="T30" fmla="*/ 27 w 128"/>
                <a:gd name="T31" fmla="*/ 116 h 238"/>
                <a:gd name="T32" fmla="*/ 27 w 128"/>
                <a:gd name="T33" fmla="*/ 128 h 238"/>
                <a:gd name="T34" fmla="*/ 27 w 128"/>
                <a:gd name="T35" fmla="*/ 128 h 238"/>
                <a:gd name="T36" fmla="*/ 27 w 128"/>
                <a:gd name="T37" fmla="*/ 128 h 238"/>
                <a:gd name="T38" fmla="*/ 36 w 128"/>
                <a:gd name="T39" fmla="*/ 219 h 238"/>
                <a:gd name="T40" fmla="*/ 54 w 128"/>
                <a:gd name="T41" fmla="*/ 238 h 238"/>
                <a:gd name="T42" fmla="*/ 64 w 128"/>
                <a:gd name="T43" fmla="*/ 238 h 238"/>
                <a:gd name="T44" fmla="*/ 74 w 128"/>
                <a:gd name="T45" fmla="*/ 238 h 238"/>
                <a:gd name="T46" fmla="*/ 92 w 128"/>
                <a:gd name="T47" fmla="*/ 219 h 238"/>
                <a:gd name="T48" fmla="*/ 101 w 128"/>
                <a:gd name="T49" fmla="*/ 128 h 238"/>
                <a:gd name="T50" fmla="*/ 101 w 128"/>
                <a:gd name="T51" fmla="*/ 128 h 238"/>
                <a:gd name="T52" fmla="*/ 101 w 128"/>
                <a:gd name="T53" fmla="*/ 128 h 238"/>
                <a:gd name="T54" fmla="*/ 101 w 128"/>
                <a:gd name="T55" fmla="*/ 116 h 238"/>
                <a:gd name="T56" fmla="*/ 101 w 128"/>
                <a:gd name="T57" fmla="*/ 36 h 238"/>
                <a:gd name="T58" fmla="*/ 104 w 128"/>
                <a:gd name="T59" fmla="*/ 33 h 238"/>
                <a:gd name="T60" fmla="*/ 106 w 128"/>
                <a:gd name="T61" fmla="*/ 36 h 238"/>
                <a:gd name="T62" fmla="*/ 106 w 128"/>
                <a:gd name="T63" fmla="*/ 112 h 238"/>
                <a:gd name="T64" fmla="*/ 107 w 128"/>
                <a:gd name="T65" fmla="*/ 113 h 238"/>
                <a:gd name="T66" fmla="*/ 117 w 128"/>
                <a:gd name="T67" fmla="*/ 122 h 238"/>
                <a:gd name="T68" fmla="*/ 128 w 128"/>
                <a:gd name="T69" fmla="*/ 112 h 238"/>
                <a:gd name="T70" fmla="*/ 128 w 128"/>
                <a:gd name="T71" fmla="*/ 112 h 238"/>
                <a:gd name="T72" fmla="*/ 128 w 128"/>
                <a:gd name="T73" fmla="*/ 54 h 238"/>
                <a:gd name="T74" fmla="*/ 128 w 128"/>
                <a:gd name="T75" fmla="*/ 32 h 238"/>
                <a:gd name="T76" fmla="*/ 128 w 128"/>
                <a:gd name="T77" fmla="*/ 29 h 238"/>
                <a:gd name="T78" fmla="*/ 101 w 128"/>
                <a:gd name="T79"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238">
                  <a:moveTo>
                    <a:pt x="101" y="0"/>
                  </a:moveTo>
                  <a:cubicBezTo>
                    <a:pt x="64" y="0"/>
                    <a:pt x="64" y="0"/>
                    <a:pt x="64" y="0"/>
                  </a:cubicBezTo>
                  <a:cubicBezTo>
                    <a:pt x="27" y="0"/>
                    <a:pt x="27" y="0"/>
                    <a:pt x="27" y="0"/>
                  </a:cubicBezTo>
                  <a:cubicBezTo>
                    <a:pt x="10" y="0"/>
                    <a:pt x="0" y="8"/>
                    <a:pt x="0" y="29"/>
                  </a:cubicBezTo>
                  <a:cubicBezTo>
                    <a:pt x="0" y="32"/>
                    <a:pt x="0" y="32"/>
                    <a:pt x="0" y="32"/>
                  </a:cubicBezTo>
                  <a:cubicBezTo>
                    <a:pt x="0" y="54"/>
                    <a:pt x="0" y="54"/>
                    <a:pt x="0" y="54"/>
                  </a:cubicBezTo>
                  <a:cubicBezTo>
                    <a:pt x="0" y="74"/>
                    <a:pt x="0" y="74"/>
                    <a:pt x="0" y="74"/>
                  </a:cubicBezTo>
                  <a:cubicBezTo>
                    <a:pt x="0" y="112"/>
                    <a:pt x="0" y="112"/>
                    <a:pt x="0" y="112"/>
                  </a:cubicBezTo>
                  <a:cubicBezTo>
                    <a:pt x="0" y="112"/>
                    <a:pt x="0" y="112"/>
                    <a:pt x="0" y="112"/>
                  </a:cubicBezTo>
                  <a:cubicBezTo>
                    <a:pt x="0" y="118"/>
                    <a:pt x="5" y="122"/>
                    <a:pt x="11" y="122"/>
                  </a:cubicBezTo>
                  <a:cubicBezTo>
                    <a:pt x="16" y="122"/>
                    <a:pt x="20" y="119"/>
                    <a:pt x="21" y="113"/>
                  </a:cubicBezTo>
                  <a:cubicBezTo>
                    <a:pt x="21" y="113"/>
                    <a:pt x="21" y="112"/>
                    <a:pt x="21" y="112"/>
                  </a:cubicBezTo>
                  <a:cubicBezTo>
                    <a:pt x="21" y="36"/>
                    <a:pt x="21" y="36"/>
                    <a:pt x="21" y="36"/>
                  </a:cubicBezTo>
                  <a:cubicBezTo>
                    <a:pt x="21" y="34"/>
                    <a:pt x="23" y="33"/>
                    <a:pt x="24" y="33"/>
                  </a:cubicBezTo>
                  <a:cubicBezTo>
                    <a:pt x="26" y="33"/>
                    <a:pt x="27" y="34"/>
                    <a:pt x="27" y="36"/>
                  </a:cubicBezTo>
                  <a:cubicBezTo>
                    <a:pt x="27" y="116"/>
                    <a:pt x="27" y="116"/>
                    <a:pt x="27" y="116"/>
                  </a:cubicBezTo>
                  <a:cubicBezTo>
                    <a:pt x="27" y="116"/>
                    <a:pt x="27" y="123"/>
                    <a:pt x="27" y="128"/>
                  </a:cubicBezTo>
                  <a:cubicBezTo>
                    <a:pt x="27" y="128"/>
                    <a:pt x="27" y="128"/>
                    <a:pt x="27" y="128"/>
                  </a:cubicBezTo>
                  <a:cubicBezTo>
                    <a:pt x="27" y="128"/>
                    <a:pt x="27" y="128"/>
                    <a:pt x="27" y="128"/>
                  </a:cubicBezTo>
                  <a:cubicBezTo>
                    <a:pt x="36" y="219"/>
                    <a:pt x="36" y="219"/>
                    <a:pt x="36" y="219"/>
                  </a:cubicBezTo>
                  <a:cubicBezTo>
                    <a:pt x="37" y="233"/>
                    <a:pt x="42" y="238"/>
                    <a:pt x="54" y="238"/>
                  </a:cubicBezTo>
                  <a:cubicBezTo>
                    <a:pt x="64" y="238"/>
                    <a:pt x="64" y="238"/>
                    <a:pt x="64" y="238"/>
                  </a:cubicBezTo>
                  <a:cubicBezTo>
                    <a:pt x="74" y="238"/>
                    <a:pt x="74" y="238"/>
                    <a:pt x="74" y="238"/>
                  </a:cubicBezTo>
                  <a:cubicBezTo>
                    <a:pt x="86" y="238"/>
                    <a:pt x="91" y="233"/>
                    <a:pt x="92" y="219"/>
                  </a:cubicBezTo>
                  <a:cubicBezTo>
                    <a:pt x="101" y="128"/>
                    <a:pt x="101" y="128"/>
                    <a:pt x="101" y="128"/>
                  </a:cubicBezTo>
                  <a:cubicBezTo>
                    <a:pt x="101" y="128"/>
                    <a:pt x="101" y="128"/>
                    <a:pt x="101" y="128"/>
                  </a:cubicBezTo>
                  <a:cubicBezTo>
                    <a:pt x="101" y="128"/>
                    <a:pt x="101" y="128"/>
                    <a:pt x="101" y="128"/>
                  </a:cubicBezTo>
                  <a:cubicBezTo>
                    <a:pt x="101" y="123"/>
                    <a:pt x="101" y="116"/>
                    <a:pt x="101" y="116"/>
                  </a:cubicBezTo>
                  <a:cubicBezTo>
                    <a:pt x="101" y="36"/>
                    <a:pt x="101" y="36"/>
                    <a:pt x="101" y="36"/>
                  </a:cubicBezTo>
                  <a:cubicBezTo>
                    <a:pt x="101" y="34"/>
                    <a:pt x="102" y="33"/>
                    <a:pt x="104" y="33"/>
                  </a:cubicBezTo>
                  <a:cubicBezTo>
                    <a:pt x="105" y="33"/>
                    <a:pt x="106" y="34"/>
                    <a:pt x="106" y="36"/>
                  </a:cubicBezTo>
                  <a:cubicBezTo>
                    <a:pt x="106" y="112"/>
                    <a:pt x="106" y="112"/>
                    <a:pt x="106" y="112"/>
                  </a:cubicBezTo>
                  <a:cubicBezTo>
                    <a:pt x="106" y="112"/>
                    <a:pt x="107" y="113"/>
                    <a:pt x="107" y="113"/>
                  </a:cubicBezTo>
                  <a:cubicBezTo>
                    <a:pt x="107" y="119"/>
                    <a:pt x="112" y="122"/>
                    <a:pt x="117" y="122"/>
                  </a:cubicBezTo>
                  <a:cubicBezTo>
                    <a:pt x="123" y="122"/>
                    <a:pt x="128" y="118"/>
                    <a:pt x="128" y="112"/>
                  </a:cubicBezTo>
                  <a:cubicBezTo>
                    <a:pt x="128" y="112"/>
                    <a:pt x="128" y="112"/>
                    <a:pt x="128" y="112"/>
                  </a:cubicBezTo>
                  <a:cubicBezTo>
                    <a:pt x="128" y="54"/>
                    <a:pt x="128" y="54"/>
                    <a:pt x="128" y="54"/>
                  </a:cubicBezTo>
                  <a:cubicBezTo>
                    <a:pt x="128" y="32"/>
                    <a:pt x="128" y="32"/>
                    <a:pt x="128" y="32"/>
                  </a:cubicBezTo>
                  <a:cubicBezTo>
                    <a:pt x="128" y="29"/>
                    <a:pt x="128" y="29"/>
                    <a:pt x="128" y="29"/>
                  </a:cubicBezTo>
                  <a:cubicBezTo>
                    <a:pt x="128" y="8"/>
                    <a:pt x="118" y="0"/>
                    <a:pt x="10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nvGrpSpPr>
          <p:cNvPr id="452" name="Group 451"/>
          <p:cNvGrpSpPr/>
          <p:nvPr/>
        </p:nvGrpSpPr>
        <p:grpSpPr>
          <a:xfrm>
            <a:off x="2756746" y="4588742"/>
            <a:ext cx="1540924" cy="480994"/>
            <a:chOff x="2541226" y="2809769"/>
            <a:chExt cx="1282879" cy="399811"/>
          </a:xfrm>
        </p:grpSpPr>
        <p:grpSp>
          <p:nvGrpSpPr>
            <p:cNvPr id="440" name="Group 439"/>
            <p:cNvGrpSpPr/>
            <p:nvPr/>
          </p:nvGrpSpPr>
          <p:grpSpPr>
            <a:xfrm>
              <a:off x="2541226" y="2809769"/>
              <a:ext cx="399347" cy="399811"/>
              <a:chOff x="3879851" y="1882776"/>
              <a:chExt cx="1368425" cy="1370013"/>
            </a:xfrm>
            <a:solidFill>
              <a:srgbClr val="000000"/>
            </a:solidFill>
          </p:grpSpPr>
          <p:sp>
            <p:nvSpPr>
              <p:cNvPr id="441" name="Freeform 513"/>
              <p:cNvSpPr>
                <a:spLocks noEditPoints="1"/>
              </p:cNvSpPr>
              <p:nvPr/>
            </p:nvSpPr>
            <p:spPr bwMode="auto">
              <a:xfrm>
                <a:off x="3879851" y="1882776"/>
                <a:ext cx="1368425" cy="1370013"/>
              </a:xfrm>
              <a:custGeom>
                <a:avLst/>
                <a:gdLst>
                  <a:gd name="T0" fmla="*/ 342 w 364"/>
                  <a:gd name="T1" fmla="*/ 0 h 364"/>
                  <a:gd name="T2" fmla="*/ 0 w 364"/>
                  <a:gd name="T3" fmla="*/ 0 h 364"/>
                  <a:gd name="T4" fmla="*/ 0 w 364"/>
                  <a:gd name="T5" fmla="*/ 341 h 364"/>
                  <a:gd name="T6" fmla="*/ 22 w 364"/>
                  <a:gd name="T7" fmla="*/ 364 h 364"/>
                  <a:gd name="T8" fmla="*/ 364 w 364"/>
                  <a:gd name="T9" fmla="*/ 364 h 364"/>
                  <a:gd name="T10" fmla="*/ 364 w 364"/>
                  <a:gd name="T11" fmla="*/ 25 h 364"/>
                  <a:gd name="T12" fmla="*/ 342 w 364"/>
                  <a:gd name="T13" fmla="*/ 0 h 364"/>
                  <a:gd name="T14" fmla="*/ 255 w 364"/>
                  <a:gd name="T15" fmla="*/ 259 h 364"/>
                  <a:gd name="T16" fmla="*/ 242 w 364"/>
                  <a:gd name="T17" fmla="*/ 280 h 364"/>
                  <a:gd name="T18" fmla="*/ 219 w 364"/>
                  <a:gd name="T19" fmla="*/ 292 h 364"/>
                  <a:gd name="T20" fmla="*/ 188 w 364"/>
                  <a:gd name="T21" fmla="*/ 296 h 364"/>
                  <a:gd name="T22" fmla="*/ 185 w 364"/>
                  <a:gd name="T23" fmla="*/ 330 h 364"/>
                  <a:gd name="T24" fmla="*/ 168 w 364"/>
                  <a:gd name="T25" fmla="*/ 330 h 364"/>
                  <a:gd name="T26" fmla="*/ 161 w 364"/>
                  <a:gd name="T27" fmla="*/ 327 h 364"/>
                  <a:gd name="T28" fmla="*/ 159 w 364"/>
                  <a:gd name="T29" fmla="*/ 320 h 364"/>
                  <a:gd name="T30" fmla="*/ 161 w 364"/>
                  <a:gd name="T31" fmla="*/ 296 h 364"/>
                  <a:gd name="T32" fmla="*/ 140 w 364"/>
                  <a:gd name="T33" fmla="*/ 294 h 364"/>
                  <a:gd name="T34" fmla="*/ 124 w 364"/>
                  <a:gd name="T35" fmla="*/ 290 h 364"/>
                  <a:gd name="T36" fmla="*/ 114 w 364"/>
                  <a:gd name="T37" fmla="*/ 284 h 364"/>
                  <a:gd name="T38" fmla="*/ 111 w 364"/>
                  <a:gd name="T39" fmla="*/ 275 h 364"/>
                  <a:gd name="T40" fmla="*/ 111 w 364"/>
                  <a:gd name="T41" fmla="*/ 251 h 364"/>
                  <a:gd name="T42" fmla="*/ 124 w 364"/>
                  <a:gd name="T43" fmla="*/ 252 h 364"/>
                  <a:gd name="T44" fmla="*/ 138 w 364"/>
                  <a:gd name="T45" fmla="*/ 252 h 364"/>
                  <a:gd name="T46" fmla="*/ 152 w 364"/>
                  <a:gd name="T47" fmla="*/ 253 h 364"/>
                  <a:gd name="T48" fmla="*/ 165 w 364"/>
                  <a:gd name="T49" fmla="*/ 253 h 364"/>
                  <a:gd name="T50" fmla="*/ 169 w 364"/>
                  <a:gd name="T51" fmla="*/ 202 h 364"/>
                  <a:gd name="T52" fmla="*/ 141 w 364"/>
                  <a:gd name="T53" fmla="*/ 191 h 364"/>
                  <a:gd name="T54" fmla="*/ 122 w 364"/>
                  <a:gd name="T55" fmla="*/ 176 h 364"/>
                  <a:gd name="T56" fmla="*/ 112 w 364"/>
                  <a:gd name="T57" fmla="*/ 159 h 364"/>
                  <a:gd name="T58" fmla="*/ 109 w 364"/>
                  <a:gd name="T59" fmla="*/ 137 h 364"/>
                  <a:gd name="T60" fmla="*/ 114 w 364"/>
                  <a:gd name="T61" fmla="*/ 106 h 364"/>
                  <a:gd name="T62" fmla="*/ 128 w 364"/>
                  <a:gd name="T63" fmla="*/ 85 h 364"/>
                  <a:gd name="T64" fmla="*/ 150 w 364"/>
                  <a:gd name="T65" fmla="*/ 74 h 364"/>
                  <a:gd name="T66" fmla="*/ 179 w 364"/>
                  <a:gd name="T67" fmla="*/ 69 h 364"/>
                  <a:gd name="T68" fmla="*/ 181 w 364"/>
                  <a:gd name="T69" fmla="*/ 37 h 364"/>
                  <a:gd name="T70" fmla="*/ 198 w 364"/>
                  <a:gd name="T71" fmla="*/ 37 h 364"/>
                  <a:gd name="T72" fmla="*/ 206 w 364"/>
                  <a:gd name="T73" fmla="*/ 40 h 364"/>
                  <a:gd name="T74" fmla="*/ 207 w 364"/>
                  <a:gd name="T75" fmla="*/ 48 h 364"/>
                  <a:gd name="T76" fmla="*/ 206 w 364"/>
                  <a:gd name="T77" fmla="*/ 69 h 364"/>
                  <a:gd name="T78" fmla="*/ 226 w 364"/>
                  <a:gd name="T79" fmla="*/ 71 h 364"/>
                  <a:gd name="T80" fmla="*/ 240 w 364"/>
                  <a:gd name="T81" fmla="*/ 75 h 364"/>
                  <a:gd name="T82" fmla="*/ 250 w 364"/>
                  <a:gd name="T83" fmla="*/ 83 h 364"/>
                  <a:gd name="T84" fmla="*/ 252 w 364"/>
                  <a:gd name="T85" fmla="*/ 93 h 364"/>
                  <a:gd name="T86" fmla="*/ 252 w 364"/>
                  <a:gd name="T87" fmla="*/ 114 h 364"/>
                  <a:gd name="T88" fmla="*/ 227 w 364"/>
                  <a:gd name="T89" fmla="*/ 112 h 364"/>
                  <a:gd name="T90" fmla="*/ 202 w 364"/>
                  <a:gd name="T91" fmla="*/ 111 h 364"/>
                  <a:gd name="T92" fmla="*/ 198 w 364"/>
                  <a:gd name="T93" fmla="*/ 161 h 364"/>
                  <a:gd name="T94" fmla="*/ 227 w 364"/>
                  <a:gd name="T95" fmla="*/ 173 h 364"/>
                  <a:gd name="T96" fmla="*/ 246 w 364"/>
                  <a:gd name="T97" fmla="*/ 185 h 364"/>
                  <a:gd name="T98" fmla="*/ 257 w 364"/>
                  <a:gd name="T99" fmla="*/ 203 h 364"/>
                  <a:gd name="T100" fmla="*/ 260 w 364"/>
                  <a:gd name="T101" fmla="*/ 227 h 364"/>
                  <a:gd name="T102" fmla="*/ 255 w 364"/>
                  <a:gd name="T103" fmla="*/ 25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4" h="364">
                    <a:moveTo>
                      <a:pt x="342" y="0"/>
                    </a:moveTo>
                    <a:cubicBezTo>
                      <a:pt x="0" y="0"/>
                      <a:pt x="0" y="0"/>
                      <a:pt x="0" y="0"/>
                    </a:cubicBezTo>
                    <a:cubicBezTo>
                      <a:pt x="0" y="341"/>
                      <a:pt x="0" y="341"/>
                      <a:pt x="0" y="341"/>
                    </a:cubicBezTo>
                    <a:cubicBezTo>
                      <a:pt x="0" y="354"/>
                      <a:pt x="10" y="364"/>
                      <a:pt x="22" y="364"/>
                    </a:cubicBezTo>
                    <a:cubicBezTo>
                      <a:pt x="364" y="364"/>
                      <a:pt x="364" y="364"/>
                      <a:pt x="364" y="364"/>
                    </a:cubicBezTo>
                    <a:cubicBezTo>
                      <a:pt x="364" y="25"/>
                      <a:pt x="364" y="25"/>
                      <a:pt x="364" y="25"/>
                    </a:cubicBezTo>
                    <a:cubicBezTo>
                      <a:pt x="364" y="12"/>
                      <a:pt x="354" y="0"/>
                      <a:pt x="342" y="0"/>
                    </a:cubicBezTo>
                    <a:moveTo>
                      <a:pt x="255" y="259"/>
                    </a:moveTo>
                    <a:cubicBezTo>
                      <a:pt x="252" y="267"/>
                      <a:pt x="248" y="274"/>
                      <a:pt x="242" y="280"/>
                    </a:cubicBezTo>
                    <a:cubicBezTo>
                      <a:pt x="236" y="285"/>
                      <a:pt x="228" y="289"/>
                      <a:pt x="219" y="292"/>
                    </a:cubicBezTo>
                    <a:cubicBezTo>
                      <a:pt x="210" y="294"/>
                      <a:pt x="200" y="296"/>
                      <a:pt x="188" y="296"/>
                    </a:cubicBezTo>
                    <a:cubicBezTo>
                      <a:pt x="185" y="330"/>
                      <a:pt x="185" y="330"/>
                      <a:pt x="185" y="330"/>
                    </a:cubicBezTo>
                    <a:cubicBezTo>
                      <a:pt x="168" y="330"/>
                      <a:pt x="168" y="330"/>
                      <a:pt x="168" y="330"/>
                    </a:cubicBezTo>
                    <a:cubicBezTo>
                      <a:pt x="164" y="330"/>
                      <a:pt x="162" y="329"/>
                      <a:pt x="161" y="327"/>
                    </a:cubicBezTo>
                    <a:cubicBezTo>
                      <a:pt x="160" y="325"/>
                      <a:pt x="159" y="323"/>
                      <a:pt x="159" y="320"/>
                    </a:cubicBezTo>
                    <a:cubicBezTo>
                      <a:pt x="161" y="296"/>
                      <a:pt x="161" y="296"/>
                      <a:pt x="161" y="296"/>
                    </a:cubicBezTo>
                    <a:cubicBezTo>
                      <a:pt x="153" y="296"/>
                      <a:pt x="146" y="295"/>
                      <a:pt x="140" y="294"/>
                    </a:cubicBezTo>
                    <a:cubicBezTo>
                      <a:pt x="133" y="293"/>
                      <a:pt x="128" y="292"/>
                      <a:pt x="124" y="290"/>
                    </a:cubicBezTo>
                    <a:cubicBezTo>
                      <a:pt x="119" y="288"/>
                      <a:pt x="116" y="286"/>
                      <a:pt x="114" y="284"/>
                    </a:cubicBezTo>
                    <a:cubicBezTo>
                      <a:pt x="112" y="281"/>
                      <a:pt x="111" y="278"/>
                      <a:pt x="111" y="275"/>
                    </a:cubicBezTo>
                    <a:cubicBezTo>
                      <a:pt x="111" y="251"/>
                      <a:pt x="111" y="251"/>
                      <a:pt x="111" y="251"/>
                    </a:cubicBezTo>
                    <a:cubicBezTo>
                      <a:pt x="115" y="251"/>
                      <a:pt x="119" y="251"/>
                      <a:pt x="124" y="252"/>
                    </a:cubicBezTo>
                    <a:cubicBezTo>
                      <a:pt x="129" y="252"/>
                      <a:pt x="134" y="252"/>
                      <a:pt x="138" y="252"/>
                    </a:cubicBezTo>
                    <a:cubicBezTo>
                      <a:pt x="143" y="252"/>
                      <a:pt x="148" y="253"/>
                      <a:pt x="152" y="253"/>
                    </a:cubicBezTo>
                    <a:cubicBezTo>
                      <a:pt x="157" y="253"/>
                      <a:pt x="161" y="253"/>
                      <a:pt x="165" y="253"/>
                    </a:cubicBezTo>
                    <a:cubicBezTo>
                      <a:pt x="169" y="202"/>
                      <a:pt x="169" y="202"/>
                      <a:pt x="169" y="202"/>
                    </a:cubicBezTo>
                    <a:cubicBezTo>
                      <a:pt x="158" y="198"/>
                      <a:pt x="149" y="195"/>
                      <a:pt x="141" y="191"/>
                    </a:cubicBezTo>
                    <a:cubicBezTo>
                      <a:pt x="133" y="186"/>
                      <a:pt x="127" y="182"/>
                      <a:pt x="122" y="176"/>
                    </a:cubicBezTo>
                    <a:cubicBezTo>
                      <a:pt x="117" y="171"/>
                      <a:pt x="114" y="165"/>
                      <a:pt x="112" y="159"/>
                    </a:cubicBezTo>
                    <a:cubicBezTo>
                      <a:pt x="110" y="152"/>
                      <a:pt x="109" y="145"/>
                      <a:pt x="109" y="137"/>
                    </a:cubicBezTo>
                    <a:cubicBezTo>
                      <a:pt x="109" y="124"/>
                      <a:pt x="110" y="114"/>
                      <a:pt x="114" y="106"/>
                    </a:cubicBezTo>
                    <a:cubicBezTo>
                      <a:pt x="117" y="97"/>
                      <a:pt x="122" y="90"/>
                      <a:pt x="128" y="85"/>
                    </a:cubicBezTo>
                    <a:cubicBezTo>
                      <a:pt x="134" y="80"/>
                      <a:pt x="142" y="76"/>
                      <a:pt x="150" y="74"/>
                    </a:cubicBezTo>
                    <a:cubicBezTo>
                      <a:pt x="159" y="71"/>
                      <a:pt x="168" y="70"/>
                      <a:pt x="179" y="69"/>
                    </a:cubicBezTo>
                    <a:cubicBezTo>
                      <a:pt x="181" y="37"/>
                      <a:pt x="181" y="37"/>
                      <a:pt x="181" y="37"/>
                    </a:cubicBezTo>
                    <a:cubicBezTo>
                      <a:pt x="198" y="37"/>
                      <a:pt x="198" y="37"/>
                      <a:pt x="198" y="37"/>
                    </a:cubicBezTo>
                    <a:cubicBezTo>
                      <a:pt x="202" y="37"/>
                      <a:pt x="205" y="38"/>
                      <a:pt x="206" y="40"/>
                    </a:cubicBezTo>
                    <a:cubicBezTo>
                      <a:pt x="207" y="42"/>
                      <a:pt x="207" y="45"/>
                      <a:pt x="207" y="48"/>
                    </a:cubicBezTo>
                    <a:cubicBezTo>
                      <a:pt x="206" y="69"/>
                      <a:pt x="206" y="69"/>
                      <a:pt x="206" y="69"/>
                    </a:cubicBezTo>
                    <a:cubicBezTo>
                      <a:pt x="213" y="69"/>
                      <a:pt x="220" y="70"/>
                      <a:pt x="226" y="71"/>
                    </a:cubicBezTo>
                    <a:cubicBezTo>
                      <a:pt x="231" y="73"/>
                      <a:pt x="236" y="74"/>
                      <a:pt x="240" y="75"/>
                    </a:cubicBezTo>
                    <a:cubicBezTo>
                      <a:pt x="246" y="78"/>
                      <a:pt x="249" y="80"/>
                      <a:pt x="250" y="83"/>
                    </a:cubicBezTo>
                    <a:cubicBezTo>
                      <a:pt x="251" y="87"/>
                      <a:pt x="252" y="90"/>
                      <a:pt x="252" y="93"/>
                    </a:cubicBezTo>
                    <a:cubicBezTo>
                      <a:pt x="252" y="114"/>
                      <a:pt x="252" y="114"/>
                      <a:pt x="252" y="114"/>
                    </a:cubicBezTo>
                    <a:cubicBezTo>
                      <a:pt x="244" y="113"/>
                      <a:pt x="236" y="112"/>
                      <a:pt x="227" y="112"/>
                    </a:cubicBezTo>
                    <a:cubicBezTo>
                      <a:pt x="219" y="112"/>
                      <a:pt x="211" y="111"/>
                      <a:pt x="202" y="111"/>
                    </a:cubicBezTo>
                    <a:cubicBezTo>
                      <a:pt x="198" y="161"/>
                      <a:pt x="198" y="161"/>
                      <a:pt x="198" y="161"/>
                    </a:cubicBezTo>
                    <a:cubicBezTo>
                      <a:pt x="210" y="165"/>
                      <a:pt x="219" y="169"/>
                      <a:pt x="227" y="173"/>
                    </a:cubicBezTo>
                    <a:cubicBezTo>
                      <a:pt x="235" y="176"/>
                      <a:pt x="241" y="180"/>
                      <a:pt x="246" y="185"/>
                    </a:cubicBezTo>
                    <a:cubicBezTo>
                      <a:pt x="251" y="190"/>
                      <a:pt x="254" y="196"/>
                      <a:pt x="257" y="203"/>
                    </a:cubicBezTo>
                    <a:cubicBezTo>
                      <a:pt x="259" y="209"/>
                      <a:pt x="260" y="218"/>
                      <a:pt x="260" y="227"/>
                    </a:cubicBezTo>
                    <a:cubicBezTo>
                      <a:pt x="260" y="240"/>
                      <a:pt x="258" y="250"/>
                      <a:pt x="255" y="2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42" name="Freeform 514"/>
              <p:cNvSpPr>
                <a:spLocks/>
              </p:cNvSpPr>
              <p:nvPr/>
            </p:nvSpPr>
            <p:spPr bwMode="auto">
              <a:xfrm>
                <a:off x="4459288" y="2305051"/>
                <a:ext cx="79375" cy="165100"/>
              </a:xfrm>
              <a:custGeom>
                <a:avLst/>
                <a:gdLst>
                  <a:gd name="T0" fmla="*/ 4 w 21"/>
                  <a:gd name="T1" fmla="*/ 6 h 44"/>
                  <a:gd name="T2" fmla="*/ 0 w 21"/>
                  <a:gd name="T3" fmla="*/ 22 h 44"/>
                  <a:gd name="T4" fmla="*/ 4 w 21"/>
                  <a:gd name="T5" fmla="*/ 36 h 44"/>
                  <a:gd name="T6" fmla="*/ 18 w 21"/>
                  <a:gd name="T7" fmla="*/ 44 h 44"/>
                  <a:gd name="T8" fmla="*/ 21 w 21"/>
                  <a:gd name="T9" fmla="*/ 0 h 44"/>
                  <a:gd name="T10" fmla="*/ 4 w 21"/>
                  <a:gd name="T11" fmla="*/ 6 h 44"/>
                </a:gdLst>
                <a:ahLst/>
                <a:cxnLst>
                  <a:cxn ang="0">
                    <a:pos x="T0" y="T1"/>
                  </a:cxn>
                  <a:cxn ang="0">
                    <a:pos x="T2" y="T3"/>
                  </a:cxn>
                  <a:cxn ang="0">
                    <a:pos x="T4" y="T5"/>
                  </a:cxn>
                  <a:cxn ang="0">
                    <a:pos x="T6" y="T7"/>
                  </a:cxn>
                  <a:cxn ang="0">
                    <a:pos x="T8" y="T9"/>
                  </a:cxn>
                  <a:cxn ang="0">
                    <a:pos x="T10" y="T11"/>
                  </a:cxn>
                </a:cxnLst>
                <a:rect l="0" t="0" r="r" b="b"/>
                <a:pathLst>
                  <a:path w="21" h="44">
                    <a:moveTo>
                      <a:pt x="4" y="6"/>
                    </a:moveTo>
                    <a:cubicBezTo>
                      <a:pt x="1" y="10"/>
                      <a:pt x="0" y="15"/>
                      <a:pt x="0" y="22"/>
                    </a:cubicBezTo>
                    <a:cubicBezTo>
                      <a:pt x="0" y="28"/>
                      <a:pt x="1" y="33"/>
                      <a:pt x="4" y="36"/>
                    </a:cubicBezTo>
                    <a:cubicBezTo>
                      <a:pt x="7" y="39"/>
                      <a:pt x="11" y="42"/>
                      <a:pt x="18" y="44"/>
                    </a:cubicBezTo>
                    <a:cubicBezTo>
                      <a:pt x="21" y="0"/>
                      <a:pt x="21" y="0"/>
                      <a:pt x="21" y="0"/>
                    </a:cubicBezTo>
                    <a:cubicBezTo>
                      <a:pt x="13" y="0"/>
                      <a:pt x="7" y="3"/>
                      <a:pt x="4"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43" name="Freeform 515"/>
              <p:cNvSpPr>
                <a:spLocks/>
              </p:cNvSpPr>
              <p:nvPr/>
            </p:nvSpPr>
            <p:spPr bwMode="auto">
              <a:xfrm>
                <a:off x="4598988" y="2662238"/>
                <a:ext cx="82550" cy="173038"/>
              </a:xfrm>
              <a:custGeom>
                <a:avLst/>
                <a:gdLst>
                  <a:gd name="T0" fmla="*/ 4 w 22"/>
                  <a:gd name="T1" fmla="*/ 0 h 46"/>
                  <a:gd name="T2" fmla="*/ 0 w 22"/>
                  <a:gd name="T3" fmla="*/ 46 h 46"/>
                  <a:gd name="T4" fmla="*/ 18 w 22"/>
                  <a:gd name="T5" fmla="*/ 39 h 46"/>
                  <a:gd name="T6" fmla="*/ 22 w 22"/>
                  <a:gd name="T7" fmla="*/ 23 h 46"/>
                  <a:gd name="T8" fmla="*/ 18 w 22"/>
                  <a:gd name="T9" fmla="*/ 7 h 46"/>
                  <a:gd name="T10" fmla="*/ 4 w 22"/>
                  <a:gd name="T11" fmla="*/ 0 h 46"/>
                </a:gdLst>
                <a:ahLst/>
                <a:cxnLst>
                  <a:cxn ang="0">
                    <a:pos x="T0" y="T1"/>
                  </a:cxn>
                  <a:cxn ang="0">
                    <a:pos x="T2" y="T3"/>
                  </a:cxn>
                  <a:cxn ang="0">
                    <a:pos x="T4" y="T5"/>
                  </a:cxn>
                  <a:cxn ang="0">
                    <a:pos x="T6" y="T7"/>
                  </a:cxn>
                  <a:cxn ang="0">
                    <a:pos x="T8" y="T9"/>
                  </a:cxn>
                  <a:cxn ang="0">
                    <a:pos x="T10" y="T11"/>
                  </a:cxn>
                </a:cxnLst>
                <a:rect l="0" t="0" r="r" b="b"/>
                <a:pathLst>
                  <a:path w="22" h="46">
                    <a:moveTo>
                      <a:pt x="4" y="0"/>
                    </a:moveTo>
                    <a:cubicBezTo>
                      <a:pt x="0" y="46"/>
                      <a:pt x="0" y="46"/>
                      <a:pt x="0" y="46"/>
                    </a:cubicBezTo>
                    <a:cubicBezTo>
                      <a:pt x="9" y="45"/>
                      <a:pt x="14" y="43"/>
                      <a:pt x="18" y="39"/>
                    </a:cubicBezTo>
                    <a:cubicBezTo>
                      <a:pt x="21" y="35"/>
                      <a:pt x="22" y="30"/>
                      <a:pt x="22" y="23"/>
                    </a:cubicBezTo>
                    <a:cubicBezTo>
                      <a:pt x="22" y="15"/>
                      <a:pt x="21" y="10"/>
                      <a:pt x="18" y="7"/>
                    </a:cubicBezTo>
                    <a:cubicBezTo>
                      <a:pt x="15" y="5"/>
                      <a:pt x="10"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nvGrpSpPr>
            <p:cNvPr id="444" name="Group 443"/>
            <p:cNvGrpSpPr/>
            <p:nvPr/>
          </p:nvGrpSpPr>
          <p:grpSpPr>
            <a:xfrm>
              <a:off x="2982992" y="2809769"/>
              <a:ext cx="399347" cy="399811"/>
              <a:chOff x="3879851" y="1882776"/>
              <a:chExt cx="1368425" cy="1370013"/>
            </a:xfrm>
            <a:solidFill>
              <a:srgbClr val="000000"/>
            </a:solidFill>
          </p:grpSpPr>
          <p:sp>
            <p:nvSpPr>
              <p:cNvPr id="445" name="Freeform 513"/>
              <p:cNvSpPr>
                <a:spLocks noEditPoints="1"/>
              </p:cNvSpPr>
              <p:nvPr/>
            </p:nvSpPr>
            <p:spPr bwMode="auto">
              <a:xfrm>
                <a:off x="3879851" y="1882776"/>
                <a:ext cx="1368425" cy="1370013"/>
              </a:xfrm>
              <a:custGeom>
                <a:avLst/>
                <a:gdLst>
                  <a:gd name="T0" fmla="*/ 342 w 364"/>
                  <a:gd name="T1" fmla="*/ 0 h 364"/>
                  <a:gd name="T2" fmla="*/ 0 w 364"/>
                  <a:gd name="T3" fmla="*/ 0 h 364"/>
                  <a:gd name="T4" fmla="*/ 0 w 364"/>
                  <a:gd name="T5" fmla="*/ 341 h 364"/>
                  <a:gd name="T6" fmla="*/ 22 w 364"/>
                  <a:gd name="T7" fmla="*/ 364 h 364"/>
                  <a:gd name="T8" fmla="*/ 364 w 364"/>
                  <a:gd name="T9" fmla="*/ 364 h 364"/>
                  <a:gd name="T10" fmla="*/ 364 w 364"/>
                  <a:gd name="T11" fmla="*/ 25 h 364"/>
                  <a:gd name="T12" fmla="*/ 342 w 364"/>
                  <a:gd name="T13" fmla="*/ 0 h 364"/>
                  <a:gd name="T14" fmla="*/ 255 w 364"/>
                  <a:gd name="T15" fmla="*/ 259 h 364"/>
                  <a:gd name="T16" fmla="*/ 242 w 364"/>
                  <a:gd name="T17" fmla="*/ 280 h 364"/>
                  <a:gd name="T18" fmla="*/ 219 w 364"/>
                  <a:gd name="T19" fmla="*/ 292 h 364"/>
                  <a:gd name="T20" fmla="*/ 188 w 364"/>
                  <a:gd name="T21" fmla="*/ 296 h 364"/>
                  <a:gd name="T22" fmla="*/ 185 w 364"/>
                  <a:gd name="T23" fmla="*/ 330 h 364"/>
                  <a:gd name="T24" fmla="*/ 168 w 364"/>
                  <a:gd name="T25" fmla="*/ 330 h 364"/>
                  <a:gd name="T26" fmla="*/ 161 w 364"/>
                  <a:gd name="T27" fmla="*/ 327 h 364"/>
                  <a:gd name="T28" fmla="*/ 159 w 364"/>
                  <a:gd name="T29" fmla="*/ 320 h 364"/>
                  <a:gd name="T30" fmla="*/ 161 w 364"/>
                  <a:gd name="T31" fmla="*/ 296 h 364"/>
                  <a:gd name="T32" fmla="*/ 140 w 364"/>
                  <a:gd name="T33" fmla="*/ 294 h 364"/>
                  <a:gd name="T34" fmla="*/ 124 w 364"/>
                  <a:gd name="T35" fmla="*/ 290 h 364"/>
                  <a:gd name="T36" fmla="*/ 114 w 364"/>
                  <a:gd name="T37" fmla="*/ 284 h 364"/>
                  <a:gd name="T38" fmla="*/ 111 w 364"/>
                  <a:gd name="T39" fmla="*/ 275 h 364"/>
                  <a:gd name="T40" fmla="*/ 111 w 364"/>
                  <a:gd name="T41" fmla="*/ 251 h 364"/>
                  <a:gd name="T42" fmla="*/ 124 w 364"/>
                  <a:gd name="T43" fmla="*/ 252 h 364"/>
                  <a:gd name="T44" fmla="*/ 138 w 364"/>
                  <a:gd name="T45" fmla="*/ 252 h 364"/>
                  <a:gd name="T46" fmla="*/ 152 w 364"/>
                  <a:gd name="T47" fmla="*/ 253 h 364"/>
                  <a:gd name="T48" fmla="*/ 165 w 364"/>
                  <a:gd name="T49" fmla="*/ 253 h 364"/>
                  <a:gd name="T50" fmla="*/ 169 w 364"/>
                  <a:gd name="T51" fmla="*/ 202 h 364"/>
                  <a:gd name="T52" fmla="*/ 141 w 364"/>
                  <a:gd name="T53" fmla="*/ 191 h 364"/>
                  <a:gd name="T54" fmla="*/ 122 w 364"/>
                  <a:gd name="T55" fmla="*/ 176 h 364"/>
                  <a:gd name="T56" fmla="*/ 112 w 364"/>
                  <a:gd name="T57" fmla="*/ 159 h 364"/>
                  <a:gd name="T58" fmla="*/ 109 w 364"/>
                  <a:gd name="T59" fmla="*/ 137 h 364"/>
                  <a:gd name="T60" fmla="*/ 114 w 364"/>
                  <a:gd name="T61" fmla="*/ 106 h 364"/>
                  <a:gd name="T62" fmla="*/ 128 w 364"/>
                  <a:gd name="T63" fmla="*/ 85 h 364"/>
                  <a:gd name="T64" fmla="*/ 150 w 364"/>
                  <a:gd name="T65" fmla="*/ 74 h 364"/>
                  <a:gd name="T66" fmla="*/ 179 w 364"/>
                  <a:gd name="T67" fmla="*/ 69 h 364"/>
                  <a:gd name="T68" fmla="*/ 181 w 364"/>
                  <a:gd name="T69" fmla="*/ 37 h 364"/>
                  <a:gd name="T70" fmla="*/ 198 w 364"/>
                  <a:gd name="T71" fmla="*/ 37 h 364"/>
                  <a:gd name="T72" fmla="*/ 206 w 364"/>
                  <a:gd name="T73" fmla="*/ 40 h 364"/>
                  <a:gd name="T74" fmla="*/ 207 w 364"/>
                  <a:gd name="T75" fmla="*/ 48 h 364"/>
                  <a:gd name="T76" fmla="*/ 206 w 364"/>
                  <a:gd name="T77" fmla="*/ 69 h 364"/>
                  <a:gd name="T78" fmla="*/ 226 w 364"/>
                  <a:gd name="T79" fmla="*/ 71 h 364"/>
                  <a:gd name="T80" fmla="*/ 240 w 364"/>
                  <a:gd name="T81" fmla="*/ 75 h 364"/>
                  <a:gd name="T82" fmla="*/ 250 w 364"/>
                  <a:gd name="T83" fmla="*/ 83 h 364"/>
                  <a:gd name="T84" fmla="*/ 252 w 364"/>
                  <a:gd name="T85" fmla="*/ 93 h 364"/>
                  <a:gd name="T86" fmla="*/ 252 w 364"/>
                  <a:gd name="T87" fmla="*/ 114 h 364"/>
                  <a:gd name="T88" fmla="*/ 227 w 364"/>
                  <a:gd name="T89" fmla="*/ 112 h 364"/>
                  <a:gd name="T90" fmla="*/ 202 w 364"/>
                  <a:gd name="T91" fmla="*/ 111 h 364"/>
                  <a:gd name="T92" fmla="*/ 198 w 364"/>
                  <a:gd name="T93" fmla="*/ 161 h 364"/>
                  <a:gd name="T94" fmla="*/ 227 w 364"/>
                  <a:gd name="T95" fmla="*/ 173 h 364"/>
                  <a:gd name="T96" fmla="*/ 246 w 364"/>
                  <a:gd name="T97" fmla="*/ 185 h 364"/>
                  <a:gd name="T98" fmla="*/ 257 w 364"/>
                  <a:gd name="T99" fmla="*/ 203 h 364"/>
                  <a:gd name="T100" fmla="*/ 260 w 364"/>
                  <a:gd name="T101" fmla="*/ 227 h 364"/>
                  <a:gd name="T102" fmla="*/ 255 w 364"/>
                  <a:gd name="T103" fmla="*/ 25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4" h="364">
                    <a:moveTo>
                      <a:pt x="342" y="0"/>
                    </a:moveTo>
                    <a:cubicBezTo>
                      <a:pt x="0" y="0"/>
                      <a:pt x="0" y="0"/>
                      <a:pt x="0" y="0"/>
                    </a:cubicBezTo>
                    <a:cubicBezTo>
                      <a:pt x="0" y="341"/>
                      <a:pt x="0" y="341"/>
                      <a:pt x="0" y="341"/>
                    </a:cubicBezTo>
                    <a:cubicBezTo>
                      <a:pt x="0" y="354"/>
                      <a:pt x="10" y="364"/>
                      <a:pt x="22" y="364"/>
                    </a:cubicBezTo>
                    <a:cubicBezTo>
                      <a:pt x="364" y="364"/>
                      <a:pt x="364" y="364"/>
                      <a:pt x="364" y="364"/>
                    </a:cubicBezTo>
                    <a:cubicBezTo>
                      <a:pt x="364" y="25"/>
                      <a:pt x="364" y="25"/>
                      <a:pt x="364" y="25"/>
                    </a:cubicBezTo>
                    <a:cubicBezTo>
                      <a:pt x="364" y="12"/>
                      <a:pt x="354" y="0"/>
                      <a:pt x="342" y="0"/>
                    </a:cubicBezTo>
                    <a:moveTo>
                      <a:pt x="255" y="259"/>
                    </a:moveTo>
                    <a:cubicBezTo>
                      <a:pt x="252" y="267"/>
                      <a:pt x="248" y="274"/>
                      <a:pt x="242" y="280"/>
                    </a:cubicBezTo>
                    <a:cubicBezTo>
                      <a:pt x="236" y="285"/>
                      <a:pt x="228" y="289"/>
                      <a:pt x="219" y="292"/>
                    </a:cubicBezTo>
                    <a:cubicBezTo>
                      <a:pt x="210" y="294"/>
                      <a:pt x="200" y="296"/>
                      <a:pt x="188" y="296"/>
                    </a:cubicBezTo>
                    <a:cubicBezTo>
                      <a:pt x="185" y="330"/>
                      <a:pt x="185" y="330"/>
                      <a:pt x="185" y="330"/>
                    </a:cubicBezTo>
                    <a:cubicBezTo>
                      <a:pt x="168" y="330"/>
                      <a:pt x="168" y="330"/>
                      <a:pt x="168" y="330"/>
                    </a:cubicBezTo>
                    <a:cubicBezTo>
                      <a:pt x="164" y="330"/>
                      <a:pt x="162" y="329"/>
                      <a:pt x="161" y="327"/>
                    </a:cubicBezTo>
                    <a:cubicBezTo>
                      <a:pt x="160" y="325"/>
                      <a:pt x="159" y="323"/>
                      <a:pt x="159" y="320"/>
                    </a:cubicBezTo>
                    <a:cubicBezTo>
                      <a:pt x="161" y="296"/>
                      <a:pt x="161" y="296"/>
                      <a:pt x="161" y="296"/>
                    </a:cubicBezTo>
                    <a:cubicBezTo>
                      <a:pt x="153" y="296"/>
                      <a:pt x="146" y="295"/>
                      <a:pt x="140" y="294"/>
                    </a:cubicBezTo>
                    <a:cubicBezTo>
                      <a:pt x="133" y="293"/>
                      <a:pt x="128" y="292"/>
                      <a:pt x="124" y="290"/>
                    </a:cubicBezTo>
                    <a:cubicBezTo>
                      <a:pt x="119" y="288"/>
                      <a:pt x="116" y="286"/>
                      <a:pt x="114" y="284"/>
                    </a:cubicBezTo>
                    <a:cubicBezTo>
                      <a:pt x="112" y="281"/>
                      <a:pt x="111" y="278"/>
                      <a:pt x="111" y="275"/>
                    </a:cubicBezTo>
                    <a:cubicBezTo>
                      <a:pt x="111" y="251"/>
                      <a:pt x="111" y="251"/>
                      <a:pt x="111" y="251"/>
                    </a:cubicBezTo>
                    <a:cubicBezTo>
                      <a:pt x="115" y="251"/>
                      <a:pt x="119" y="251"/>
                      <a:pt x="124" y="252"/>
                    </a:cubicBezTo>
                    <a:cubicBezTo>
                      <a:pt x="129" y="252"/>
                      <a:pt x="134" y="252"/>
                      <a:pt x="138" y="252"/>
                    </a:cubicBezTo>
                    <a:cubicBezTo>
                      <a:pt x="143" y="252"/>
                      <a:pt x="148" y="253"/>
                      <a:pt x="152" y="253"/>
                    </a:cubicBezTo>
                    <a:cubicBezTo>
                      <a:pt x="157" y="253"/>
                      <a:pt x="161" y="253"/>
                      <a:pt x="165" y="253"/>
                    </a:cubicBezTo>
                    <a:cubicBezTo>
                      <a:pt x="169" y="202"/>
                      <a:pt x="169" y="202"/>
                      <a:pt x="169" y="202"/>
                    </a:cubicBezTo>
                    <a:cubicBezTo>
                      <a:pt x="158" y="198"/>
                      <a:pt x="149" y="195"/>
                      <a:pt x="141" y="191"/>
                    </a:cubicBezTo>
                    <a:cubicBezTo>
                      <a:pt x="133" y="186"/>
                      <a:pt x="127" y="182"/>
                      <a:pt x="122" y="176"/>
                    </a:cubicBezTo>
                    <a:cubicBezTo>
                      <a:pt x="117" y="171"/>
                      <a:pt x="114" y="165"/>
                      <a:pt x="112" y="159"/>
                    </a:cubicBezTo>
                    <a:cubicBezTo>
                      <a:pt x="110" y="152"/>
                      <a:pt x="109" y="145"/>
                      <a:pt x="109" y="137"/>
                    </a:cubicBezTo>
                    <a:cubicBezTo>
                      <a:pt x="109" y="124"/>
                      <a:pt x="110" y="114"/>
                      <a:pt x="114" y="106"/>
                    </a:cubicBezTo>
                    <a:cubicBezTo>
                      <a:pt x="117" y="97"/>
                      <a:pt x="122" y="90"/>
                      <a:pt x="128" y="85"/>
                    </a:cubicBezTo>
                    <a:cubicBezTo>
                      <a:pt x="134" y="80"/>
                      <a:pt x="142" y="76"/>
                      <a:pt x="150" y="74"/>
                    </a:cubicBezTo>
                    <a:cubicBezTo>
                      <a:pt x="159" y="71"/>
                      <a:pt x="168" y="70"/>
                      <a:pt x="179" y="69"/>
                    </a:cubicBezTo>
                    <a:cubicBezTo>
                      <a:pt x="181" y="37"/>
                      <a:pt x="181" y="37"/>
                      <a:pt x="181" y="37"/>
                    </a:cubicBezTo>
                    <a:cubicBezTo>
                      <a:pt x="198" y="37"/>
                      <a:pt x="198" y="37"/>
                      <a:pt x="198" y="37"/>
                    </a:cubicBezTo>
                    <a:cubicBezTo>
                      <a:pt x="202" y="37"/>
                      <a:pt x="205" y="38"/>
                      <a:pt x="206" y="40"/>
                    </a:cubicBezTo>
                    <a:cubicBezTo>
                      <a:pt x="207" y="42"/>
                      <a:pt x="207" y="45"/>
                      <a:pt x="207" y="48"/>
                    </a:cubicBezTo>
                    <a:cubicBezTo>
                      <a:pt x="206" y="69"/>
                      <a:pt x="206" y="69"/>
                      <a:pt x="206" y="69"/>
                    </a:cubicBezTo>
                    <a:cubicBezTo>
                      <a:pt x="213" y="69"/>
                      <a:pt x="220" y="70"/>
                      <a:pt x="226" y="71"/>
                    </a:cubicBezTo>
                    <a:cubicBezTo>
                      <a:pt x="231" y="73"/>
                      <a:pt x="236" y="74"/>
                      <a:pt x="240" y="75"/>
                    </a:cubicBezTo>
                    <a:cubicBezTo>
                      <a:pt x="246" y="78"/>
                      <a:pt x="249" y="80"/>
                      <a:pt x="250" y="83"/>
                    </a:cubicBezTo>
                    <a:cubicBezTo>
                      <a:pt x="251" y="87"/>
                      <a:pt x="252" y="90"/>
                      <a:pt x="252" y="93"/>
                    </a:cubicBezTo>
                    <a:cubicBezTo>
                      <a:pt x="252" y="114"/>
                      <a:pt x="252" y="114"/>
                      <a:pt x="252" y="114"/>
                    </a:cubicBezTo>
                    <a:cubicBezTo>
                      <a:pt x="244" y="113"/>
                      <a:pt x="236" y="112"/>
                      <a:pt x="227" y="112"/>
                    </a:cubicBezTo>
                    <a:cubicBezTo>
                      <a:pt x="219" y="112"/>
                      <a:pt x="211" y="111"/>
                      <a:pt x="202" y="111"/>
                    </a:cubicBezTo>
                    <a:cubicBezTo>
                      <a:pt x="198" y="161"/>
                      <a:pt x="198" y="161"/>
                      <a:pt x="198" y="161"/>
                    </a:cubicBezTo>
                    <a:cubicBezTo>
                      <a:pt x="210" y="165"/>
                      <a:pt x="219" y="169"/>
                      <a:pt x="227" y="173"/>
                    </a:cubicBezTo>
                    <a:cubicBezTo>
                      <a:pt x="235" y="176"/>
                      <a:pt x="241" y="180"/>
                      <a:pt x="246" y="185"/>
                    </a:cubicBezTo>
                    <a:cubicBezTo>
                      <a:pt x="251" y="190"/>
                      <a:pt x="254" y="196"/>
                      <a:pt x="257" y="203"/>
                    </a:cubicBezTo>
                    <a:cubicBezTo>
                      <a:pt x="259" y="209"/>
                      <a:pt x="260" y="218"/>
                      <a:pt x="260" y="227"/>
                    </a:cubicBezTo>
                    <a:cubicBezTo>
                      <a:pt x="260" y="240"/>
                      <a:pt x="258" y="250"/>
                      <a:pt x="255" y="2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46" name="Freeform 514"/>
              <p:cNvSpPr>
                <a:spLocks/>
              </p:cNvSpPr>
              <p:nvPr/>
            </p:nvSpPr>
            <p:spPr bwMode="auto">
              <a:xfrm>
                <a:off x="4459288" y="2305051"/>
                <a:ext cx="79375" cy="165100"/>
              </a:xfrm>
              <a:custGeom>
                <a:avLst/>
                <a:gdLst>
                  <a:gd name="T0" fmla="*/ 4 w 21"/>
                  <a:gd name="T1" fmla="*/ 6 h 44"/>
                  <a:gd name="T2" fmla="*/ 0 w 21"/>
                  <a:gd name="T3" fmla="*/ 22 h 44"/>
                  <a:gd name="T4" fmla="*/ 4 w 21"/>
                  <a:gd name="T5" fmla="*/ 36 h 44"/>
                  <a:gd name="T6" fmla="*/ 18 w 21"/>
                  <a:gd name="T7" fmla="*/ 44 h 44"/>
                  <a:gd name="T8" fmla="*/ 21 w 21"/>
                  <a:gd name="T9" fmla="*/ 0 h 44"/>
                  <a:gd name="T10" fmla="*/ 4 w 21"/>
                  <a:gd name="T11" fmla="*/ 6 h 44"/>
                </a:gdLst>
                <a:ahLst/>
                <a:cxnLst>
                  <a:cxn ang="0">
                    <a:pos x="T0" y="T1"/>
                  </a:cxn>
                  <a:cxn ang="0">
                    <a:pos x="T2" y="T3"/>
                  </a:cxn>
                  <a:cxn ang="0">
                    <a:pos x="T4" y="T5"/>
                  </a:cxn>
                  <a:cxn ang="0">
                    <a:pos x="T6" y="T7"/>
                  </a:cxn>
                  <a:cxn ang="0">
                    <a:pos x="T8" y="T9"/>
                  </a:cxn>
                  <a:cxn ang="0">
                    <a:pos x="T10" y="T11"/>
                  </a:cxn>
                </a:cxnLst>
                <a:rect l="0" t="0" r="r" b="b"/>
                <a:pathLst>
                  <a:path w="21" h="44">
                    <a:moveTo>
                      <a:pt x="4" y="6"/>
                    </a:moveTo>
                    <a:cubicBezTo>
                      <a:pt x="1" y="10"/>
                      <a:pt x="0" y="15"/>
                      <a:pt x="0" y="22"/>
                    </a:cubicBezTo>
                    <a:cubicBezTo>
                      <a:pt x="0" y="28"/>
                      <a:pt x="1" y="33"/>
                      <a:pt x="4" y="36"/>
                    </a:cubicBezTo>
                    <a:cubicBezTo>
                      <a:pt x="7" y="39"/>
                      <a:pt x="11" y="42"/>
                      <a:pt x="18" y="44"/>
                    </a:cubicBezTo>
                    <a:cubicBezTo>
                      <a:pt x="21" y="0"/>
                      <a:pt x="21" y="0"/>
                      <a:pt x="21" y="0"/>
                    </a:cubicBezTo>
                    <a:cubicBezTo>
                      <a:pt x="13" y="0"/>
                      <a:pt x="7" y="3"/>
                      <a:pt x="4"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47" name="Freeform 515"/>
              <p:cNvSpPr>
                <a:spLocks/>
              </p:cNvSpPr>
              <p:nvPr/>
            </p:nvSpPr>
            <p:spPr bwMode="auto">
              <a:xfrm>
                <a:off x="4598988" y="2662238"/>
                <a:ext cx="82550" cy="173038"/>
              </a:xfrm>
              <a:custGeom>
                <a:avLst/>
                <a:gdLst>
                  <a:gd name="T0" fmla="*/ 4 w 22"/>
                  <a:gd name="T1" fmla="*/ 0 h 46"/>
                  <a:gd name="T2" fmla="*/ 0 w 22"/>
                  <a:gd name="T3" fmla="*/ 46 h 46"/>
                  <a:gd name="T4" fmla="*/ 18 w 22"/>
                  <a:gd name="T5" fmla="*/ 39 h 46"/>
                  <a:gd name="T6" fmla="*/ 22 w 22"/>
                  <a:gd name="T7" fmla="*/ 23 h 46"/>
                  <a:gd name="T8" fmla="*/ 18 w 22"/>
                  <a:gd name="T9" fmla="*/ 7 h 46"/>
                  <a:gd name="T10" fmla="*/ 4 w 22"/>
                  <a:gd name="T11" fmla="*/ 0 h 46"/>
                </a:gdLst>
                <a:ahLst/>
                <a:cxnLst>
                  <a:cxn ang="0">
                    <a:pos x="T0" y="T1"/>
                  </a:cxn>
                  <a:cxn ang="0">
                    <a:pos x="T2" y="T3"/>
                  </a:cxn>
                  <a:cxn ang="0">
                    <a:pos x="T4" y="T5"/>
                  </a:cxn>
                  <a:cxn ang="0">
                    <a:pos x="T6" y="T7"/>
                  </a:cxn>
                  <a:cxn ang="0">
                    <a:pos x="T8" y="T9"/>
                  </a:cxn>
                  <a:cxn ang="0">
                    <a:pos x="T10" y="T11"/>
                  </a:cxn>
                </a:cxnLst>
                <a:rect l="0" t="0" r="r" b="b"/>
                <a:pathLst>
                  <a:path w="22" h="46">
                    <a:moveTo>
                      <a:pt x="4" y="0"/>
                    </a:moveTo>
                    <a:cubicBezTo>
                      <a:pt x="0" y="46"/>
                      <a:pt x="0" y="46"/>
                      <a:pt x="0" y="46"/>
                    </a:cubicBezTo>
                    <a:cubicBezTo>
                      <a:pt x="9" y="45"/>
                      <a:pt x="14" y="43"/>
                      <a:pt x="18" y="39"/>
                    </a:cubicBezTo>
                    <a:cubicBezTo>
                      <a:pt x="21" y="35"/>
                      <a:pt x="22" y="30"/>
                      <a:pt x="22" y="23"/>
                    </a:cubicBezTo>
                    <a:cubicBezTo>
                      <a:pt x="22" y="15"/>
                      <a:pt x="21" y="10"/>
                      <a:pt x="18" y="7"/>
                    </a:cubicBezTo>
                    <a:cubicBezTo>
                      <a:pt x="15" y="5"/>
                      <a:pt x="10"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nvGrpSpPr>
            <p:cNvPr id="448" name="Group 447"/>
            <p:cNvGrpSpPr/>
            <p:nvPr/>
          </p:nvGrpSpPr>
          <p:grpSpPr>
            <a:xfrm>
              <a:off x="3424758" y="2809769"/>
              <a:ext cx="399347" cy="399811"/>
              <a:chOff x="3879851" y="1882776"/>
              <a:chExt cx="1368425" cy="1370013"/>
            </a:xfrm>
            <a:solidFill>
              <a:srgbClr val="000000"/>
            </a:solidFill>
          </p:grpSpPr>
          <p:sp>
            <p:nvSpPr>
              <p:cNvPr id="449" name="Freeform 513"/>
              <p:cNvSpPr>
                <a:spLocks noEditPoints="1"/>
              </p:cNvSpPr>
              <p:nvPr/>
            </p:nvSpPr>
            <p:spPr bwMode="auto">
              <a:xfrm>
                <a:off x="3879851" y="1882776"/>
                <a:ext cx="1368425" cy="1370013"/>
              </a:xfrm>
              <a:custGeom>
                <a:avLst/>
                <a:gdLst>
                  <a:gd name="T0" fmla="*/ 342 w 364"/>
                  <a:gd name="T1" fmla="*/ 0 h 364"/>
                  <a:gd name="T2" fmla="*/ 0 w 364"/>
                  <a:gd name="T3" fmla="*/ 0 h 364"/>
                  <a:gd name="T4" fmla="*/ 0 w 364"/>
                  <a:gd name="T5" fmla="*/ 341 h 364"/>
                  <a:gd name="T6" fmla="*/ 22 w 364"/>
                  <a:gd name="T7" fmla="*/ 364 h 364"/>
                  <a:gd name="T8" fmla="*/ 364 w 364"/>
                  <a:gd name="T9" fmla="*/ 364 h 364"/>
                  <a:gd name="T10" fmla="*/ 364 w 364"/>
                  <a:gd name="T11" fmla="*/ 25 h 364"/>
                  <a:gd name="T12" fmla="*/ 342 w 364"/>
                  <a:gd name="T13" fmla="*/ 0 h 364"/>
                  <a:gd name="T14" fmla="*/ 255 w 364"/>
                  <a:gd name="T15" fmla="*/ 259 h 364"/>
                  <a:gd name="T16" fmla="*/ 242 w 364"/>
                  <a:gd name="T17" fmla="*/ 280 h 364"/>
                  <a:gd name="T18" fmla="*/ 219 w 364"/>
                  <a:gd name="T19" fmla="*/ 292 h 364"/>
                  <a:gd name="T20" fmla="*/ 188 w 364"/>
                  <a:gd name="T21" fmla="*/ 296 h 364"/>
                  <a:gd name="T22" fmla="*/ 185 w 364"/>
                  <a:gd name="T23" fmla="*/ 330 h 364"/>
                  <a:gd name="T24" fmla="*/ 168 w 364"/>
                  <a:gd name="T25" fmla="*/ 330 h 364"/>
                  <a:gd name="T26" fmla="*/ 161 w 364"/>
                  <a:gd name="T27" fmla="*/ 327 h 364"/>
                  <a:gd name="T28" fmla="*/ 159 w 364"/>
                  <a:gd name="T29" fmla="*/ 320 h 364"/>
                  <a:gd name="T30" fmla="*/ 161 w 364"/>
                  <a:gd name="T31" fmla="*/ 296 h 364"/>
                  <a:gd name="T32" fmla="*/ 140 w 364"/>
                  <a:gd name="T33" fmla="*/ 294 h 364"/>
                  <a:gd name="T34" fmla="*/ 124 w 364"/>
                  <a:gd name="T35" fmla="*/ 290 h 364"/>
                  <a:gd name="T36" fmla="*/ 114 w 364"/>
                  <a:gd name="T37" fmla="*/ 284 h 364"/>
                  <a:gd name="T38" fmla="*/ 111 w 364"/>
                  <a:gd name="T39" fmla="*/ 275 h 364"/>
                  <a:gd name="T40" fmla="*/ 111 w 364"/>
                  <a:gd name="T41" fmla="*/ 251 h 364"/>
                  <a:gd name="T42" fmla="*/ 124 w 364"/>
                  <a:gd name="T43" fmla="*/ 252 h 364"/>
                  <a:gd name="T44" fmla="*/ 138 w 364"/>
                  <a:gd name="T45" fmla="*/ 252 h 364"/>
                  <a:gd name="T46" fmla="*/ 152 w 364"/>
                  <a:gd name="T47" fmla="*/ 253 h 364"/>
                  <a:gd name="T48" fmla="*/ 165 w 364"/>
                  <a:gd name="T49" fmla="*/ 253 h 364"/>
                  <a:gd name="T50" fmla="*/ 169 w 364"/>
                  <a:gd name="T51" fmla="*/ 202 h 364"/>
                  <a:gd name="T52" fmla="*/ 141 w 364"/>
                  <a:gd name="T53" fmla="*/ 191 h 364"/>
                  <a:gd name="T54" fmla="*/ 122 w 364"/>
                  <a:gd name="T55" fmla="*/ 176 h 364"/>
                  <a:gd name="T56" fmla="*/ 112 w 364"/>
                  <a:gd name="T57" fmla="*/ 159 h 364"/>
                  <a:gd name="T58" fmla="*/ 109 w 364"/>
                  <a:gd name="T59" fmla="*/ 137 h 364"/>
                  <a:gd name="T60" fmla="*/ 114 w 364"/>
                  <a:gd name="T61" fmla="*/ 106 h 364"/>
                  <a:gd name="T62" fmla="*/ 128 w 364"/>
                  <a:gd name="T63" fmla="*/ 85 h 364"/>
                  <a:gd name="T64" fmla="*/ 150 w 364"/>
                  <a:gd name="T65" fmla="*/ 74 h 364"/>
                  <a:gd name="T66" fmla="*/ 179 w 364"/>
                  <a:gd name="T67" fmla="*/ 69 h 364"/>
                  <a:gd name="T68" fmla="*/ 181 w 364"/>
                  <a:gd name="T69" fmla="*/ 37 h 364"/>
                  <a:gd name="T70" fmla="*/ 198 w 364"/>
                  <a:gd name="T71" fmla="*/ 37 h 364"/>
                  <a:gd name="T72" fmla="*/ 206 w 364"/>
                  <a:gd name="T73" fmla="*/ 40 h 364"/>
                  <a:gd name="T74" fmla="*/ 207 w 364"/>
                  <a:gd name="T75" fmla="*/ 48 h 364"/>
                  <a:gd name="T76" fmla="*/ 206 w 364"/>
                  <a:gd name="T77" fmla="*/ 69 h 364"/>
                  <a:gd name="T78" fmla="*/ 226 w 364"/>
                  <a:gd name="T79" fmla="*/ 71 h 364"/>
                  <a:gd name="T80" fmla="*/ 240 w 364"/>
                  <a:gd name="T81" fmla="*/ 75 h 364"/>
                  <a:gd name="T82" fmla="*/ 250 w 364"/>
                  <a:gd name="T83" fmla="*/ 83 h 364"/>
                  <a:gd name="T84" fmla="*/ 252 w 364"/>
                  <a:gd name="T85" fmla="*/ 93 h 364"/>
                  <a:gd name="T86" fmla="*/ 252 w 364"/>
                  <a:gd name="T87" fmla="*/ 114 h 364"/>
                  <a:gd name="T88" fmla="*/ 227 w 364"/>
                  <a:gd name="T89" fmla="*/ 112 h 364"/>
                  <a:gd name="T90" fmla="*/ 202 w 364"/>
                  <a:gd name="T91" fmla="*/ 111 h 364"/>
                  <a:gd name="T92" fmla="*/ 198 w 364"/>
                  <a:gd name="T93" fmla="*/ 161 h 364"/>
                  <a:gd name="T94" fmla="*/ 227 w 364"/>
                  <a:gd name="T95" fmla="*/ 173 h 364"/>
                  <a:gd name="T96" fmla="*/ 246 w 364"/>
                  <a:gd name="T97" fmla="*/ 185 h 364"/>
                  <a:gd name="T98" fmla="*/ 257 w 364"/>
                  <a:gd name="T99" fmla="*/ 203 h 364"/>
                  <a:gd name="T100" fmla="*/ 260 w 364"/>
                  <a:gd name="T101" fmla="*/ 227 h 364"/>
                  <a:gd name="T102" fmla="*/ 255 w 364"/>
                  <a:gd name="T103" fmla="*/ 25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4" h="364">
                    <a:moveTo>
                      <a:pt x="342" y="0"/>
                    </a:moveTo>
                    <a:cubicBezTo>
                      <a:pt x="0" y="0"/>
                      <a:pt x="0" y="0"/>
                      <a:pt x="0" y="0"/>
                    </a:cubicBezTo>
                    <a:cubicBezTo>
                      <a:pt x="0" y="341"/>
                      <a:pt x="0" y="341"/>
                      <a:pt x="0" y="341"/>
                    </a:cubicBezTo>
                    <a:cubicBezTo>
                      <a:pt x="0" y="354"/>
                      <a:pt x="10" y="364"/>
                      <a:pt x="22" y="364"/>
                    </a:cubicBezTo>
                    <a:cubicBezTo>
                      <a:pt x="364" y="364"/>
                      <a:pt x="364" y="364"/>
                      <a:pt x="364" y="364"/>
                    </a:cubicBezTo>
                    <a:cubicBezTo>
                      <a:pt x="364" y="25"/>
                      <a:pt x="364" y="25"/>
                      <a:pt x="364" y="25"/>
                    </a:cubicBezTo>
                    <a:cubicBezTo>
                      <a:pt x="364" y="12"/>
                      <a:pt x="354" y="0"/>
                      <a:pt x="342" y="0"/>
                    </a:cubicBezTo>
                    <a:moveTo>
                      <a:pt x="255" y="259"/>
                    </a:moveTo>
                    <a:cubicBezTo>
                      <a:pt x="252" y="267"/>
                      <a:pt x="248" y="274"/>
                      <a:pt x="242" y="280"/>
                    </a:cubicBezTo>
                    <a:cubicBezTo>
                      <a:pt x="236" y="285"/>
                      <a:pt x="228" y="289"/>
                      <a:pt x="219" y="292"/>
                    </a:cubicBezTo>
                    <a:cubicBezTo>
                      <a:pt x="210" y="294"/>
                      <a:pt x="200" y="296"/>
                      <a:pt x="188" y="296"/>
                    </a:cubicBezTo>
                    <a:cubicBezTo>
                      <a:pt x="185" y="330"/>
                      <a:pt x="185" y="330"/>
                      <a:pt x="185" y="330"/>
                    </a:cubicBezTo>
                    <a:cubicBezTo>
                      <a:pt x="168" y="330"/>
                      <a:pt x="168" y="330"/>
                      <a:pt x="168" y="330"/>
                    </a:cubicBezTo>
                    <a:cubicBezTo>
                      <a:pt x="164" y="330"/>
                      <a:pt x="162" y="329"/>
                      <a:pt x="161" y="327"/>
                    </a:cubicBezTo>
                    <a:cubicBezTo>
                      <a:pt x="160" y="325"/>
                      <a:pt x="159" y="323"/>
                      <a:pt x="159" y="320"/>
                    </a:cubicBezTo>
                    <a:cubicBezTo>
                      <a:pt x="161" y="296"/>
                      <a:pt x="161" y="296"/>
                      <a:pt x="161" y="296"/>
                    </a:cubicBezTo>
                    <a:cubicBezTo>
                      <a:pt x="153" y="296"/>
                      <a:pt x="146" y="295"/>
                      <a:pt x="140" y="294"/>
                    </a:cubicBezTo>
                    <a:cubicBezTo>
                      <a:pt x="133" y="293"/>
                      <a:pt x="128" y="292"/>
                      <a:pt x="124" y="290"/>
                    </a:cubicBezTo>
                    <a:cubicBezTo>
                      <a:pt x="119" y="288"/>
                      <a:pt x="116" y="286"/>
                      <a:pt x="114" y="284"/>
                    </a:cubicBezTo>
                    <a:cubicBezTo>
                      <a:pt x="112" y="281"/>
                      <a:pt x="111" y="278"/>
                      <a:pt x="111" y="275"/>
                    </a:cubicBezTo>
                    <a:cubicBezTo>
                      <a:pt x="111" y="251"/>
                      <a:pt x="111" y="251"/>
                      <a:pt x="111" y="251"/>
                    </a:cubicBezTo>
                    <a:cubicBezTo>
                      <a:pt x="115" y="251"/>
                      <a:pt x="119" y="251"/>
                      <a:pt x="124" y="252"/>
                    </a:cubicBezTo>
                    <a:cubicBezTo>
                      <a:pt x="129" y="252"/>
                      <a:pt x="134" y="252"/>
                      <a:pt x="138" y="252"/>
                    </a:cubicBezTo>
                    <a:cubicBezTo>
                      <a:pt x="143" y="252"/>
                      <a:pt x="148" y="253"/>
                      <a:pt x="152" y="253"/>
                    </a:cubicBezTo>
                    <a:cubicBezTo>
                      <a:pt x="157" y="253"/>
                      <a:pt x="161" y="253"/>
                      <a:pt x="165" y="253"/>
                    </a:cubicBezTo>
                    <a:cubicBezTo>
                      <a:pt x="169" y="202"/>
                      <a:pt x="169" y="202"/>
                      <a:pt x="169" y="202"/>
                    </a:cubicBezTo>
                    <a:cubicBezTo>
                      <a:pt x="158" y="198"/>
                      <a:pt x="149" y="195"/>
                      <a:pt x="141" y="191"/>
                    </a:cubicBezTo>
                    <a:cubicBezTo>
                      <a:pt x="133" y="186"/>
                      <a:pt x="127" y="182"/>
                      <a:pt x="122" y="176"/>
                    </a:cubicBezTo>
                    <a:cubicBezTo>
                      <a:pt x="117" y="171"/>
                      <a:pt x="114" y="165"/>
                      <a:pt x="112" y="159"/>
                    </a:cubicBezTo>
                    <a:cubicBezTo>
                      <a:pt x="110" y="152"/>
                      <a:pt x="109" y="145"/>
                      <a:pt x="109" y="137"/>
                    </a:cubicBezTo>
                    <a:cubicBezTo>
                      <a:pt x="109" y="124"/>
                      <a:pt x="110" y="114"/>
                      <a:pt x="114" y="106"/>
                    </a:cubicBezTo>
                    <a:cubicBezTo>
                      <a:pt x="117" y="97"/>
                      <a:pt x="122" y="90"/>
                      <a:pt x="128" y="85"/>
                    </a:cubicBezTo>
                    <a:cubicBezTo>
                      <a:pt x="134" y="80"/>
                      <a:pt x="142" y="76"/>
                      <a:pt x="150" y="74"/>
                    </a:cubicBezTo>
                    <a:cubicBezTo>
                      <a:pt x="159" y="71"/>
                      <a:pt x="168" y="70"/>
                      <a:pt x="179" y="69"/>
                    </a:cubicBezTo>
                    <a:cubicBezTo>
                      <a:pt x="181" y="37"/>
                      <a:pt x="181" y="37"/>
                      <a:pt x="181" y="37"/>
                    </a:cubicBezTo>
                    <a:cubicBezTo>
                      <a:pt x="198" y="37"/>
                      <a:pt x="198" y="37"/>
                      <a:pt x="198" y="37"/>
                    </a:cubicBezTo>
                    <a:cubicBezTo>
                      <a:pt x="202" y="37"/>
                      <a:pt x="205" y="38"/>
                      <a:pt x="206" y="40"/>
                    </a:cubicBezTo>
                    <a:cubicBezTo>
                      <a:pt x="207" y="42"/>
                      <a:pt x="207" y="45"/>
                      <a:pt x="207" y="48"/>
                    </a:cubicBezTo>
                    <a:cubicBezTo>
                      <a:pt x="206" y="69"/>
                      <a:pt x="206" y="69"/>
                      <a:pt x="206" y="69"/>
                    </a:cubicBezTo>
                    <a:cubicBezTo>
                      <a:pt x="213" y="69"/>
                      <a:pt x="220" y="70"/>
                      <a:pt x="226" y="71"/>
                    </a:cubicBezTo>
                    <a:cubicBezTo>
                      <a:pt x="231" y="73"/>
                      <a:pt x="236" y="74"/>
                      <a:pt x="240" y="75"/>
                    </a:cubicBezTo>
                    <a:cubicBezTo>
                      <a:pt x="246" y="78"/>
                      <a:pt x="249" y="80"/>
                      <a:pt x="250" y="83"/>
                    </a:cubicBezTo>
                    <a:cubicBezTo>
                      <a:pt x="251" y="87"/>
                      <a:pt x="252" y="90"/>
                      <a:pt x="252" y="93"/>
                    </a:cubicBezTo>
                    <a:cubicBezTo>
                      <a:pt x="252" y="114"/>
                      <a:pt x="252" y="114"/>
                      <a:pt x="252" y="114"/>
                    </a:cubicBezTo>
                    <a:cubicBezTo>
                      <a:pt x="244" y="113"/>
                      <a:pt x="236" y="112"/>
                      <a:pt x="227" y="112"/>
                    </a:cubicBezTo>
                    <a:cubicBezTo>
                      <a:pt x="219" y="112"/>
                      <a:pt x="211" y="111"/>
                      <a:pt x="202" y="111"/>
                    </a:cubicBezTo>
                    <a:cubicBezTo>
                      <a:pt x="198" y="161"/>
                      <a:pt x="198" y="161"/>
                      <a:pt x="198" y="161"/>
                    </a:cubicBezTo>
                    <a:cubicBezTo>
                      <a:pt x="210" y="165"/>
                      <a:pt x="219" y="169"/>
                      <a:pt x="227" y="173"/>
                    </a:cubicBezTo>
                    <a:cubicBezTo>
                      <a:pt x="235" y="176"/>
                      <a:pt x="241" y="180"/>
                      <a:pt x="246" y="185"/>
                    </a:cubicBezTo>
                    <a:cubicBezTo>
                      <a:pt x="251" y="190"/>
                      <a:pt x="254" y="196"/>
                      <a:pt x="257" y="203"/>
                    </a:cubicBezTo>
                    <a:cubicBezTo>
                      <a:pt x="259" y="209"/>
                      <a:pt x="260" y="218"/>
                      <a:pt x="260" y="227"/>
                    </a:cubicBezTo>
                    <a:cubicBezTo>
                      <a:pt x="260" y="240"/>
                      <a:pt x="258" y="250"/>
                      <a:pt x="255" y="2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50" name="Freeform 514"/>
              <p:cNvSpPr>
                <a:spLocks/>
              </p:cNvSpPr>
              <p:nvPr/>
            </p:nvSpPr>
            <p:spPr bwMode="auto">
              <a:xfrm>
                <a:off x="4459288" y="2305051"/>
                <a:ext cx="79375" cy="165100"/>
              </a:xfrm>
              <a:custGeom>
                <a:avLst/>
                <a:gdLst>
                  <a:gd name="T0" fmla="*/ 4 w 21"/>
                  <a:gd name="T1" fmla="*/ 6 h 44"/>
                  <a:gd name="T2" fmla="*/ 0 w 21"/>
                  <a:gd name="T3" fmla="*/ 22 h 44"/>
                  <a:gd name="T4" fmla="*/ 4 w 21"/>
                  <a:gd name="T5" fmla="*/ 36 h 44"/>
                  <a:gd name="T6" fmla="*/ 18 w 21"/>
                  <a:gd name="T7" fmla="*/ 44 h 44"/>
                  <a:gd name="T8" fmla="*/ 21 w 21"/>
                  <a:gd name="T9" fmla="*/ 0 h 44"/>
                  <a:gd name="T10" fmla="*/ 4 w 21"/>
                  <a:gd name="T11" fmla="*/ 6 h 44"/>
                </a:gdLst>
                <a:ahLst/>
                <a:cxnLst>
                  <a:cxn ang="0">
                    <a:pos x="T0" y="T1"/>
                  </a:cxn>
                  <a:cxn ang="0">
                    <a:pos x="T2" y="T3"/>
                  </a:cxn>
                  <a:cxn ang="0">
                    <a:pos x="T4" y="T5"/>
                  </a:cxn>
                  <a:cxn ang="0">
                    <a:pos x="T6" y="T7"/>
                  </a:cxn>
                  <a:cxn ang="0">
                    <a:pos x="T8" y="T9"/>
                  </a:cxn>
                  <a:cxn ang="0">
                    <a:pos x="T10" y="T11"/>
                  </a:cxn>
                </a:cxnLst>
                <a:rect l="0" t="0" r="r" b="b"/>
                <a:pathLst>
                  <a:path w="21" h="44">
                    <a:moveTo>
                      <a:pt x="4" y="6"/>
                    </a:moveTo>
                    <a:cubicBezTo>
                      <a:pt x="1" y="10"/>
                      <a:pt x="0" y="15"/>
                      <a:pt x="0" y="22"/>
                    </a:cubicBezTo>
                    <a:cubicBezTo>
                      <a:pt x="0" y="28"/>
                      <a:pt x="1" y="33"/>
                      <a:pt x="4" y="36"/>
                    </a:cubicBezTo>
                    <a:cubicBezTo>
                      <a:pt x="7" y="39"/>
                      <a:pt x="11" y="42"/>
                      <a:pt x="18" y="44"/>
                    </a:cubicBezTo>
                    <a:cubicBezTo>
                      <a:pt x="21" y="0"/>
                      <a:pt x="21" y="0"/>
                      <a:pt x="21" y="0"/>
                    </a:cubicBezTo>
                    <a:cubicBezTo>
                      <a:pt x="13" y="0"/>
                      <a:pt x="7" y="3"/>
                      <a:pt x="4"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51" name="Freeform 515"/>
              <p:cNvSpPr>
                <a:spLocks/>
              </p:cNvSpPr>
              <p:nvPr/>
            </p:nvSpPr>
            <p:spPr bwMode="auto">
              <a:xfrm>
                <a:off x="4598988" y="2662238"/>
                <a:ext cx="82550" cy="173038"/>
              </a:xfrm>
              <a:custGeom>
                <a:avLst/>
                <a:gdLst>
                  <a:gd name="T0" fmla="*/ 4 w 22"/>
                  <a:gd name="T1" fmla="*/ 0 h 46"/>
                  <a:gd name="T2" fmla="*/ 0 w 22"/>
                  <a:gd name="T3" fmla="*/ 46 h 46"/>
                  <a:gd name="T4" fmla="*/ 18 w 22"/>
                  <a:gd name="T5" fmla="*/ 39 h 46"/>
                  <a:gd name="T6" fmla="*/ 22 w 22"/>
                  <a:gd name="T7" fmla="*/ 23 h 46"/>
                  <a:gd name="T8" fmla="*/ 18 w 22"/>
                  <a:gd name="T9" fmla="*/ 7 h 46"/>
                  <a:gd name="T10" fmla="*/ 4 w 22"/>
                  <a:gd name="T11" fmla="*/ 0 h 46"/>
                </a:gdLst>
                <a:ahLst/>
                <a:cxnLst>
                  <a:cxn ang="0">
                    <a:pos x="T0" y="T1"/>
                  </a:cxn>
                  <a:cxn ang="0">
                    <a:pos x="T2" y="T3"/>
                  </a:cxn>
                  <a:cxn ang="0">
                    <a:pos x="T4" y="T5"/>
                  </a:cxn>
                  <a:cxn ang="0">
                    <a:pos x="T6" y="T7"/>
                  </a:cxn>
                  <a:cxn ang="0">
                    <a:pos x="T8" y="T9"/>
                  </a:cxn>
                  <a:cxn ang="0">
                    <a:pos x="T10" y="T11"/>
                  </a:cxn>
                </a:cxnLst>
                <a:rect l="0" t="0" r="r" b="b"/>
                <a:pathLst>
                  <a:path w="22" h="46">
                    <a:moveTo>
                      <a:pt x="4" y="0"/>
                    </a:moveTo>
                    <a:cubicBezTo>
                      <a:pt x="0" y="46"/>
                      <a:pt x="0" y="46"/>
                      <a:pt x="0" y="46"/>
                    </a:cubicBezTo>
                    <a:cubicBezTo>
                      <a:pt x="9" y="45"/>
                      <a:pt x="14" y="43"/>
                      <a:pt x="18" y="39"/>
                    </a:cubicBezTo>
                    <a:cubicBezTo>
                      <a:pt x="21" y="35"/>
                      <a:pt x="22" y="30"/>
                      <a:pt x="22" y="23"/>
                    </a:cubicBezTo>
                    <a:cubicBezTo>
                      <a:pt x="22" y="15"/>
                      <a:pt x="21" y="10"/>
                      <a:pt x="18" y="7"/>
                    </a:cubicBezTo>
                    <a:cubicBezTo>
                      <a:pt x="15" y="5"/>
                      <a:pt x="10"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sp>
        <p:nvSpPr>
          <p:cNvPr id="453" name="TextBox 452"/>
          <p:cNvSpPr txBox="1"/>
          <p:nvPr/>
        </p:nvSpPr>
        <p:spPr>
          <a:xfrm>
            <a:off x="8313785" y="3523523"/>
            <a:ext cx="2028685" cy="408176"/>
          </a:xfrm>
          <a:prstGeom prst="rect">
            <a:avLst/>
          </a:prstGeom>
          <a:noFill/>
        </p:spPr>
        <p:txBody>
          <a:bodyPr wrap="square" lIns="129909" tIns="64954" rIns="129909" bIns="64954" rtlCol="0">
            <a:spAutoFit/>
          </a:bodyPr>
          <a:lstStyle/>
          <a:p>
            <a:pPr defTabSz="611204">
              <a:spcAft>
                <a:spcPts val="568"/>
              </a:spcAft>
              <a:buSzPct val="100000"/>
            </a:pPr>
            <a:r>
              <a:rPr lang="zh-CN" altLang="en-US" sz="1800" b="1" dirty="0" smtClean="0">
                <a:solidFill>
                  <a:srgbClr val="002060"/>
                </a:solidFill>
                <a:latin typeface="微软雅黑" pitchFamily="34" charset="-122"/>
                <a:ea typeface="微软雅黑" pitchFamily="34" charset="-122"/>
                <a:cs typeface="HP Simplified" pitchFamily="34" charset="0"/>
              </a:rPr>
              <a:t>我们的企业</a:t>
            </a:r>
            <a:endParaRPr lang="en-US" sz="1800" b="1" dirty="0" smtClean="0">
              <a:solidFill>
                <a:srgbClr val="002060"/>
              </a:solidFill>
              <a:latin typeface="微软雅黑" pitchFamily="34" charset="-122"/>
              <a:ea typeface="微软雅黑" pitchFamily="34" charset="-122"/>
              <a:cs typeface="HP Simplified" pitchFamily="34" charset="0"/>
            </a:endParaRPr>
          </a:p>
        </p:txBody>
      </p:sp>
      <p:sp>
        <p:nvSpPr>
          <p:cNvPr id="455" name="TextBox 454"/>
          <p:cNvSpPr txBox="1"/>
          <p:nvPr/>
        </p:nvSpPr>
        <p:spPr>
          <a:xfrm>
            <a:off x="2641694" y="3523524"/>
            <a:ext cx="2462650" cy="377398"/>
          </a:xfrm>
          <a:prstGeom prst="rect">
            <a:avLst/>
          </a:prstGeom>
          <a:noFill/>
        </p:spPr>
        <p:txBody>
          <a:bodyPr wrap="square" lIns="129909" tIns="64954" rIns="129909" bIns="64954" rtlCol="0">
            <a:spAutoFit/>
          </a:bodyPr>
          <a:lstStyle/>
          <a:p>
            <a:pPr defTabSz="611204">
              <a:spcAft>
                <a:spcPts val="568"/>
              </a:spcAft>
              <a:buSzPct val="100000"/>
            </a:pPr>
            <a:r>
              <a:rPr lang="zh-CN" altLang="en-US" b="1" dirty="0" smtClean="0">
                <a:solidFill>
                  <a:srgbClr val="000000"/>
                </a:solidFill>
                <a:latin typeface="微软雅黑" pitchFamily="34" charset="-122"/>
                <a:ea typeface="微软雅黑" pitchFamily="34" charset="-122"/>
                <a:cs typeface="HP Simplified" pitchFamily="34" charset="0"/>
              </a:rPr>
              <a:t>对手的生态系统</a:t>
            </a:r>
            <a:endParaRPr lang="en-US" b="1" dirty="0" smtClean="0">
              <a:solidFill>
                <a:srgbClr val="000000"/>
              </a:solidFill>
              <a:latin typeface="微软雅黑" pitchFamily="34" charset="-122"/>
              <a:ea typeface="微软雅黑" pitchFamily="34" charset="-122"/>
              <a:cs typeface="HP Simplified" pitchFamily="34" charset="0"/>
            </a:endParaRPr>
          </a:p>
        </p:txBody>
      </p:sp>
      <p:grpSp>
        <p:nvGrpSpPr>
          <p:cNvPr id="2" name="Group 1"/>
          <p:cNvGrpSpPr/>
          <p:nvPr/>
        </p:nvGrpSpPr>
        <p:grpSpPr>
          <a:xfrm>
            <a:off x="5395404" y="1084107"/>
            <a:ext cx="510443" cy="5578311"/>
            <a:chOff x="5326950" y="727538"/>
            <a:chExt cx="385877" cy="4210312"/>
          </a:xfrm>
          <a:solidFill>
            <a:schemeClr val="accent3"/>
          </a:solidFill>
        </p:grpSpPr>
        <p:grpSp>
          <p:nvGrpSpPr>
            <p:cNvPr id="206" name="Group 205"/>
            <p:cNvGrpSpPr/>
            <p:nvPr/>
          </p:nvGrpSpPr>
          <p:grpSpPr>
            <a:xfrm>
              <a:off x="5478169" y="960699"/>
              <a:ext cx="83439" cy="3576577"/>
              <a:chOff x="5396292" y="1038173"/>
              <a:chExt cx="120650" cy="3594099"/>
            </a:xfrm>
            <a:grpFill/>
          </p:grpSpPr>
          <p:sp>
            <p:nvSpPr>
              <p:cNvPr id="219" name="Rectangle 218"/>
              <p:cNvSpPr/>
              <p:nvPr/>
            </p:nvSpPr>
            <p:spPr bwMode="gray">
              <a:xfrm>
                <a:off x="5396292" y="1038173"/>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0" name="Rectangle 219"/>
              <p:cNvSpPr/>
              <p:nvPr/>
            </p:nvSpPr>
            <p:spPr bwMode="gray">
              <a:xfrm>
                <a:off x="5396292" y="1281202"/>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1" name="Rectangle 220"/>
              <p:cNvSpPr/>
              <p:nvPr/>
            </p:nvSpPr>
            <p:spPr bwMode="gray">
              <a:xfrm>
                <a:off x="5396292" y="1524231"/>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2" name="Rectangle 221"/>
              <p:cNvSpPr/>
              <p:nvPr/>
            </p:nvSpPr>
            <p:spPr bwMode="gray">
              <a:xfrm>
                <a:off x="5396292" y="1767260"/>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3" name="Rectangle 222"/>
              <p:cNvSpPr/>
              <p:nvPr/>
            </p:nvSpPr>
            <p:spPr bwMode="gray">
              <a:xfrm>
                <a:off x="5396292" y="2010289"/>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4" name="Rectangle 223"/>
              <p:cNvSpPr/>
              <p:nvPr/>
            </p:nvSpPr>
            <p:spPr bwMode="gray">
              <a:xfrm>
                <a:off x="5396292" y="2253319"/>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5" name="Rectangle 224"/>
              <p:cNvSpPr/>
              <p:nvPr/>
            </p:nvSpPr>
            <p:spPr bwMode="gray">
              <a:xfrm>
                <a:off x="5396292" y="2496349"/>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6" name="Rectangle 225"/>
              <p:cNvSpPr/>
              <p:nvPr/>
            </p:nvSpPr>
            <p:spPr bwMode="gray">
              <a:xfrm>
                <a:off x="5396292" y="2739379"/>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7" name="Rectangle 226"/>
              <p:cNvSpPr/>
              <p:nvPr/>
            </p:nvSpPr>
            <p:spPr bwMode="gray">
              <a:xfrm>
                <a:off x="5396292" y="2982408"/>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8" name="Rectangle 227"/>
              <p:cNvSpPr/>
              <p:nvPr/>
            </p:nvSpPr>
            <p:spPr bwMode="gray">
              <a:xfrm>
                <a:off x="5396292" y="3225437"/>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9" name="Rectangle 228"/>
              <p:cNvSpPr/>
              <p:nvPr/>
            </p:nvSpPr>
            <p:spPr bwMode="gray">
              <a:xfrm>
                <a:off x="5396292" y="3468466"/>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30" name="Rectangle 229"/>
              <p:cNvSpPr/>
              <p:nvPr/>
            </p:nvSpPr>
            <p:spPr bwMode="gray">
              <a:xfrm>
                <a:off x="5396292" y="3711496"/>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31" name="Rectangle 230"/>
              <p:cNvSpPr/>
              <p:nvPr/>
            </p:nvSpPr>
            <p:spPr bwMode="gray">
              <a:xfrm>
                <a:off x="5396292" y="3954526"/>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41" name="Rectangle 240"/>
              <p:cNvSpPr/>
              <p:nvPr/>
            </p:nvSpPr>
            <p:spPr bwMode="gray">
              <a:xfrm>
                <a:off x="5396292" y="4197555"/>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42" name="Rectangle 241"/>
              <p:cNvSpPr/>
              <p:nvPr/>
            </p:nvSpPr>
            <p:spPr bwMode="gray">
              <a:xfrm>
                <a:off x="5396292" y="4440581"/>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grpSp>
        <p:sp>
          <p:nvSpPr>
            <p:cNvPr id="457" name="Freeform 745"/>
            <p:cNvSpPr>
              <a:spLocks noEditPoints="1"/>
            </p:cNvSpPr>
            <p:nvPr/>
          </p:nvSpPr>
          <p:spPr bwMode="auto">
            <a:xfrm>
              <a:off x="5326950" y="727538"/>
              <a:ext cx="385877" cy="460375"/>
            </a:xfrm>
            <a:custGeom>
              <a:avLst/>
              <a:gdLst>
                <a:gd name="T0" fmla="*/ 259 w 280"/>
                <a:gd name="T1" fmla="*/ 153 h 334"/>
                <a:gd name="T2" fmla="*/ 238 w 280"/>
                <a:gd name="T3" fmla="*/ 153 h 334"/>
                <a:gd name="T4" fmla="*/ 238 w 280"/>
                <a:gd name="T5" fmla="*/ 99 h 334"/>
                <a:gd name="T6" fmla="*/ 138 w 280"/>
                <a:gd name="T7" fmla="*/ 0 h 334"/>
                <a:gd name="T8" fmla="*/ 39 w 280"/>
                <a:gd name="T9" fmla="*/ 99 h 334"/>
                <a:gd name="T10" fmla="*/ 39 w 280"/>
                <a:gd name="T11" fmla="*/ 153 h 334"/>
                <a:gd name="T12" fmla="*/ 0 w 280"/>
                <a:gd name="T13" fmla="*/ 153 h 334"/>
                <a:gd name="T14" fmla="*/ 0 w 280"/>
                <a:gd name="T15" fmla="*/ 312 h 334"/>
                <a:gd name="T16" fmla="*/ 21 w 280"/>
                <a:gd name="T17" fmla="*/ 334 h 334"/>
                <a:gd name="T18" fmla="*/ 280 w 280"/>
                <a:gd name="T19" fmla="*/ 334 h 334"/>
                <a:gd name="T20" fmla="*/ 280 w 280"/>
                <a:gd name="T21" fmla="*/ 174 h 334"/>
                <a:gd name="T22" fmla="*/ 259 w 280"/>
                <a:gd name="T23" fmla="*/ 153 h 334"/>
                <a:gd name="T24" fmla="*/ 81 w 280"/>
                <a:gd name="T25" fmla="*/ 99 h 334"/>
                <a:gd name="T26" fmla="*/ 138 w 280"/>
                <a:gd name="T27" fmla="*/ 43 h 334"/>
                <a:gd name="T28" fmla="*/ 195 w 280"/>
                <a:gd name="T29" fmla="*/ 99 h 334"/>
                <a:gd name="T30" fmla="*/ 195 w 280"/>
                <a:gd name="T31" fmla="*/ 153 h 334"/>
                <a:gd name="T32" fmla="*/ 81 w 280"/>
                <a:gd name="T33" fmla="*/ 153 h 334"/>
                <a:gd name="T34" fmla="*/ 81 w 280"/>
                <a:gd name="T35" fmla="*/ 9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0" h="334">
                  <a:moveTo>
                    <a:pt x="259" y="153"/>
                  </a:moveTo>
                  <a:cubicBezTo>
                    <a:pt x="238" y="153"/>
                    <a:pt x="238" y="153"/>
                    <a:pt x="238" y="153"/>
                  </a:cubicBezTo>
                  <a:cubicBezTo>
                    <a:pt x="238" y="99"/>
                    <a:pt x="238" y="99"/>
                    <a:pt x="238" y="99"/>
                  </a:cubicBezTo>
                  <a:cubicBezTo>
                    <a:pt x="238" y="45"/>
                    <a:pt x="193" y="0"/>
                    <a:pt x="138" y="0"/>
                  </a:cubicBezTo>
                  <a:cubicBezTo>
                    <a:pt x="83" y="0"/>
                    <a:pt x="39" y="45"/>
                    <a:pt x="39" y="99"/>
                  </a:cubicBezTo>
                  <a:cubicBezTo>
                    <a:pt x="39" y="153"/>
                    <a:pt x="39" y="153"/>
                    <a:pt x="39" y="153"/>
                  </a:cubicBezTo>
                  <a:cubicBezTo>
                    <a:pt x="0" y="153"/>
                    <a:pt x="0" y="153"/>
                    <a:pt x="0" y="153"/>
                  </a:cubicBezTo>
                  <a:cubicBezTo>
                    <a:pt x="0" y="312"/>
                    <a:pt x="0" y="312"/>
                    <a:pt x="0" y="312"/>
                  </a:cubicBezTo>
                  <a:cubicBezTo>
                    <a:pt x="0" y="324"/>
                    <a:pt x="9" y="334"/>
                    <a:pt x="21" y="334"/>
                  </a:cubicBezTo>
                  <a:cubicBezTo>
                    <a:pt x="280" y="334"/>
                    <a:pt x="280" y="334"/>
                    <a:pt x="280" y="334"/>
                  </a:cubicBezTo>
                  <a:cubicBezTo>
                    <a:pt x="280" y="174"/>
                    <a:pt x="280" y="174"/>
                    <a:pt x="280" y="174"/>
                  </a:cubicBezTo>
                  <a:cubicBezTo>
                    <a:pt x="280" y="162"/>
                    <a:pt x="271" y="153"/>
                    <a:pt x="259" y="153"/>
                  </a:cubicBezTo>
                  <a:moveTo>
                    <a:pt x="81" y="99"/>
                  </a:moveTo>
                  <a:cubicBezTo>
                    <a:pt x="81" y="68"/>
                    <a:pt x="107" y="43"/>
                    <a:pt x="138" y="43"/>
                  </a:cubicBezTo>
                  <a:cubicBezTo>
                    <a:pt x="169" y="43"/>
                    <a:pt x="195" y="68"/>
                    <a:pt x="195" y="99"/>
                  </a:cubicBezTo>
                  <a:cubicBezTo>
                    <a:pt x="195" y="153"/>
                    <a:pt x="195" y="153"/>
                    <a:pt x="195" y="153"/>
                  </a:cubicBezTo>
                  <a:cubicBezTo>
                    <a:pt x="81" y="153"/>
                    <a:pt x="81" y="153"/>
                    <a:pt x="81" y="153"/>
                  </a:cubicBezTo>
                  <a:lnTo>
                    <a:pt x="81" y="99"/>
                  </a:ln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216" name="Freeform 745"/>
            <p:cNvSpPr>
              <a:spLocks noEditPoints="1"/>
            </p:cNvSpPr>
            <p:nvPr/>
          </p:nvSpPr>
          <p:spPr bwMode="auto">
            <a:xfrm>
              <a:off x="5326950" y="4477475"/>
              <a:ext cx="385877" cy="460375"/>
            </a:xfrm>
            <a:custGeom>
              <a:avLst/>
              <a:gdLst>
                <a:gd name="T0" fmla="*/ 259 w 280"/>
                <a:gd name="T1" fmla="*/ 153 h 334"/>
                <a:gd name="T2" fmla="*/ 238 w 280"/>
                <a:gd name="T3" fmla="*/ 153 h 334"/>
                <a:gd name="T4" fmla="*/ 238 w 280"/>
                <a:gd name="T5" fmla="*/ 99 h 334"/>
                <a:gd name="T6" fmla="*/ 138 w 280"/>
                <a:gd name="T7" fmla="*/ 0 h 334"/>
                <a:gd name="T8" fmla="*/ 39 w 280"/>
                <a:gd name="T9" fmla="*/ 99 h 334"/>
                <a:gd name="T10" fmla="*/ 39 w 280"/>
                <a:gd name="T11" fmla="*/ 153 h 334"/>
                <a:gd name="T12" fmla="*/ 0 w 280"/>
                <a:gd name="T13" fmla="*/ 153 h 334"/>
                <a:gd name="T14" fmla="*/ 0 w 280"/>
                <a:gd name="T15" fmla="*/ 312 h 334"/>
                <a:gd name="T16" fmla="*/ 21 w 280"/>
                <a:gd name="T17" fmla="*/ 334 h 334"/>
                <a:gd name="T18" fmla="*/ 280 w 280"/>
                <a:gd name="T19" fmla="*/ 334 h 334"/>
                <a:gd name="T20" fmla="*/ 280 w 280"/>
                <a:gd name="T21" fmla="*/ 174 h 334"/>
                <a:gd name="T22" fmla="*/ 259 w 280"/>
                <a:gd name="T23" fmla="*/ 153 h 334"/>
                <a:gd name="T24" fmla="*/ 81 w 280"/>
                <a:gd name="T25" fmla="*/ 99 h 334"/>
                <a:gd name="T26" fmla="*/ 138 w 280"/>
                <a:gd name="T27" fmla="*/ 43 h 334"/>
                <a:gd name="T28" fmla="*/ 195 w 280"/>
                <a:gd name="T29" fmla="*/ 99 h 334"/>
                <a:gd name="T30" fmla="*/ 195 w 280"/>
                <a:gd name="T31" fmla="*/ 153 h 334"/>
                <a:gd name="T32" fmla="*/ 81 w 280"/>
                <a:gd name="T33" fmla="*/ 153 h 334"/>
                <a:gd name="T34" fmla="*/ 81 w 280"/>
                <a:gd name="T35" fmla="*/ 9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0" h="334">
                  <a:moveTo>
                    <a:pt x="259" y="153"/>
                  </a:moveTo>
                  <a:cubicBezTo>
                    <a:pt x="238" y="153"/>
                    <a:pt x="238" y="153"/>
                    <a:pt x="238" y="153"/>
                  </a:cubicBezTo>
                  <a:cubicBezTo>
                    <a:pt x="238" y="99"/>
                    <a:pt x="238" y="99"/>
                    <a:pt x="238" y="99"/>
                  </a:cubicBezTo>
                  <a:cubicBezTo>
                    <a:pt x="238" y="45"/>
                    <a:pt x="193" y="0"/>
                    <a:pt x="138" y="0"/>
                  </a:cubicBezTo>
                  <a:cubicBezTo>
                    <a:pt x="83" y="0"/>
                    <a:pt x="39" y="45"/>
                    <a:pt x="39" y="99"/>
                  </a:cubicBezTo>
                  <a:cubicBezTo>
                    <a:pt x="39" y="153"/>
                    <a:pt x="39" y="153"/>
                    <a:pt x="39" y="153"/>
                  </a:cubicBezTo>
                  <a:cubicBezTo>
                    <a:pt x="0" y="153"/>
                    <a:pt x="0" y="153"/>
                    <a:pt x="0" y="153"/>
                  </a:cubicBezTo>
                  <a:cubicBezTo>
                    <a:pt x="0" y="312"/>
                    <a:pt x="0" y="312"/>
                    <a:pt x="0" y="312"/>
                  </a:cubicBezTo>
                  <a:cubicBezTo>
                    <a:pt x="0" y="324"/>
                    <a:pt x="9" y="334"/>
                    <a:pt x="21" y="334"/>
                  </a:cubicBezTo>
                  <a:cubicBezTo>
                    <a:pt x="280" y="334"/>
                    <a:pt x="280" y="334"/>
                    <a:pt x="280" y="334"/>
                  </a:cubicBezTo>
                  <a:cubicBezTo>
                    <a:pt x="280" y="174"/>
                    <a:pt x="280" y="174"/>
                    <a:pt x="280" y="174"/>
                  </a:cubicBezTo>
                  <a:cubicBezTo>
                    <a:pt x="280" y="162"/>
                    <a:pt x="271" y="153"/>
                    <a:pt x="259" y="153"/>
                  </a:cubicBezTo>
                  <a:moveTo>
                    <a:pt x="81" y="99"/>
                  </a:moveTo>
                  <a:cubicBezTo>
                    <a:pt x="81" y="68"/>
                    <a:pt x="107" y="43"/>
                    <a:pt x="138" y="43"/>
                  </a:cubicBezTo>
                  <a:cubicBezTo>
                    <a:pt x="169" y="43"/>
                    <a:pt x="195" y="68"/>
                    <a:pt x="195" y="99"/>
                  </a:cubicBezTo>
                  <a:cubicBezTo>
                    <a:pt x="195" y="153"/>
                    <a:pt x="195" y="153"/>
                    <a:pt x="195" y="153"/>
                  </a:cubicBezTo>
                  <a:cubicBezTo>
                    <a:pt x="81" y="153"/>
                    <a:pt x="81" y="153"/>
                    <a:pt x="81" y="153"/>
                  </a:cubicBezTo>
                  <a:lnTo>
                    <a:pt x="81" y="99"/>
                  </a:ln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nvGrpSpPr>
          <p:cNvPr id="4" name="Group 3"/>
          <p:cNvGrpSpPr/>
          <p:nvPr/>
        </p:nvGrpSpPr>
        <p:grpSpPr>
          <a:xfrm>
            <a:off x="2850414" y="2650350"/>
            <a:ext cx="1008667" cy="701163"/>
            <a:chOff x="3687587" y="1770927"/>
            <a:chExt cx="710346" cy="493005"/>
          </a:xfrm>
        </p:grpSpPr>
        <p:grpSp>
          <p:nvGrpSpPr>
            <p:cNvPr id="217" name="Group 216"/>
            <p:cNvGrpSpPr/>
            <p:nvPr/>
          </p:nvGrpSpPr>
          <p:grpSpPr>
            <a:xfrm>
              <a:off x="3687587" y="1770927"/>
              <a:ext cx="197202" cy="493005"/>
              <a:chOff x="4305301" y="1846263"/>
              <a:chExt cx="568325" cy="1420813"/>
            </a:xfrm>
            <a:solidFill>
              <a:srgbClr val="000000"/>
            </a:solidFill>
          </p:grpSpPr>
          <p:sp>
            <p:nvSpPr>
              <p:cNvPr id="218" name="Oval 633"/>
              <p:cNvSpPr>
                <a:spLocks noChangeArrowheads="1"/>
              </p:cNvSpPr>
              <p:nvPr/>
            </p:nvSpPr>
            <p:spPr bwMode="auto">
              <a:xfrm>
                <a:off x="4440238" y="1846263"/>
                <a:ext cx="296863" cy="3111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232" name="Freeform 634"/>
              <p:cNvSpPr>
                <a:spLocks/>
              </p:cNvSpPr>
              <p:nvPr/>
            </p:nvSpPr>
            <p:spPr bwMode="auto">
              <a:xfrm>
                <a:off x="4305301" y="2203451"/>
                <a:ext cx="568325" cy="1063625"/>
              </a:xfrm>
              <a:custGeom>
                <a:avLst/>
                <a:gdLst>
                  <a:gd name="T0" fmla="*/ 119 w 151"/>
                  <a:gd name="T1" fmla="*/ 0 h 283"/>
                  <a:gd name="T2" fmla="*/ 75 w 151"/>
                  <a:gd name="T3" fmla="*/ 0 h 283"/>
                  <a:gd name="T4" fmla="*/ 32 w 151"/>
                  <a:gd name="T5" fmla="*/ 0 h 283"/>
                  <a:gd name="T6" fmla="*/ 0 w 151"/>
                  <a:gd name="T7" fmla="*/ 34 h 283"/>
                  <a:gd name="T8" fmla="*/ 0 w 151"/>
                  <a:gd name="T9" fmla="*/ 39 h 283"/>
                  <a:gd name="T10" fmla="*/ 0 w 151"/>
                  <a:gd name="T11" fmla="*/ 65 h 283"/>
                  <a:gd name="T12" fmla="*/ 0 w 151"/>
                  <a:gd name="T13" fmla="*/ 88 h 283"/>
                  <a:gd name="T14" fmla="*/ 0 w 151"/>
                  <a:gd name="T15" fmla="*/ 133 h 283"/>
                  <a:gd name="T16" fmla="*/ 0 w 151"/>
                  <a:gd name="T17" fmla="*/ 133 h 283"/>
                  <a:gd name="T18" fmla="*/ 12 w 151"/>
                  <a:gd name="T19" fmla="*/ 145 h 283"/>
                  <a:gd name="T20" fmla="*/ 25 w 151"/>
                  <a:gd name="T21" fmla="*/ 135 h 283"/>
                  <a:gd name="T22" fmla="*/ 25 w 151"/>
                  <a:gd name="T23" fmla="*/ 133 h 283"/>
                  <a:gd name="T24" fmla="*/ 25 w 151"/>
                  <a:gd name="T25" fmla="*/ 43 h 283"/>
                  <a:gd name="T26" fmla="*/ 28 w 151"/>
                  <a:gd name="T27" fmla="*/ 39 h 283"/>
                  <a:gd name="T28" fmla="*/ 31 w 151"/>
                  <a:gd name="T29" fmla="*/ 43 h 283"/>
                  <a:gd name="T30" fmla="*/ 31 w 151"/>
                  <a:gd name="T31" fmla="*/ 138 h 283"/>
                  <a:gd name="T32" fmla="*/ 32 w 151"/>
                  <a:gd name="T33" fmla="*/ 152 h 283"/>
                  <a:gd name="T34" fmla="*/ 32 w 151"/>
                  <a:gd name="T35" fmla="*/ 152 h 283"/>
                  <a:gd name="T36" fmla="*/ 32 w 151"/>
                  <a:gd name="T37" fmla="*/ 152 h 283"/>
                  <a:gd name="T38" fmla="*/ 42 w 151"/>
                  <a:gd name="T39" fmla="*/ 260 h 283"/>
                  <a:gd name="T40" fmla="*/ 64 w 151"/>
                  <a:gd name="T41" fmla="*/ 283 h 283"/>
                  <a:gd name="T42" fmla="*/ 75 w 151"/>
                  <a:gd name="T43" fmla="*/ 283 h 283"/>
                  <a:gd name="T44" fmla="*/ 87 w 151"/>
                  <a:gd name="T45" fmla="*/ 283 h 283"/>
                  <a:gd name="T46" fmla="*/ 109 w 151"/>
                  <a:gd name="T47" fmla="*/ 260 h 283"/>
                  <a:gd name="T48" fmla="*/ 119 w 151"/>
                  <a:gd name="T49" fmla="*/ 152 h 283"/>
                  <a:gd name="T50" fmla="*/ 119 w 151"/>
                  <a:gd name="T51" fmla="*/ 152 h 283"/>
                  <a:gd name="T52" fmla="*/ 119 w 151"/>
                  <a:gd name="T53" fmla="*/ 152 h 283"/>
                  <a:gd name="T54" fmla="*/ 119 w 151"/>
                  <a:gd name="T55" fmla="*/ 138 h 283"/>
                  <a:gd name="T56" fmla="*/ 119 w 151"/>
                  <a:gd name="T57" fmla="*/ 43 h 283"/>
                  <a:gd name="T58" fmla="*/ 123 w 151"/>
                  <a:gd name="T59" fmla="*/ 39 h 283"/>
                  <a:gd name="T60" fmla="*/ 126 w 151"/>
                  <a:gd name="T61" fmla="*/ 43 h 283"/>
                  <a:gd name="T62" fmla="*/ 126 w 151"/>
                  <a:gd name="T63" fmla="*/ 133 h 283"/>
                  <a:gd name="T64" fmla="*/ 126 w 151"/>
                  <a:gd name="T65" fmla="*/ 135 h 283"/>
                  <a:gd name="T66" fmla="*/ 139 w 151"/>
                  <a:gd name="T67" fmla="*/ 145 h 283"/>
                  <a:gd name="T68" fmla="*/ 151 w 151"/>
                  <a:gd name="T69" fmla="*/ 133 h 283"/>
                  <a:gd name="T70" fmla="*/ 151 w 151"/>
                  <a:gd name="T71" fmla="*/ 133 h 283"/>
                  <a:gd name="T72" fmla="*/ 151 w 151"/>
                  <a:gd name="T73" fmla="*/ 65 h 283"/>
                  <a:gd name="T74" fmla="*/ 151 w 151"/>
                  <a:gd name="T75" fmla="*/ 39 h 283"/>
                  <a:gd name="T76" fmla="*/ 151 w 151"/>
                  <a:gd name="T77" fmla="*/ 34 h 283"/>
                  <a:gd name="T78" fmla="*/ 119 w 151"/>
                  <a:gd name="T79"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1" h="283">
                    <a:moveTo>
                      <a:pt x="119" y="0"/>
                    </a:moveTo>
                    <a:cubicBezTo>
                      <a:pt x="75" y="0"/>
                      <a:pt x="75" y="0"/>
                      <a:pt x="75" y="0"/>
                    </a:cubicBezTo>
                    <a:cubicBezTo>
                      <a:pt x="32" y="0"/>
                      <a:pt x="32" y="0"/>
                      <a:pt x="32" y="0"/>
                    </a:cubicBezTo>
                    <a:cubicBezTo>
                      <a:pt x="11" y="0"/>
                      <a:pt x="0" y="10"/>
                      <a:pt x="0" y="34"/>
                    </a:cubicBezTo>
                    <a:cubicBezTo>
                      <a:pt x="0" y="39"/>
                      <a:pt x="0" y="39"/>
                      <a:pt x="0" y="39"/>
                    </a:cubicBezTo>
                    <a:cubicBezTo>
                      <a:pt x="0" y="65"/>
                      <a:pt x="0" y="65"/>
                      <a:pt x="0" y="65"/>
                    </a:cubicBezTo>
                    <a:cubicBezTo>
                      <a:pt x="0" y="88"/>
                      <a:pt x="0" y="88"/>
                      <a:pt x="0" y="88"/>
                    </a:cubicBezTo>
                    <a:cubicBezTo>
                      <a:pt x="0" y="133"/>
                      <a:pt x="0" y="133"/>
                      <a:pt x="0" y="133"/>
                    </a:cubicBezTo>
                    <a:cubicBezTo>
                      <a:pt x="0" y="133"/>
                      <a:pt x="0" y="133"/>
                      <a:pt x="0" y="133"/>
                    </a:cubicBezTo>
                    <a:cubicBezTo>
                      <a:pt x="0" y="140"/>
                      <a:pt x="5" y="145"/>
                      <a:pt x="12" y="145"/>
                    </a:cubicBezTo>
                    <a:cubicBezTo>
                      <a:pt x="19" y="145"/>
                      <a:pt x="24" y="141"/>
                      <a:pt x="25" y="135"/>
                    </a:cubicBezTo>
                    <a:cubicBezTo>
                      <a:pt x="25" y="134"/>
                      <a:pt x="25" y="133"/>
                      <a:pt x="25" y="133"/>
                    </a:cubicBezTo>
                    <a:cubicBezTo>
                      <a:pt x="25" y="43"/>
                      <a:pt x="25" y="43"/>
                      <a:pt x="25" y="43"/>
                    </a:cubicBezTo>
                    <a:cubicBezTo>
                      <a:pt x="25" y="41"/>
                      <a:pt x="26" y="39"/>
                      <a:pt x="28" y="39"/>
                    </a:cubicBezTo>
                    <a:cubicBezTo>
                      <a:pt x="30" y="39"/>
                      <a:pt x="31" y="41"/>
                      <a:pt x="31" y="43"/>
                    </a:cubicBezTo>
                    <a:cubicBezTo>
                      <a:pt x="31" y="138"/>
                      <a:pt x="31" y="138"/>
                      <a:pt x="31" y="138"/>
                    </a:cubicBezTo>
                    <a:cubicBezTo>
                      <a:pt x="31" y="138"/>
                      <a:pt x="31" y="147"/>
                      <a:pt x="32" y="152"/>
                    </a:cubicBezTo>
                    <a:cubicBezTo>
                      <a:pt x="32" y="152"/>
                      <a:pt x="32" y="152"/>
                      <a:pt x="32" y="152"/>
                    </a:cubicBezTo>
                    <a:cubicBezTo>
                      <a:pt x="32" y="152"/>
                      <a:pt x="32" y="152"/>
                      <a:pt x="32" y="152"/>
                    </a:cubicBezTo>
                    <a:cubicBezTo>
                      <a:pt x="42" y="260"/>
                      <a:pt x="42" y="260"/>
                      <a:pt x="42" y="260"/>
                    </a:cubicBezTo>
                    <a:cubicBezTo>
                      <a:pt x="43" y="276"/>
                      <a:pt x="50" y="283"/>
                      <a:pt x="64" y="283"/>
                    </a:cubicBezTo>
                    <a:cubicBezTo>
                      <a:pt x="75" y="283"/>
                      <a:pt x="75" y="283"/>
                      <a:pt x="75" y="283"/>
                    </a:cubicBezTo>
                    <a:cubicBezTo>
                      <a:pt x="87" y="283"/>
                      <a:pt x="87" y="283"/>
                      <a:pt x="87" y="283"/>
                    </a:cubicBezTo>
                    <a:cubicBezTo>
                      <a:pt x="101" y="283"/>
                      <a:pt x="108" y="276"/>
                      <a:pt x="109" y="260"/>
                    </a:cubicBezTo>
                    <a:cubicBezTo>
                      <a:pt x="119" y="152"/>
                      <a:pt x="119" y="152"/>
                      <a:pt x="119" y="152"/>
                    </a:cubicBezTo>
                    <a:cubicBezTo>
                      <a:pt x="119" y="152"/>
                      <a:pt x="119" y="152"/>
                      <a:pt x="119" y="152"/>
                    </a:cubicBezTo>
                    <a:cubicBezTo>
                      <a:pt x="119" y="152"/>
                      <a:pt x="119" y="152"/>
                      <a:pt x="119" y="152"/>
                    </a:cubicBezTo>
                    <a:cubicBezTo>
                      <a:pt x="119" y="147"/>
                      <a:pt x="119" y="138"/>
                      <a:pt x="119" y="138"/>
                    </a:cubicBezTo>
                    <a:cubicBezTo>
                      <a:pt x="119" y="43"/>
                      <a:pt x="119" y="43"/>
                      <a:pt x="119" y="43"/>
                    </a:cubicBezTo>
                    <a:cubicBezTo>
                      <a:pt x="119" y="41"/>
                      <a:pt x="121" y="39"/>
                      <a:pt x="123" y="39"/>
                    </a:cubicBezTo>
                    <a:cubicBezTo>
                      <a:pt x="124" y="39"/>
                      <a:pt x="126" y="41"/>
                      <a:pt x="126" y="43"/>
                    </a:cubicBezTo>
                    <a:cubicBezTo>
                      <a:pt x="126" y="133"/>
                      <a:pt x="126" y="133"/>
                      <a:pt x="126" y="133"/>
                    </a:cubicBezTo>
                    <a:cubicBezTo>
                      <a:pt x="126" y="133"/>
                      <a:pt x="126" y="134"/>
                      <a:pt x="126" y="135"/>
                    </a:cubicBezTo>
                    <a:cubicBezTo>
                      <a:pt x="127" y="141"/>
                      <a:pt x="132" y="145"/>
                      <a:pt x="139" y="145"/>
                    </a:cubicBezTo>
                    <a:cubicBezTo>
                      <a:pt x="146" y="145"/>
                      <a:pt x="151" y="140"/>
                      <a:pt x="151" y="133"/>
                    </a:cubicBezTo>
                    <a:cubicBezTo>
                      <a:pt x="151" y="133"/>
                      <a:pt x="151" y="133"/>
                      <a:pt x="151" y="133"/>
                    </a:cubicBezTo>
                    <a:cubicBezTo>
                      <a:pt x="151" y="65"/>
                      <a:pt x="151" y="65"/>
                      <a:pt x="151" y="65"/>
                    </a:cubicBezTo>
                    <a:cubicBezTo>
                      <a:pt x="151" y="39"/>
                      <a:pt x="151" y="39"/>
                      <a:pt x="151" y="39"/>
                    </a:cubicBezTo>
                    <a:cubicBezTo>
                      <a:pt x="151" y="34"/>
                      <a:pt x="151" y="34"/>
                      <a:pt x="151" y="34"/>
                    </a:cubicBezTo>
                    <a:cubicBezTo>
                      <a:pt x="151" y="10"/>
                      <a:pt x="140" y="0"/>
                      <a:pt x="1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nvGrpSpPr>
            <p:cNvPr id="233" name="Group 232"/>
            <p:cNvGrpSpPr/>
            <p:nvPr/>
          </p:nvGrpSpPr>
          <p:grpSpPr>
            <a:xfrm>
              <a:off x="3944159" y="1770927"/>
              <a:ext cx="197202" cy="493005"/>
              <a:chOff x="4305301" y="1846263"/>
              <a:chExt cx="568325" cy="1420813"/>
            </a:xfrm>
            <a:solidFill>
              <a:srgbClr val="000000"/>
            </a:solidFill>
          </p:grpSpPr>
          <p:sp>
            <p:nvSpPr>
              <p:cNvPr id="234" name="Oval 633"/>
              <p:cNvSpPr>
                <a:spLocks noChangeArrowheads="1"/>
              </p:cNvSpPr>
              <p:nvPr/>
            </p:nvSpPr>
            <p:spPr bwMode="auto">
              <a:xfrm>
                <a:off x="4440238" y="1846263"/>
                <a:ext cx="296863" cy="3111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235" name="Freeform 634"/>
              <p:cNvSpPr>
                <a:spLocks/>
              </p:cNvSpPr>
              <p:nvPr/>
            </p:nvSpPr>
            <p:spPr bwMode="auto">
              <a:xfrm>
                <a:off x="4305301" y="2203451"/>
                <a:ext cx="568325" cy="1063625"/>
              </a:xfrm>
              <a:custGeom>
                <a:avLst/>
                <a:gdLst>
                  <a:gd name="T0" fmla="*/ 119 w 151"/>
                  <a:gd name="T1" fmla="*/ 0 h 283"/>
                  <a:gd name="T2" fmla="*/ 75 w 151"/>
                  <a:gd name="T3" fmla="*/ 0 h 283"/>
                  <a:gd name="T4" fmla="*/ 32 w 151"/>
                  <a:gd name="T5" fmla="*/ 0 h 283"/>
                  <a:gd name="T6" fmla="*/ 0 w 151"/>
                  <a:gd name="T7" fmla="*/ 34 h 283"/>
                  <a:gd name="T8" fmla="*/ 0 w 151"/>
                  <a:gd name="T9" fmla="*/ 39 h 283"/>
                  <a:gd name="T10" fmla="*/ 0 w 151"/>
                  <a:gd name="T11" fmla="*/ 65 h 283"/>
                  <a:gd name="T12" fmla="*/ 0 w 151"/>
                  <a:gd name="T13" fmla="*/ 88 h 283"/>
                  <a:gd name="T14" fmla="*/ 0 w 151"/>
                  <a:gd name="T15" fmla="*/ 133 h 283"/>
                  <a:gd name="T16" fmla="*/ 0 w 151"/>
                  <a:gd name="T17" fmla="*/ 133 h 283"/>
                  <a:gd name="T18" fmla="*/ 12 w 151"/>
                  <a:gd name="T19" fmla="*/ 145 h 283"/>
                  <a:gd name="T20" fmla="*/ 25 w 151"/>
                  <a:gd name="T21" fmla="*/ 135 h 283"/>
                  <a:gd name="T22" fmla="*/ 25 w 151"/>
                  <a:gd name="T23" fmla="*/ 133 h 283"/>
                  <a:gd name="T24" fmla="*/ 25 w 151"/>
                  <a:gd name="T25" fmla="*/ 43 h 283"/>
                  <a:gd name="T26" fmla="*/ 28 w 151"/>
                  <a:gd name="T27" fmla="*/ 39 h 283"/>
                  <a:gd name="T28" fmla="*/ 31 w 151"/>
                  <a:gd name="T29" fmla="*/ 43 h 283"/>
                  <a:gd name="T30" fmla="*/ 31 w 151"/>
                  <a:gd name="T31" fmla="*/ 138 h 283"/>
                  <a:gd name="T32" fmla="*/ 32 w 151"/>
                  <a:gd name="T33" fmla="*/ 152 h 283"/>
                  <a:gd name="T34" fmla="*/ 32 w 151"/>
                  <a:gd name="T35" fmla="*/ 152 h 283"/>
                  <a:gd name="T36" fmla="*/ 32 w 151"/>
                  <a:gd name="T37" fmla="*/ 152 h 283"/>
                  <a:gd name="T38" fmla="*/ 42 w 151"/>
                  <a:gd name="T39" fmla="*/ 260 h 283"/>
                  <a:gd name="T40" fmla="*/ 64 w 151"/>
                  <a:gd name="T41" fmla="*/ 283 h 283"/>
                  <a:gd name="T42" fmla="*/ 75 w 151"/>
                  <a:gd name="T43" fmla="*/ 283 h 283"/>
                  <a:gd name="T44" fmla="*/ 87 w 151"/>
                  <a:gd name="T45" fmla="*/ 283 h 283"/>
                  <a:gd name="T46" fmla="*/ 109 w 151"/>
                  <a:gd name="T47" fmla="*/ 260 h 283"/>
                  <a:gd name="T48" fmla="*/ 119 w 151"/>
                  <a:gd name="T49" fmla="*/ 152 h 283"/>
                  <a:gd name="T50" fmla="*/ 119 w 151"/>
                  <a:gd name="T51" fmla="*/ 152 h 283"/>
                  <a:gd name="T52" fmla="*/ 119 w 151"/>
                  <a:gd name="T53" fmla="*/ 152 h 283"/>
                  <a:gd name="T54" fmla="*/ 119 w 151"/>
                  <a:gd name="T55" fmla="*/ 138 h 283"/>
                  <a:gd name="T56" fmla="*/ 119 w 151"/>
                  <a:gd name="T57" fmla="*/ 43 h 283"/>
                  <a:gd name="T58" fmla="*/ 123 w 151"/>
                  <a:gd name="T59" fmla="*/ 39 h 283"/>
                  <a:gd name="T60" fmla="*/ 126 w 151"/>
                  <a:gd name="T61" fmla="*/ 43 h 283"/>
                  <a:gd name="T62" fmla="*/ 126 w 151"/>
                  <a:gd name="T63" fmla="*/ 133 h 283"/>
                  <a:gd name="T64" fmla="*/ 126 w 151"/>
                  <a:gd name="T65" fmla="*/ 135 h 283"/>
                  <a:gd name="T66" fmla="*/ 139 w 151"/>
                  <a:gd name="T67" fmla="*/ 145 h 283"/>
                  <a:gd name="T68" fmla="*/ 151 w 151"/>
                  <a:gd name="T69" fmla="*/ 133 h 283"/>
                  <a:gd name="T70" fmla="*/ 151 w 151"/>
                  <a:gd name="T71" fmla="*/ 133 h 283"/>
                  <a:gd name="T72" fmla="*/ 151 w 151"/>
                  <a:gd name="T73" fmla="*/ 65 h 283"/>
                  <a:gd name="T74" fmla="*/ 151 w 151"/>
                  <a:gd name="T75" fmla="*/ 39 h 283"/>
                  <a:gd name="T76" fmla="*/ 151 w 151"/>
                  <a:gd name="T77" fmla="*/ 34 h 283"/>
                  <a:gd name="T78" fmla="*/ 119 w 151"/>
                  <a:gd name="T79"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1" h="283">
                    <a:moveTo>
                      <a:pt x="119" y="0"/>
                    </a:moveTo>
                    <a:cubicBezTo>
                      <a:pt x="75" y="0"/>
                      <a:pt x="75" y="0"/>
                      <a:pt x="75" y="0"/>
                    </a:cubicBezTo>
                    <a:cubicBezTo>
                      <a:pt x="32" y="0"/>
                      <a:pt x="32" y="0"/>
                      <a:pt x="32" y="0"/>
                    </a:cubicBezTo>
                    <a:cubicBezTo>
                      <a:pt x="11" y="0"/>
                      <a:pt x="0" y="10"/>
                      <a:pt x="0" y="34"/>
                    </a:cubicBezTo>
                    <a:cubicBezTo>
                      <a:pt x="0" y="39"/>
                      <a:pt x="0" y="39"/>
                      <a:pt x="0" y="39"/>
                    </a:cubicBezTo>
                    <a:cubicBezTo>
                      <a:pt x="0" y="65"/>
                      <a:pt x="0" y="65"/>
                      <a:pt x="0" y="65"/>
                    </a:cubicBezTo>
                    <a:cubicBezTo>
                      <a:pt x="0" y="88"/>
                      <a:pt x="0" y="88"/>
                      <a:pt x="0" y="88"/>
                    </a:cubicBezTo>
                    <a:cubicBezTo>
                      <a:pt x="0" y="133"/>
                      <a:pt x="0" y="133"/>
                      <a:pt x="0" y="133"/>
                    </a:cubicBezTo>
                    <a:cubicBezTo>
                      <a:pt x="0" y="133"/>
                      <a:pt x="0" y="133"/>
                      <a:pt x="0" y="133"/>
                    </a:cubicBezTo>
                    <a:cubicBezTo>
                      <a:pt x="0" y="140"/>
                      <a:pt x="5" y="145"/>
                      <a:pt x="12" y="145"/>
                    </a:cubicBezTo>
                    <a:cubicBezTo>
                      <a:pt x="19" y="145"/>
                      <a:pt x="24" y="141"/>
                      <a:pt x="25" y="135"/>
                    </a:cubicBezTo>
                    <a:cubicBezTo>
                      <a:pt x="25" y="134"/>
                      <a:pt x="25" y="133"/>
                      <a:pt x="25" y="133"/>
                    </a:cubicBezTo>
                    <a:cubicBezTo>
                      <a:pt x="25" y="43"/>
                      <a:pt x="25" y="43"/>
                      <a:pt x="25" y="43"/>
                    </a:cubicBezTo>
                    <a:cubicBezTo>
                      <a:pt x="25" y="41"/>
                      <a:pt x="26" y="39"/>
                      <a:pt x="28" y="39"/>
                    </a:cubicBezTo>
                    <a:cubicBezTo>
                      <a:pt x="30" y="39"/>
                      <a:pt x="31" y="41"/>
                      <a:pt x="31" y="43"/>
                    </a:cubicBezTo>
                    <a:cubicBezTo>
                      <a:pt x="31" y="138"/>
                      <a:pt x="31" y="138"/>
                      <a:pt x="31" y="138"/>
                    </a:cubicBezTo>
                    <a:cubicBezTo>
                      <a:pt x="31" y="138"/>
                      <a:pt x="31" y="147"/>
                      <a:pt x="32" y="152"/>
                    </a:cubicBezTo>
                    <a:cubicBezTo>
                      <a:pt x="32" y="152"/>
                      <a:pt x="32" y="152"/>
                      <a:pt x="32" y="152"/>
                    </a:cubicBezTo>
                    <a:cubicBezTo>
                      <a:pt x="32" y="152"/>
                      <a:pt x="32" y="152"/>
                      <a:pt x="32" y="152"/>
                    </a:cubicBezTo>
                    <a:cubicBezTo>
                      <a:pt x="42" y="260"/>
                      <a:pt x="42" y="260"/>
                      <a:pt x="42" y="260"/>
                    </a:cubicBezTo>
                    <a:cubicBezTo>
                      <a:pt x="43" y="276"/>
                      <a:pt x="50" y="283"/>
                      <a:pt x="64" y="283"/>
                    </a:cubicBezTo>
                    <a:cubicBezTo>
                      <a:pt x="75" y="283"/>
                      <a:pt x="75" y="283"/>
                      <a:pt x="75" y="283"/>
                    </a:cubicBezTo>
                    <a:cubicBezTo>
                      <a:pt x="87" y="283"/>
                      <a:pt x="87" y="283"/>
                      <a:pt x="87" y="283"/>
                    </a:cubicBezTo>
                    <a:cubicBezTo>
                      <a:pt x="101" y="283"/>
                      <a:pt x="108" y="276"/>
                      <a:pt x="109" y="260"/>
                    </a:cubicBezTo>
                    <a:cubicBezTo>
                      <a:pt x="119" y="152"/>
                      <a:pt x="119" y="152"/>
                      <a:pt x="119" y="152"/>
                    </a:cubicBezTo>
                    <a:cubicBezTo>
                      <a:pt x="119" y="152"/>
                      <a:pt x="119" y="152"/>
                      <a:pt x="119" y="152"/>
                    </a:cubicBezTo>
                    <a:cubicBezTo>
                      <a:pt x="119" y="152"/>
                      <a:pt x="119" y="152"/>
                      <a:pt x="119" y="152"/>
                    </a:cubicBezTo>
                    <a:cubicBezTo>
                      <a:pt x="119" y="147"/>
                      <a:pt x="119" y="138"/>
                      <a:pt x="119" y="138"/>
                    </a:cubicBezTo>
                    <a:cubicBezTo>
                      <a:pt x="119" y="43"/>
                      <a:pt x="119" y="43"/>
                      <a:pt x="119" y="43"/>
                    </a:cubicBezTo>
                    <a:cubicBezTo>
                      <a:pt x="119" y="41"/>
                      <a:pt x="121" y="39"/>
                      <a:pt x="123" y="39"/>
                    </a:cubicBezTo>
                    <a:cubicBezTo>
                      <a:pt x="124" y="39"/>
                      <a:pt x="126" y="41"/>
                      <a:pt x="126" y="43"/>
                    </a:cubicBezTo>
                    <a:cubicBezTo>
                      <a:pt x="126" y="133"/>
                      <a:pt x="126" y="133"/>
                      <a:pt x="126" y="133"/>
                    </a:cubicBezTo>
                    <a:cubicBezTo>
                      <a:pt x="126" y="133"/>
                      <a:pt x="126" y="134"/>
                      <a:pt x="126" y="135"/>
                    </a:cubicBezTo>
                    <a:cubicBezTo>
                      <a:pt x="127" y="141"/>
                      <a:pt x="132" y="145"/>
                      <a:pt x="139" y="145"/>
                    </a:cubicBezTo>
                    <a:cubicBezTo>
                      <a:pt x="146" y="145"/>
                      <a:pt x="151" y="140"/>
                      <a:pt x="151" y="133"/>
                    </a:cubicBezTo>
                    <a:cubicBezTo>
                      <a:pt x="151" y="133"/>
                      <a:pt x="151" y="133"/>
                      <a:pt x="151" y="133"/>
                    </a:cubicBezTo>
                    <a:cubicBezTo>
                      <a:pt x="151" y="65"/>
                      <a:pt x="151" y="65"/>
                      <a:pt x="151" y="65"/>
                    </a:cubicBezTo>
                    <a:cubicBezTo>
                      <a:pt x="151" y="39"/>
                      <a:pt x="151" y="39"/>
                      <a:pt x="151" y="39"/>
                    </a:cubicBezTo>
                    <a:cubicBezTo>
                      <a:pt x="151" y="34"/>
                      <a:pt x="151" y="34"/>
                      <a:pt x="151" y="34"/>
                    </a:cubicBezTo>
                    <a:cubicBezTo>
                      <a:pt x="151" y="10"/>
                      <a:pt x="140" y="0"/>
                      <a:pt x="1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nvGrpSpPr>
            <p:cNvPr id="236" name="Group 235"/>
            <p:cNvGrpSpPr/>
            <p:nvPr/>
          </p:nvGrpSpPr>
          <p:grpSpPr>
            <a:xfrm>
              <a:off x="4200731" y="1770927"/>
              <a:ext cx="197202" cy="493005"/>
              <a:chOff x="4305301" y="1846263"/>
              <a:chExt cx="568325" cy="1420813"/>
            </a:xfrm>
            <a:solidFill>
              <a:srgbClr val="000000"/>
            </a:solidFill>
          </p:grpSpPr>
          <p:sp>
            <p:nvSpPr>
              <p:cNvPr id="237" name="Oval 633"/>
              <p:cNvSpPr>
                <a:spLocks noChangeArrowheads="1"/>
              </p:cNvSpPr>
              <p:nvPr/>
            </p:nvSpPr>
            <p:spPr bwMode="auto">
              <a:xfrm>
                <a:off x="4440238" y="1846263"/>
                <a:ext cx="296863" cy="3111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238" name="Freeform 634"/>
              <p:cNvSpPr>
                <a:spLocks/>
              </p:cNvSpPr>
              <p:nvPr/>
            </p:nvSpPr>
            <p:spPr bwMode="auto">
              <a:xfrm>
                <a:off x="4305301" y="2203451"/>
                <a:ext cx="568325" cy="1063625"/>
              </a:xfrm>
              <a:custGeom>
                <a:avLst/>
                <a:gdLst>
                  <a:gd name="T0" fmla="*/ 119 w 151"/>
                  <a:gd name="T1" fmla="*/ 0 h 283"/>
                  <a:gd name="T2" fmla="*/ 75 w 151"/>
                  <a:gd name="T3" fmla="*/ 0 h 283"/>
                  <a:gd name="T4" fmla="*/ 32 w 151"/>
                  <a:gd name="T5" fmla="*/ 0 h 283"/>
                  <a:gd name="T6" fmla="*/ 0 w 151"/>
                  <a:gd name="T7" fmla="*/ 34 h 283"/>
                  <a:gd name="T8" fmla="*/ 0 w 151"/>
                  <a:gd name="T9" fmla="*/ 39 h 283"/>
                  <a:gd name="T10" fmla="*/ 0 w 151"/>
                  <a:gd name="T11" fmla="*/ 65 h 283"/>
                  <a:gd name="T12" fmla="*/ 0 w 151"/>
                  <a:gd name="T13" fmla="*/ 88 h 283"/>
                  <a:gd name="T14" fmla="*/ 0 w 151"/>
                  <a:gd name="T15" fmla="*/ 133 h 283"/>
                  <a:gd name="T16" fmla="*/ 0 w 151"/>
                  <a:gd name="T17" fmla="*/ 133 h 283"/>
                  <a:gd name="T18" fmla="*/ 12 w 151"/>
                  <a:gd name="T19" fmla="*/ 145 h 283"/>
                  <a:gd name="T20" fmla="*/ 25 w 151"/>
                  <a:gd name="T21" fmla="*/ 135 h 283"/>
                  <a:gd name="T22" fmla="*/ 25 w 151"/>
                  <a:gd name="T23" fmla="*/ 133 h 283"/>
                  <a:gd name="T24" fmla="*/ 25 w 151"/>
                  <a:gd name="T25" fmla="*/ 43 h 283"/>
                  <a:gd name="T26" fmla="*/ 28 w 151"/>
                  <a:gd name="T27" fmla="*/ 39 h 283"/>
                  <a:gd name="T28" fmla="*/ 31 w 151"/>
                  <a:gd name="T29" fmla="*/ 43 h 283"/>
                  <a:gd name="T30" fmla="*/ 31 w 151"/>
                  <a:gd name="T31" fmla="*/ 138 h 283"/>
                  <a:gd name="T32" fmla="*/ 32 w 151"/>
                  <a:gd name="T33" fmla="*/ 152 h 283"/>
                  <a:gd name="T34" fmla="*/ 32 w 151"/>
                  <a:gd name="T35" fmla="*/ 152 h 283"/>
                  <a:gd name="T36" fmla="*/ 32 w 151"/>
                  <a:gd name="T37" fmla="*/ 152 h 283"/>
                  <a:gd name="T38" fmla="*/ 42 w 151"/>
                  <a:gd name="T39" fmla="*/ 260 h 283"/>
                  <a:gd name="T40" fmla="*/ 64 w 151"/>
                  <a:gd name="T41" fmla="*/ 283 h 283"/>
                  <a:gd name="T42" fmla="*/ 75 w 151"/>
                  <a:gd name="T43" fmla="*/ 283 h 283"/>
                  <a:gd name="T44" fmla="*/ 87 w 151"/>
                  <a:gd name="T45" fmla="*/ 283 h 283"/>
                  <a:gd name="T46" fmla="*/ 109 w 151"/>
                  <a:gd name="T47" fmla="*/ 260 h 283"/>
                  <a:gd name="T48" fmla="*/ 119 w 151"/>
                  <a:gd name="T49" fmla="*/ 152 h 283"/>
                  <a:gd name="T50" fmla="*/ 119 w 151"/>
                  <a:gd name="T51" fmla="*/ 152 h 283"/>
                  <a:gd name="T52" fmla="*/ 119 w 151"/>
                  <a:gd name="T53" fmla="*/ 152 h 283"/>
                  <a:gd name="T54" fmla="*/ 119 w 151"/>
                  <a:gd name="T55" fmla="*/ 138 h 283"/>
                  <a:gd name="T56" fmla="*/ 119 w 151"/>
                  <a:gd name="T57" fmla="*/ 43 h 283"/>
                  <a:gd name="T58" fmla="*/ 123 w 151"/>
                  <a:gd name="T59" fmla="*/ 39 h 283"/>
                  <a:gd name="T60" fmla="*/ 126 w 151"/>
                  <a:gd name="T61" fmla="*/ 43 h 283"/>
                  <a:gd name="T62" fmla="*/ 126 w 151"/>
                  <a:gd name="T63" fmla="*/ 133 h 283"/>
                  <a:gd name="T64" fmla="*/ 126 w 151"/>
                  <a:gd name="T65" fmla="*/ 135 h 283"/>
                  <a:gd name="T66" fmla="*/ 139 w 151"/>
                  <a:gd name="T67" fmla="*/ 145 h 283"/>
                  <a:gd name="T68" fmla="*/ 151 w 151"/>
                  <a:gd name="T69" fmla="*/ 133 h 283"/>
                  <a:gd name="T70" fmla="*/ 151 w 151"/>
                  <a:gd name="T71" fmla="*/ 133 h 283"/>
                  <a:gd name="T72" fmla="*/ 151 w 151"/>
                  <a:gd name="T73" fmla="*/ 65 h 283"/>
                  <a:gd name="T74" fmla="*/ 151 w 151"/>
                  <a:gd name="T75" fmla="*/ 39 h 283"/>
                  <a:gd name="T76" fmla="*/ 151 w 151"/>
                  <a:gd name="T77" fmla="*/ 34 h 283"/>
                  <a:gd name="T78" fmla="*/ 119 w 151"/>
                  <a:gd name="T79"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1" h="283">
                    <a:moveTo>
                      <a:pt x="119" y="0"/>
                    </a:moveTo>
                    <a:cubicBezTo>
                      <a:pt x="75" y="0"/>
                      <a:pt x="75" y="0"/>
                      <a:pt x="75" y="0"/>
                    </a:cubicBezTo>
                    <a:cubicBezTo>
                      <a:pt x="32" y="0"/>
                      <a:pt x="32" y="0"/>
                      <a:pt x="32" y="0"/>
                    </a:cubicBezTo>
                    <a:cubicBezTo>
                      <a:pt x="11" y="0"/>
                      <a:pt x="0" y="10"/>
                      <a:pt x="0" y="34"/>
                    </a:cubicBezTo>
                    <a:cubicBezTo>
                      <a:pt x="0" y="39"/>
                      <a:pt x="0" y="39"/>
                      <a:pt x="0" y="39"/>
                    </a:cubicBezTo>
                    <a:cubicBezTo>
                      <a:pt x="0" y="65"/>
                      <a:pt x="0" y="65"/>
                      <a:pt x="0" y="65"/>
                    </a:cubicBezTo>
                    <a:cubicBezTo>
                      <a:pt x="0" y="88"/>
                      <a:pt x="0" y="88"/>
                      <a:pt x="0" y="88"/>
                    </a:cubicBezTo>
                    <a:cubicBezTo>
                      <a:pt x="0" y="133"/>
                      <a:pt x="0" y="133"/>
                      <a:pt x="0" y="133"/>
                    </a:cubicBezTo>
                    <a:cubicBezTo>
                      <a:pt x="0" y="133"/>
                      <a:pt x="0" y="133"/>
                      <a:pt x="0" y="133"/>
                    </a:cubicBezTo>
                    <a:cubicBezTo>
                      <a:pt x="0" y="140"/>
                      <a:pt x="5" y="145"/>
                      <a:pt x="12" y="145"/>
                    </a:cubicBezTo>
                    <a:cubicBezTo>
                      <a:pt x="19" y="145"/>
                      <a:pt x="24" y="141"/>
                      <a:pt x="25" y="135"/>
                    </a:cubicBezTo>
                    <a:cubicBezTo>
                      <a:pt x="25" y="134"/>
                      <a:pt x="25" y="133"/>
                      <a:pt x="25" y="133"/>
                    </a:cubicBezTo>
                    <a:cubicBezTo>
                      <a:pt x="25" y="43"/>
                      <a:pt x="25" y="43"/>
                      <a:pt x="25" y="43"/>
                    </a:cubicBezTo>
                    <a:cubicBezTo>
                      <a:pt x="25" y="41"/>
                      <a:pt x="26" y="39"/>
                      <a:pt x="28" y="39"/>
                    </a:cubicBezTo>
                    <a:cubicBezTo>
                      <a:pt x="30" y="39"/>
                      <a:pt x="31" y="41"/>
                      <a:pt x="31" y="43"/>
                    </a:cubicBezTo>
                    <a:cubicBezTo>
                      <a:pt x="31" y="138"/>
                      <a:pt x="31" y="138"/>
                      <a:pt x="31" y="138"/>
                    </a:cubicBezTo>
                    <a:cubicBezTo>
                      <a:pt x="31" y="138"/>
                      <a:pt x="31" y="147"/>
                      <a:pt x="32" y="152"/>
                    </a:cubicBezTo>
                    <a:cubicBezTo>
                      <a:pt x="32" y="152"/>
                      <a:pt x="32" y="152"/>
                      <a:pt x="32" y="152"/>
                    </a:cubicBezTo>
                    <a:cubicBezTo>
                      <a:pt x="32" y="152"/>
                      <a:pt x="32" y="152"/>
                      <a:pt x="32" y="152"/>
                    </a:cubicBezTo>
                    <a:cubicBezTo>
                      <a:pt x="42" y="260"/>
                      <a:pt x="42" y="260"/>
                      <a:pt x="42" y="260"/>
                    </a:cubicBezTo>
                    <a:cubicBezTo>
                      <a:pt x="43" y="276"/>
                      <a:pt x="50" y="283"/>
                      <a:pt x="64" y="283"/>
                    </a:cubicBezTo>
                    <a:cubicBezTo>
                      <a:pt x="75" y="283"/>
                      <a:pt x="75" y="283"/>
                      <a:pt x="75" y="283"/>
                    </a:cubicBezTo>
                    <a:cubicBezTo>
                      <a:pt x="87" y="283"/>
                      <a:pt x="87" y="283"/>
                      <a:pt x="87" y="283"/>
                    </a:cubicBezTo>
                    <a:cubicBezTo>
                      <a:pt x="101" y="283"/>
                      <a:pt x="108" y="276"/>
                      <a:pt x="109" y="260"/>
                    </a:cubicBezTo>
                    <a:cubicBezTo>
                      <a:pt x="119" y="152"/>
                      <a:pt x="119" y="152"/>
                      <a:pt x="119" y="152"/>
                    </a:cubicBezTo>
                    <a:cubicBezTo>
                      <a:pt x="119" y="152"/>
                      <a:pt x="119" y="152"/>
                      <a:pt x="119" y="152"/>
                    </a:cubicBezTo>
                    <a:cubicBezTo>
                      <a:pt x="119" y="152"/>
                      <a:pt x="119" y="152"/>
                      <a:pt x="119" y="152"/>
                    </a:cubicBezTo>
                    <a:cubicBezTo>
                      <a:pt x="119" y="147"/>
                      <a:pt x="119" y="138"/>
                      <a:pt x="119" y="138"/>
                    </a:cubicBezTo>
                    <a:cubicBezTo>
                      <a:pt x="119" y="43"/>
                      <a:pt x="119" y="43"/>
                      <a:pt x="119" y="43"/>
                    </a:cubicBezTo>
                    <a:cubicBezTo>
                      <a:pt x="119" y="41"/>
                      <a:pt x="121" y="39"/>
                      <a:pt x="123" y="39"/>
                    </a:cubicBezTo>
                    <a:cubicBezTo>
                      <a:pt x="124" y="39"/>
                      <a:pt x="126" y="41"/>
                      <a:pt x="126" y="43"/>
                    </a:cubicBezTo>
                    <a:cubicBezTo>
                      <a:pt x="126" y="133"/>
                      <a:pt x="126" y="133"/>
                      <a:pt x="126" y="133"/>
                    </a:cubicBezTo>
                    <a:cubicBezTo>
                      <a:pt x="126" y="133"/>
                      <a:pt x="126" y="134"/>
                      <a:pt x="126" y="135"/>
                    </a:cubicBezTo>
                    <a:cubicBezTo>
                      <a:pt x="127" y="141"/>
                      <a:pt x="132" y="145"/>
                      <a:pt x="139" y="145"/>
                    </a:cubicBezTo>
                    <a:cubicBezTo>
                      <a:pt x="146" y="145"/>
                      <a:pt x="151" y="140"/>
                      <a:pt x="151" y="133"/>
                    </a:cubicBezTo>
                    <a:cubicBezTo>
                      <a:pt x="151" y="133"/>
                      <a:pt x="151" y="133"/>
                      <a:pt x="151" y="133"/>
                    </a:cubicBezTo>
                    <a:cubicBezTo>
                      <a:pt x="151" y="65"/>
                      <a:pt x="151" y="65"/>
                      <a:pt x="151" y="65"/>
                    </a:cubicBezTo>
                    <a:cubicBezTo>
                      <a:pt x="151" y="39"/>
                      <a:pt x="151" y="39"/>
                      <a:pt x="151" y="39"/>
                    </a:cubicBezTo>
                    <a:cubicBezTo>
                      <a:pt x="151" y="34"/>
                      <a:pt x="151" y="34"/>
                      <a:pt x="151" y="34"/>
                    </a:cubicBezTo>
                    <a:cubicBezTo>
                      <a:pt x="151" y="10"/>
                      <a:pt x="140" y="0"/>
                      <a:pt x="1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sp>
        <p:nvSpPr>
          <p:cNvPr id="240" name="Freeform 239"/>
          <p:cNvSpPr>
            <a:spLocks noEditPoints="1"/>
          </p:cNvSpPr>
          <p:nvPr/>
        </p:nvSpPr>
        <p:spPr bwMode="auto">
          <a:xfrm>
            <a:off x="8352326" y="1382790"/>
            <a:ext cx="1670532" cy="915954"/>
          </a:xfrm>
          <a:custGeom>
            <a:avLst/>
            <a:gdLst>
              <a:gd name="T0" fmla="*/ 77 w 427"/>
              <a:gd name="T1" fmla="*/ 234 h 234"/>
              <a:gd name="T2" fmla="*/ 47 w 427"/>
              <a:gd name="T3" fmla="*/ 227 h 234"/>
              <a:gd name="T4" fmla="*/ 0 w 427"/>
              <a:gd name="T5" fmla="*/ 156 h 234"/>
              <a:gd name="T6" fmla="*/ 7 w 427"/>
              <a:gd name="T7" fmla="*/ 125 h 234"/>
              <a:gd name="T8" fmla="*/ 78 w 427"/>
              <a:gd name="T9" fmla="*/ 79 h 234"/>
              <a:gd name="T10" fmla="*/ 79 w 427"/>
              <a:gd name="T11" fmla="*/ 79 h 234"/>
              <a:gd name="T12" fmla="*/ 84 w 427"/>
              <a:gd name="T13" fmla="*/ 62 h 234"/>
              <a:gd name="T14" fmla="*/ 179 w 427"/>
              <a:gd name="T15" fmla="*/ 0 h 234"/>
              <a:gd name="T16" fmla="*/ 220 w 427"/>
              <a:gd name="T17" fmla="*/ 8 h 234"/>
              <a:gd name="T18" fmla="*/ 277 w 427"/>
              <a:gd name="T19" fmla="*/ 70 h 234"/>
              <a:gd name="T20" fmla="*/ 301 w 427"/>
              <a:gd name="T21" fmla="*/ 67 h 234"/>
              <a:gd name="T22" fmla="*/ 334 w 427"/>
              <a:gd name="T23" fmla="*/ 74 h 234"/>
              <a:gd name="T24" fmla="*/ 382 w 427"/>
              <a:gd name="T25" fmla="*/ 133 h 234"/>
              <a:gd name="T26" fmla="*/ 397 w 427"/>
              <a:gd name="T27" fmla="*/ 137 h 234"/>
              <a:gd name="T28" fmla="*/ 397 w 427"/>
              <a:gd name="T29" fmla="*/ 137 h 234"/>
              <a:gd name="T30" fmla="*/ 427 w 427"/>
              <a:gd name="T31" fmla="*/ 183 h 234"/>
              <a:gd name="T32" fmla="*/ 423 w 427"/>
              <a:gd name="T33" fmla="*/ 203 h 234"/>
              <a:gd name="T34" fmla="*/ 382 w 427"/>
              <a:gd name="T35" fmla="*/ 234 h 234"/>
              <a:gd name="T36" fmla="*/ 77 w 427"/>
              <a:gd name="T37" fmla="*/ 234 h 234"/>
              <a:gd name="T38" fmla="*/ 404 w 427"/>
              <a:gd name="T39" fmla="*/ 195 h 234"/>
              <a:gd name="T40" fmla="*/ 407 w 427"/>
              <a:gd name="T41" fmla="*/ 183 h 234"/>
              <a:gd name="T42" fmla="*/ 389 w 427"/>
              <a:gd name="T43" fmla="*/ 155 h 234"/>
              <a:gd name="T44" fmla="*/ 389 w 427"/>
              <a:gd name="T45" fmla="*/ 155 h 234"/>
              <a:gd name="T46" fmla="*/ 377 w 427"/>
              <a:gd name="T47" fmla="*/ 153 h 234"/>
              <a:gd name="T48" fmla="*/ 375 w 427"/>
              <a:gd name="T49" fmla="*/ 153 h 234"/>
              <a:gd name="T50" fmla="*/ 364 w 427"/>
              <a:gd name="T51" fmla="*/ 144 h 234"/>
              <a:gd name="T52" fmla="*/ 326 w 427"/>
              <a:gd name="T53" fmla="*/ 92 h 234"/>
              <a:gd name="T54" fmla="*/ 301 w 427"/>
              <a:gd name="T55" fmla="*/ 87 h 234"/>
              <a:gd name="T56" fmla="*/ 274 w 427"/>
              <a:gd name="T57" fmla="*/ 93 h 234"/>
              <a:gd name="T58" fmla="*/ 261 w 427"/>
              <a:gd name="T59" fmla="*/ 86 h 234"/>
              <a:gd name="T60" fmla="*/ 212 w 427"/>
              <a:gd name="T61" fmla="*/ 27 h 234"/>
              <a:gd name="T62" fmla="*/ 179 w 427"/>
              <a:gd name="T63" fmla="*/ 20 h 234"/>
              <a:gd name="T64" fmla="*/ 103 w 427"/>
              <a:gd name="T65" fmla="*/ 70 h 234"/>
              <a:gd name="T66" fmla="*/ 97 w 427"/>
              <a:gd name="T67" fmla="*/ 91 h 234"/>
              <a:gd name="T68" fmla="*/ 86 w 427"/>
              <a:gd name="T69" fmla="*/ 99 h 234"/>
              <a:gd name="T70" fmla="*/ 78 w 427"/>
              <a:gd name="T71" fmla="*/ 99 h 234"/>
              <a:gd name="T72" fmla="*/ 25 w 427"/>
              <a:gd name="T73" fmla="*/ 133 h 234"/>
              <a:gd name="T74" fmla="*/ 20 w 427"/>
              <a:gd name="T75" fmla="*/ 156 h 234"/>
              <a:gd name="T76" fmla="*/ 55 w 427"/>
              <a:gd name="T77" fmla="*/ 209 h 234"/>
              <a:gd name="T78" fmla="*/ 78 w 427"/>
              <a:gd name="T79" fmla="*/ 214 h 234"/>
              <a:gd name="T80" fmla="*/ 78 w 427"/>
              <a:gd name="T81" fmla="*/ 214 h 234"/>
              <a:gd name="T82" fmla="*/ 380 w 427"/>
              <a:gd name="T83" fmla="*/ 21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234">
                <a:moveTo>
                  <a:pt x="77" y="234"/>
                </a:moveTo>
                <a:cubicBezTo>
                  <a:pt x="77" y="234"/>
                  <a:pt x="77" y="234"/>
                  <a:pt x="77" y="234"/>
                </a:cubicBezTo>
                <a:cubicBezTo>
                  <a:pt x="67" y="234"/>
                  <a:pt x="57" y="231"/>
                  <a:pt x="47" y="227"/>
                </a:cubicBezTo>
                <a:cubicBezTo>
                  <a:pt x="47" y="227"/>
                  <a:pt x="47" y="227"/>
                  <a:pt x="47" y="227"/>
                </a:cubicBezTo>
                <a:cubicBezTo>
                  <a:pt x="18" y="215"/>
                  <a:pt x="0" y="186"/>
                  <a:pt x="0" y="156"/>
                </a:cubicBezTo>
                <a:cubicBezTo>
                  <a:pt x="0" y="156"/>
                  <a:pt x="0" y="156"/>
                  <a:pt x="0" y="156"/>
                </a:cubicBezTo>
                <a:cubicBezTo>
                  <a:pt x="0" y="146"/>
                  <a:pt x="2" y="135"/>
                  <a:pt x="7" y="125"/>
                </a:cubicBezTo>
                <a:cubicBezTo>
                  <a:pt x="7" y="125"/>
                  <a:pt x="7" y="125"/>
                  <a:pt x="7" y="125"/>
                </a:cubicBezTo>
                <a:cubicBezTo>
                  <a:pt x="19" y="96"/>
                  <a:pt x="48" y="79"/>
                  <a:pt x="78" y="79"/>
                </a:cubicBezTo>
                <a:cubicBezTo>
                  <a:pt x="78" y="79"/>
                  <a:pt x="78" y="79"/>
                  <a:pt x="78" y="79"/>
                </a:cubicBezTo>
                <a:cubicBezTo>
                  <a:pt x="78" y="79"/>
                  <a:pt x="78" y="79"/>
                  <a:pt x="79" y="79"/>
                </a:cubicBezTo>
                <a:cubicBezTo>
                  <a:pt x="79" y="79"/>
                  <a:pt x="79" y="79"/>
                  <a:pt x="79" y="79"/>
                </a:cubicBezTo>
                <a:cubicBezTo>
                  <a:pt x="80" y="73"/>
                  <a:pt x="82" y="67"/>
                  <a:pt x="84" y="62"/>
                </a:cubicBezTo>
                <a:cubicBezTo>
                  <a:pt x="84" y="62"/>
                  <a:pt x="84" y="62"/>
                  <a:pt x="84" y="62"/>
                </a:cubicBezTo>
                <a:cubicBezTo>
                  <a:pt x="101" y="23"/>
                  <a:pt x="139" y="0"/>
                  <a:pt x="179" y="0"/>
                </a:cubicBezTo>
                <a:cubicBezTo>
                  <a:pt x="179" y="0"/>
                  <a:pt x="179" y="0"/>
                  <a:pt x="179" y="0"/>
                </a:cubicBezTo>
                <a:cubicBezTo>
                  <a:pt x="193" y="0"/>
                  <a:pt x="207" y="2"/>
                  <a:pt x="220" y="8"/>
                </a:cubicBezTo>
                <a:cubicBezTo>
                  <a:pt x="220" y="8"/>
                  <a:pt x="220" y="8"/>
                  <a:pt x="220" y="8"/>
                </a:cubicBezTo>
                <a:cubicBezTo>
                  <a:pt x="248" y="20"/>
                  <a:pt x="268" y="43"/>
                  <a:pt x="277" y="70"/>
                </a:cubicBezTo>
                <a:cubicBezTo>
                  <a:pt x="277" y="70"/>
                  <a:pt x="277" y="70"/>
                  <a:pt x="277" y="70"/>
                </a:cubicBezTo>
                <a:cubicBezTo>
                  <a:pt x="285" y="68"/>
                  <a:pt x="293" y="67"/>
                  <a:pt x="301" y="67"/>
                </a:cubicBezTo>
                <a:cubicBezTo>
                  <a:pt x="301" y="67"/>
                  <a:pt x="301" y="67"/>
                  <a:pt x="301" y="67"/>
                </a:cubicBezTo>
                <a:cubicBezTo>
                  <a:pt x="312" y="67"/>
                  <a:pt x="323" y="69"/>
                  <a:pt x="334" y="74"/>
                </a:cubicBezTo>
                <a:cubicBezTo>
                  <a:pt x="334" y="74"/>
                  <a:pt x="334" y="74"/>
                  <a:pt x="334" y="74"/>
                </a:cubicBezTo>
                <a:cubicBezTo>
                  <a:pt x="360" y="85"/>
                  <a:pt x="377" y="108"/>
                  <a:pt x="382" y="133"/>
                </a:cubicBezTo>
                <a:cubicBezTo>
                  <a:pt x="382" y="133"/>
                  <a:pt x="382" y="133"/>
                  <a:pt x="382" y="133"/>
                </a:cubicBezTo>
                <a:cubicBezTo>
                  <a:pt x="387" y="134"/>
                  <a:pt x="392" y="135"/>
                  <a:pt x="397" y="137"/>
                </a:cubicBezTo>
                <a:cubicBezTo>
                  <a:pt x="397" y="137"/>
                  <a:pt x="397" y="137"/>
                  <a:pt x="397" y="137"/>
                </a:cubicBezTo>
                <a:cubicBezTo>
                  <a:pt x="397" y="137"/>
                  <a:pt x="397" y="137"/>
                  <a:pt x="397" y="137"/>
                </a:cubicBezTo>
                <a:cubicBezTo>
                  <a:pt x="397" y="137"/>
                  <a:pt x="397" y="137"/>
                  <a:pt x="397" y="137"/>
                </a:cubicBezTo>
                <a:cubicBezTo>
                  <a:pt x="416" y="145"/>
                  <a:pt x="427" y="164"/>
                  <a:pt x="427" y="183"/>
                </a:cubicBezTo>
                <a:cubicBezTo>
                  <a:pt x="427" y="183"/>
                  <a:pt x="427" y="183"/>
                  <a:pt x="427" y="183"/>
                </a:cubicBezTo>
                <a:cubicBezTo>
                  <a:pt x="427" y="190"/>
                  <a:pt x="426" y="196"/>
                  <a:pt x="423" y="203"/>
                </a:cubicBezTo>
                <a:cubicBezTo>
                  <a:pt x="423" y="203"/>
                  <a:pt x="423" y="203"/>
                  <a:pt x="423" y="203"/>
                </a:cubicBezTo>
                <a:cubicBezTo>
                  <a:pt x="415" y="220"/>
                  <a:pt x="400" y="232"/>
                  <a:pt x="382" y="234"/>
                </a:cubicBezTo>
                <a:cubicBezTo>
                  <a:pt x="382" y="234"/>
                  <a:pt x="382" y="234"/>
                  <a:pt x="382" y="234"/>
                </a:cubicBezTo>
                <a:cubicBezTo>
                  <a:pt x="381" y="234"/>
                  <a:pt x="381" y="234"/>
                  <a:pt x="381" y="234"/>
                </a:cubicBezTo>
                <a:cubicBezTo>
                  <a:pt x="77" y="234"/>
                  <a:pt x="77" y="234"/>
                  <a:pt x="77" y="234"/>
                </a:cubicBezTo>
                <a:close/>
                <a:moveTo>
                  <a:pt x="380" y="214"/>
                </a:moveTo>
                <a:cubicBezTo>
                  <a:pt x="390" y="213"/>
                  <a:pt x="400" y="205"/>
                  <a:pt x="404" y="195"/>
                </a:cubicBezTo>
                <a:cubicBezTo>
                  <a:pt x="404" y="195"/>
                  <a:pt x="404" y="195"/>
                  <a:pt x="404" y="195"/>
                </a:cubicBezTo>
                <a:cubicBezTo>
                  <a:pt x="406" y="191"/>
                  <a:pt x="407" y="187"/>
                  <a:pt x="407" y="183"/>
                </a:cubicBezTo>
                <a:cubicBezTo>
                  <a:pt x="407" y="183"/>
                  <a:pt x="407" y="183"/>
                  <a:pt x="407" y="183"/>
                </a:cubicBezTo>
                <a:cubicBezTo>
                  <a:pt x="407" y="171"/>
                  <a:pt x="400" y="160"/>
                  <a:pt x="389" y="155"/>
                </a:cubicBezTo>
                <a:cubicBezTo>
                  <a:pt x="389" y="155"/>
                  <a:pt x="389" y="155"/>
                  <a:pt x="389" y="155"/>
                </a:cubicBezTo>
                <a:cubicBezTo>
                  <a:pt x="389" y="155"/>
                  <a:pt x="389" y="155"/>
                  <a:pt x="389" y="155"/>
                </a:cubicBezTo>
                <a:cubicBezTo>
                  <a:pt x="385" y="154"/>
                  <a:pt x="381" y="153"/>
                  <a:pt x="377" y="153"/>
                </a:cubicBezTo>
                <a:cubicBezTo>
                  <a:pt x="377" y="153"/>
                  <a:pt x="377" y="153"/>
                  <a:pt x="377" y="153"/>
                </a:cubicBezTo>
                <a:cubicBezTo>
                  <a:pt x="376" y="153"/>
                  <a:pt x="375" y="153"/>
                  <a:pt x="375" y="153"/>
                </a:cubicBezTo>
                <a:cubicBezTo>
                  <a:pt x="375" y="153"/>
                  <a:pt x="375" y="153"/>
                  <a:pt x="375" y="153"/>
                </a:cubicBezTo>
                <a:cubicBezTo>
                  <a:pt x="365" y="154"/>
                  <a:pt x="365" y="154"/>
                  <a:pt x="365" y="154"/>
                </a:cubicBezTo>
                <a:cubicBezTo>
                  <a:pt x="364" y="144"/>
                  <a:pt x="364" y="144"/>
                  <a:pt x="364" y="144"/>
                </a:cubicBezTo>
                <a:cubicBezTo>
                  <a:pt x="362" y="122"/>
                  <a:pt x="348" y="102"/>
                  <a:pt x="326" y="92"/>
                </a:cubicBezTo>
                <a:cubicBezTo>
                  <a:pt x="326" y="92"/>
                  <a:pt x="326" y="92"/>
                  <a:pt x="326" y="92"/>
                </a:cubicBezTo>
                <a:cubicBezTo>
                  <a:pt x="318" y="88"/>
                  <a:pt x="309" y="87"/>
                  <a:pt x="301" y="87"/>
                </a:cubicBezTo>
                <a:cubicBezTo>
                  <a:pt x="301" y="87"/>
                  <a:pt x="301" y="87"/>
                  <a:pt x="301" y="87"/>
                </a:cubicBezTo>
                <a:cubicBezTo>
                  <a:pt x="292" y="87"/>
                  <a:pt x="283" y="89"/>
                  <a:pt x="274" y="93"/>
                </a:cubicBezTo>
                <a:cubicBezTo>
                  <a:pt x="274" y="93"/>
                  <a:pt x="274" y="93"/>
                  <a:pt x="274" y="93"/>
                </a:cubicBezTo>
                <a:cubicBezTo>
                  <a:pt x="263" y="98"/>
                  <a:pt x="263" y="98"/>
                  <a:pt x="263" y="98"/>
                </a:cubicBezTo>
                <a:cubicBezTo>
                  <a:pt x="261" y="86"/>
                  <a:pt x="261" y="86"/>
                  <a:pt x="261" y="86"/>
                </a:cubicBezTo>
                <a:cubicBezTo>
                  <a:pt x="255" y="60"/>
                  <a:pt x="238" y="38"/>
                  <a:pt x="212" y="27"/>
                </a:cubicBezTo>
                <a:cubicBezTo>
                  <a:pt x="212" y="27"/>
                  <a:pt x="212" y="27"/>
                  <a:pt x="212" y="27"/>
                </a:cubicBezTo>
                <a:cubicBezTo>
                  <a:pt x="201" y="22"/>
                  <a:pt x="190" y="20"/>
                  <a:pt x="179" y="20"/>
                </a:cubicBezTo>
                <a:cubicBezTo>
                  <a:pt x="179" y="20"/>
                  <a:pt x="179" y="20"/>
                  <a:pt x="179" y="20"/>
                </a:cubicBezTo>
                <a:cubicBezTo>
                  <a:pt x="147" y="20"/>
                  <a:pt x="116" y="38"/>
                  <a:pt x="103" y="70"/>
                </a:cubicBezTo>
                <a:cubicBezTo>
                  <a:pt x="103" y="70"/>
                  <a:pt x="103" y="70"/>
                  <a:pt x="103" y="70"/>
                </a:cubicBezTo>
                <a:cubicBezTo>
                  <a:pt x="100" y="77"/>
                  <a:pt x="98" y="84"/>
                  <a:pt x="97" y="91"/>
                </a:cubicBezTo>
                <a:cubicBezTo>
                  <a:pt x="97" y="91"/>
                  <a:pt x="97" y="91"/>
                  <a:pt x="97" y="91"/>
                </a:cubicBezTo>
                <a:cubicBezTo>
                  <a:pt x="95" y="100"/>
                  <a:pt x="95" y="100"/>
                  <a:pt x="95" y="100"/>
                </a:cubicBezTo>
                <a:cubicBezTo>
                  <a:pt x="86" y="99"/>
                  <a:pt x="86" y="99"/>
                  <a:pt x="86" y="99"/>
                </a:cubicBezTo>
                <a:cubicBezTo>
                  <a:pt x="83" y="99"/>
                  <a:pt x="80" y="99"/>
                  <a:pt x="78" y="99"/>
                </a:cubicBezTo>
                <a:cubicBezTo>
                  <a:pt x="78" y="99"/>
                  <a:pt x="78" y="99"/>
                  <a:pt x="78" y="99"/>
                </a:cubicBezTo>
                <a:cubicBezTo>
                  <a:pt x="56" y="99"/>
                  <a:pt x="35" y="112"/>
                  <a:pt x="25" y="133"/>
                </a:cubicBezTo>
                <a:cubicBezTo>
                  <a:pt x="25" y="133"/>
                  <a:pt x="25" y="133"/>
                  <a:pt x="25" y="133"/>
                </a:cubicBezTo>
                <a:cubicBezTo>
                  <a:pt x="22" y="141"/>
                  <a:pt x="20" y="148"/>
                  <a:pt x="20" y="156"/>
                </a:cubicBezTo>
                <a:cubicBezTo>
                  <a:pt x="20" y="156"/>
                  <a:pt x="20" y="156"/>
                  <a:pt x="20" y="156"/>
                </a:cubicBezTo>
                <a:cubicBezTo>
                  <a:pt x="20" y="178"/>
                  <a:pt x="33" y="200"/>
                  <a:pt x="55" y="209"/>
                </a:cubicBezTo>
                <a:cubicBezTo>
                  <a:pt x="55" y="209"/>
                  <a:pt x="55" y="209"/>
                  <a:pt x="55" y="209"/>
                </a:cubicBezTo>
                <a:cubicBezTo>
                  <a:pt x="62" y="212"/>
                  <a:pt x="70" y="214"/>
                  <a:pt x="78" y="214"/>
                </a:cubicBezTo>
                <a:cubicBezTo>
                  <a:pt x="78" y="214"/>
                  <a:pt x="78" y="214"/>
                  <a:pt x="78" y="214"/>
                </a:cubicBezTo>
                <a:cubicBezTo>
                  <a:pt x="78" y="214"/>
                  <a:pt x="78" y="214"/>
                  <a:pt x="78" y="214"/>
                </a:cubicBezTo>
                <a:cubicBezTo>
                  <a:pt x="78" y="214"/>
                  <a:pt x="78" y="214"/>
                  <a:pt x="78" y="214"/>
                </a:cubicBezTo>
                <a:cubicBezTo>
                  <a:pt x="78" y="214"/>
                  <a:pt x="78" y="214"/>
                  <a:pt x="78" y="214"/>
                </a:cubicBezTo>
                <a:cubicBezTo>
                  <a:pt x="380" y="214"/>
                  <a:pt x="380" y="214"/>
                  <a:pt x="380" y="214"/>
                </a:cubicBezTo>
                <a:close/>
              </a:path>
            </a:pathLst>
          </a:custGeom>
          <a:solidFill>
            <a:schemeClr val="accent4">
              <a:lumMod val="40000"/>
              <a:lumOff val="60000"/>
            </a:schemeClr>
          </a:solidFill>
          <a:ln>
            <a:noFill/>
          </a:ln>
        </p:spPr>
        <p:txBody>
          <a:bodyPr vert="horz" wrap="square" lIns="129909" tIns="64954" rIns="129909" bIns="64954"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259" name="Freeform 137"/>
          <p:cNvSpPr>
            <a:spLocks noChangeAspect="1"/>
          </p:cNvSpPr>
          <p:nvPr/>
        </p:nvSpPr>
        <p:spPr bwMode="auto">
          <a:xfrm>
            <a:off x="8563428" y="2043290"/>
            <a:ext cx="1691370" cy="910336"/>
          </a:xfrm>
          <a:custGeom>
            <a:avLst/>
            <a:gdLst>
              <a:gd name="T0" fmla="*/ 414 w 446"/>
              <a:gd name="T1" fmla="*/ 158 h 240"/>
              <a:gd name="T2" fmla="*/ 394 w 446"/>
              <a:gd name="T3" fmla="*/ 155 h 240"/>
              <a:gd name="T4" fmla="*/ 348 w 446"/>
              <a:gd name="T5" fmla="*/ 91 h 240"/>
              <a:gd name="T6" fmla="*/ 285 w 446"/>
              <a:gd name="T7" fmla="*/ 92 h 240"/>
              <a:gd name="T8" fmla="*/ 228 w 446"/>
              <a:gd name="T9" fmla="*/ 22 h 240"/>
              <a:gd name="T10" fmla="*/ 98 w 446"/>
              <a:gd name="T11" fmla="*/ 73 h 240"/>
              <a:gd name="T12" fmla="*/ 91 w 446"/>
              <a:gd name="T13" fmla="*/ 98 h 240"/>
              <a:gd name="T14" fmla="*/ 16 w 446"/>
              <a:gd name="T15" fmla="*/ 140 h 240"/>
              <a:gd name="T16" fmla="*/ 53 w 446"/>
              <a:gd name="T17" fmla="*/ 234 h 240"/>
              <a:gd name="T18" fmla="*/ 81 w 446"/>
              <a:gd name="T19" fmla="*/ 240 h 240"/>
              <a:gd name="T20" fmla="*/ 402 w 446"/>
              <a:gd name="T21" fmla="*/ 240 h 240"/>
              <a:gd name="T22" fmla="*/ 436 w 446"/>
              <a:gd name="T23" fmla="*/ 214 h 240"/>
              <a:gd name="T24" fmla="*/ 414 w 446"/>
              <a:gd name="T25" fmla="*/ 15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6" h="240">
                <a:moveTo>
                  <a:pt x="414" y="158"/>
                </a:moveTo>
                <a:cubicBezTo>
                  <a:pt x="408" y="155"/>
                  <a:pt x="401" y="154"/>
                  <a:pt x="394" y="155"/>
                </a:cubicBezTo>
                <a:cubicBezTo>
                  <a:pt x="392" y="128"/>
                  <a:pt x="375" y="103"/>
                  <a:pt x="348" y="91"/>
                </a:cubicBezTo>
                <a:cubicBezTo>
                  <a:pt x="327" y="82"/>
                  <a:pt x="304" y="83"/>
                  <a:pt x="285" y="92"/>
                </a:cubicBezTo>
                <a:cubicBezTo>
                  <a:pt x="278" y="61"/>
                  <a:pt x="258" y="35"/>
                  <a:pt x="228" y="22"/>
                </a:cubicBezTo>
                <a:cubicBezTo>
                  <a:pt x="178" y="0"/>
                  <a:pt x="120" y="23"/>
                  <a:pt x="98" y="73"/>
                </a:cubicBezTo>
                <a:cubicBezTo>
                  <a:pt x="94" y="81"/>
                  <a:pt x="92" y="89"/>
                  <a:pt x="91" y="98"/>
                </a:cubicBezTo>
                <a:cubicBezTo>
                  <a:pt x="60" y="94"/>
                  <a:pt x="29" y="110"/>
                  <a:pt x="16" y="140"/>
                </a:cubicBezTo>
                <a:cubicBezTo>
                  <a:pt x="0" y="176"/>
                  <a:pt x="17" y="218"/>
                  <a:pt x="53" y="234"/>
                </a:cubicBezTo>
                <a:cubicBezTo>
                  <a:pt x="62" y="238"/>
                  <a:pt x="72" y="240"/>
                  <a:pt x="81" y="240"/>
                </a:cubicBezTo>
                <a:cubicBezTo>
                  <a:pt x="402" y="240"/>
                  <a:pt x="402" y="240"/>
                  <a:pt x="402" y="240"/>
                </a:cubicBezTo>
                <a:cubicBezTo>
                  <a:pt x="417" y="238"/>
                  <a:pt x="430" y="228"/>
                  <a:pt x="436" y="214"/>
                </a:cubicBezTo>
                <a:cubicBezTo>
                  <a:pt x="446" y="192"/>
                  <a:pt x="436" y="167"/>
                  <a:pt x="414" y="158"/>
                </a:cubicBezTo>
              </a:path>
            </a:pathLst>
          </a:custGeom>
          <a:solidFill>
            <a:schemeClr val="accent4">
              <a:lumMod val="40000"/>
              <a:lumOff val="60000"/>
            </a:schemeClr>
          </a:solidFill>
          <a:ln>
            <a:noFill/>
          </a:ln>
        </p:spPr>
        <p:txBody>
          <a:bodyPr vert="horz" wrap="square" lIns="129909" tIns="64954" rIns="129909" bIns="64954" numCol="1" anchor="t" anchorCtr="0" compatLnSpc="1">
            <a:prstTxWarp prst="textNoShape">
              <a:avLst/>
            </a:prstTxWarp>
          </a:bodyPr>
          <a:lstStyle/>
          <a:p>
            <a:endParaRPr lang="en-US">
              <a:latin typeface="微软雅黑" pitchFamily="34" charset="-122"/>
              <a:ea typeface="微软雅黑" pitchFamily="34" charset="-122"/>
            </a:endParaRPr>
          </a:p>
        </p:txBody>
      </p:sp>
      <p:grpSp>
        <p:nvGrpSpPr>
          <p:cNvPr id="10" name="Group 9"/>
          <p:cNvGrpSpPr/>
          <p:nvPr/>
        </p:nvGrpSpPr>
        <p:grpSpPr>
          <a:xfrm>
            <a:off x="3828664" y="2045487"/>
            <a:ext cx="3576545" cy="438764"/>
            <a:chOff x="2696308" y="1438233"/>
            <a:chExt cx="2518755" cy="308506"/>
          </a:xfrm>
        </p:grpSpPr>
        <p:sp>
          <p:nvSpPr>
            <p:cNvPr id="295" name="Oval 294"/>
            <p:cNvSpPr/>
            <p:nvPr/>
          </p:nvSpPr>
          <p:spPr>
            <a:xfrm>
              <a:off x="5012582" y="1493414"/>
              <a:ext cx="202481" cy="198146"/>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微软雅黑" pitchFamily="34" charset="-122"/>
                <a:ea typeface="微软雅黑" pitchFamily="34" charset="-122"/>
              </a:endParaRPr>
            </a:p>
          </p:txBody>
        </p:sp>
        <p:sp>
          <p:nvSpPr>
            <p:cNvPr id="430" name="Right Arrow 429"/>
            <p:cNvSpPr/>
            <p:nvPr/>
          </p:nvSpPr>
          <p:spPr>
            <a:xfrm>
              <a:off x="2696308" y="1438233"/>
              <a:ext cx="2323540" cy="308506"/>
            </a:xfrm>
            <a:prstGeom prst="rightArrow">
              <a:avLst>
                <a:gd name="adj1" fmla="val 42593"/>
                <a:gd name="adj2" fmla="val 87037"/>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微软雅黑" pitchFamily="34" charset="-122"/>
                <a:ea typeface="微软雅黑" pitchFamily="34" charset="-122"/>
              </a:endParaRPr>
            </a:p>
          </p:txBody>
        </p:sp>
      </p:grpSp>
      <p:grpSp>
        <p:nvGrpSpPr>
          <p:cNvPr id="262" name="Group 261"/>
          <p:cNvGrpSpPr/>
          <p:nvPr/>
        </p:nvGrpSpPr>
        <p:grpSpPr>
          <a:xfrm>
            <a:off x="4719599" y="2015746"/>
            <a:ext cx="1857816" cy="452001"/>
            <a:chOff x="171035" y="954157"/>
            <a:chExt cx="390949" cy="387626"/>
          </a:xfrm>
        </p:grpSpPr>
        <p:sp>
          <p:nvSpPr>
            <p:cNvPr id="263" name="Round Diagonal Corner Rectangle 262"/>
            <p:cNvSpPr/>
            <p:nvPr/>
          </p:nvSpPr>
          <p:spPr>
            <a:xfrm flipV="1">
              <a:off x="171035" y="954157"/>
              <a:ext cx="387626" cy="387626"/>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dirty="0">
                <a:latin typeface="微软雅黑" pitchFamily="34" charset="-122"/>
                <a:ea typeface="微软雅黑" pitchFamily="34" charset="-122"/>
              </a:endParaRPr>
            </a:p>
          </p:txBody>
        </p:sp>
        <p:sp>
          <p:nvSpPr>
            <p:cNvPr id="264" name="Round Diagonal Corner Rectangle 263"/>
            <p:cNvSpPr/>
            <p:nvPr/>
          </p:nvSpPr>
          <p:spPr>
            <a:xfrm>
              <a:off x="174358" y="954157"/>
              <a:ext cx="387626" cy="387626"/>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2300" dirty="0">
                  <a:latin typeface="微软雅黑" pitchFamily="34" charset="-122"/>
                  <a:ea typeface="微软雅黑" pitchFamily="34" charset="-122"/>
                </a:rPr>
                <a:t>渗透</a:t>
              </a:r>
              <a:endParaRPr lang="en-US" sz="2300" dirty="0">
                <a:latin typeface="微软雅黑" pitchFamily="34" charset="-122"/>
                <a:ea typeface="微软雅黑" pitchFamily="34" charset="-122"/>
              </a:endParaRPr>
            </a:p>
          </p:txBody>
        </p:sp>
      </p:grpSp>
      <p:sp>
        <p:nvSpPr>
          <p:cNvPr id="271" name="Freeform 310"/>
          <p:cNvSpPr>
            <a:spLocks/>
          </p:cNvSpPr>
          <p:nvPr/>
        </p:nvSpPr>
        <p:spPr bwMode="auto">
          <a:xfrm>
            <a:off x="6794108" y="5042495"/>
            <a:ext cx="42505" cy="113734"/>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solidFill>
            <a:srgbClr val="000000"/>
          </a:solidFill>
          <a:ln w="9525">
            <a:noFill/>
            <a:round/>
            <a:headEnd/>
            <a:tailEnd/>
          </a:ln>
        </p:spPr>
        <p:txBody>
          <a:bodyPr lIns="129909" tIns="64954" rIns="129909" bIns="64954"/>
          <a:lstStyle/>
          <a:p>
            <a:endParaRPr lang="en-US" sz="2000" dirty="0">
              <a:latin typeface="微软雅黑" pitchFamily="34" charset="-122"/>
              <a:ea typeface="微软雅黑" pitchFamily="34" charset="-122"/>
            </a:endParaRPr>
          </a:p>
        </p:txBody>
      </p:sp>
      <p:grpSp>
        <p:nvGrpSpPr>
          <p:cNvPr id="268" name="Group 267"/>
          <p:cNvGrpSpPr/>
          <p:nvPr/>
        </p:nvGrpSpPr>
        <p:grpSpPr>
          <a:xfrm>
            <a:off x="6521830" y="4318883"/>
            <a:ext cx="1481740" cy="457879"/>
            <a:chOff x="161386" y="954156"/>
            <a:chExt cx="314542" cy="387627"/>
          </a:xfrm>
        </p:grpSpPr>
        <p:sp>
          <p:nvSpPr>
            <p:cNvPr id="269" name="Round Diagonal Corner Rectangle 268"/>
            <p:cNvSpPr/>
            <p:nvPr/>
          </p:nvSpPr>
          <p:spPr>
            <a:xfrm flipV="1">
              <a:off x="171035" y="954156"/>
              <a:ext cx="291924" cy="387626"/>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00" dirty="0">
                <a:latin typeface="微软雅黑" pitchFamily="34" charset="-122"/>
                <a:ea typeface="微软雅黑" pitchFamily="34" charset="-122"/>
              </a:endParaRPr>
            </a:p>
          </p:txBody>
        </p:sp>
        <p:sp>
          <p:nvSpPr>
            <p:cNvPr id="270" name="Round Diagonal Corner Rectangle 269"/>
            <p:cNvSpPr/>
            <p:nvPr/>
          </p:nvSpPr>
          <p:spPr>
            <a:xfrm>
              <a:off x="161386" y="954157"/>
              <a:ext cx="314542" cy="387626"/>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2300" dirty="0">
                  <a:latin typeface="微软雅黑" pitchFamily="34" charset="-122"/>
                  <a:ea typeface="微软雅黑" pitchFamily="34" charset="-122"/>
                </a:rPr>
                <a:t>捕获</a:t>
              </a:r>
              <a:endParaRPr lang="en-US" sz="2300" dirty="0">
                <a:latin typeface="微软雅黑" pitchFamily="34" charset="-122"/>
                <a:ea typeface="微软雅黑" pitchFamily="34" charset="-122"/>
              </a:endParaRPr>
            </a:p>
          </p:txBody>
        </p:sp>
      </p:grpSp>
      <p:grpSp>
        <p:nvGrpSpPr>
          <p:cNvPr id="9" name="Group 8"/>
          <p:cNvGrpSpPr/>
          <p:nvPr/>
        </p:nvGrpSpPr>
        <p:grpSpPr>
          <a:xfrm>
            <a:off x="4325899" y="4805243"/>
            <a:ext cx="2399571" cy="1062370"/>
            <a:chOff x="3046482" y="3378686"/>
            <a:chExt cx="1689880" cy="746979"/>
          </a:xfrm>
        </p:grpSpPr>
        <p:sp>
          <p:nvSpPr>
            <p:cNvPr id="292" name="Freeform 94"/>
            <p:cNvSpPr>
              <a:spLocks noEditPoints="1"/>
            </p:cNvSpPr>
            <p:nvPr/>
          </p:nvSpPr>
          <p:spPr bwMode="auto">
            <a:xfrm rot="4109834">
              <a:off x="3606505" y="2818663"/>
              <a:ext cx="569834" cy="1689880"/>
            </a:xfrm>
            <a:custGeom>
              <a:avLst/>
              <a:gdLst/>
              <a:ahLst/>
              <a:cxnLst>
                <a:cxn ang="0">
                  <a:pos x="360" y="3404"/>
                </a:cxn>
                <a:cxn ang="0">
                  <a:pos x="358" y="3462"/>
                </a:cxn>
                <a:cxn ang="0">
                  <a:pos x="268" y="3158"/>
                </a:cxn>
                <a:cxn ang="0">
                  <a:pos x="402" y="3008"/>
                </a:cxn>
                <a:cxn ang="0">
                  <a:pos x="388" y="3050"/>
                </a:cxn>
                <a:cxn ang="0">
                  <a:pos x="422" y="2898"/>
                </a:cxn>
                <a:cxn ang="0">
                  <a:pos x="370" y="2872"/>
                </a:cxn>
                <a:cxn ang="0">
                  <a:pos x="432" y="2780"/>
                </a:cxn>
                <a:cxn ang="0">
                  <a:pos x="360" y="2742"/>
                </a:cxn>
                <a:cxn ang="0">
                  <a:pos x="456" y="2520"/>
                </a:cxn>
                <a:cxn ang="0">
                  <a:pos x="492" y="2382"/>
                </a:cxn>
                <a:cxn ang="0">
                  <a:pos x="496" y="2344"/>
                </a:cxn>
                <a:cxn ang="0">
                  <a:pos x="514" y="2088"/>
                </a:cxn>
                <a:cxn ang="0">
                  <a:pos x="560" y="1948"/>
                </a:cxn>
                <a:cxn ang="0">
                  <a:pos x="634" y="1680"/>
                </a:cxn>
                <a:cxn ang="0">
                  <a:pos x="630" y="1696"/>
                </a:cxn>
                <a:cxn ang="0">
                  <a:pos x="662" y="1540"/>
                </a:cxn>
                <a:cxn ang="0">
                  <a:pos x="700" y="1450"/>
                </a:cxn>
                <a:cxn ang="0">
                  <a:pos x="726" y="1406"/>
                </a:cxn>
                <a:cxn ang="0">
                  <a:pos x="728" y="1314"/>
                </a:cxn>
                <a:cxn ang="0">
                  <a:pos x="812" y="1120"/>
                </a:cxn>
                <a:cxn ang="0">
                  <a:pos x="880" y="862"/>
                </a:cxn>
                <a:cxn ang="0">
                  <a:pos x="808" y="840"/>
                </a:cxn>
                <a:cxn ang="0">
                  <a:pos x="800" y="712"/>
                </a:cxn>
                <a:cxn ang="0">
                  <a:pos x="828" y="456"/>
                </a:cxn>
                <a:cxn ang="0">
                  <a:pos x="986" y="164"/>
                </a:cxn>
                <a:cxn ang="0">
                  <a:pos x="976" y="182"/>
                </a:cxn>
                <a:cxn ang="0">
                  <a:pos x="850" y="34"/>
                </a:cxn>
                <a:cxn ang="0">
                  <a:pos x="142" y="3294"/>
                </a:cxn>
                <a:cxn ang="0">
                  <a:pos x="158" y="3160"/>
                </a:cxn>
                <a:cxn ang="0">
                  <a:pos x="96" y="3144"/>
                </a:cxn>
                <a:cxn ang="0">
                  <a:pos x="90" y="2900"/>
                </a:cxn>
                <a:cxn ang="0">
                  <a:pos x="178" y="2918"/>
                </a:cxn>
                <a:cxn ang="0">
                  <a:pos x="208" y="2792"/>
                </a:cxn>
                <a:cxn ang="0">
                  <a:pos x="202" y="2600"/>
                </a:cxn>
                <a:cxn ang="0">
                  <a:pos x="220" y="2654"/>
                </a:cxn>
                <a:cxn ang="0">
                  <a:pos x="310" y="2342"/>
                </a:cxn>
                <a:cxn ang="0">
                  <a:pos x="358" y="2258"/>
                </a:cxn>
                <a:cxn ang="0">
                  <a:pos x="452" y="2116"/>
                </a:cxn>
                <a:cxn ang="0">
                  <a:pos x="468" y="2084"/>
                </a:cxn>
                <a:cxn ang="0">
                  <a:pos x="576" y="1812"/>
                </a:cxn>
                <a:cxn ang="0">
                  <a:pos x="588" y="1788"/>
                </a:cxn>
                <a:cxn ang="0">
                  <a:pos x="648" y="1678"/>
                </a:cxn>
                <a:cxn ang="0">
                  <a:pos x="708" y="1506"/>
                </a:cxn>
                <a:cxn ang="0">
                  <a:pos x="704" y="1520"/>
                </a:cxn>
                <a:cxn ang="0">
                  <a:pos x="796" y="1366"/>
                </a:cxn>
                <a:cxn ang="0">
                  <a:pos x="798" y="1298"/>
                </a:cxn>
                <a:cxn ang="0">
                  <a:pos x="902" y="1160"/>
                </a:cxn>
                <a:cxn ang="0">
                  <a:pos x="908" y="1110"/>
                </a:cxn>
                <a:cxn ang="0">
                  <a:pos x="986" y="988"/>
                </a:cxn>
                <a:cxn ang="0">
                  <a:pos x="974" y="986"/>
                </a:cxn>
                <a:cxn ang="0">
                  <a:pos x="1042" y="842"/>
                </a:cxn>
                <a:cxn ang="0">
                  <a:pos x="1028" y="850"/>
                </a:cxn>
                <a:cxn ang="0">
                  <a:pos x="1092" y="708"/>
                </a:cxn>
                <a:cxn ang="0">
                  <a:pos x="1062" y="702"/>
                </a:cxn>
                <a:cxn ang="0">
                  <a:pos x="1134" y="592"/>
                </a:cxn>
                <a:cxn ang="0">
                  <a:pos x="1072" y="562"/>
                </a:cxn>
                <a:cxn ang="0">
                  <a:pos x="1152" y="482"/>
                </a:cxn>
                <a:cxn ang="0">
                  <a:pos x="1060" y="438"/>
                </a:cxn>
                <a:cxn ang="0">
                  <a:pos x="1100" y="210"/>
                </a:cxn>
                <a:cxn ang="0">
                  <a:pos x="1176" y="90"/>
                </a:cxn>
                <a:cxn ang="0">
                  <a:pos x="1144" y="20"/>
                </a:cxn>
              </a:cxnLst>
              <a:rect l="0" t="0" r="r" b="b"/>
              <a:pathLst>
                <a:path w="1226" h="3488">
                  <a:moveTo>
                    <a:pt x="320" y="3396"/>
                  </a:moveTo>
                  <a:lnTo>
                    <a:pt x="320" y="3396"/>
                  </a:lnTo>
                  <a:lnTo>
                    <a:pt x="304" y="3398"/>
                  </a:lnTo>
                  <a:lnTo>
                    <a:pt x="290" y="3400"/>
                  </a:lnTo>
                  <a:lnTo>
                    <a:pt x="276" y="3404"/>
                  </a:lnTo>
                  <a:lnTo>
                    <a:pt x="266" y="3408"/>
                  </a:lnTo>
                  <a:lnTo>
                    <a:pt x="258" y="3416"/>
                  </a:lnTo>
                  <a:lnTo>
                    <a:pt x="252" y="3424"/>
                  </a:lnTo>
                  <a:lnTo>
                    <a:pt x="248" y="3432"/>
                  </a:lnTo>
                  <a:lnTo>
                    <a:pt x="248" y="3444"/>
                  </a:lnTo>
                  <a:lnTo>
                    <a:pt x="248" y="3444"/>
                  </a:lnTo>
                  <a:lnTo>
                    <a:pt x="248" y="3452"/>
                  </a:lnTo>
                  <a:lnTo>
                    <a:pt x="252" y="3462"/>
                  </a:lnTo>
                  <a:lnTo>
                    <a:pt x="258" y="3470"/>
                  </a:lnTo>
                  <a:lnTo>
                    <a:pt x="264" y="3476"/>
                  </a:lnTo>
                  <a:lnTo>
                    <a:pt x="274" y="3480"/>
                  </a:lnTo>
                  <a:lnTo>
                    <a:pt x="286" y="3484"/>
                  </a:lnTo>
                  <a:lnTo>
                    <a:pt x="300" y="3488"/>
                  </a:lnTo>
                  <a:lnTo>
                    <a:pt x="316" y="3488"/>
                  </a:lnTo>
                  <a:lnTo>
                    <a:pt x="316" y="3488"/>
                  </a:lnTo>
                  <a:lnTo>
                    <a:pt x="332" y="3488"/>
                  </a:lnTo>
                  <a:lnTo>
                    <a:pt x="346" y="3484"/>
                  </a:lnTo>
                  <a:lnTo>
                    <a:pt x="358" y="3480"/>
                  </a:lnTo>
                  <a:lnTo>
                    <a:pt x="368" y="3476"/>
                  </a:lnTo>
                  <a:lnTo>
                    <a:pt x="376" y="3468"/>
                  </a:lnTo>
                  <a:lnTo>
                    <a:pt x="382" y="3460"/>
                  </a:lnTo>
                  <a:lnTo>
                    <a:pt x="386" y="3452"/>
                  </a:lnTo>
                  <a:lnTo>
                    <a:pt x="386" y="3442"/>
                  </a:lnTo>
                  <a:lnTo>
                    <a:pt x="386" y="3442"/>
                  </a:lnTo>
                  <a:lnTo>
                    <a:pt x="386" y="3432"/>
                  </a:lnTo>
                  <a:lnTo>
                    <a:pt x="382" y="3422"/>
                  </a:lnTo>
                  <a:lnTo>
                    <a:pt x="378" y="3414"/>
                  </a:lnTo>
                  <a:lnTo>
                    <a:pt x="370" y="3408"/>
                  </a:lnTo>
                  <a:lnTo>
                    <a:pt x="360" y="3404"/>
                  </a:lnTo>
                  <a:lnTo>
                    <a:pt x="348" y="3400"/>
                  </a:lnTo>
                  <a:lnTo>
                    <a:pt x="336" y="3398"/>
                  </a:lnTo>
                  <a:lnTo>
                    <a:pt x="320" y="3396"/>
                  </a:lnTo>
                  <a:lnTo>
                    <a:pt x="320" y="3396"/>
                  </a:lnTo>
                  <a:close/>
                  <a:moveTo>
                    <a:pt x="316" y="3470"/>
                  </a:moveTo>
                  <a:lnTo>
                    <a:pt x="316" y="3470"/>
                  </a:lnTo>
                  <a:lnTo>
                    <a:pt x="292" y="3468"/>
                  </a:lnTo>
                  <a:lnTo>
                    <a:pt x="284" y="3466"/>
                  </a:lnTo>
                  <a:lnTo>
                    <a:pt x="276" y="3462"/>
                  </a:lnTo>
                  <a:lnTo>
                    <a:pt x="270" y="3458"/>
                  </a:lnTo>
                  <a:lnTo>
                    <a:pt x="266" y="3454"/>
                  </a:lnTo>
                  <a:lnTo>
                    <a:pt x="262" y="3448"/>
                  </a:lnTo>
                  <a:lnTo>
                    <a:pt x="262" y="3442"/>
                  </a:lnTo>
                  <a:lnTo>
                    <a:pt x="262" y="3442"/>
                  </a:lnTo>
                  <a:lnTo>
                    <a:pt x="262" y="3436"/>
                  </a:lnTo>
                  <a:lnTo>
                    <a:pt x="266" y="3430"/>
                  </a:lnTo>
                  <a:lnTo>
                    <a:pt x="270" y="3426"/>
                  </a:lnTo>
                  <a:lnTo>
                    <a:pt x="278" y="3422"/>
                  </a:lnTo>
                  <a:lnTo>
                    <a:pt x="286" y="3418"/>
                  </a:lnTo>
                  <a:lnTo>
                    <a:pt x="296" y="3416"/>
                  </a:lnTo>
                  <a:lnTo>
                    <a:pt x="318" y="3414"/>
                  </a:lnTo>
                  <a:lnTo>
                    <a:pt x="318" y="3414"/>
                  </a:lnTo>
                  <a:lnTo>
                    <a:pt x="340" y="3416"/>
                  </a:lnTo>
                  <a:lnTo>
                    <a:pt x="350" y="3418"/>
                  </a:lnTo>
                  <a:lnTo>
                    <a:pt x="358" y="3422"/>
                  </a:lnTo>
                  <a:lnTo>
                    <a:pt x="364" y="3426"/>
                  </a:lnTo>
                  <a:lnTo>
                    <a:pt x="370" y="3430"/>
                  </a:lnTo>
                  <a:lnTo>
                    <a:pt x="372" y="3436"/>
                  </a:lnTo>
                  <a:lnTo>
                    <a:pt x="372" y="3442"/>
                  </a:lnTo>
                  <a:lnTo>
                    <a:pt x="372" y="3442"/>
                  </a:lnTo>
                  <a:lnTo>
                    <a:pt x="372" y="3448"/>
                  </a:lnTo>
                  <a:lnTo>
                    <a:pt x="370" y="3454"/>
                  </a:lnTo>
                  <a:lnTo>
                    <a:pt x="364" y="3458"/>
                  </a:lnTo>
                  <a:lnTo>
                    <a:pt x="358" y="3462"/>
                  </a:lnTo>
                  <a:lnTo>
                    <a:pt x="350" y="3466"/>
                  </a:lnTo>
                  <a:lnTo>
                    <a:pt x="340" y="3468"/>
                  </a:lnTo>
                  <a:lnTo>
                    <a:pt x="316" y="3470"/>
                  </a:lnTo>
                  <a:lnTo>
                    <a:pt x="316" y="3470"/>
                  </a:lnTo>
                  <a:close/>
                  <a:moveTo>
                    <a:pt x="256" y="3310"/>
                  </a:moveTo>
                  <a:lnTo>
                    <a:pt x="372" y="3310"/>
                  </a:lnTo>
                  <a:lnTo>
                    <a:pt x="372" y="3310"/>
                  </a:lnTo>
                  <a:lnTo>
                    <a:pt x="372" y="3312"/>
                  </a:lnTo>
                  <a:lnTo>
                    <a:pt x="372" y="3312"/>
                  </a:lnTo>
                  <a:lnTo>
                    <a:pt x="358" y="3334"/>
                  </a:lnTo>
                  <a:lnTo>
                    <a:pt x="358" y="3334"/>
                  </a:lnTo>
                  <a:lnTo>
                    <a:pt x="372" y="3338"/>
                  </a:lnTo>
                  <a:lnTo>
                    <a:pt x="372" y="3338"/>
                  </a:lnTo>
                  <a:lnTo>
                    <a:pt x="388" y="3308"/>
                  </a:lnTo>
                  <a:lnTo>
                    <a:pt x="388" y="3308"/>
                  </a:lnTo>
                  <a:lnTo>
                    <a:pt x="388" y="3294"/>
                  </a:lnTo>
                  <a:lnTo>
                    <a:pt x="256" y="3294"/>
                  </a:lnTo>
                  <a:lnTo>
                    <a:pt x="256" y="3294"/>
                  </a:lnTo>
                  <a:lnTo>
                    <a:pt x="256" y="3310"/>
                  </a:lnTo>
                  <a:lnTo>
                    <a:pt x="256" y="3310"/>
                  </a:lnTo>
                  <a:close/>
                  <a:moveTo>
                    <a:pt x="266" y="3174"/>
                  </a:moveTo>
                  <a:lnTo>
                    <a:pt x="380" y="3174"/>
                  </a:lnTo>
                  <a:lnTo>
                    <a:pt x="380" y="3174"/>
                  </a:lnTo>
                  <a:lnTo>
                    <a:pt x="380" y="3176"/>
                  </a:lnTo>
                  <a:lnTo>
                    <a:pt x="380" y="3176"/>
                  </a:lnTo>
                  <a:lnTo>
                    <a:pt x="366" y="3198"/>
                  </a:lnTo>
                  <a:lnTo>
                    <a:pt x="366" y="3198"/>
                  </a:lnTo>
                  <a:lnTo>
                    <a:pt x="378" y="3202"/>
                  </a:lnTo>
                  <a:lnTo>
                    <a:pt x="378" y="3202"/>
                  </a:lnTo>
                  <a:lnTo>
                    <a:pt x="396" y="3172"/>
                  </a:lnTo>
                  <a:lnTo>
                    <a:pt x="396" y="3172"/>
                  </a:lnTo>
                  <a:lnTo>
                    <a:pt x="396" y="3158"/>
                  </a:lnTo>
                  <a:lnTo>
                    <a:pt x="268" y="3158"/>
                  </a:lnTo>
                  <a:lnTo>
                    <a:pt x="268" y="3158"/>
                  </a:lnTo>
                  <a:lnTo>
                    <a:pt x="266" y="3174"/>
                  </a:lnTo>
                  <a:lnTo>
                    <a:pt x="266" y="3174"/>
                  </a:lnTo>
                  <a:close/>
                  <a:moveTo>
                    <a:pt x="354" y="2988"/>
                  </a:moveTo>
                  <a:lnTo>
                    <a:pt x="354" y="2988"/>
                  </a:lnTo>
                  <a:lnTo>
                    <a:pt x="340" y="2990"/>
                  </a:lnTo>
                  <a:lnTo>
                    <a:pt x="326" y="2992"/>
                  </a:lnTo>
                  <a:lnTo>
                    <a:pt x="314" y="2996"/>
                  </a:lnTo>
                  <a:lnTo>
                    <a:pt x="304" y="3002"/>
                  </a:lnTo>
                  <a:lnTo>
                    <a:pt x="296" y="3008"/>
                  </a:lnTo>
                  <a:lnTo>
                    <a:pt x="290" y="3016"/>
                  </a:lnTo>
                  <a:lnTo>
                    <a:pt x="284" y="3026"/>
                  </a:lnTo>
                  <a:lnTo>
                    <a:pt x="282" y="3036"/>
                  </a:lnTo>
                  <a:lnTo>
                    <a:pt x="282" y="3036"/>
                  </a:lnTo>
                  <a:lnTo>
                    <a:pt x="282" y="3046"/>
                  </a:lnTo>
                  <a:lnTo>
                    <a:pt x="284" y="3054"/>
                  </a:lnTo>
                  <a:lnTo>
                    <a:pt x="288" y="3062"/>
                  </a:lnTo>
                  <a:lnTo>
                    <a:pt x="294" y="3068"/>
                  </a:lnTo>
                  <a:lnTo>
                    <a:pt x="304" y="3074"/>
                  </a:lnTo>
                  <a:lnTo>
                    <a:pt x="314" y="3078"/>
                  </a:lnTo>
                  <a:lnTo>
                    <a:pt x="326" y="3080"/>
                  </a:lnTo>
                  <a:lnTo>
                    <a:pt x="340" y="3080"/>
                  </a:lnTo>
                  <a:lnTo>
                    <a:pt x="340" y="3080"/>
                  </a:lnTo>
                  <a:lnTo>
                    <a:pt x="356" y="3080"/>
                  </a:lnTo>
                  <a:lnTo>
                    <a:pt x="368" y="3078"/>
                  </a:lnTo>
                  <a:lnTo>
                    <a:pt x="380" y="3074"/>
                  </a:lnTo>
                  <a:lnTo>
                    <a:pt x="390" y="3068"/>
                  </a:lnTo>
                  <a:lnTo>
                    <a:pt x="396" y="3060"/>
                  </a:lnTo>
                  <a:lnTo>
                    <a:pt x="402" y="3052"/>
                  </a:lnTo>
                  <a:lnTo>
                    <a:pt x="406" y="3044"/>
                  </a:lnTo>
                  <a:lnTo>
                    <a:pt x="408" y="3034"/>
                  </a:lnTo>
                  <a:lnTo>
                    <a:pt x="408" y="3034"/>
                  </a:lnTo>
                  <a:lnTo>
                    <a:pt x="408" y="3024"/>
                  </a:lnTo>
                  <a:lnTo>
                    <a:pt x="406" y="3014"/>
                  </a:lnTo>
                  <a:lnTo>
                    <a:pt x="402" y="3008"/>
                  </a:lnTo>
                  <a:lnTo>
                    <a:pt x="396" y="3000"/>
                  </a:lnTo>
                  <a:lnTo>
                    <a:pt x="388" y="2996"/>
                  </a:lnTo>
                  <a:lnTo>
                    <a:pt x="378" y="2992"/>
                  </a:lnTo>
                  <a:lnTo>
                    <a:pt x="366" y="2990"/>
                  </a:lnTo>
                  <a:lnTo>
                    <a:pt x="354" y="2988"/>
                  </a:lnTo>
                  <a:lnTo>
                    <a:pt x="354" y="2988"/>
                  </a:lnTo>
                  <a:close/>
                  <a:moveTo>
                    <a:pt x="342" y="3062"/>
                  </a:moveTo>
                  <a:lnTo>
                    <a:pt x="342" y="3062"/>
                  </a:lnTo>
                  <a:lnTo>
                    <a:pt x="322" y="3060"/>
                  </a:lnTo>
                  <a:lnTo>
                    <a:pt x="314" y="3058"/>
                  </a:lnTo>
                  <a:lnTo>
                    <a:pt x="306" y="3054"/>
                  </a:lnTo>
                  <a:lnTo>
                    <a:pt x="300" y="3050"/>
                  </a:lnTo>
                  <a:lnTo>
                    <a:pt x="298" y="3046"/>
                  </a:lnTo>
                  <a:lnTo>
                    <a:pt x="296" y="3040"/>
                  </a:lnTo>
                  <a:lnTo>
                    <a:pt x="296" y="3034"/>
                  </a:lnTo>
                  <a:lnTo>
                    <a:pt x="296" y="3034"/>
                  </a:lnTo>
                  <a:lnTo>
                    <a:pt x="298" y="3028"/>
                  </a:lnTo>
                  <a:lnTo>
                    <a:pt x="300" y="3022"/>
                  </a:lnTo>
                  <a:lnTo>
                    <a:pt x="306" y="3018"/>
                  </a:lnTo>
                  <a:lnTo>
                    <a:pt x="312" y="3014"/>
                  </a:lnTo>
                  <a:lnTo>
                    <a:pt x="330" y="3008"/>
                  </a:lnTo>
                  <a:lnTo>
                    <a:pt x="350" y="3008"/>
                  </a:lnTo>
                  <a:lnTo>
                    <a:pt x="350" y="3008"/>
                  </a:lnTo>
                  <a:lnTo>
                    <a:pt x="370" y="3008"/>
                  </a:lnTo>
                  <a:lnTo>
                    <a:pt x="378" y="3010"/>
                  </a:lnTo>
                  <a:lnTo>
                    <a:pt x="384" y="3014"/>
                  </a:lnTo>
                  <a:lnTo>
                    <a:pt x="390" y="3018"/>
                  </a:lnTo>
                  <a:lnTo>
                    <a:pt x="394" y="3022"/>
                  </a:lnTo>
                  <a:lnTo>
                    <a:pt x="396" y="3028"/>
                  </a:lnTo>
                  <a:lnTo>
                    <a:pt x="396" y="3034"/>
                  </a:lnTo>
                  <a:lnTo>
                    <a:pt x="396" y="3034"/>
                  </a:lnTo>
                  <a:lnTo>
                    <a:pt x="394" y="3040"/>
                  </a:lnTo>
                  <a:lnTo>
                    <a:pt x="392" y="3046"/>
                  </a:lnTo>
                  <a:lnTo>
                    <a:pt x="388" y="3050"/>
                  </a:lnTo>
                  <a:lnTo>
                    <a:pt x="382" y="3054"/>
                  </a:lnTo>
                  <a:lnTo>
                    <a:pt x="374" y="3058"/>
                  </a:lnTo>
                  <a:lnTo>
                    <a:pt x="364" y="3060"/>
                  </a:lnTo>
                  <a:lnTo>
                    <a:pt x="342" y="3062"/>
                  </a:lnTo>
                  <a:lnTo>
                    <a:pt x="342" y="3062"/>
                  </a:lnTo>
                  <a:close/>
                  <a:moveTo>
                    <a:pt x="374" y="2854"/>
                  </a:moveTo>
                  <a:lnTo>
                    <a:pt x="374" y="2854"/>
                  </a:lnTo>
                  <a:lnTo>
                    <a:pt x="360" y="2854"/>
                  </a:lnTo>
                  <a:lnTo>
                    <a:pt x="348" y="2856"/>
                  </a:lnTo>
                  <a:lnTo>
                    <a:pt x="336" y="2860"/>
                  </a:lnTo>
                  <a:lnTo>
                    <a:pt x="326" y="2866"/>
                  </a:lnTo>
                  <a:lnTo>
                    <a:pt x="318" y="2872"/>
                  </a:lnTo>
                  <a:lnTo>
                    <a:pt x="312" y="2880"/>
                  </a:lnTo>
                  <a:lnTo>
                    <a:pt x="308" y="2890"/>
                  </a:lnTo>
                  <a:lnTo>
                    <a:pt x="304" y="2900"/>
                  </a:lnTo>
                  <a:lnTo>
                    <a:pt x="304" y="2900"/>
                  </a:lnTo>
                  <a:lnTo>
                    <a:pt x="304" y="2910"/>
                  </a:lnTo>
                  <a:lnTo>
                    <a:pt x="306" y="2918"/>
                  </a:lnTo>
                  <a:lnTo>
                    <a:pt x="310" y="2926"/>
                  </a:lnTo>
                  <a:lnTo>
                    <a:pt x="316" y="2932"/>
                  </a:lnTo>
                  <a:lnTo>
                    <a:pt x="322" y="2938"/>
                  </a:lnTo>
                  <a:lnTo>
                    <a:pt x="332" y="2942"/>
                  </a:lnTo>
                  <a:lnTo>
                    <a:pt x="344" y="2944"/>
                  </a:lnTo>
                  <a:lnTo>
                    <a:pt x="358" y="2944"/>
                  </a:lnTo>
                  <a:lnTo>
                    <a:pt x="358" y="2944"/>
                  </a:lnTo>
                  <a:lnTo>
                    <a:pt x="372" y="2944"/>
                  </a:lnTo>
                  <a:lnTo>
                    <a:pt x="384" y="2942"/>
                  </a:lnTo>
                  <a:lnTo>
                    <a:pt x="394" y="2938"/>
                  </a:lnTo>
                  <a:lnTo>
                    <a:pt x="404" y="2932"/>
                  </a:lnTo>
                  <a:lnTo>
                    <a:pt x="410" y="2924"/>
                  </a:lnTo>
                  <a:lnTo>
                    <a:pt x="416" y="2916"/>
                  </a:lnTo>
                  <a:lnTo>
                    <a:pt x="420" y="2908"/>
                  </a:lnTo>
                  <a:lnTo>
                    <a:pt x="422" y="2898"/>
                  </a:lnTo>
                  <a:lnTo>
                    <a:pt x="422" y="2898"/>
                  </a:lnTo>
                  <a:lnTo>
                    <a:pt x="422" y="2888"/>
                  </a:lnTo>
                  <a:lnTo>
                    <a:pt x="420" y="2878"/>
                  </a:lnTo>
                  <a:lnTo>
                    <a:pt x="418" y="2872"/>
                  </a:lnTo>
                  <a:lnTo>
                    <a:pt x="412" y="2864"/>
                  </a:lnTo>
                  <a:lnTo>
                    <a:pt x="404" y="2860"/>
                  </a:lnTo>
                  <a:lnTo>
                    <a:pt x="396" y="2856"/>
                  </a:lnTo>
                  <a:lnTo>
                    <a:pt x="386" y="2854"/>
                  </a:lnTo>
                  <a:lnTo>
                    <a:pt x="374" y="2854"/>
                  </a:lnTo>
                  <a:lnTo>
                    <a:pt x="374" y="2854"/>
                  </a:lnTo>
                  <a:close/>
                  <a:moveTo>
                    <a:pt x="410" y="2898"/>
                  </a:moveTo>
                  <a:lnTo>
                    <a:pt x="410" y="2898"/>
                  </a:lnTo>
                  <a:lnTo>
                    <a:pt x="410" y="2904"/>
                  </a:lnTo>
                  <a:lnTo>
                    <a:pt x="406" y="2910"/>
                  </a:lnTo>
                  <a:lnTo>
                    <a:pt x="402" y="2914"/>
                  </a:lnTo>
                  <a:lnTo>
                    <a:pt x="396" y="2918"/>
                  </a:lnTo>
                  <a:lnTo>
                    <a:pt x="390" y="2922"/>
                  </a:lnTo>
                  <a:lnTo>
                    <a:pt x="382" y="2924"/>
                  </a:lnTo>
                  <a:lnTo>
                    <a:pt x="360" y="2926"/>
                  </a:lnTo>
                  <a:lnTo>
                    <a:pt x="360" y="2926"/>
                  </a:lnTo>
                  <a:lnTo>
                    <a:pt x="340" y="2924"/>
                  </a:lnTo>
                  <a:lnTo>
                    <a:pt x="332" y="2922"/>
                  </a:lnTo>
                  <a:lnTo>
                    <a:pt x="326" y="2920"/>
                  </a:lnTo>
                  <a:lnTo>
                    <a:pt x="322" y="2916"/>
                  </a:lnTo>
                  <a:lnTo>
                    <a:pt x="318" y="2910"/>
                  </a:lnTo>
                  <a:lnTo>
                    <a:pt x="316" y="2906"/>
                  </a:lnTo>
                  <a:lnTo>
                    <a:pt x="318" y="2900"/>
                  </a:lnTo>
                  <a:lnTo>
                    <a:pt x="318" y="2900"/>
                  </a:lnTo>
                  <a:lnTo>
                    <a:pt x="320" y="2892"/>
                  </a:lnTo>
                  <a:lnTo>
                    <a:pt x="322" y="2886"/>
                  </a:lnTo>
                  <a:lnTo>
                    <a:pt x="328" y="2882"/>
                  </a:lnTo>
                  <a:lnTo>
                    <a:pt x="334" y="2878"/>
                  </a:lnTo>
                  <a:lnTo>
                    <a:pt x="350" y="2874"/>
                  </a:lnTo>
                  <a:lnTo>
                    <a:pt x="370" y="2872"/>
                  </a:lnTo>
                  <a:lnTo>
                    <a:pt x="370" y="2872"/>
                  </a:lnTo>
                  <a:lnTo>
                    <a:pt x="388" y="2874"/>
                  </a:lnTo>
                  <a:lnTo>
                    <a:pt x="396" y="2876"/>
                  </a:lnTo>
                  <a:lnTo>
                    <a:pt x="402" y="2878"/>
                  </a:lnTo>
                  <a:lnTo>
                    <a:pt x="406" y="2882"/>
                  </a:lnTo>
                  <a:lnTo>
                    <a:pt x="408" y="2886"/>
                  </a:lnTo>
                  <a:lnTo>
                    <a:pt x="410" y="2892"/>
                  </a:lnTo>
                  <a:lnTo>
                    <a:pt x="410" y="2898"/>
                  </a:lnTo>
                  <a:lnTo>
                    <a:pt x="410" y="2898"/>
                  </a:lnTo>
                  <a:close/>
                  <a:moveTo>
                    <a:pt x="396" y="2718"/>
                  </a:moveTo>
                  <a:lnTo>
                    <a:pt x="396" y="2718"/>
                  </a:lnTo>
                  <a:lnTo>
                    <a:pt x="384" y="2718"/>
                  </a:lnTo>
                  <a:lnTo>
                    <a:pt x="372" y="2720"/>
                  </a:lnTo>
                  <a:lnTo>
                    <a:pt x="362" y="2724"/>
                  </a:lnTo>
                  <a:lnTo>
                    <a:pt x="354" y="2730"/>
                  </a:lnTo>
                  <a:lnTo>
                    <a:pt x="346" y="2736"/>
                  </a:lnTo>
                  <a:lnTo>
                    <a:pt x="340" y="2744"/>
                  </a:lnTo>
                  <a:lnTo>
                    <a:pt x="334" y="2754"/>
                  </a:lnTo>
                  <a:lnTo>
                    <a:pt x="332" y="2764"/>
                  </a:lnTo>
                  <a:lnTo>
                    <a:pt x="332" y="2764"/>
                  </a:lnTo>
                  <a:lnTo>
                    <a:pt x="330" y="2774"/>
                  </a:lnTo>
                  <a:lnTo>
                    <a:pt x="332" y="2782"/>
                  </a:lnTo>
                  <a:lnTo>
                    <a:pt x="334" y="2790"/>
                  </a:lnTo>
                  <a:lnTo>
                    <a:pt x="340" y="2796"/>
                  </a:lnTo>
                  <a:lnTo>
                    <a:pt x="346" y="2802"/>
                  </a:lnTo>
                  <a:lnTo>
                    <a:pt x="356" y="2806"/>
                  </a:lnTo>
                  <a:lnTo>
                    <a:pt x="366" y="2808"/>
                  </a:lnTo>
                  <a:lnTo>
                    <a:pt x="378" y="2810"/>
                  </a:lnTo>
                  <a:lnTo>
                    <a:pt x="378" y="2810"/>
                  </a:lnTo>
                  <a:lnTo>
                    <a:pt x="392" y="2808"/>
                  </a:lnTo>
                  <a:lnTo>
                    <a:pt x="402" y="2806"/>
                  </a:lnTo>
                  <a:lnTo>
                    <a:pt x="412" y="2802"/>
                  </a:lnTo>
                  <a:lnTo>
                    <a:pt x="420" y="2796"/>
                  </a:lnTo>
                  <a:lnTo>
                    <a:pt x="428" y="2790"/>
                  </a:lnTo>
                  <a:lnTo>
                    <a:pt x="432" y="2780"/>
                  </a:lnTo>
                  <a:lnTo>
                    <a:pt x="436" y="2772"/>
                  </a:lnTo>
                  <a:lnTo>
                    <a:pt x="438" y="2762"/>
                  </a:lnTo>
                  <a:lnTo>
                    <a:pt x="438" y="2762"/>
                  </a:lnTo>
                  <a:lnTo>
                    <a:pt x="438" y="2752"/>
                  </a:lnTo>
                  <a:lnTo>
                    <a:pt x="438" y="2744"/>
                  </a:lnTo>
                  <a:lnTo>
                    <a:pt x="434" y="2736"/>
                  </a:lnTo>
                  <a:lnTo>
                    <a:pt x="430" y="2728"/>
                  </a:lnTo>
                  <a:lnTo>
                    <a:pt x="424" y="2724"/>
                  </a:lnTo>
                  <a:lnTo>
                    <a:pt x="416" y="2720"/>
                  </a:lnTo>
                  <a:lnTo>
                    <a:pt x="408" y="2718"/>
                  </a:lnTo>
                  <a:lnTo>
                    <a:pt x="396" y="2718"/>
                  </a:lnTo>
                  <a:lnTo>
                    <a:pt x="396" y="2718"/>
                  </a:lnTo>
                  <a:close/>
                  <a:moveTo>
                    <a:pt x="428" y="2764"/>
                  </a:moveTo>
                  <a:lnTo>
                    <a:pt x="428" y="2764"/>
                  </a:lnTo>
                  <a:lnTo>
                    <a:pt x="426" y="2768"/>
                  </a:lnTo>
                  <a:lnTo>
                    <a:pt x="424" y="2774"/>
                  </a:lnTo>
                  <a:lnTo>
                    <a:pt x="420" y="2778"/>
                  </a:lnTo>
                  <a:lnTo>
                    <a:pt x="414" y="2782"/>
                  </a:lnTo>
                  <a:lnTo>
                    <a:pt x="408" y="2786"/>
                  </a:lnTo>
                  <a:lnTo>
                    <a:pt x="400" y="2788"/>
                  </a:lnTo>
                  <a:lnTo>
                    <a:pt x="382" y="2790"/>
                  </a:lnTo>
                  <a:lnTo>
                    <a:pt x="382" y="2790"/>
                  </a:lnTo>
                  <a:lnTo>
                    <a:pt x="364" y="2788"/>
                  </a:lnTo>
                  <a:lnTo>
                    <a:pt x="356" y="2786"/>
                  </a:lnTo>
                  <a:lnTo>
                    <a:pt x="350" y="2784"/>
                  </a:lnTo>
                  <a:lnTo>
                    <a:pt x="346" y="2780"/>
                  </a:lnTo>
                  <a:lnTo>
                    <a:pt x="344" y="2774"/>
                  </a:lnTo>
                  <a:lnTo>
                    <a:pt x="342" y="2770"/>
                  </a:lnTo>
                  <a:lnTo>
                    <a:pt x="342" y="2764"/>
                  </a:lnTo>
                  <a:lnTo>
                    <a:pt x="342" y="2764"/>
                  </a:lnTo>
                  <a:lnTo>
                    <a:pt x="346" y="2756"/>
                  </a:lnTo>
                  <a:lnTo>
                    <a:pt x="348" y="2752"/>
                  </a:lnTo>
                  <a:lnTo>
                    <a:pt x="354" y="2746"/>
                  </a:lnTo>
                  <a:lnTo>
                    <a:pt x="360" y="2742"/>
                  </a:lnTo>
                  <a:lnTo>
                    <a:pt x="374" y="2738"/>
                  </a:lnTo>
                  <a:lnTo>
                    <a:pt x="392" y="2736"/>
                  </a:lnTo>
                  <a:lnTo>
                    <a:pt x="392" y="2736"/>
                  </a:lnTo>
                  <a:lnTo>
                    <a:pt x="408" y="2738"/>
                  </a:lnTo>
                  <a:lnTo>
                    <a:pt x="416" y="2740"/>
                  </a:lnTo>
                  <a:lnTo>
                    <a:pt x="420" y="2742"/>
                  </a:lnTo>
                  <a:lnTo>
                    <a:pt x="424" y="2746"/>
                  </a:lnTo>
                  <a:lnTo>
                    <a:pt x="428" y="2750"/>
                  </a:lnTo>
                  <a:lnTo>
                    <a:pt x="428" y="2756"/>
                  </a:lnTo>
                  <a:lnTo>
                    <a:pt x="428" y="2764"/>
                  </a:lnTo>
                  <a:lnTo>
                    <a:pt x="428" y="2764"/>
                  </a:lnTo>
                  <a:close/>
                  <a:moveTo>
                    <a:pt x="362" y="2632"/>
                  </a:moveTo>
                  <a:lnTo>
                    <a:pt x="444" y="2632"/>
                  </a:lnTo>
                  <a:lnTo>
                    <a:pt x="444" y="2632"/>
                  </a:lnTo>
                  <a:lnTo>
                    <a:pt x="444" y="2632"/>
                  </a:lnTo>
                  <a:lnTo>
                    <a:pt x="444" y="2632"/>
                  </a:lnTo>
                  <a:lnTo>
                    <a:pt x="432" y="2656"/>
                  </a:lnTo>
                  <a:lnTo>
                    <a:pt x="432" y="2656"/>
                  </a:lnTo>
                  <a:lnTo>
                    <a:pt x="440" y="2660"/>
                  </a:lnTo>
                  <a:lnTo>
                    <a:pt x="440" y="2660"/>
                  </a:lnTo>
                  <a:lnTo>
                    <a:pt x="456" y="2630"/>
                  </a:lnTo>
                  <a:lnTo>
                    <a:pt x="456" y="2630"/>
                  </a:lnTo>
                  <a:lnTo>
                    <a:pt x="458" y="2614"/>
                  </a:lnTo>
                  <a:lnTo>
                    <a:pt x="368" y="2614"/>
                  </a:lnTo>
                  <a:lnTo>
                    <a:pt x="368" y="2614"/>
                  </a:lnTo>
                  <a:lnTo>
                    <a:pt x="362" y="2632"/>
                  </a:lnTo>
                  <a:lnTo>
                    <a:pt x="362" y="2632"/>
                  </a:lnTo>
                  <a:close/>
                  <a:moveTo>
                    <a:pt x="396" y="2496"/>
                  </a:moveTo>
                  <a:lnTo>
                    <a:pt x="468" y="2496"/>
                  </a:lnTo>
                  <a:lnTo>
                    <a:pt x="468" y="2496"/>
                  </a:lnTo>
                  <a:lnTo>
                    <a:pt x="468" y="2496"/>
                  </a:lnTo>
                  <a:lnTo>
                    <a:pt x="468" y="2496"/>
                  </a:lnTo>
                  <a:lnTo>
                    <a:pt x="456" y="2520"/>
                  </a:lnTo>
                  <a:lnTo>
                    <a:pt x="456" y="2520"/>
                  </a:lnTo>
                  <a:lnTo>
                    <a:pt x="464" y="2524"/>
                  </a:lnTo>
                  <a:lnTo>
                    <a:pt x="464" y="2524"/>
                  </a:lnTo>
                  <a:lnTo>
                    <a:pt x="476" y="2494"/>
                  </a:lnTo>
                  <a:lnTo>
                    <a:pt x="476" y="2494"/>
                  </a:lnTo>
                  <a:lnTo>
                    <a:pt x="480" y="2478"/>
                  </a:lnTo>
                  <a:lnTo>
                    <a:pt x="402" y="2478"/>
                  </a:lnTo>
                  <a:lnTo>
                    <a:pt x="402" y="2478"/>
                  </a:lnTo>
                  <a:lnTo>
                    <a:pt x="396" y="2496"/>
                  </a:lnTo>
                  <a:lnTo>
                    <a:pt x="396" y="2496"/>
                  </a:lnTo>
                  <a:close/>
                  <a:moveTo>
                    <a:pt x="482" y="2310"/>
                  </a:moveTo>
                  <a:lnTo>
                    <a:pt x="482" y="2310"/>
                  </a:lnTo>
                  <a:lnTo>
                    <a:pt x="474" y="2310"/>
                  </a:lnTo>
                  <a:lnTo>
                    <a:pt x="466" y="2312"/>
                  </a:lnTo>
                  <a:lnTo>
                    <a:pt x="460" y="2316"/>
                  </a:lnTo>
                  <a:lnTo>
                    <a:pt x="452" y="2322"/>
                  </a:lnTo>
                  <a:lnTo>
                    <a:pt x="446" y="2328"/>
                  </a:lnTo>
                  <a:lnTo>
                    <a:pt x="442" y="2336"/>
                  </a:lnTo>
                  <a:lnTo>
                    <a:pt x="436" y="2346"/>
                  </a:lnTo>
                  <a:lnTo>
                    <a:pt x="432" y="2356"/>
                  </a:lnTo>
                  <a:lnTo>
                    <a:pt x="432" y="2356"/>
                  </a:lnTo>
                  <a:lnTo>
                    <a:pt x="430" y="2366"/>
                  </a:lnTo>
                  <a:lnTo>
                    <a:pt x="430" y="2374"/>
                  </a:lnTo>
                  <a:lnTo>
                    <a:pt x="432" y="2382"/>
                  </a:lnTo>
                  <a:lnTo>
                    <a:pt x="434" y="2390"/>
                  </a:lnTo>
                  <a:lnTo>
                    <a:pt x="438" y="2394"/>
                  </a:lnTo>
                  <a:lnTo>
                    <a:pt x="444" y="2398"/>
                  </a:lnTo>
                  <a:lnTo>
                    <a:pt x="452" y="2400"/>
                  </a:lnTo>
                  <a:lnTo>
                    <a:pt x="460" y="2402"/>
                  </a:lnTo>
                  <a:lnTo>
                    <a:pt x="460" y="2402"/>
                  </a:lnTo>
                  <a:lnTo>
                    <a:pt x="468" y="2400"/>
                  </a:lnTo>
                  <a:lnTo>
                    <a:pt x="476" y="2398"/>
                  </a:lnTo>
                  <a:lnTo>
                    <a:pt x="482" y="2394"/>
                  </a:lnTo>
                  <a:lnTo>
                    <a:pt x="488" y="2388"/>
                  </a:lnTo>
                  <a:lnTo>
                    <a:pt x="492" y="2382"/>
                  </a:lnTo>
                  <a:lnTo>
                    <a:pt x="496" y="2374"/>
                  </a:lnTo>
                  <a:lnTo>
                    <a:pt x="500" y="2354"/>
                  </a:lnTo>
                  <a:lnTo>
                    <a:pt x="500" y="2354"/>
                  </a:lnTo>
                  <a:lnTo>
                    <a:pt x="502" y="2336"/>
                  </a:lnTo>
                  <a:lnTo>
                    <a:pt x="502" y="2328"/>
                  </a:lnTo>
                  <a:lnTo>
                    <a:pt x="500" y="2322"/>
                  </a:lnTo>
                  <a:lnTo>
                    <a:pt x="498" y="2316"/>
                  </a:lnTo>
                  <a:lnTo>
                    <a:pt x="494" y="2312"/>
                  </a:lnTo>
                  <a:lnTo>
                    <a:pt x="488" y="2310"/>
                  </a:lnTo>
                  <a:lnTo>
                    <a:pt x="482" y="2310"/>
                  </a:lnTo>
                  <a:lnTo>
                    <a:pt x="482" y="2310"/>
                  </a:lnTo>
                  <a:close/>
                  <a:moveTo>
                    <a:pt x="496" y="2356"/>
                  </a:moveTo>
                  <a:lnTo>
                    <a:pt x="496" y="2356"/>
                  </a:lnTo>
                  <a:lnTo>
                    <a:pt x="492" y="2366"/>
                  </a:lnTo>
                  <a:lnTo>
                    <a:pt x="486" y="2376"/>
                  </a:lnTo>
                  <a:lnTo>
                    <a:pt x="476" y="2382"/>
                  </a:lnTo>
                  <a:lnTo>
                    <a:pt x="464" y="2384"/>
                  </a:lnTo>
                  <a:lnTo>
                    <a:pt x="464" y="2384"/>
                  </a:lnTo>
                  <a:lnTo>
                    <a:pt x="452" y="2382"/>
                  </a:lnTo>
                  <a:lnTo>
                    <a:pt x="448" y="2378"/>
                  </a:lnTo>
                  <a:lnTo>
                    <a:pt x="444" y="2376"/>
                  </a:lnTo>
                  <a:lnTo>
                    <a:pt x="442" y="2372"/>
                  </a:lnTo>
                  <a:lnTo>
                    <a:pt x="440" y="2368"/>
                  </a:lnTo>
                  <a:lnTo>
                    <a:pt x="442" y="2356"/>
                  </a:lnTo>
                  <a:lnTo>
                    <a:pt x="442" y="2356"/>
                  </a:lnTo>
                  <a:lnTo>
                    <a:pt x="446" y="2344"/>
                  </a:lnTo>
                  <a:lnTo>
                    <a:pt x="454" y="2334"/>
                  </a:lnTo>
                  <a:lnTo>
                    <a:pt x="466" y="2330"/>
                  </a:lnTo>
                  <a:lnTo>
                    <a:pt x="476" y="2328"/>
                  </a:lnTo>
                  <a:lnTo>
                    <a:pt x="476" y="2328"/>
                  </a:lnTo>
                  <a:lnTo>
                    <a:pt x="486" y="2330"/>
                  </a:lnTo>
                  <a:lnTo>
                    <a:pt x="490" y="2332"/>
                  </a:lnTo>
                  <a:lnTo>
                    <a:pt x="494" y="2334"/>
                  </a:lnTo>
                  <a:lnTo>
                    <a:pt x="496" y="2344"/>
                  </a:lnTo>
                  <a:lnTo>
                    <a:pt x="496" y="2356"/>
                  </a:lnTo>
                  <a:lnTo>
                    <a:pt x="496" y="2356"/>
                  </a:lnTo>
                  <a:close/>
                  <a:moveTo>
                    <a:pt x="472" y="2224"/>
                  </a:moveTo>
                  <a:lnTo>
                    <a:pt x="518" y="2224"/>
                  </a:lnTo>
                  <a:lnTo>
                    <a:pt x="518" y="2224"/>
                  </a:lnTo>
                  <a:lnTo>
                    <a:pt x="518" y="2224"/>
                  </a:lnTo>
                  <a:lnTo>
                    <a:pt x="518" y="2224"/>
                  </a:lnTo>
                  <a:lnTo>
                    <a:pt x="510" y="2248"/>
                  </a:lnTo>
                  <a:lnTo>
                    <a:pt x="510" y="2248"/>
                  </a:lnTo>
                  <a:lnTo>
                    <a:pt x="514" y="2252"/>
                  </a:lnTo>
                  <a:lnTo>
                    <a:pt x="514" y="2252"/>
                  </a:lnTo>
                  <a:lnTo>
                    <a:pt x="524" y="2222"/>
                  </a:lnTo>
                  <a:lnTo>
                    <a:pt x="524" y="2222"/>
                  </a:lnTo>
                  <a:lnTo>
                    <a:pt x="526" y="2206"/>
                  </a:lnTo>
                  <a:lnTo>
                    <a:pt x="478" y="2206"/>
                  </a:lnTo>
                  <a:lnTo>
                    <a:pt x="478" y="2206"/>
                  </a:lnTo>
                  <a:lnTo>
                    <a:pt x="472" y="2224"/>
                  </a:lnTo>
                  <a:lnTo>
                    <a:pt x="472" y="2224"/>
                  </a:lnTo>
                  <a:close/>
                  <a:moveTo>
                    <a:pt x="514" y="2088"/>
                  </a:moveTo>
                  <a:lnTo>
                    <a:pt x="546" y="2088"/>
                  </a:lnTo>
                  <a:lnTo>
                    <a:pt x="546" y="2088"/>
                  </a:lnTo>
                  <a:lnTo>
                    <a:pt x="546" y="2088"/>
                  </a:lnTo>
                  <a:lnTo>
                    <a:pt x="546" y="2088"/>
                  </a:lnTo>
                  <a:lnTo>
                    <a:pt x="538" y="2112"/>
                  </a:lnTo>
                  <a:lnTo>
                    <a:pt x="538" y="2112"/>
                  </a:lnTo>
                  <a:lnTo>
                    <a:pt x="542" y="2116"/>
                  </a:lnTo>
                  <a:lnTo>
                    <a:pt x="542" y="2116"/>
                  </a:lnTo>
                  <a:lnTo>
                    <a:pt x="550" y="2086"/>
                  </a:lnTo>
                  <a:lnTo>
                    <a:pt x="550" y="2086"/>
                  </a:lnTo>
                  <a:lnTo>
                    <a:pt x="552" y="2070"/>
                  </a:lnTo>
                  <a:lnTo>
                    <a:pt x="518" y="2070"/>
                  </a:lnTo>
                  <a:lnTo>
                    <a:pt x="518" y="2070"/>
                  </a:lnTo>
                  <a:lnTo>
                    <a:pt x="514" y="2088"/>
                  </a:lnTo>
                  <a:lnTo>
                    <a:pt x="514" y="2088"/>
                  </a:lnTo>
                  <a:close/>
                  <a:moveTo>
                    <a:pt x="582" y="1902"/>
                  </a:moveTo>
                  <a:lnTo>
                    <a:pt x="582" y="1902"/>
                  </a:lnTo>
                  <a:lnTo>
                    <a:pt x="578" y="1906"/>
                  </a:lnTo>
                  <a:lnTo>
                    <a:pt x="570" y="1914"/>
                  </a:lnTo>
                  <a:lnTo>
                    <a:pt x="564" y="1930"/>
                  </a:lnTo>
                  <a:lnTo>
                    <a:pt x="556" y="1950"/>
                  </a:lnTo>
                  <a:lnTo>
                    <a:pt x="556" y="1950"/>
                  </a:lnTo>
                  <a:lnTo>
                    <a:pt x="552" y="1968"/>
                  </a:lnTo>
                  <a:lnTo>
                    <a:pt x="550" y="1982"/>
                  </a:lnTo>
                  <a:lnTo>
                    <a:pt x="554" y="1990"/>
                  </a:lnTo>
                  <a:lnTo>
                    <a:pt x="556" y="1994"/>
                  </a:lnTo>
                  <a:lnTo>
                    <a:pt x="558" y="1994"/>
                  </a:lnTo>
                  <a:lnTo>
                    <a:pt x="558" y="1994"/>
                  </a:lnTo>
                  <a:lnTo>
                    <a:pt x="562" y="1994"/>
                  </a:lnTo>
                  <a:lnTo>
                    <a:pt x="564" y="1990"/>
                  </a:lnTo>
                  <a:lnTo>
                    <a:pt x="570" y="1980"/>
                  </a:lnTo>
                  <a:lnTo>
                    <a:pt x="574" y="1966"/>
                  </a:lnTo>
                  <a:lnTo>
                    <a:pt x="576" y="1948"/>
                  </a:lnTo>
                  <a:lnTo>
                    <a:pt x="576" y="1948"/>
                  </a:lnTo>
                  <a:lnTo>
                    <a:pt x="584" y="1914"/>
                  </a:lnTo>
                  <a:lnTo>
                    <a:pt x="584" y="1906"/>
                  </a:lnTo>
                  <a:lnTo>
                    <a:pt x="584" y="1904"/>
                  </a:lnTo>
                  <a:lnTo>
                    <a:pt x="582" y="1902"/>
                  </a:lnTo>
                  <a:lnTo>
                    <a:pt x="582" y="1902"/>
                  </a:lnTo>
                  <a:close/>
                  <a:moveTo>
                    <a:pt x="576" y="1948"/>
                  </a:moveTo>
                  <a:lnTo>
                    <a:pt x="576" y="1948"/>
                  </a:lnTo>
                  <a:lnTo>
                    <a:pt x="572" y="1968"/>
                  </a:lnTo>
                  <a:lnTo>
                    <a:pt x="568" y="1974"/>
                  </a:lnTo>
                  <a:lnTo>
                    <a:pt x="564" y="1976"/>
                  </a:lnTo>
                  <a:lnTo>
                    <a:pt x="564" y="1976"/>
                  </a:lnTo>
                  <a:lnTo>
                    <a:pt x="560" y="1974"/>
                  </a:lnTo>
                  <a:lnTo>
                    <a:pt x="558" y="1968"/>
                  </a:lnTo>
                  <a:lnTo>
                    <a:pt x="558" y="1960"/>
                  </a:lnTo>
                  <a:lnTo>
                    <a:pt x="560" y="1948"/>
                  </a:lnTo>
                  <a:lnTo>
                    <a:pt x="560" y="1948"/>
                  </a:lnTo>
                  <a:lnTo>
                    <a:pt x="564" y="1936"/>
                  </a:lnTo>
                  <a:lnTo>
                    <a:pt x="570" y="1928"/>
                  </a:lnTo>
                  <a:lnTo>
                    <a:pt x="574" y="1922"/>
                  </a:lnTo>
                  <a:lnTo>
                    <a:pt x="578" y="1920"/>
                  </a:lnTo>
                  <a:lnTo>
                    <a:pt x="578" y="1920"/>
                  </a:lnTo>
                  <a:lnTo>
                    <a:pt x="580" y="1922"/>
                  </a:lnTo>
                  <a:lnTo>
                    <a:pt x="580" y="1928"/>
                  </a:lnTo>
                  <a:lnTo>
                    <a:pt x="576" y="1948"/>
                  </a:lnTo>
                  <a:lnTo>
                    <a:pt x="576" y="1948"/>
                  </a:lnTo>
                  <a:close/>
                  <a:moveTo>
                    <a:pt x="600" y="1840"/>
                  </a:moveTo>
                  <a:lnTo>
                    <a:pt x="600" y="1840"/>
                  </a:lnTo>
                  <a:lnTo>
                    <a:pt x="604" y="1818"/>
                  </a:lnTo>
                  <a:lnTo>
                    <a:pt x="604" y="1818"/>
                  </a:lnTo>
                  <a:lnTo>
                    <a:pt x="604" y="1816"/>
                  </a:lnTo>
                  <a:lnTo>
                    <a:pt x="602" y="1816"/>
                  </a:lnTo>
                  <a:lnTo>
                    <a:pt x="602" y="1816"/>
                  </a:lnTo>
                  <a:lnTo>
                    <a:pt x="598" y="1844"/>
                  </a:lnTo>
                  <a:lnTo>
                    <a:pt x="598" y="1844"/>
                  </a:lnTo>
                  <a:lnTo>
                    <a:pt x="600" y="1840"/>
                  </a:lnTo>
                  <a:lnTo>
                    <a:pt x="600" y="1840"/>
                  </a:lnTo>
                  <a:close/>
                  <a:moveTo>
                    <a:pt x="606" y="1800"/>
                  </a:moveTo>
                  <a:lnTo>
                    <a:pt x="604" y="1800"/>
                  </a:lnTo>
                  <a:lnTo>
                    <a:pt x="604" y="1800"/>
                  </a:lnTo>
                  <a:lnTo>
                    <a:pt x="598" y="1816"/>
                  </a:lnTo>
                  <a:lnTo>
                    <a:pt x="602" y="1816"/>
                  </a:lnTo>
                  <a:lnTo>
                    <a:pt x="602" y="1816"/>
                  </a:lnTo>
                  <a:lnTo>
                    <a:pt x="604" y="1814"/>
                  </a:lnTo>
                  <a:lnTo>
                    <a:pt x="604" y="1814"/>
                  </a:lnTo>
                  <a:lnTo>
                    <a:pt x="606" y="1800"/>
                  </a:lnTo>
                  <a:lnTo>
                    <a:pt x="606" y="1800"/>
                  </a:lnTo>
                  <a:close/>
                  <a:moveTo>
                    <a:pt x="634" y="1682"/>
                  </a:moveTo>
                  <a:lnTo>
                    <a:pt x="634" y="1682"/>
                  </a:lnTo>
                  <a:lnTo>
                    <a:pt x="634" y="1680"/>
                  </a:lnTo>
                  <a:lnTo>
                    <a:pt x="636" y="1680"/>
                  </a:lnTo>
                  <a:lnTo>
                    <a:pt x="636" y="1680"/>
                  </a:lnTo>
                  <a:lnTo>
                    <a:pt x="638" y="1676"/>
                  </a:lnTo>
                  <a:lnTo>
                    <a:pt x="638" y="1676"/>
                  </a:lnTo>
                  <a:lnTo>
                    <a:pt x="642" y="1664"/>
                  </a:lnTo>
                  <a:lnTo>
                    <a:pt x="634" y="1664"/>
                  </a:lnTo>
                  <a:lnTo>
                    <a:pt x="634" y="1664"/>
                  </a:lnTo>
                  <a:lnTo>
                    <a:pt x="630" y="1678"/>
                  </a:lnTo>
                  <a:lnTo>
                    <a:pt x="630" y="1678"/>
                  </a:lnTo>
                  <a:lnTo>
                    <a:pt x="630" y="1694"/>
                  </a:lnTo>
                  <a:lnTo>
                    <a:pt x="630" y="1694"/>
                  </a:lnTo>
                  <a:lnTo>
                    <a:pt x="634" y="1684"/>
                  </a:lnTo>
                  <a:lnTo>
                    <a:pt x="634" y="1684"/>
                  </a:lnTo>
                  <a:lnTo>
                    <a:pt x="634" y="1682"/>
                  </a:lnTo>
                  <a:lnTo>
                    <a:pt x="634" y="1682"/>
                  </a:lnTo>
                  <a:close/>
                  <a:moveTo>
                    <a:pt x="648" y="1664"/>
                  </a:moveTo>
                  <a:lnTo>
                    <a:pt x="642" y="1664"/>
                  </a:lnTo>
                  <a:lnTo>
                    <a:pt x="642" y="1664"/>
                  </a:lnTo>
                  <a:lnTo>
                    <a:pt x="638" y="1676"/>
                  </a:lnTo>
                  <a:lnTo>
                    <a:pt x="638" y="1676"/>
                  </a:lnTo>
                  <a:lnTo>
                    <a:pt x="636" y="1680"/>
                  </a:lnTo>
                  <a:lnTo>
                    <a:pt x="642" y="1680"/>
                  </a:lnTo>
                  <a:lnTo>
                    <a:pt x="642" y="1680"/>
                  </a:lnTo>
                  <a:lnTo>
                    <a:pt x="648" y="1664"/>
                  </a:lnTo>
                  <a:lnTo>
                    <a:pt x="648" y="1664"/>
                  </a:lnTo>
                  <a:close/>
                  <a:moveTo>
                    <a:pt x="630" y="1696"/>
                  </a:moveTo>
                  <a:lnTo>
                    <a:pt x="630" y="1696"/>
                  </a:lnTo>
                  <a:lnTo>
                    <a:pt x="628" y="1702"/>
                  </a:lnTo>
                  <a:lnTo>
                    <a:pt x="628" y="1702"/>
                  </a:lnTo>
                  <a:lnTo>
                    <a:pt x="632" y="1698"/>
                  </a:lnTo>
                  <a:lnTo>
                    <a:pt x="632" y="1698"/>
                  </a:lnTo>
                  <a:lnTo>
                    <a:pt x="634" y="1686"/>
                  </a:lnTo>
                  <a:lnTo>
                    <a:pt x="634" y="1686"/>
                  </a:lnTo>
                  <a:lnTo>
                    <a:pt x="630" y="1696"/>
                  </a:lnTo>
                  <a:lnTo>
                    <a:pt x="630" y="1696"/>
                  </a:lnTo>
                  <a:close/>
                  <a:moveTo>
                    <a:pt x="688" y="1494"/>
                  </a:moveTo>
                  <a:lnTo>
                    <a:pt x="688" y="1494"/>
                  </a:lnTo>
                  <a:lnTo>
                    <a:pt x="684" y="1496"/>
                  </a:lnTo>
                  <a:lnTo>
                    <a:pt x="680" y="1498"/>
                  </a:lnTo>
                  <a:lnTo>
                    <a:pt x="672" y="1506"/>
                  </a:lnTo>
                  <a:lnTo>
                    <a:pt x="664" y="1520"/>
                  </a:lnTo>
                  <a:lnTo>
                    <a:pt x="658" y="1540"/>
                  </a:lnTo>
                  <a:lnTo>
                    <a:pt x="658" y="1540"/>
                  </a:lnTo>
                  <a:lnTo>
                    <a:pt x="656" y="1558"/>
                  </a:lnTo>
                  <a:lnTo>
                    <a:pt x="656" y="1574"/>
                  </a:lnTo>
                  <a:lnTo>
                    <a:pt x="660" y="1584"/>
                  </a:lnTo>
                  <a:lnTo>
                    <a:pt x="662" y="1586"/>
                  </a:lnTo>
                  <a:lnTo>
                    <a:pt x="666" y="1586"/>
                  </a:lnTo>
                  <a:lnTo>
                    <a:pt x="666" y="1586"/>
                  </a:lnTo>
                  <a:lnTo>
                    <a:pt x="668" y="1586"/>
                  </a:lnTo>
                  <a:lnTo>
                    <a:pt x="670" y="1584"/>
                  </a:lnTo>
                  <a:lnTo>
                    <a:pt x="674" y="1574"/>
                  </a:lnTo>
                  <a:lnTo>
                    <a:pt x="686" y="1542"/>
                  </a:lnTo>
                  <a:lnTo>
                    <a:pt x="686" y="1542"/>
                  </a:lnTo>
                  <a:lnTo>
                    <a:pt x="692" y="1522"/>
                  </a:lnTo>
                  <a:lnTo>
                    <a:pt x="694" y="1508"/>
                  </a:lnTo>
                  <a:lnTo>
                    <a:pt x="694" y="1502"/>
                  </a:lnTo>
                  <a:lnTo>
                    <a:pt x="694" y="1498"/>
                  </a:lnTo>
                  <a:lnTo>
                    <a:pt x="692" y="1496"/>
                  </a:lnTo>
                  <a:lnTo>
                    <a:pt x="688" y="1494"/>
                  </a:lnTo>
                  <a:lnTo>
                    <a:pt x="688" y="1494"/>
                  </a:lnTo>
                  <a:close/>
                  <a:moveTo>
                    <a:pt x="670" y="1568"/>
                  </a:moveTo>
                  <a:lnTo>
                    <a:pt x="670" y="1568"/>
                  </a:lnTo>
                  <a:lnTo>
                    <a:pt x="666" y="1566"/>
                  </a:lnTo>
                  <a:lnTo>
                    <a:pt x="662" y="1560"/>
                  </a:lnTo>
                  <a:lnTo>
                    <a:pt x="662" y="1552"/>
                  </a:lnTo>
                  <a:lnTo>
                    <a:pt x="662" y="1540"/>
                  </a:lnTo>
                  <a:lnTo>
                    <a:pt x="662" y="1540"/>
                  </a:lnTo>
                  <a:lnTo>
                    <a:pt x="666" y="1528"/>
                  </a:lnTo>
                  <a:lnTo>
                    <a:pt x="672" y="1520"/>
                  </a:lnTo>
                  <a:lnTo>
                    <a:pt x="678" y="1514"/>
                  </a:lnTo>
                  <a:lnTo>
                    <a:pt x="684" y="1514"/>
                  </a:lnTo>
                  <a:lnTo>
                    <a:pt x="684" y="1514"/>
                  </a:lnTo>
                  <a:lnTo>
                    <a:pt x="688" y="1514"/>
                  </a:lnTo>
                  <a:lnTo>
                    <a:pt x="690" y="1520"/>
                  </a:lnTo>
                  <a:lnTo>
                    <a:pt x="688" y="1528"/>
                  </a:lnTo>
                  <a:lnTo>
                    <a:pt x="684" y="1540"/>
                  </a:lnTo>
                  <a:lnTo>
                    <a:pt x="684" y="1540"/>
                  </a:lnTo>
                  <a:lnTo>
                    <a:pt x="678" y="1560"/>
                  </a:lnTo>
                  <a:lnTo>
                    <a:pt x="674" y="1566"/>
                  </a:lnTo>
                  <a:lnTo>
                    <a:pt x="670" y="1568"/>
                  </a:lnTo>
                  <a:lnTo>
                    <a:pt x="670" y="1568"/>
                  </a:lnTo>
                  <a:close/>
                  <a:moveTo>
                    <a:pt x="722" y="1360"/>
                  </a:moveTo>
                  <a:lnTo>
                    <a:pt x="722" y="1360"/>
                  </a:lnTo>
                  <a:lnTo>
                    <a:pt x="716" y="1360"/>
                  </a:lnTo>
                  <a:lnTo>
                    <a:pt x="710" y="1362"/>
                  </a:lnTo>
                  <a:lnTo>
                    <a:pt x="706" y="1366"/>
                  </a:lnTo>
                  <a:lnTo>
                    <a:pt x="700" y="1370"/>
                  </a:lnTo>
                  <a:lnTo>
                    <a:pt x="694" y="1378"/>
                  </a:lnTo>
                  <a:lnTo>
                    <a:pt x="690" y="1384"/>
                  </a:lnTo>
                  <a:lnTo>
                    <a:pt x="686" y="1394"/>
                  </a:lnTo>
                  <a:lnTo>
                    <a:pt x="684" y="1404"/>
                  </a:lnTo>
                  <a:lnTo>
                    <a:pt x="684" y="1404"/>
                  </a:lnTo>
                  <a:lnTo>
                    <a:pt x="682" y="1414"/>
                  </a:lnTo>
                  <a:lnTo>
                    <a:pt x="682" y="1422"/>
                  </a:lnTo>
                  <a:lnTo>
                    <a:pt x="684" y="1430"/>
                  </a:lnTo>
                  <a:lnTo>
                    <a:pt x="686" y="1438"/>
                  </a:lnTo>
                  <a:lnTo>
                    <a:pt x="688" y="1444"/>
                  </a:lnTo>
                  <a:lnTo>
                    <a:pt x="692" y="1448"/>
                  </a:lnTo>
                  <a:lnTo>
                    <a:pt x="696" y="1450"/>
                  </a:lnTo>
                  <a:lnTo>
                    <a:pt x="700" y="1450"/>
                  </a:lnTo>
                  <a:lnTo>
                    <a:pt x="700" y="1450"/>
                  </a:lnTo>
                  <a:lnTo>
                    <a:pt x="704" y="1450"/>
                  </a:lnTo>
                  <a:lnTo>
                    <a:pt x="708" y="1448"/>
                  </a:lnTo>
                  <a:lnTo>
                    <a:pt x="716" y="1438"/>
                  </a:lnTo>
                  <a:lnTo>
                    <a:pt x="722" y="1424"/>
                  </a:lnTo>
                  <a:lnTo>
                    <a:pt x="728" y="1406"/>
                  </a:lnTo>
                  <a:lnTo>
                    <a:pt x="728" y="1406"/>
                  </a:lnTo>
                  <a:lnTo>
                    <a:pt x="734" y="1386"/>
                  </a:lnTo>
                  <a:lnTo>
                    <a:pt x="734" y="1372"/>
                  </a:lnTo>
                  <a:lnTo>
                    <a:pt x="734" y="1366"/>
                  </a:lnTo>
                  <a:lnTo>
                    <a:pt x="732" y="1362"/>
                  </a:lnTo>
                  <a:lnTo>
                    <a:pt x="728" y="1360"/>
                  </a:lnTo>
                  <a:lnTo>
                    <a:pt x="722" y="1360"/>
                  </a:lnTo>
                  <a:lnTo>
                    <a:pt x="722" y="1360"/>
                  </a:lnTo>
                  <a:close/>
                  <a:moveTo>
                    <a:pt x="726" y="1406"/>
                  </a:moveTo>
                  <a:lnTo>
                    <a:pt x="726" y="1406"/>
                  </a:lnTo>
                  <a:lnTo>
                    <a:pt x="722" y="1416"/>
                  </a:lnTo>
                  <a:lnTo>
                    <a:pt x="718" y="1426"/>
                  </a:lnTo>
                  <a:lnTo>
                    <a:pt x="712" y="1430"/>
                  </a:lnTo>
                  <a:lnTo>
                    <a:pt x="704" y="1432"/>
                  </a:lnTo>
                  <a:lnTo>
                    <a:pt x="704" y="1432"/>
                  </a:lnTo>
                  <a:lnTo>
                    <a:pt x="698" y="1430"/>
                  </a:lnTo>
                  <a:lnTo>
                    <a:pt x="692" y="1424"/>
                  </a:lnTo>
                  <a:lnTo>
                    <a:pt x="690" y="1416"/>
                  </a:lnTo>
                  <a:lnTo>
                    <a:pt x="690" y="1404"/>
                  </a:lnTo>
                  <a:lnTo>
                    <a:pt x="690" y="1404"/>
                  </a:lnTo>
                  <a:lnTo>
                    <a:pt x="694" y="1392"/>
                  </a:lnTo>
                  <a:lnTo>
                    <a:pt x="702" y="1384"/>
                  </a:lnTo>
                  <a:lnTo>
                    <a:pt x="710" y="1380"/>
                  </a:lnTo>
                  <a:lnTo>
                    <a:pt x="718" y="1378"/>
                  </a:lnTo>
                  <a:lnTo>
                    <a:pt x="718" y="1378"/>
                  </a:lnTo>
                  <a:lnTo>
                    <a:pt x="726" y="1380"/>
                  </a:lnTo>
                  <a:lnTo>
                    <a:pt x="728" y="1384"/>
                  </a:lnTo>
                  <a:lnTo>
                    <a:pt x="728" y="1392"/>
                  </a:lnTo>
                  <a:lnTo>
                    <a:pt x="726" y="1406"/>
                  </a:lnTo>
                  <a:lnTo>
                    <a:pt x="726" y="1406"/>
                  </a:lnTo>
                  <a:close/>
                  <a:moveTo>
                    <a:pt x="734" y="1316"/>
                  </a:moveTo>
                  <a:lnTo>
                    <a:pt x="734" y="1316"/>
                  </a:lnTo>
                  <a:lnTo>
                    <a:pt x="740" y="1314"/>
                  </a:lnTo>
                  <a:lnTo>
                    <a:pt x="746" y="1312"/>
                  </a:lnTo>
                  <a:lnTo>
                    <a:pt x="750" y="1308"/>
                  </a:lnTo>
                  <a:lnTo>
                    <a:pt x="756" y="1302"/>
                  </a:lnTo>
                  <a:lnTo>
                    <a:pt x="762" y="1288"/>
                  </a:lnTo>
                  <a:lnTo>
                    <a:pt x="770" y="1270"/>
                  </a:lnTo>
                  <a:lnTo>
                    <a:pt x="770" y="1270"/>
                  </a:lnTo>
                  <a:lnTo>
                    <a:pt x="774" y="1250"/>
                  </a:lnTo>
                  <a:lnTo>
                    <a:pt x="774" y="1242"/>
                  </a:lnTo>
                  <a:lnTo>
                    <a:pt x="774" y="1236"/>
                  </a:lnTo>
                  <a:lnTo>
                    <a:pt x="772" y="1230"/>
                  </a:lnTo>
                  <a:lnTo>
                    <a:pt x="768" y="1226"/>
                  </a:lnTo>
                  <a:lnTo>
                    <a:pt x="762" y="1224"/>
                  </a:lnTo>
                  <a:lnTo>
                    <a:pt x="756" y="1224"/>
                  </a:lnTo>
                  <a:lnTo>
                    <a:pt x="756" y="1224"/>
                  </a:lnTo>
                  <a:lnTo>
                    <a:pt x="748" y="1224"/>
                  </a:lnTo>
                  <a:lnTo>
                    <a:pt x="740" y="1226"/>
                  </a:lnTo>
                  <a:lnTo>
                    <a:pt x="734" y="1230"/>
                  </a:lnTo>
                  <a:lnTo>
                    <a:pt x="726" y="1234"/>
                  </a:lnTo>
                  <a:lnTo>
                    <a:pt x="720" y="1242"/>
                  </a:lnTo>
                  <a:lnTo>
                    <a:pt x="716" y="1248"/>
                  </a:lnTo>
                  <a:lnTo>
                    <a:pt x="712" y="1258"/>
                  </a:lnTo>
                  <a:lnTo>
                    <a:pt x="708" y="1268"/>
                  </a:lnTo>
                  <a:lnTo>
                    <a:pt x="708" y="1268"/>
                  </a:lnTo>
                  <a:lnTo>
                    <a:pt x="708" y="1278"/>
                  </a:lnTo>
                  <a:lnTo>
                    <a:pt x="708" y="1286"/>
                  </a:lnTo>
                  <a:lnTo>
                    <a:pt x="710" y="1296"/>
                  </a:lnTo>
                  <a:lnTo>
                    <a:pt x="714" y="1302"/>
                  </a:lnTo>
                  <a:lnTo>
                    <a:pt x="718" y="1308"/>
                  </a:lnTo>
                  <a:lnTo>
                    <a:pt x="722" y="1312"/>
                  </a:lnTo>
                  <a:lnTo>
                    <a:pt x="728" y="1314"/>
                  </a:lnTo>
                  <a:lnTo>
                    <a:pt x="734" y="1316"/>
                  </a:lnTo>
                  <a:lnTo>
                    <a:pt x="734" y="1316"/>
                  </a:lnTo>
                  <a:close/>
                  <a:moveTo>
                    <a:pt x="718" y="1270"/>
                  </a:moveTo>
                  <a:lnTo>
                    <a:pt x="718" y="1270"/>
                  </a:lnTo>
                  <a:lnTo>
                    <a:pt x="720" y="1262"/>
                  </a:lnTo>
                  <a:lnTo>
                    <a:pt x="722" y="1256"/>
                  </a:lnTo>
                  <a:lnTo>
                    <a:pt x="730" y="1248"/>
                  </a:lnTo>
                  <a:lnTo>
                    <a:pt x="740" y="1244"/>
                  </a:lnTo>
                  <a:lnTo>
                    <a:pt x="752" y="1242"/>
                  </a:lnTo>
                  <a:lnTo>
                    <a:pt x="752" y="1242"/>
                  </a:lnTo>
                  <a:lnTo>
                    <a:pt x="762" y="1244"/>
                  </a:lnTo>
                  <a:lnTo>
                    <a:pt x="764" y="1246"/>
                  </a:lnTo>
                  <a:lnTo>
                    <a:pt x="766" y="1248"/>
                  </a:lnTo>
                  <a:lnTo>
                    <a:pt x="768" y="1258"/>
                  </a:lnTo>
                  <a:lnTo>
                    <a:pt x="766" y="1270"/>
                  </a:lnTo>
                  <a:lnTo>
                    <a:pt x="766" y="1270"/>
                  </a:lnTo>
                  <a:lnTo>
                    <a:pt x="762" y="1280"/>
                  </a:lnTo>
                  <a:lnTo>
                    <a:pt x="756" y="1290"/>
                  </a:lnTo>
                  <a:lnTo>
                    <a:pt x="748" y="1294"/>
                  </a:lnTo>
                  <a:lnTo>
                    <a:pt x="738" y="1296"/>
                  </a:lnTo>
                  <a:lnTo>
                    <a:pt x="738" y="1296"/>
                  </a:lnTo>
                  <a:lnTo>
                    <a:pt x="728" y="1294"/>
                  </a:lnTo>
                  <a:lnTo>
                    <a:pt x="722" y="1288"/>
                  </a:lnTo>
                  <a:lnTo>
                    <a:pt x="718" y="1280"/>
                  </a:lnTo>
                  <a:lnTo>
                    <a:pt x="718" y="1270"/>
                  </a:lnTo>
                  <a:lnTo>
                    <a:pt x="718" y="1270"/>
                  </a:lnTo>
                  <a:close/>
                  <a:moveTo>
                    <a:pt x="750" y="1162"/>
                  </a:moveTo>
                  <a:lnTo>
                    <a:pt x="750" y="1162"/>
                  </a:lnTo>
                  <a:lnTo>
                    <a:pt x="746" y="1138"/>
                  </a:lnTo>
                  <a:lnTo>
                    <a:pt x="746" y="1138"/>
                  </a:lnTo>
                  <a:lnTo>
                    <a:pt x="746" y="1138"/>
                  </a:lnTo>
                  <a:lnTo>
                    <a:pt x="806" y="1138"/>
                  </a:lnTo>
                  <a:lnTo>
                    <a:pt x="806" y="1138"/>
                  </a:lnTo>
                  <a:lnTo>
                    <a:pt x="812" y="1120"/>
                  </a:lnTo>
                  <a:lnTo>
                    <a:pt x="738" y="1120"/>
                  </a:lnTo>
                  <a:lnTo>
                    <a:pt x="738" y="1120"/>
                  </a:lnTo>
                  <a:lnTo>
                    <a:pt x="734" y="1136"/>
                  </a:lnTo>
                  <a:lnTo>
                    <a:pt x="734" y="1136"/>
                  </a:lnTo>
                  <a:lnTo>
                    <a:pt x="740" y="1166"/>
                  </a:lnTo>
                  <a:lnTo>
                    <a:pt x="740" y="1166"/>
                  </a:lnTo>
                  <a:lnTo>
                    <a:pt x="750" y="1162"/>
                  </a:lnTo>
                  <a:lnTo>
                    <a:pt x="750" y="1162"/>
                  </a:lnTo>
                  <a:close/>
                  <a:moveTo>
                    <a:pt x="776" y="1026"/>
                  </a:moveTo>
                  <a:lnTo>
                    <a:pt x="776" y="1026"/>
                  </a:lnTo>
                  <a:lnTo>
                    <a:pt x="772" y="1002"/>
                  </a:lnTo>
                  <a:lnTo>
                    <a:pt x="772" y="1002"/>
                  </a:lnTo>
                  <a:lnTo>
                    <a:pt x="772" y="1002"/>
                  </a:lnTo>
                  <a:lnTo>
                    <a:pt x="844" y="1002"/>
                  </a:lnTo>
                  <a:lnTo>
                    <a:pt x="844" y="1002"/>
                  </a:lnTo>
                  <a:lnTo>
                    <a:pt x="848" y="984"/>
                  </a:lnTo>
                  <a:lnTo>
                    <a:pt x="760" y="984"/>
                  </a:lnTo>
                  <a:lnTo>
                    <a:pt x="760" y="984"/>
                  </a:lnTo>
                  <a:lnTo>
                    <a:pt x="758" y="1000"/>
                  </a:lnTo>
                  <a:lnTo>
                    <a:pt x="758" y="1000"/>
                  </a:lnTo>
                  <a:lnTo>
                    <a:pt x="766" y="1030"/>
                  </a:lnTo>
                  <a:lnTo>
                    <a:pt x="766" y="1030"/>
                  </a:lnTo>
                  <a:lnTo>
                    <a:pt x="776" y="1026"/>
                  </a:lnTo>
                  <a:lnTo>
                    <a:pt x="776" y="1026"/>
                  </a:lnTo>
                  <a:close/>
                  <a:moveTo>
                    <a:pt x="826" y="908"/>
                  </a:moveTo>
                  <a:lnTo>
                    <a:pt x="826" y="908"/>
                  </a:lnTo>
                  <a:lnTo>
                    <a:pt x="838" y="906"/>
                  </a:lnTo>
                  <a:lnTo>
                    <a:pt x="848" y="904"/>
                  </a:lnTo>
                  <a:lnTo>
                    <a:pt x="856" y="900"/>
                  </a:lnTo>
                  <a:lnTo>
                    <a:pt x="862" y="896"/>
                  </a:lnTo>
                  <a:lnTo>
                    <a:pt x="868" y="888"/>
                  </a:lnTo>
                  <a:lnTo>
                    <a:pt x="872" y="880"/>
                  </a:lnTo>
                  <a:lnTo>
                    <a:pt x="876" y="872"/>
                  </a:lnTo>
                  <a:lnTo>
                    <a:pt x="880" y="862"/>
                  </a:lnTo>
                  <a:lnTo>
                    <a:pt x="880" y="862"/>
                  </a:lnTo>
                  <a:lnTo>
                    <a:pt x="882" y="852"/>
                  </a:lnTo>
                  <a:lnTo>
                    <a:pt x="882" y="842"/>
                  </a:lnTo>
                  <a:lnTo>
                    <a:pt x="880" y="834"/>
                  </a:lnTo>
                  <a:lnTo>
                    <a:pt x="878" y="828"/>
                  </a:lnTo>
                  <a:lnTo>
                    <a:pt x="872" y="822"/>
                  </a:lnTo>
                  <a:lnTo>
                    <a:pt x="864" y="818"/>
                  </a:lnTo>
                  <a:lnTo>
                    <a:pt x="856" y="816"/>
                  </a:lnTo>
                  <a:lnTo>
                    <a:pt x="844" y="816"/>
                  </a:lnTo>
                  <a:lnTo>
                    <a:pt x="844" y="816"/>
                  </a:lnTo>
                  <a:lnTo>
                    <a:pt x="832" y="816"/>
                  </a:lnTo>
                  <a:lnTo>
                    <a:pt x="820" y="818"/>
                  </a:lnTo>
                  <a:lnTo>
                    <a:pt x="810" y="822"/>
                  </a:lnTo>
                  <a:lnTo>
                    <a:pt x="800" y="828"/>
                  </a:lnTo>
                  <a:lnTo>
                    <a:pt x="792" y="834"/>
                  </a:lnTo>
                  <a:lnTo>
                    <a:pt x="784" y="842"/>
                  </a:lnTo>
                  <a:lnTo>
                    <a:pt x="780" y="850"/>
                  </a:lnTo>
                  <a:lnTo>
                    <a:pt x="776" y="860"/>
                  </a:lnTo>
                  <a:lnTo>
                    <a:pt x="776" y="860"/>
                  </a:lnTo>
                  <a:lnTo>
                    <a:pt x="776" y="870"/>
                  </a:lnTo>
                  <a:lnTo>
                    <a:pt x="778" y="880"/>
                  </a:lnTo>
                  <a:lnTo>
                    <a:pt x="782" y="888"/>
                  </a:lnTo>
                  <a:lnTo>
                    <a:pt x="788" y="894"/>
                  </a:lnTo>
                  <a:lnTo>
                    <a:pt x="796" y="900"/>
                  </a:lnTo>
                  <a:lnTo>
                    <a:pt x="806" y="904"/>
                  </a:lnTo>
                  <a:lnTo>
                    <a:pt x="816" y="906"/>
                  </a:lnTo>
                  <a:lnTo>
                    <a:pt x="826" y="908"/>
                  </a:lnTo>
                  <a:lnTo>
                    <a:pt x="826" y="908"/>
                  </a:lnTo>
                  <a:close/>
                  <a:moveTo>
                    <a:pt x="790" y="862"/>
                  </a:moveTo>
                  <a:lnTo>
                    <a:pt x="790" y="862"/>
                  </a:lnTo>
                  <a:lnTo>
                    <a:pt x="792" y="854"/>
                  </a:lnTo>
                  <a:lnTo>
                    <a:pt x="796" y="850"/>
                  </a:lnTo>
                  <a:lnTo>
                    <a:pt x="802" y="844"/>
                  </a:lnTo>
                  <a:lnTo>
                    <a:pt x="808" y="840"/>
                  </a:lnTo>
                  <a:lnTo>
                    <a:pt x="822" y="836"/>
                  </a:lnTo>
                  <a:lnTo>
                    <a:pt x="840" y="834"/>
                  </a:lnTo>
                  <a:lnTo>
                    <a:pt x="840" y="834"/>
                  </a:lnTo>
                  <a:lnTo>
                    <a:pt x="856" y="836"/>
                  </a:lnTo>
                  <a:lnTo>
                    <a:pt x="862" y="838"/>
                  </a:lnTo>
                  <a:lnTo>
                    <a:pt x="868" y="840"/>
                  </a:lnTo>
                  <a:lnTo>
                    <a:pt x="870" y="844"/>
                  </a:lnTo>
                  <a:lnTo>
                    <a:pt x="872" y="850"/>
                  </a:lnTo>
                  <a:lnTo>
                    <a:pt x="872" y="856"/>
                  </a:lnTo>
                  <a:lnTo>
                    <a:pt x="872" y="862"/>
                  </a:lnTo>
                  <a:lnTo>
                    <a:pt x="872" y="862"/>
                  </a:lnTo>
                  <a:lnTo>
                    <a:pt x="868" y="874"/>
                  </a:lnTo>
                  <a:lnTo>
                    <a:pt x="858" y="882"/>
                  </a:lnTo>
                  <a:lnTo>
                    <a:pt x="854" y="884"/>
                  </a:lnTo>
                  <a:lnTo>
                    <a:pt x="846" y="888"/>
                  </a:lnTo>
                  <a:lnTo>
                    <a:pt x="830" y="890"/>
                  </a:lnTo>
                  <a:lnTo>
                    <a:pt x="830" y="890"/>
                  </a:lnTo>
                  <a:lnTo>
                    <a:pt x="814" y="888"/>
                  </a:lnTo>
                  <a:lnTo>
                    <a:pt x="806" y="884"/>
                  </a:lnTo>
                  <a:lnTo>
                    <a:pt x="800" y="882"/>
                  </a:lnTo>
                  <a:lnTo>
                    <a:pt x="796" y="878"/>
                  </a:lnTo>
                  <a:lnTo>
                    <a:pt x="792" y="872"/>
                  </a:lnTo>
                  <a:lnTo>
                    <a:pt x="790" y="868"/>
                  </a:lnTo>
                  <a:lnTo>
                    <a:pt x="790" y="862"/>
                  </a:lnTo>
                  <a:lnTo>
                    <a:pt x="790" y="862"/>
                  </a:lnTo>
                  <a:close/>
                  <a:moveTo>
                    <a:pt x="824" y="754"/>
                  </a:moveTo>
                  <a:lnTo>
                    <a:pt x="824" y="754"/>
                  </a:lnTo>
                  <a:lnTo>
                    <a:pt x="816" y="730"/>
                  </a:lnTo>
                  <a:lnTo>
                    <a:pt x="816" y="730"/>
                  </a:lnTo>
                  <a:lnTo>
                    <a:pt x="816" y="730"/>
                  </a:lnTo>
                  <a:lnTo>
                    <a:pt x="908" y="730"/>
                  </a:lnTo>
                  <a:lnTo>
                    <a:pt x="908" y="730"/>
                  </a:lnTo>
                  <a:lnTo>
                    <a:pt x="912" y="712"/>
                  </a:lnTo>
                  <a:lnTo>
                    <a:pt x="800" y="712"/>
                  </a:lnTo>
                  <a:lnTo>
                    <a:pt x="800" y="712"/>
                  </a:lnTo>
                  <a:lnTo>
                    <a:pt x="798" y="728"/>
                  </a:lnTo>
                  <a:lnTo>
                    <a:pt x="798" y="728"/>
                  </a:lnTo>
                  <a:lnTo>
                    <a:pt x="810" y="758"/>
                  </a:lnTo>
                  <a:lnTo>
                    <a:pt x="810" y="758"/>
                  </a:lnTo>
                  <a:lnTo>
                    <a:pt x="824" y="754"/>
                  </a:lnTo>
                  <a:lnTo>
                    <a:pt x="824" y="754"/>
                  </a:lnTo>
                  <a:close/>
                  <a:moveTo>
                    <a:pt x="844" y="618"/>
                  </a:moveTo>
                  <a:lnTo>
                    <a:pt x="844" y="618"/>
                  </a:lnTo>
                  <a:lnTo>
                    <a:pt x="834" y="594"/>
                  </a:lnTo>
                  <a:lnTo>
                    <a:pt x="834" y="594"/>
                  </a:lnTo>
                  <a:lnTo>
                    <a:pt x="834" y="594"/>
                  </a:lnTo>
                  <a:lnTo>
                    <a:pt x="934" y="594"/>
                  </a:lnTo>
                  <a:lnTo>
                    <a:pt x="934" y="594"/>
                  </a:lnTo>
                  <a:lnTo>
                    <a:pt x="938" y="576"/>
                  </a:lnTo>
                  <a:lnTo>
                    <a:pt x="816" y="576"/>
                  </a:lnTo>
                  <a:lnTo>
                    <a:pt x="816" y="576"/>
                  </a:lnTo>
                  <a:lnTo>
                    <a:pt x="814" y="592"/>
                  </a:lnTo>
                  <a:lnTo>
                    <a:pt x="814" y="592"/>
                  </a:lnTo>
                  <a:lnTo>
                    <a:pt x="828" y="622"/>
                  </a:lnTo>
                  <a:lnTo>
                    <a:pt x="828" y="622"/>
                  </a:lnTo>
                  <a:lnTo>
                    <a:pt x="844" y="618"/>
                  </a:lnTo>
                  <a:lnTo>
                    <a:pt x="844" y="618"/>
                  </a:lnTo>
                  <a:close/>
                  <a:moveTo>
                    <a:pt x="860" y="482"/>
                  </a:moveTo>
                  <a:lnTo>
                    <a:pt x="860" y="482"/>
                  </a:lnTo>
                  <a:lnTo>
                    <a:pt x="848" y="458"/>
                  </a:lnTo>
                  <a:lnTo>
                    <a:pt x="848" y="458"/>
                  </a:lnTo>
                  <a:lnTo>
                    <a:pt x="848" y="458"/>
                  </a:lnTo>
                  <a:lnTo>
                    <a:pt x="958" y="458"/>
                  </a:lnTo>
                  <a:lnTo>
                    <a:pt x="958" y="458"/>
                  </a:lnTo>
                  <a:lnTo>
                    <a:pt x="960" y="440"/>
                  </a:lnTo>
                  <a:lnTo>
                    <a:pt x="830" y="440"/>
                  </a:lnTo>
                  <a:lnTo>
                    <a:pt x="830" y="440"/>
                  </a:lnTo>
                  <a:lnTo>
                    <a:pt x="828" y="456"/>
                  </a:lnTo>
                  <a:lnTo>
                    <a:pt x="828" y="456"/>
                  </a:lnTo>
                  <a:lnTo>
                    <a:pt x="844" y="486"/>
                  </a:lnTo>
                  <a:lnTo>
                    <a:pt x="844" y="486"/>
                  </a:lnTo>
                  <a:lnTo>
                    <a:pt x="860" y="482"/>
                  </a:lnTo>
                  <a:lnTo>
                    <a:pt x="860" y="482"/>
                  </a:lnTo>
                  <a:close/>
                  <a:moveTo>
                    <a:pt x="874" y="346"/>
                  </a:moveTo>
                  <a:lnTo>
                    <a:pt x="874" y="346"/>
                  </a:lnTo>
                  <a:lnTo>
                    <a:pt x="860" y="324"/>
                  </a:lnTo>
                  <a:lnTo>
                    <a:pt x="860" y="324"/>
                  </a:lnTo>
                  <a:lnTo>
                    <a:pt x="860" y="322"/>
                  </a:lnTo>
                  <a:lnTo>
                    <a:pt x="974" y="322"/>
                  </a:lnTo>
                  <a:lnTo>
                    <a:pt x="974" y="322"/>
                  </a:lnTo>
                  <a:lnTo>
                    <a:pt x="976" y="304"/>
                  </a:lnTo>
                  <a:lnTo>
                    <a:pt x="840" y="304"/>
                  </a:lnTo>
                  <a:lnTo>
                    <a:pt x="840" y="304"/>
                  </a:lnTo>
                  <a:lnTo>
                    <a:pt x="840" y="320"/>
                  </a:lnTo>
                  <a:lnTo>
                    <a:pt x="840" y="320"/>
                  </a:lnTo>
                  <a:lnTo>
                    <a:pt x="856" y="350"/>
                  </a:lnTo>
                  <a:lnTo>
                    <a:pt x="856" y="350"/>
                  </a:lnTo>
                  <a:lnTo>
                    <a:pt x="874" y="346"/>
                  </a:lnTo>
                  <a:lnTo>
                    <a:pt x="874" y="346"/>
                  </a:lnTo>
                  <a:close/>
                  <a:moveTo>
                    <a:pt x="922" y="228"/>
                  </a:moveTo>
                  <a:lnTo>
                    <a:pt x="922" y="228"/>
                  </a:lnTo>
                  <a:lnTo>
                    <a:pt x="938" y="228"/>
                  </a:lnTo>
                  <a:lnTo>
                    <a:pt x="952" y="226"/>
                  </a:lnTo>
                  <a:lnTo>
                    <a:pt x="962" y="222"/>
                  </a:lnTo>
                  <a:lnTo>
                    <a:pt x="972" y="216"/>
                  </a:lnTo>
                  <a:lnTo>
                    <a:pt x="978" y="210"/>
                  </a:lnTo>
                  <a:lnTo>
                    <a:pt x="984" y="202"/>
                  </a:lnTo>
                  <a:lnTo>
                    <a:pt x="988" y="194"/>
                  </a:lnTo>
                  <a:lnTo>
                    <a:pt x="988" y="184"/>
                  </a:lnTo>
                  <a:lnTo>
                    <a:pt x="988" y="184"/>
                  </a:lnTo>
                  <a:lnTo>
                    <a:pt x="988" y="174"/>
                  </a:lnTo>
                  <a:lnTo>
                    <a:pt x="986" y="164"/>
                  </a:lnTo>
                  <a:lnTo>
                    <a:pt x="982" y="156"/>
                  </a:lnTo>
                  <a:lnTo>
                    <a:pt x="976" y="148"/>
                  </a:lnTo>
                  <a:lnTo>
                    <a:pt x="968" y="144"/>
                  </a:lnTo>
                  <a:lnTo>
                    <a:pt x="956" y="140"/>
                  </a:lnTo>
                  <a:lnTo>
                    <a:pt x="942" y="138"/>
                  </a:lnTo>
                  <a:lnTo>
                    <a:pt x="926" y="136"/>
                  </a:lnTo>
                  <a:lnTo>
                    <a:pt x="926" y="136"/>
                  </a:lnTo>
                  <a:lnTo>
                    <a:pt x="910" y="138"/>
                  </a:lnTo>
                  <a:lnTo>
                    <a:pt x="894" y="140"/>
                  </a:lnTo>
                  <a:lnTo>
                    <a:pt x="880" y="144"/>
                  </a:lnTo>
                  <a:lnTo>
                    <a:pt x="868" y="148"/>
                  </a:lnTo>
                  <a:lnTo>
                    <a:pt x="858" y="154"/>
                  </a:lnTo>
                  <a:lnTo>
                    <a:pt x="850" y="162"/>
                  </a:lnTo>
                  <a:lnTo>
                    <a:pt x="846" y="172"/>
                  </a:lnTo>
                  <a:lnTo>
                    <a:pt x="844" y="182"/>
                  </a:lnTo>
                  <a:lnTo>
                    <a:pt x="844" y="182"/>
                  </a:lnTo>
                  <a:lnTo>
                    <a:pt x="844" y="192"/>
                  </a:lnTo>
                  <a:lnTo>
                    <a:pt x="850" y="200"/>
                  </a:lnTo>
                  <a:lnTo>
                    <a:pt x="856" y="208"/>
                  </a:lnTo>
                  <a:lnTo>
                    <a:pt x="866" y="216"/>
                  </a:lnTo>
                  <a:lnTo>
                    <a:pt x="878" y="220"/>
                  </a:lnTo>
                  <a:lnTo>
                    <a:pt x="892" y="226"/>
                  </a:lnTo>
                  <a:lnTo>
                    <a:pt x="906" y="228"/>
                  </a:lnTo>
                  <a:lnTo>
                    <a:pt x="922" y="228"/>
                  </a:lnTo>
                  <a:lnTo>
                    <a:pt x="922" y="228"/>
                  </a:lnTo>
                  <a:close/>
                  <a:moveTo>
                    <a:pt x="926" y="156"/>
                  </a:moveTo>
                  <a:lnTo>
                    <a:pt x="926" y="156"/>
                  </a:lnTo>
                  <a:lnTo>
                    <a:pt x="950" y="156"/>
                  </a:lnTo>
                  <a:lnTo>
                    <a:pt x="958" y="158"/>
                  </a:lnTo>
                  <a:lnTo>
                    <a:pt x="966" y="162"/>
                  </a:lnTo>
                  <a:lnTo>
                    <a:pt x="970" y="166"/>
                  </a:lnTo>
                  <a:lnTo>
                    <a:pt x="974" y="170"/>
                  </a:lnTo>
                  <a:lnTo>
                    <a:pt x="976" y="176"/>
                  </a:lnTo>
                  <a:lnTo>
                    <a:pt x="976" y="182"/>
                  </a:lnTo>
                  <a:lnTo>
                    <a:pt x="976" y="182"/>
                  </a:lnTo>
                  <a:lnTo>
                    <a:pt x="976" y="188"/>
                  </a:lnTo>
                  <a:lnTo>
                    <a:pt x="974" y="194"/>
                  </a:lnTo>
                  <a:lnTo>
                    <a:pt x="970" y="198"/>
                  </a:lnTo>
                  <a:lnTo>
                    <a:pt x="964" y="202"/>
                  </a:lnTo>
                  <a:lnTo>
                    <a:pt x="956" y="206"/>
                  </a:lnTo>
                  <a:lnTo>
                    <a:pt x="948" y="208"/>
                  </a:lnTo>
                  <a:lnTo>
                    <a:pt x="924" y="210"/>
                  </a:lnTo>
                  <a:lnTo>
                    <a:pt x="924" y="210"/>
                  </a:lnTo>
                  <a:lnTo>
                    <a:pt x="898" y="208"/>
                  </a:lnTo>
                  <a:lnTo>
                    <a:pt x="888" y="206"/>
                  </a:lnTo>
                  <a:lnTo>
                    <a:pt x="880" y="202"/>
                  </a:lnTo>
                  <a:lnTo>
                    <a:pt x="872" y="198"/>
                  </a:lnTo>
                  <a:lnTo>
                    <a:pt x="866" y="194"/>
                  </a:lnTo>
                  <a:lnTo>
                    <a:pt x="862" y="188"/>
                  </a:lnTo>
                  <a:lnTo>
                    <a:pt x="862" y="182"/>
                  </a:lnTo>
                  <a:lnTo>
                    <a:pt x="862" y="182"/>
                  </a:lnTo>
                  <a:lnTo>
                    <a:pt x="864" y="176"/>
                  </a:lnTo>
                  <a:lnTo>
                    <a:pt x="868" y="170"/>
                  </a:lnTo>
                  <a:lnTo>
                    <a:pt x="874" y="166"/>
                  </a:lnTo>
                  <a:lnTo>
                    <a:pt x="882" y="162"/>
                  </a:lnTo>
                  <a:lnTo>
                    <a:pt x="902" y="156"/>
                  </a:lnTo>
                  <a:lnTo>
                    <a:pt x="926" y="156"/>
                  </a:lnTo>
                  <a:lnTo>
                    <a:pt x="926" y="156"/>
                  </a:lnTo>
                  <a:close/>
                  <a:moveTo>
                    <a:pt x="888" y="74"/>
                  </a:moveTo>
                  <a:lnTo>
                    <a:pt x="888" y="74"/>
                  </a:lnTo>
                  <a:lnTo>
                    <a:pt x="872" y="52"/>
                  </a:lnTo>
                  <a:lnTo>
                    <a:pt x="872" y="52"/>
                  </a:lnTo>
                  <a:lnTo>
                    <a:pt x="872" y="52"/>
                  </a:lnTo>
                  <a:lnTo>
                    <a:pt x="992" y="52"/>
                  </a:lnTo>
                  <a:lnTo>
                    <a:pt x="992" y="52"/>
                  </a:lnTo>
                  <a:lnTo>
                    <a:pt x="992" y="34"/>
                  </a:lnTo>
                  <a:lnTo>
                    <a:pt x="850" y="34"/>
                  </a:lnTo>
                  <a:lnTo>
                    <a:pt x="850" y="34"/>
                  </a:lnTo>
                  <a:lnTo>
                    <a:pt x="850" y="48"/>
                  </a:lnTo>
                  <a:lnTo>
                    <a:pt x="850" y="48"/>
                  </a:lnTo>
                  <a:lnTo>
                    <a:pt x="870" y="78"/>
                  </a:lnTo>
                  <a:lnTo>
                    <a:pt x="870" y="78"/>
                  </a:lnTo>
                  <a:lnTo>
                    <a:pt x="888" y="74"/>
                  </a:lnTo>
                  <a:lnTo>
                    <a:pt x="888" y="74"/>
                  </a:lnTo>
                  <a:close/>
                  <a:moveTo>
                    <a:pt x="0" y="3446"/>
                  </a:moveTo>
                  <a:lnTo>
                    <a:pt x="118" y="3446"/>
                  </a:lnTo>
                  <a:lnTo>
                    <a:pt x="118" y="3446"/>
                  </a:lnTo>
                  <a:lnTo>
                    <a:pt x="118" y="3446"/>
                  </a:lnTo>
                  <a:lnTo>
                    <a:pt x="118" y="3446"/>
                  </a:lnTo>
                  <a:lnTo>
                    <a:pt x="106" y="3470"/>
                  </a:lnTo>
                  <a:lnTo>
                    <a:pt x="106" y="3470"/>
                  </a:lnTo>
                  <a:lnTo>
                    <a:pt x="118" y="3474"/>
                  </a:lnTo>
                  <a:lnTo>
                    <a:pt x="118" y="3474"/>
                  </a:lnTo>
                  <a:lnTo>
                    <a:pt x="136" y="3444"/>
                  </a:lnTo>
                  <a:lnTo>
                    <a:pt x="136" y="3444"/>
                  </a:lnTo>
                  <a:lnTo>
                    <a:pt x="136" y="3428"/>
                  </a:lnTo>
                  <a:lnTo>
                    <a:pt x="0" y="3428"/>
                  </a:lnTo>
                  <a:lnTo>
                    <a:pt x="0" y="3428"/>
                  </a:lnTo>
                  <a:lnTo>
                    <a:pt x="0" y="3446"/>
                  </a:lnTo>
                  <a:lnTo>
                    <a:pt x="0" y="3446"/>
                  </a:lnTo>
                  <a:close/>
                  <a:moveTo>
                    <a:pt x="8" y="3310"/>
                  </a:moveTo>
                  <a:lnTo>
                    <a:pt x="124" y="3310"/>
                  </a:lnTo>
                  <a:lnTo>
                    <a:pt x="124" y="3310"/>
                  </a:lnTo>
                  <a:lnTo>
                    <a:pt x="124" y="3312"/>
                  </a:lnTo>
                  <a:lnTo>
                    <a:pt x="124" y="3312"/>
                  </a:lnTo>
                  <a:lnTo>
                    <a:pt x="110" y="3334"/>
                  </a:lnTo>
                  <a:lnTo>
                    <a:pt x="110" y="3334"/>
                  </a:lnTo>
                  <a:lnTo>
                    <a:pt x="124" y="3338"/>
                  </a:lnTo>
                  <a:lnTo>
                    <a:pt x="124" y="3338"/>
                  </a:lnTo>
                  <a:lnTo>
                    <a:pt x="142" y="3308"/>
                  </a:lnTo>
                  <a:lnTo>
                    <a:pt x="142" y="3308"/>
                  </a:lnTo>
                  <a:lnTo>
                    <a:pt x="142" y="3294"/>
                  </a:lnTo>
                  <a:lnTo>
                    <a:pt x="10" y="3294"/>
                  </a:lnTo>
                  <a:lnTo>
                    <a:pt x="10" y="3294"/>
                  </a:lnTo>
                  <a:lnTo>
                    <a:pt x="8" y="3310"/>
                  </a:lnTo>
                  <a:lnTo>
                    <a:pt x="8" y="3310"/>
                  </a:lnTo>
                  <a:close/>
                  <a:moveTo>
                    <a:pt x="100" y="3124"/>
                  </a:moveTo>
                  <a:lnTo>
                    <a:pt x="100" y="3124"/>
                  </a:lnTo>
                  <a:lnTo>
                    <a:pt x="84" y="3126"/>
                  </a:lnTo>
                  <a:lnTo>
                    <a:pt x="72" y="3128"/>
                  </a:lnTo>
                  <a:lnTo>
                    <a:pt x="60" y="3132"/>
                  </a:lnTo>
                  <a:lnTo>
                    <a:pt x="48" y="3138"/>
                  </a:lnTo>
                  <a:lnTo>
                    <a:pt x="40" y="3144"/>
                  </a:lnTo>
                  <a:lnTo>
                    <a:pt x="34" y="3152"/>
                  </a:lnTo>
                  <a:lnTo>
                    <a:pt x="28" y="3162"/>
                  </a:lnTo>
                  <a:lnTo>
                    <a:pt x="26" y="3172"/>
                  </a:lnTo>
                  <a:lnTo>
                    <a:pt x="26" y="3172"/>
                  </a:lnTo>
                  <a:lnTo>
                    <a:pt x="26" y="3182"/>
                  </a:lnTo>
                  <a:lnTo>
                    <a:pt x="28" y="3190"/>
                  </a:lnTo>
                  <a:lnTo>
                    <a:pt x="32" y="3198"/>
                  </a:lnTo>
                  <a:lnTo>
                    <a:pt x="38" y="3204"/>
                  </a:lnTo>
                  <a:lnTo>
                    <a:pt x="46" y="3210"/>
                  </a:lnTo>
                  <a:lnTo>
                    <a:pt x="56" y="3214"/>
                  </a:lnTo>
                  <a:lnTo>
                    <a:pt x="70" y="3216"/>
                  </a:lnTo>
                  <a:lnTo>
                    <a:pt x="84" y="3216"/>
                  </a:lnTo>
                  <a:lnTo>
                    <a:pt x="84" y="3216"/>
                  </a:lnTo>
                  <a:lnTo>
                    <a:pt x="100" y="3216"/>
                  </a:lnTo>
                  <a:lnTo>
                    <a:pt x="114" y="3214"/>
                  </a:lnTo>
                  <a:lnTo>
                    <a:pt x="126" y="3208"/>
                  </a:lnTo>
                  <a:lnTo>
                    <a:pt x="136" y="3204"/>
                  </a:lnTo>
                  <a:lnTo>
                    <a:pt x="146" y="3196"/>
                  </a:lnTo>
                  <a:lnTo>
                    <a:pt x="152" y="3188"/>
                  </a:lnTo>
                  <a:lnTo>
                    <a:pt x="156" y="3180"/>
                  </a:lnTo>
                  <a:lnTo>
                    <a:pt x="158" y="3170"/>
                  </a:lnTo>
                  <a:lnTo>
                    <a:pt x="158" y="3170"/>
                  </a:lnTo>
                  <a:lnTo>
                    <a:pt x="158" y="3160"/>
                  </a:lnTo>
                  <a:lnTo>
                    <a:pt x="156" y="3150"/>
                  </a:lnTo>
                  <a:lnTo>
                    <a:pt x="152" y="3142"/>
                  </a:lnTo>
                  <a:lnTo>
                    <a:pt x="146" y="3136"/>
                  </a:lnTo>
                  <a:lnTo>
                    <a:pt x="138" y="3132"/>
                  </a:lnTo>
                  <a:lnTo>
                    <a:pt x="126" y="3128"/>
                  </a:lnTo>
                  <a:lnTo>
                    <a:pt x="114" y="3126"/>
                  </a:lnTo>
                  <a:lnTo>
                    <a:pt x="100" y="3124"/>
                  </a:lnTo>
                  <a:lnTo>
                    <a:pt x="100" y="3124"/>
                  </a:lnTo>
                  <a:close/>
                  <a:moveTo>
                    <a:pt x="144" y="3170"/>
                  </a:moveTo>
                  <a:lnTo>
                    <a:pt x="144" y="3170"/>
                  </a:lnTo>
                  <a:lnTo>
                    <a:pt x="144" y="3176"/>
                  </a:lnTo>
                  <a:lnTo>
                    <a:pt x="140" y="3182"/>
                  </a:lnTo>
                  <a:lnTo>
                    <a:pt x="134" y="3186"/>
                  </a:lnTo>
                  <a:lnTo>
                    <a:pt x="128" y="3190"/>
                  </a:lnTo>
                  <a:lnTo>
                    <a:pt x="120" y="3194"/>
                  </a:lnTo>
                  <a:lnTo>
                    <a:pt x="110" y="3196"/>
                  </a:lnTo>
                  <a:lnTo>
                    <a:pt x="86" y="3198"/>
                  </a:lnTo>
                  <a:lnTo>
                    <a:pt x="86" y="3198"/>
                  </a:lnTo>
                  <a:lnTo>
                    <a:pt x="64" y="3196"/>
                  </a:lnTo>
                  <a:lnTo>
                    <a:pt x="56" y="3194"/>
                  </a:lnTo>
                  <a:lnTo>
                    <a:pt x="50" y="3190"/>
                  </a:lnTo>
                  <a:lnTo>
                    <a:pt x="44" y="3186"/>
                  </a:lnTo>
                  <a:lnTo>
                    <a:pt x="40" y="3182"/>
                  </a:lnTo>
                  <a:lnTo>
                    <a:pt x="38" y="3176"/>
                  </a:lnTo>
                  <a:lnTo>
                    <a:pt x="40" y="3170"/>
                  </a:lnTo>
                  <a:lnTo>
                    <a:pt x="40" y="3170"/>
                  </a:lnTo>
                  <a:lnTo>
                    <a:pt x="42" y="3164"/>
                  </a:lnTo>
                  <a:lnTo>
                    <a:pt x="44" y="3158"/>
                  </a:lnTo>
                  <a:lnTo>
                    <a:pt x="50" y="3154"/>
                  </a:lnTo>
                  <a:lnTo>
                    <a:pt x="56" y="3150"/>
                  </a:lnTo>
                  <a:lnTo>
                    <a:pt x="64" y="3146"/>
                  </a:lnTo>
                  <a:lnTo>
                    <a:pt x="74" y="3144"/>
                  </a:lnTo>
                  <a:lnTo>
                    <a:pt x="96" y="3144"/>
                  </a:lnTo>
                  <a:lnTo>
                    <a:pt x="96" y="3144"/>
                  </a:lnTo>
                  <a:lnTo>
                    <a:pt x="118" y="3144"/>
                  </a:lnTo>
                  <a:lnTo>
                    <a:pt x="126" y="3146"/>
                  </a:lnTo>
                  <a:lnTo>
                    <a:pt x="134" y="3150"/>
                  </a:lnTo>
                  <a:lnTo>
                    <a:pt x="138" y="3154"/>
                  </a:lnTo>
                  <a:lnTo>
                    <a:pt x="142" y="3158"/>
                  </a:lnTo>
                  <a:lnTo>
                    <a:pt x="144" y="3164"/>
                  </a:lnTo>
                  <a:lnTo>
                    <a:pt x="144" y="3170"/>
                  </a:lnTo>
                  <a:lnTo>
                    <a:pt x="144" y="3170"/>
                  </a:lnTo>
                  <a:close/>
                  <a:moveTo>
                    <a:pt x="56" y="3040"/>
                  </a:moveTo>
                  <a:lnTo>
                    <a:pt x="162" y="3040"/>
                  </a:lnTo>
                  <a:lnTo>
                    <a:pt x="162" y="3040"/>
                  </a:lnTo>
                  <a:lnTo>
                    <a:pt x="162" y="3040"/>
                  </a:lnTo>
                  <a:lnTo>
                    <a:pt x="162" y="3040"/>
                  </a:lnTo>
                  <a:lnTo>
                    <a:pt x="146" y="3062"/>
                  </a:lnTo>
                  <a:lnTo>
                    <a:pt x="146" y="3062"/>
                  </a:lnTo>
                  <a:lnTo>
                    <a:pt x="158" y="3066"/>
                  </a:lnTo>
                  <a:lnTo>
                    <a:pt x="158" y="3066"/>
                  </a:lnTo>
                  <a:lnTo>
                    <a:pt x="178" y="3036"/>
                  </a:lnTo>
                  <a:lnTo>
                    <a:pt x="178" y="3036"/>
                  </a:lnTo>
                  <a:lnTo>
                    <a:pt x="180" y="3022"/>
                  </a:lnTo>
                  <a:lnTo>
                    <a:pt x="60" y="3022"/>
                  </a:lnTo>
                  <a:lnTo>
                    <a:pt x="60" y="3022"/>
                  </a:lnTo>
                  <a:lnTo>
                    <a:pt x="56" y="3040"/>
                  </a:lnTo>
                  <a:lnTo>
                    <a:pt x="56" y="3040"/>
                  </a:lnTo>
                  <a:close/>
                  <a:moveTo>
                    <a:pt x="162" y="2854"/>
                  </a:moveTo>
                  <a:lnTo>
                    <a:pt x="162" y="2854"/>
                  </a:lnTo>
                  <a:lnTo>
                    <a:pt x="148" y="2854"/>
                  </a:lnTo>
                  <a:lnTo>
                    <a:pt x="136" y="2856"/>
                  </a:lnTo>
                  <a:lnTo>
                    <a:pt x="124" y="2860"/>
                  </a:lnTo>
                  <a:lnTo>
                    <a:pt x="116" y="2866"/>
                  </a:lnTo>
                  <a:lnTo>
                    <a:pt x="106" y="2872"/>
                  </a:lnTo>
                  <a:lnTo>
                    <a:pt x="100" y="2880"/>
                  </a:lnTo>
                  <a:lnTo>
                    <a:pt x="94" y="2890"/>
                  </a:lnTo>
                  <a:lnTo>
                    <a:pt x="90" y="2900"/>
                  </a:lnTo>
                  <a:lnTo>
                    <a:pt x="90" y="2900"/>
                  </a:lnTo>
                  <a:lnTo>
                    <a:pt x="88" y="2910"/>
                  </a:lnTo>
                  <a:lnTo>
                    <a:pt x="88" y="2918"/>
                  </a:lnTo>
                  <a:lnTo>
                    <a:pt x="92" y="2926"/>
                  </a:lnTo>
                  <a:lnTo>
                    <a:pt x="96" y="2932"/>
                  </a:lnTo>
                  <a:lnTo>
                    <a:pt x="102" y="2938"/>
                  </a:lnTo>
                  <a:lnTo>
                    <a:pt x="112" y="2942"/>
                  </a:lnTo>
                  <a:lnTo>
                    <a:pt x="122" y="2944"/>
                  </a:lnTo>
                  <a:lnTo>
                    <a:pt x="136" y="2944"/>
                  </a:lnTo>
                  <a:lnTo>
                    <a:pt x="136" y="2944"/>
                  </a:lnTo>
                  <a:lnTo>
                    <a:pt x="150" y="2944"/>
                  </a:lnTo>
                  <a:lnTo>
                    <a:pt x="162" y="2942"/>
                  </a:lnTo>
                  <a:lnTo>
                    <a:pt x="174" y="2938"/>
                  </a:lnTo>
                  <a:lnTo>
                    <a:pt x="184" y="2932"/>
                  </a:lnTo>
                  <a:lnTo>
                    <a:pt x="192" y="2924"/>
                  </a:lnTo>
                  <a:lnTo>
                    <a:pt x="200" y="2916"/>
                  </a:lnTo>
                  <a:lnTo>
                    <a:pt x="206" y="2908"/>
                  </a:lnTo>
                  <a:lnTo>
                    <a:pt x="208" y="2898"/>
                  </a:lnTo>
                  <a:lnTo>
                    <a:pt x="208" y="2898"/>
                  </a:lnTo>
                  <a:lnTo>
                    <a:pt x="210" y="2888"/>
                  </a:lnTo>
                  <a:lnTo>
                    <a:pt x="208" y="2878"/>
                  </a:lnTo>
                  <a:lnTo>
                    <a:pt x="206" y="2872"/>
                  </a:lnTo>
                  <a:lnTo>
                    <a:pt x="200" y="2864"/>
                  </a:lnTo>
                  <a:lnTo>
                    <a:pt x="194" y="2860"/>
                  </a:lnTo>
                  <a:lnTo>
                    <a:pt x="184" y="2856"/>
                  </a:lnTo>
                  <a:lnTo>
                    <a:pt x="174" y="2854"/>
                  </a:lnTo>
                  <a:lnTo>
                    <a:pt x="162" y="2854"/>
                  </a:lnTo>
                  <a:lnTo>
                    <a:pt x="162" y="2854"/>
                  </a:lnTo>
                  <a:close/>
                  <a:moveTo>
                    <a:pt x="196" y="2898"/>
                  </a:moveTo>
                  <a:lnTo>
                    <a:pt x="196" y="2898"/>
                  </a:lnTo>
                  <a:lnTo>
                    <a:pt x="194" y="2904"/>
                  </a:lnTo>
                  <a:lnTo>
                    <a:pt x="190" y="2910"/>
                  </a:lnTo>
                  <a:lnTo>
                    <a:pt x="184" y="2914"/>
                  </a:lnTo>
                  <a:lnTo>
                    <a:pt x="178" y="2918"/>
                  </a:lnTo>
                  <a:lnTo>
                    <a:pt x="170" y="2922"/>
                  </a:lnTo>
                  <a:lnTo>
                    <a:pt x="162" y="2924"/>
                  </a:lnTo>
                  <a:lnTo>
                    <a:pt x="140" y="2926"/>
                  </a:lnTo>
                  <a:lnTo>
                    <a:pt x="140" y="2926"/>
                  </a:lnTo>
                  <a:lnTo>
                    <a:pt x="120" y="2924"/>
                  </a:lnTo>
                  <a:lnTo>
                    <a:pt x="114" y="2922"/>
                  </a:lnTo>
                  <a:lnTo>
                    <a:pt x="108" y="2920"/>
                  </a:lnTo>
                  <a:lnTo>
                    <a:pt x="104" y="2916"/>
                  </a:lnTo>
                  <a:lnTo>
                    <a:pt x="102" y="2910"/>
                  </a:lnTo>
                  <a:lnTo>
                    <a:pt x="100" y="2906"/>
                  </a:lnTo>
                  <a:lnTo>
                    <a:pt x="102" y="2900"/>
                  </a:lnTo>
                  <a:lnTo>
                    <a:pt x="102" y="2900"/>
                  </a:lnTo>
                  <a:lnTo>
                    <a:pt x="104" y="2892"/>
                  </a:lnTo>
                  <a:lnTo>
                    <a:pt x="108" y="2886"/>
                  </a:lnTo>
                  <a:lnTo>
                    <a:pt x="114" y="2882"/>
                  </a:lnTo>
                  <a:lnTo>
                    <a:pt x="120" y="2878"/>
                  </a:lnTo>
                  <a:lnTo>
                    <a:pt x="136" y="2874"/>
                  </a:lnTo>
                  <a:lnTo>
                    <a:pt x="156" y="2872"/>
                  </a:lnTo>
                  <a:lnTo>
                    <a:pt x="156" y="2872"/>
                  </a:lnTo>
                  <a:lnTo>
                    <a:pt x="174" y="2874"/>
                  </a:lnTo>
                  <a:lnTo>
                    <a:pt x="182" y="2876"/>
                  </a:lnTo>
                  <a:lnTo>
                    <a:pt x="188" y="2878"/>
                  </a:lnTo>
                  <a:lnTo>
                    <a:pt x="192" y="2882"/>
                  </a:lnTo>
                  <a:lnTo>
                    <a:pt x="196" y="2886"/>
                  </a:lnTo>
                  <a:lnTo>
                    <a:pt x="196" y="2892"/>
                  </a:lnTo>
                  <a:lnTo>
                    <a:pt x="196" y="2898"/>
                  </a:lnTo>
                  <a:lnTo>
                    <a:pt x="196" y="2898"/>
                  </a:lnTo>
                  <a:close/>
                  <a:moveTo>
                    <a:pt x="134" y="2768"/>
                  </a:moveTo>
                  <a:lnTo>
                    <a:pt x="226" y="2768"/>
                  </a:lnTo>
                  <a:lnTo>
                    <a:pt x="226" y="2768"/>
                  </a:lnTo>
                  <a:lnTo>
                    <a:pt x="224" y="2768"/>
                  </a:lnTo>
                  <a:lnTo>
                    <a:pt x="224" y="2768"/>
                  </a:lnTo>
                  <a:lnTo>
                    <a:pt x="208" y="2792"/>
                  </a:lnTo>
                  <a:lnTo>
                    <a:pt x="208" y="2792"/>
                  </a:lnTo>
                  <a:lnTo>
                    <a:pt x="218" y="2794"/>
                  </a:lnTo>
                  <a:lnTo>
                    <a:pt x="218" y="2794"/>
                  </a:lnTo>
                  <a:lnTo>
                    <a:pt x="240" y="2766"/>
                  </a:lnTo>
                  <a:lnTo>
                    <a:pt x="240" y="2766"/>
                  </a:lnTo>
                  <a:lnTo>
                    <a:pt x="244" y="2750"/>
                  </a:lnTo>
                  <a:lnTo>
                    <a:pt x="140" y="2750"/>
                  </a:lnTo>
                  <a:lnTo>
                    <a:pt x="140" y="2750"/>
                  </a:lnTo>
                  <a:lnTo>
                    <a:pt x="134" y="2768"/>
                  </a:lnTo>
                  <a:lnTo>
                    <a:pt x="134" y="2768"/>
                  </a:lnTo>
                  <a:close/>
                  <a:moveTo>
                    <a:pt x="214" y="2674"/>
                  </a:moveTo>
                  <a:lnTo>
                    <a:pt x="214" y="2674"/>
                  </a:lnTo>
                  <a:lnTo>
                    <a:pt x="226" y="2672"/>
                  </a:lnTo>
                  <a:lnTo>
                    <a:pt x="238" y="2670"/>
                  </a:lnTo>
                  <a:lnTo>
                    <a:pt x="248" y="2666"/>
                  </a:lnTo>
                  <a:lnTo>
                    <a:pt x="256" y="2660"/>
                  </a:lnTo>
                  <a:lnTo>
                    <a:pt x="264" y="2654"/>
                  </a:lnTo>
                  <a:lnTo>
                    <a:pt x="272" y="2646"/>
                  </a:lnTo>
                  <a:lnTo>
                    <a:pt x="278" y="2636"/>
                  </a:lnTo>
                  <a:lnTo>
                    <a:pt x="280" y="2626"/>
                  </a:lnTo>
                  <a:lnTo>
                    <a:pt x="280" y="2626"/>
                  </a:lnTo>
                  <a:lnTo>
                    <a:pt x="284" y="2616"/>
                  </a:lnTo>
                  <a:lnTo>
                    <a:pt x="284" y="2608"/>
                  </a:lnTo>
                  <a:lnTo>
                    <a:pt x="282" y="2600"/>
                  </a:lnTo>
                  <a:lnTo>
                    <a:pt x="278" y="2594"/>
                  </a:lnTo>
                  <a:lnTo>
                    <a:pt x="272" y="2588"/>
                  </a:lnTo>
                  <a:lnTo>
                    <a:pt x="266" y="2584"/>
                  </a:lnTo>
                  <a:lnTo>
                    <a:pt x="258" y="2582"/>
                  </a:lnTo>
                  <a:lnTo>
                    <a:pt x="248" y="2582"/>
                  </a:lnTo>
                  <a:lnTo>
                    <a:pt x="248" y="2582"/>
                  </a:lnTo>
                  <a:lnTo>
                    <a:pt x="236" y="2582"/>
                  </a:lnTo>
                  <a:lnTo>
                    <a:pt x="226" y="2584"/>
                  </a:lnTo>
                  <a:lnTo>
                    <a:pt x="218" y="2588"/>
                  </a:lnTo>
                  <a:lnTo>
                    <a:pt x="210" y="2594"/>
                  </a:lnTo>
                  <a:lnTo>
                    <a:pt x="202" y="2600"/>
                  </a:lnTo>
                  <a:lnTo>
                    <a:pt x="196" y="2608"/>
                  </a:lnTo>
                  <a:lnTo>
                    <a:pt x="190" y="2618"/>
                  </a:lnTo>
                  <a:lnTo>
                    <a:pt x="184" y="2628"/>
                  </a:lnTo>
                  <a:lnTo>
                    <a:pt x="184" y="2628"/>
                  </a:lnTo>
                  <a:lnTo>
                    <a:pt x="182" y="2638"/>
                  </a:lnTo>
                  <a:lnTo>
                    <a:pt x="180" y="2646"/>
                  </a:lnTo>
                  <a:lnTo>
                    <a:pt x="182" y="2654"/>
                  </a:lnTo>
                  <a:lnTo>
                    <a:pt x="184" y="2660"/>
                  </a:lnTo>
                  <a:lnTo>
                    <a:pt x="188" y="2666"/>
                  </a:lnTo>
                  <a:lnTo>
                    <a:pt x="196" y="2670"/>
                  </a:lnTo>
                  <a:lnTo>
                    <a:pt x="204" y="2672"/>
                  </a:lnTo>
                  <a:lnTo>
                    <a:pt x="214" y="2674"/>
                  </a:lnTo>
                  <a:lnTo>
                    <a:pt x="214" y="2674"/>
                  </a:lnTo>
                  <a:close/>
                  <a:moveTo>
                    <a:pt x="194" y="2628"/>
                  </a:moveTo>
                  <a:lnTo>
                    <a:pt x="194" y="2628"/>
                  </a:lnTo>
                  <a:lnTo>
                    <a:pt x="200" y="2616"/>
                  </a:lnTo>
                  <a:lnTo>
                    <a:pt x="212" y="2606"/>
                  </a:lnTo>
                  <a:lnTo>
                    <a:pt x="224" y="2602"/>
                  </a:lnTo>
                  <a:lnTo>
                    <a:pt x="240" y="2600"/>
                  </a:lnTo>
                  <a:lnTo>
                    <a:pt x="240" y="2600"/>
                  </a:lnTo>
                  <a:lnTo>
                    <a:pt x="256" y="2602"/>
                  </a:lnTo>
                  <a:lnTo>
                    <a:pt x="262" y="2604"/>
                  </a:lnTo>
                  <a:lnTo>
                    <a:pt x="266" y="2606"/>
                  </a:lnTo>
                  <a:lnTo>
                    <a:pt x="270" y="2610"/>
                  </a:lnTo>
                  <a:lnTo>
                    <a:pt x="272" y="2614"/>
                  </a:lnTo>
                  <a:lnTo>
                    <a:pt x="272" y="2620"/>
                  </a:lnTo>
                  <a:lnTo>
                    <a:pt x="270" y="2628"/>
                  </a:lnTo>
                  <a:lnTo>
                    <a:pt x="270" y="2628"/>
                  </a:lnTo>
                  <a:lnTo>
                    <a:pt x="268" y="2634"/>
                  </a:lnTo>
                  <a:lnTo>
                    <a:pt x="264" y="2638"/>
                  </a:lnTo>
                  <a:lnTo>
                    <a:pt x="254" y="2648"/>
                  </a:lnTo>
                  <a:lnTo>
                    <a:pt x="238" y="2652"/>
                  </a:lnTo>
                  <a:lnTo>
                    <a:pt x="220" y="2654"/>
                  </a:lnTo>
                  <a:lnTo>
                    <a:pt x="220" y="2654"/>
                  </a:lnTo>
                  <a:lnTo>
                    <a:pt x="206" y="2652"/>
                  </a:lnTo>
                  <a:lnTo>
                    <a:pt x="200" y="2650"/>
                  </a:lnTo>
                  <a:lnTo>
                    <a:pt x="196" y="2648"/>
                  </a:lnTo>
                  <a:lnTo>
                    <a:pt x="192" y="2644"/>
                  </a:lnTo>
                  <a:lnTo>
                    <a:pt x="192" y="2638"/>
                  </a:lnTo>
                  <a:lnTo>
                    <a:pt x="192" y="2634"/>
                  </a:lnTo>
                  <a:lnTo>
                    <a:pt x="194" y="2628"/>
                  </a:lnTo>
                  <a:lnTo>
                    <a:pt x="194" y="2628"/>
                  </a:lnTo>
                  <a:close/>
                  <a:moveTo>
                    <a:pt x="310" y="2496"/>
                  </a:moveTo>
                  <a:lnTo>
                    <a:pt x="310" y="2496"/>
                  </a:lnTo>
                  <a:lnTo>
                    <a:pt x="294" y="2520"/>
                  </a:lnTo>
                  <a:lnTo>
                    <a:pt x="294" y="2520"/>
                  </a:lnTo>
                  <a:lnTo>
                    <a:pt x="302" y="2524"/>
                  </a:lnTo>
                  <a:lnTo>
                    <a:pt x="302" y="2524"/>
                  </a:lnTo>
                  <a:lnTo>
                    <a:pt x="322" y="2494"/>
                  </a:lnTo>
                  <a:lnTo>
                    <a:pt x="322" y="2494"/>
                  </a:lnTo>
                  <a:lnTo>
                    <a:pt x="326" y="2478"/>
                  </a:lnTo>
                  <a:lnTo>
                    <a:pt x="248" y="2478"/>
                  </a:lnTo>
                  <a:lnTo>
                    <a:pt x="248" y="2478"/>
                  </a:lnTo>
                  <a:lnTo>
                    <a:pt x="240" y="2496"/>
                  </a:lnTo>
                  <a:lnTo>
                    <a:pt x="310" y="2496"/>
                  </a:lnTo>
                  <a:lnTo>
                    <a:pt x="310" y="2496"/>
                  </a:lnTo>
                  <a:lnTo>
                    <a:pt x="310" y="2496"/>
                  </a:lnTo>
                  <a:lnTo>
                    <a:pt x="310" y="2496"/>
                  </a:lnTo>
                  <a:close/>
                  <a:moveTo>
                    <a:pt x="358" y="2360"/>
                  </a:moveTo>
                  <a:lnTo>
                    <a:pt x="358" y="2360"/>
                  </a:lnTo>
                  <a:lnTo>
                    <a:pt x="342" y="2384"/>
                  </a:lnTo>
                  <a:lnTo>
                    <a:pt x="342" y="2384"/>
                  </a:lnTo>
                  <a:lnTo>
                    <a:pt x="350" y="2388"/>
                  </a:lnTo>
                  <a:lnTo>
                    <a:pt x="350" y="2388"/>
                  </a:lnTo>
                  <a:lnTo>
                    <a:pt x="368" y="2358"/>
                  </a:lnTo>
                  <a:lnTo>
                    <a:pt x="368" y="2358"/>
                  </a:lnTo>
                  <a:lnTo>
                    <a:pt x="374" y="2342"/>
                  </a:lnTo>
                  <a:lnTo>
                    <a:pt x="310" y="2342"/>
                  </a:lnTo>
                  <a:lnTo>
                    <a:pt x="310" y="2342"/>
                  </a:lnTo>
                  <a:lnTo>
                    <a:pt x="302" y="2360"/>
                  </a:lnTo>
                  <a:lnTo>
                    <a:pt x="358" y="2360"/>
                  </a:lnTo>
                  <a:lnTo>
                    <a:pt x="358" y="2360"/>
                  </a:lnTo>
                  <a:lnTo>
                    <a:pt x="358" y="2360"/>
                  </a:lnTo>
                  <a:lnTo>
                    <a:pt x="358" y="2360"/>
                  </a:lnTo>
                  <a:close/>
                  <a:moveTo>
                    <a:pt x="370" y="2266"/>
                  </a:moveTo>
                  <a:lnTo>
                    <a:pt x="370" y="2266"/>
                  </a:lnTo>
                  <a:lnTo>
                    <a:pt x="378" y="2264"/>
                  </a:lnTo>
                  <a:lnTo>
                    <a:pt x="386" y="2262"/>
                  </a:lnTo>
                  <a:lnTo>
                    <a:pt x="392" y="2258"/>
                  </a:lnTo>
                  <a:lnTo>
                    <a:pt x="400" y="2252"/>
                  </a:lnTo>
                  <a:lnTo>
                    <a:pt x="412" y="2238"/>
                  </a:lnTo>
                  <a:lnTo>
                    <a:pt x="422" y="2218"/>
                  </a:lnTo>
                  <a:lnTo>
                    <a:pt x="422" y="2218"/>
                  </a:lnTo>
                  <a:lnTo>
                    <a:pt x="426" y="2200"/>
                  </a:lnTo>
                  <a:lnTo>
                    <a:pt x="426" y="2192"/>
                  </a:lnTo>
                  <a:lnTo>
                    <a:pt x="426" y="2186"/>
                  </a:lnTo>
                  <a:lnTo>
                    <a:pt x="424" y="2180"/>
                  </a:lnTo>
                  <a:lnTo>
                    <a:pt x="420" y="2178"/>
                  </a:lnTo>
                  <a:lnTo>
                    <a:pt x="416" y="2174"/>
                  </a:lnTo>
                  <a:lnTo>
                    <a:pt x="410" y="2174"/>
                  </a:lnTo>
                  <a:lnTo>
                    <a:pt x="410" y="2174"/>
                  </a:lnTo>
                  <a:lnTo>
                    <a:pt x="404" y="2174"/>
                  </a:lnTo>
                  <a:lnTo>
                    <a:pt x="400" y="2178"/>
                  </a:lnTo>
                  <a:lnTo>
                    <a:pt x="394" y="2182"/>
                  </a:lnTo>
                  <a:lnTo>
                    <a:pt x="388" y="2186"/>
                  </a:lnTo>
                  <a:lnTo>
                    <a:pt x="378" y="2202"/>
                  </a:lnTo>
                  <a:lnTo>
                    <a:pt x="366" y="2222"/>
                  </a:lnTo>
                  <a:lnTo>
                    <a:pt x="366" y="2222"/>
                  </a:lnTo>
                  <a:lnTo>
                    <a:pt x="360" y="2240"/>
                  </a:lnTo>
                  <a:lnTo>
                    <a:pt x="358" y="2246"/>
                  </a:lnTo>
                  <a:lnTo>
                    <a:pt x="356" y="2254"/>
                  </a:lnTo>
                  <a:lnTo>
                    <a:pt x="358" y="2258"/>
                  </a:lnTo>
                  <a:lnTo>
                    <a:pt x="360" y="2262"/>
                  </a:lnTo>
                  <a:lnTo>
                    <a:pt x="364" y="2264"/>
                  </a:lnTo>
                  <a:lnTo>
                    <a:pt x="370" y="2266"/>
                  </a:lnTo>
                  <a:lnTo>
                    <a:pt x="370" y="2266"/>
                  </a:lnTo>
                  <a:close/>
                  <a:moveTo>
                    <a:pt x="372" y="2220"/>
                  </a:moveTo>
                  <a:lnTo>
                    <a:pt x="372" y="2220"/>
                  </a:lnTo>
                  <a:lnTo>
                    <a:pt x="378" y="2208"/>
                  </a:lnTo>
                  <a:lnTo>
                    <a:pt x="386" y="2200"/>
                  </a:lnTo>
                  <a:lnTo>
                    <a:pt x="394" y="2194"/>
                  </a:lnTo>
                  <a:lnTo>
                    <a:pt x="402" y="2192"/>
                  </a:lnTo>
                  <a:lnTo>
                    <a:pt x="402" y="2192"/>
                  </a:lnTo>
                  <a:lnTo>
                    <a:pt x="410" y="2194"/>
                  </a:lnTo>
                  <a:lnTo>
                    <a:pt x="414" y="2196"/>
                  </a:lnTo>
                  <a:lnTo>
                    <a:pt x="416" y="2198"/>
                  </a:lnTo>
                  <a:lnTo>
                    <a:pt x="418" y="2208"/>
                  </a:lnTo>
                  <a:lnTo>
                    <a:pt x="414" y="2220"/>
                  </a:lnTo>
                  <a:lnTo>
                    <a:pt x="414" y="2220"/>
                  </a:lnTo>
                  <a:lnTo>
                    <a:pt x="408" y="2230"/>
                  </a:lnTo>
                  <a:lnTo>
                    <a:pt x="400" y="2240"/>
                  </a:lnTo>
                  <a:lnTo>
                    <a:pt x="390" y="2246"/>
                  </a:lnTo>
                  <a:lnTo>
                    <a:pt x="378" y="2248"/>
                  </a:lnTo>
                  <a:lnTo>
                    <a:pt x="378" y="2248"/>
                  </a:lnTo>
                  <a:lnTo>
                    <a:pt x="374" y="2246"/>
                  </a:lnTo>
                  <a:lnTo>
                    <a:pt x="370" y="2246"/>
                  </a:lnTo>
                  <a:lnTo>
                    <a:pt x="368" y="2244"/>
                  </a:lnTo>
                  <a:lnTo>
                    <a:pt x="366" y="2240"/>
                  </a:lnTo>
                  <a:lnTo>
                    <a:pt x="366" y="2232"/>
                  </a:lnTo>
                  <a:lnTo>
                    <a:pt x="372" y="2220"/>
                  </a:lnTo>
                  <a:lnTo>
                    <a:pt x="372" y="2220"/>
                  </a:lnTo>
                  <a:close/>
                  <a:moveTo>
                    <a:pt x="430" y="2130"/>
                  </a:moveTo>
                  <a:lnTo>
                    <a:pt x="430" y="2130"/>
                  </a:lnTo>
                  <a:lnTo>
                    <a:pt x="436" y="2130"/>
                  </a:lnTo>
                  <a:lnTo>
                    <a:pt x="442" y="2126"/>
                  </a:lnTo>
                  <a:lnTo>
                    <a:pt x="452" y="2116"/>
                  </a:lnTo>
                  <a:lnTo>
                    <a:pt x="464" y="2102"/>
                  </a:lnTo>
                  <a:lnTo>
                    <a:pt x="474" y="2082"/>
                  </a:lnTo>
                  <a:lnTo>
                    <a:pt x="474" y="2082"/>
                  </a:lnTo>
                  <a:lnTo>
                    <a:pt x="480" y="2064"/>
                  </a:lnTo>
                  <a:lnTo>
                    <a:pt x="480" y="2050"/>
                  </a:lnTo>
                  <a:lnTo>
                    <a:pt x="480" y="2044"/>
                  </a:lnTo>
                  <a:lnTo>
                    <a:pt x="478" y="2042"/>
                  </a:lnTo>
                  <a:lnTo>
                    <a:pt x="474" y="2038"/>
                  </a:lnTo>
                  <a:lnTo>
                    <a:pt x="472" y="2038"/>
                  </a:lnTo>
                  <a:lnTo>
                    <a:pt x="472" y="2038"/>
                  </a:lnTo>
                  <a:lnTo>
                    <a:pt x="468" y="2038"/>
                  </a:lnTo>
                  <a:lnTo>
                    <a:pt x="462" y="2042"/>
                  </a:lnTo>
                  <a:lnTo>
                    <a:pt x="454" y="2050"/>
                  </a:lnTo>
                  <a:lnTo>
                    <a:pt x="444" y="2066"/>
                  </a:lnTo>
                  <a:lnTo>
                    <a:pt x="434" y="2086"/>
                  </a:lnTo>
                  <a:lnTo>
                    <a:pt x="434" y="2086"/>
                  </a:lnTo>
                  <a:lnTo>
                    <a:pt x="426" y="2104"/>
                  </a:lnTo>
                  <a:lnTo>
                    <a:pt x="422" y="2118"/>
                  </a:lnTo>
                  <a:lnTo>
                    <a:pt x="422" y="2122"/>
                  </a:lnTo>
                  <a:lnTo>
                    <a:pt x="422" y="2126"/>
                  </a:lnTo>
                  <a:lnTo>
                    <a:pt x="426" y="2130"/>
                  </a:lnTo>
                  <a:lnTo>
                    <a:pt x="430" y="2130"/>
                  </a:lnTo>
                  <a:lnTo>
                    <a:pt x="430" y="2130"/>
                  </a:lnTo>
                  <a:close/>
                  <a:moveTo>
                    <a:pt x="438" y="2084"/>
                  </a:moveTo>
                  <a:lnTo>
                    <a:pt x="438" y="2084"/>
                  </a:lnTo>
                  <a:lnTo>
                    <a:pt x="444" y="2072"/>
                  </a:lnTo>
                  <a:lnTo>
                    <a:pt x="450" y="2064"/>
                  </a:lnTo>
                  <a:lnTo>
                    <a:pt x="456" y="2058"/>
                  </a:lnTo>
                  <a:lnTo>
                    <a:pt x="462" y="2056"/>
                  </a:lnTo>
                  <a:lnTo>
                    <a:pt x="462" y="2056"/>
                  </a:lnTo>
                  <a:lnTo>
                    <a:pt x="468" y="2058"/>
                  </a:lnTo>
                  <a:lnTo>
                    <a:pt x="472" y="2064"/>
                  </a:lnTo>
                  <a:lnTo>
                    <a:pt x="472" y="2072"/>
                  </a:lnTo>
                  <a:lnTo>
                    <a:pt x="468" y="2084"/>
                  </a:lnTo>
                  <a:lnTo>
                    <a:pt x="468" y="2084"/>
                  </a:lnTo>
                  <a:lnTo>
                    <a:pt x="462" y="2096"/>
                  </a:lnTo>
                  <a:lnTo>
                    <a:pt x="454" y="2104"/>
                  </a:lnTo>
                  <a:lnTo>
                    <a:pt x="446" y="2110"/>
                  </a:lnTo>
                  <a:lnTo>
                    <a:pt x="438" y="2112"/>
                  </a:lnTo>
                  <a:lnTo>
                    <a:pt x="438" y="2112"/>
                  </a:lnTo>
                  <a:lnTo>
                    <a:pt x="434" y="2112"/>
                  </a:lnTo>
                  <a:lnTo>
                    <a:pt x="432" y="2110"/>
                  </a:lnTo>
                  <a:lnTo>
                    <a:pt x="430" y="2104"/>
                  </a:lnTo>
                  <a:lnTo>
                    <a:pt x="432" y="2096"/>
                  </a:lnTo>
                  <a:lnTo>
                    <a:pt x="438" y="2084"/>
                  </a:lnTo>
                  <a:lnTo>
                    <a:pt x="438" y="2084"/>
                  </a:lnTo>
                  <a:close/>
                  <a:moveTo>
                    <a:pt x="520" y="1952"/>
                  </a:moveTo>
                  <a:lnTo>
                    <a:pt x="520" y="1952"/>
                  </a:lnTo>
                  <a:lnTo>
                    <a:pt x="508" y="1976"/>
                  </a:lnTo>
                  <a:lnTo>
                    <a:pt x="508" y="1976"/>
                  </a:lnTo>
                  <a:lnTo>
                    <a:pt x="510" y="1980"/>
                  </a:lnTo>
                  <a:lnTo>
                    <a:pt x="510" y="1980"/>
                  </a:lnTo>
                  <a:lnTo>
                    <a:pt x="526" y="1950"/>
                  </a:lnTo>
                  <a:lnTo>
                    <a:pt x="526" y="1950"/>
                  </a:lnTo>
                  <a:lnTo>
                    <a:pt x="532" y="1934"/>
                  </a:lnTo>
                  <a:lnTo>
                    <a:pt x="512" y="1934"/>
                  </a:lnTo>
                  <a:lnTo>
                    <a:pt x="512" y="1934"/>
                  </a:lnTo>
                  <a:lnTo>
                    <a:pt x="502" y="1952"/>
                  </a:lnTo>
                  <a:lnTo>
                    <a:pt x="520" y="1952"/>
                  </a:lnTo>
                  <a:lnTo>
                    <a:pt x="520" y="1952"/>
                  </a:lnTo>
                  <a:lnTo>
                    <a:pt x="520" y="1952"/>
                  </a:lnTo>
                  <a:lnTo>
                    <a:pt x="520" y="1952"/>
                  </a:lnTo>
                  <a:close/>
                  <a:moveTo>
                    <a:pt x="588" y="1788"/>
                  </a:moveTo>
                  <a:lnTo>
                    <a:pt x="588" y="1788"/>
                  </a:lnTo>
                  <a:lnTo>
                    <a:pt x="588" y="1784"/>
                  </a:lnTo>
                  <a:lnTo>
                    <a:pt x="588" y="1784"/>
                  </a:lnTo>
                  <a:lnTo>
                    <a:pt x="584" y="1792"/>
                  </a:lnTo>
                  <a:lnTo>
                    <a:pt x="576" y="1812"/>
                  </a:lnTo>
                  <a:lnTo>
                    <a:pt x="576" y="1812"/>
                  </a:lnTo>
                  <a:lnTo>
                    <a:pt x="566" y="1830"/>
                  </a:lnTo>
                  <a:lnTo>
                    <a:pt x="562" y="1840"/>
                  </a:lnTo>
                  <a:lnTo>
                    <a:pt x="562" y="1840"/>
                  </a:lnTo>
                  <a:lnTo>
                    <a:pt x="576" y="1814"/>
                  </a:lnTo>
                  <a:lnTo>
                    <a:pt x="576" y="1814"/>
                  </a:lnTo>
                  <a:lnTo>
                    <a:pt x="588" y="1788"/>
                  </a:lnTo>
                  <a:lnTo>
                    <a:pt x="588" y="1788"/>
                  </a:lnTo>
                  <a:close/>
                  <a:moveTo>
                    <a:pt x="588" y="1788"/>
                  </a:moveTo>
                  <a:lnTo>
                    <a:pt x="588" y="1788"/>
                  </a:lnTo>
                  <a:lnTo>
                    <a:pt x="586" y="1798"/>
                  </a:lnTo>
                  <a:lnTo>
                    <a:pt x="580" y="1812"/>
                  </a:lnTo>
                  <a:lnTo>
                    <a:pt x="580" y="1812"/>
                  </a:lnTo>
                  <a:lnTo>
                    <a:pt x="574" y="1824"/>
                  </a:lnTo>
                  <a:lnTo>
                    <a:pt x="570" y="1832"/>
                  </a:lnTo>
                  <a:lnTo>
                    <a:pt x="564" y="1838"/>
                  </a:lnTo>
                  <a:lnTo>
                    <a:pt x="562" y="1840"/>
                  </a:lnTo>
                  <a:lnTo>
                    <a:pt x="562" y="1840"/>
                  </a:lnTo>
                  <a:lnTo>
                    <a:pt x="562" y="1840"/>
                  </a:lnTo>
                  <a:lnTo>
                    <a:pt x="562" y="1840"/>
                  </a:lnTo>
                  <a:lnTo>
                    <a:pt x="554" y="1854"/>
                  </a:lnTo>
                  <a:lnTo>
                    <a:pt x="552" y="1856"/>
                  </a:lnTo>
                  <a:lnTo>
                    <a:pt x="554" y="1858"/>
                  </a:lnTo>
                  <a:lnTo>
                    <a:pt x="554" y="1858"/>
                  </a:lnTo>
                  <a:lnTo>
                    <a:pt x="558" y="1854"/>
                  </a:lnTo>
                  <a:lnTo>
                    <a:pt x="566" y="1846"/>
                  </a:lnTo>
                  <a:lnTo>
                    <a:pt x="574" y="1830"/>
                  </a:lnTo>
                  <a:lnTo>
                    <a:pt x="582" y="1812"/>
                  </a:lnTo>
                  <a:lnTo>
                    <a:pt x="582" y="1812"/>
                  </a:lnTo>
                  <a:lnTo>
                    <a:pt x="590" y="1792"/>
                  </a:lnTo>
                  <a:lnTo>
                    <a:pt x="594" y="1778"/>
                  </a:lnTo>
                  <a:lnTo>
                    <a:pt x="596" y="1766"/>
                  </a:lnTo>
                  <a:lnTo>
                    <a:pt x="596" y="1766"/>
                  </a:lnTo>
                  <a:lnTo>
                    <a:pt x="588" y="1788"/>
                  </a:lnTo>
                  <a:lnTo>
                    <a:pt x="588" y="1788"/>
                  </a:lnTo>
                  <a:close/>
                  <a:moveTo>
                    <a:pt x="660" y="1630"/>
                  </a:moveTo>
                  <a:lnTo>
                    <a:pt x="660" y="1630"/>
                  </a:lnTo>
                  <a:lnTo>
                    <a:pt x="656" y="1632"/>
                  </a:lnTo>
                  <a:lnTo>
                    <a:pt x="654" y="1638"/>
                  </a:lnTo>
                  <a:lnTo>
                    <a:pt x="646" y="1656"/>
                  </a:lnTo>
                  <a:lnTo>
                    <a:pt x="646" y="1656"/>
                  </a:lnTo>
                  <a:lnTo>
                    <a:pt x="648" y="1650"/>
                  </a:lnTo>
                  <a:lnTo>
                    <a:pt x="650" y="1650"/>
                  </a:lnTo>
                  <a:lnTo>
                    <a:pt x="650" y="1650"/>
                  </a:lnTo>
                  <a:lnTo>
                    <a:pt x="652" y="1650"/>
                  </a:lnTo>
                  <a:lnTo>
                    <a:pt x="652" y="1656"/>
                  </a:lnTo>
                  <a:lnTo>
                    <a:pt x="650" y="1664"/>
                  </a:lnTo>
                  <a:lnTo>
                    <a:pt x="646" y="1676"/>
                  </a:lnTo>
                  <a:lnTo>
                    <a:pt x="646" y="1676"/>
                  </a:lnTo>
                  <a:lnTo>
                    <a:pt x="638" y="1688"/>
                  </a:lnTo>
                  <a:lnTo>
                    <a:pt x="632" y="1698"/>
                  </a:lnTo>
                  <a:lnTo>
                    <a:pt x="632" y="1698"/>
                  </a:lnTo>
                  <a:lnTo>
                    <a:pt x="630" y="1704"/>
                  </a:lnTo>
                  <a:lnTo>
                    <a:pt x="630" y="1704"/>
                  </a:lnTo>
                  <a:lnTo>
                    <a:pt x="628" y="1708"/>
                  </a:lnTo>
                  <a:lnTo>
                    <a:pt x="628" y="1708"/>
                  </a:lnTo>
                  <a:lnTo>
                    <a:pt x="628" y="1702"/>
                  </a:lnTo>
                  <a:lnTo>
                    <a:pt x="628" y="1702"/>
                  </a:lnTo>
                  <a:lnTo>
                    <a:pt x="626" y="1704"/>
                  </a:lnTo>
                  <a:lnTo>
                    <a:pt x="626" y="1704"/>
                  </a:lnTo>
                  <a:lnTo>
                    <a:pt x="626" y="1704"/>
                  </a:lnTo>
                  <a:lnTo>
                    <a:pt x="626" y="1704"/>
                  </a:lnTo>
                  <a:lnTo>
                    <a:pt x="616" y="1722"/>
                  </a:lnTo>
                  <a:lnTo>
                    <a:pt x="616" y="1722"/>
                  </a:lnTo>
                  <a:lnTo>
                    <a:pt x="628" y="1710"/>
                  </a:lnTo>
                  <a:lnTo>
                    <a:pt x="638" y="1696"/>
                  </a:lnTo>
                  <a:lnTo>
                    <a:pt x="648" y="1678"/>
                  </a:lnTo>
                  <a:lnTo>
                    <a:pt x="648" y="1678"/>
                  </a:lnTo>
                  <a:lnTo>
                    <a:pt x="656" y="1658"/>
                  </a:lnTo>
                  <a:lnTo>
                    <a:pt x="662" y="1644"/>
                  </a:lnTo>
                  <a:lnTo>
                    <a:pt x="662" y="1634"/>
                  </a:lnTo>
                  <a:lnTo>
                    <a:pt x="660" y="1632"/>
                  </a:lnTo>
                  <a:lnTo>
                    <a:pt x="660" y="1630"/>
                  </a:lnTo>
                  <a:lnTo>
                    <a:pt x="660" y="1630"/>
                  </a:lnTo>
                  <a:close/>
                  <a:moveTo>
                    <a:pt x="630" y="1694"/>
                  </a:moveTo>
                  <a:lnTo>
                    <a:pt x="630" y="1694"/>
                  </a:lnTo>
                  <a:lnTo>
                    <a:pt x="626" y="1704"/>
                  </a:lnTo>
                  <a:lnTo>
                    <a:pt x="626" y="1704"/>
                  </a:lnTo>
                  <a:lnTo>
                    <a:pt x="630" y="1696"/>
                  </a:lnTo>
                  <a:lnTo>
                    <a:pt x="630" y="1696"/>
                  </a:lnTo>
                  <a:lnTo>
                    <a:pt x="630" y="1694"/>
                  </a:lnTo>
                  <a:lnTo>
                    <a:pt x="630" y="1694"/>
                  </a:lnTo>
                  <a:close/>
                  <a:moveTo>
                    <a:pt x="646" y="1656"/>
                  </a:moveTo>
                  <a:lnTo>
                    <a:pt x="646" y="1656"/>
                  </a:lnTo>
                  <a:lnTo>
                    <a:pt x="642" y="1664"/>
                  </a:lnTo>
                  <a:lnTo>
                    <a:pt x="642" y="1664"/>
                  </a:lnTo>
                  <a:lnTo>
                    <a:pt x="642" y="1664"/>
                  </a:lnTo>
                  <a:lnTo>
                    <a:pt x="646" y="1656"/>
                  </a:lnTo>
                  <a:lnTo>
                    <a:pt x="646" y="1656"/>
                  </a:lnTo>
                  <a:close/>
                  <a:moveTo>
                    <a:pt x="636" y="1680"/>
                  </a:moveTo>
                  <a:lnTo>
                    <a:pt x="636" y="1680"/>
                  </a:lnTo>
                  <a:lnTo>
                    <a:pt x="634" y="1684"/>
                  </a:lnTo>
                  <a:lnTo>
                    <a:pt x="634" y="1684"/>
                  </a:lnTo>
                  <a:lnTo>
                    <a:pt x="634" y="1686"/>
                  </a:lnTo>
                  <a:lnTo>
                    <a:pt x="634" y="1686"/>
                  </a:lnTo>
                  <a:lnTo>
                    <a:pt x="636" y="1680"/>
                  </a:lnTo>
                  <a:lnTo>
                    <a:pt x="636" y="1680"/>
                  </a:lnTo>
                  <a:close/>
                  <a:moveTo>
                    <a:pt x="722" y="1494"/>
                  </a:moveTo>
                  <a:lnTo>
                    <a:pt x="722" y="1494"/>
                  </a:lnTo>
                  <a:lnTo>
                    <a:pt x="718" y="1496"/>
                  </a:lnTo>
                  <a:lnTo>
                    <a:pt x="714" y="1498"/>
                  </a:lnTo>
                  <a:lnTo>
                    <a:pt x="708" y="1506"/>
                  </a:lnTo>
                  <a:lnTo>
                    <a:pt x="700" y="1520"/>
                  </a:lnTo>
                  <a:lnTo>
                    <a:pt x="692" y="1540"/>
                  </a:lnTo>
                  <a:lnTo>
                    <a:pt x="692" y="1540"/>
                  </a:lnTo>
                  <a:lnTo>
                    <a:pt x="680" y="1574"/>
                  </a:lnTo>
                  <a:lnTo>
                    <a:pt x="678" y="1584"/>
                  </a:lnTo>
                  <a:lnTo>
                    <a:pt x="678" y="1586"/>
                  </a:lnTo>
                  <a:lnTo>
                    <a:pt x="680" y="1586"/>
                  </a:lnTo>
                  <a:lnTo>
                    <a:pt x="680" y="1586"/>
                  </a:lnTo>
                  <a:lnTo>
                    <a:pt x="686" y="1584"/>
                  </a:lnTo>
                  <a:lnTo>
                    <a:pt x="696" y="1574"/>
                  </a:lnTo>
                  <a:lnTo>
                    <a:pt x="708" y="1560"/>
                  </a:lnTo>
                  <a:lnTo>
                    <a:pt x="720" y="1542"/>
                  </a:lnTo>
                  <a:lnTo>
                    <a:pt x="720" y="1542"/>
                  </a:lnTo>
                  <a:lnTo>
                    <a:pt x="728" y="1522"/>
                  </a:lnTo>
                  <a:lnTo>
                    <a:pt x="730" y="1508"/>
                  </a:lnTo>
                  <a:lnTo>
                    <a:pt x="730" y="1502"/>
                  </a:lnTo>
                  <a:lnTo>
                    <a:pt x="728" y="1498"/>
                  </a:lnTo>
                  <a:lnTo>
                    <a:pt x="724" y="1496"/>
                  </a:lnTo>
                  <a:lnTo>
                    <a:pt x="722" y="1494"/>
                  </a:lnTo>
                  <a:lnTo>
                    <a:pt x="722" y="1494"/>
                  </a:lnTo>
                  <a:close/>
                  <a:moveTo>
                    <a:pt x="714" y="1540"/>
                  </a:moveTo>
                  <a:lnTo>
                    <a:pt x="714" y="1540"/>
                  </a:lnTo>
                  <a:lnTo>
                    <a:pt x="708" y="1552"/>
                  </a:lnTo>
                  <a:lnTo>
                    <a:pt x="700" y="1560"/>
                  </a:lnTo>
                  <a:lnTo>
                    <a:pt x="694" y="1566"/>
                  </a:lnTo>
                  <a:lnTo>
                    <a:pt x="688" y="1568"/>
                  </a:lnTo>
                  <a:lnTo>
                    <a:pt x="688" y="1568"/>
                  </a:lnTo>
                  <a:lnTo>
                    <a:pt x="686" y="1568"/>
                  </a:lnTo>
                  <a:lnTo>
                    <a:pt x="686" y="1566"/>
                  </a:lnTo>
                  <a:lnTo>
                    <a:pt x="686" y="1560"/>
                  </a:lnTo>
                  <a:lnTo>
                    <a:pt x="694" y="1540"/>
                  </a:lnTo>
                  <a:lnTo>
                    <a:pt x="694" y="1540"/>
                  </a:lnTo>
                  <a:lnTo>
                    <a:pt x="700" y="1528"/>
                  </a:lnTo>
                  <a:lnTo>
                    <a:pt x="704" y="1520"/>
                  </a:lnTo>
                  <a:lnTo>
                    <a:pt x="708" y="1514"/>
                  </a:lnTo>
                  <a:lnTo>
                    <a:pt x="714" y="1514"/>
                  </a:lnTo>
                  <a:lnTo>
                    <a:pt x="714" y="1514"/>
                  </a:lnTo>
                  <a:lnTo>
                    <a:pt x="718" y="1514"/>
                  </a:lnTo>
                  <a:lnTo>
                    <a:pt x="720" y="1520"/>
                  </a:lnTo>
                  <a:lnTo>
                    <a:pt x="720" y="1528"/>
                  </a:lnTo>
                  <a:lnTo>
                    <a:pt x="714" y="1540"/>
                  </a:lnTo>
                  <a:lnTo>
                    <a:pt x="714" y="1540"/>
                  </a:lnTo>
                  <a:close/>
                  <a:moveTo>
                    <a:pt x="782" y="1360"/>
                  </a:moveTo>
                  <a:lnTo>
                    <a:pt x="782" y="1360"/>
                  </a:lnTo>
                  <a:lnTo>
                    <a:pt x="778" y="1360"/>
                  </a:lnTo>
                  <a:lnTo>
                    <a:pt x="772" y="1362"/>
                  </a:lnTo>
                  <a:lnTo>
                    <a:pt x="764" y="1370"/>
                  </a:lnTo>
                  <a:lnTo>
                    <a:pt x="756" y="1384"/>
                  </a:lnTo>
                  <a:lnTo>
                    <a:pt x="746" y="1404"/>
                  </a:lnTo>
                  <a:lnTo>
                    <a:pt x="746" y="1404"/>
                  </a:lnTo>
                  <a:lnTo>
                    <a:pt x="740" y="1422"/>
                  </a:lnTo>
                  <a:lnTo>
                    <a:pt x="736" y="1438"/>
                  </a:lnTo>
                  <a:lnTo>
                    <a:pt x="736" y="1444"/>
                  </a:lnTo>
                  <a:lnTo>
                    <a:pt x="736" y="1448"/>
                  </a:lnTo>
                  <a:lnTo>
                    <a:pt x="738" y="1450"/>
                  </a:lnTo>
                  <a:lnTo>
                    <a:pt x="742" y="1450"/>
                  </a:lnTo>
                  <a:lnTo>
                    <a:pt x="742" y="1450"/>
                  </a:lnTo>
                  <a:lnTo>
                    <a:pt x="746" y="1450"/>
                  </a:lnTo>
                  <a:lnTo>
                    <a:pt x="752" y="1448"/>
                  </a:lnTo>
                  <a:lnTo>
                    <a:pt x="764" y="1438"/>
                  </a:lnTo>
                  <a:lnTo>
                    <a:pt x="778" y="1424"/>
                  </a:lnTo>
                  <a:lnTo>
                    <a:pt x="790" y="1406"/>
                  </a:lnTo>
                  <a:lnTo>
                    <a:pt x="790" y="1406"/>
                  </a:lnTo>
                  <a:lnTo>
                    <a:pt x="794" y="1396"/>
                  </a:lnTo>
                  <a:lnTo>
                    <a:pt x="796" y="1386"/>
                  </a:lnTo>
                  <a:lnTo>
                    <a:pt x="798" y="1378"/>
                  </a:lnTo>
                  <a:lnTo>
                    <a:pt x="798" y="1372"/>
                  </a:lnTo>
                  <a:lnTo>
                    <a:pt x="796" y="1366"/>
                  </a:lnTo>
                  <a:lnTo>
                    <a:pt x="792" y="1362"/>
                  </a:lnTo>
                  <a:lnTo>
                    <a:pt x="788" y="1360"/>
                  </a:lnTo>
                  <a:lnTo>
                    <a:pt x="782" y="1360"/>
                  </a:lnTo>
                  <a:lnTo>
                    <a:pt x="782" y="1360"/>
                  </a:lnTo>
                  <a:close/>
                  <a:moveTo>
                    <a:pt x="784" y="1406"/>
                  </a:moveTo>
                  <a:lnTo>
                    <a:pt x="784" y="1406"/>
                  </a:lnTo>
                  <a:lnTo>
                    <a:pt x="776" y="1416"/>
                  </a:lnTo>
                  <a:lnTo>
                    <a:pt x="768" y="1426"/>
                  </a:lnTo>
                  <a:lnTo>
                    <a:pt x="758" y="1430"/>
                  </a:lnTo>
                  <a:lnTo>
                    <a:pt x="750" y="1432"/>
                  </a:lnTo>
                  <a:lnTo>
                    <a:pt x="750" y="1432"/>
                  </a:lnTo>
                  <a:lnTo>
                    <a:pt x="748" y="1432"/>
                  </a:lnTo>
                  <a:lnTo>
                    <a:pt x="746" y="1430"/>
                  </a:lnTo>
                  <a:lnTo>
                    <a:pt x="744" y="1424"/>
                  </a:lnTo>
                  <a:lnTo>
                    <a:pt x="746" y="1416"/>
                  </a:lnTo>
                  <a:lnTo>
                    <a:pt x="750" y="1404"/>
                  </a:lnTo>
                  <a:lnTo>
                    <a:pt x="750" y="1404"/>
                  </a:lnTo>
                  <a:lnTo>
                    <a:pt x="754" y="1392"/>
                  </a:lnTo>
                  <a:lnTo>
                    <a:pt x="760" y="1384"/>
                  </a:lnTo>
                  <a:lnTo>
                    <a:pt x="768" y="1380"/>
                  </a:lnTo>
                  <a:lnTo>
                    <a:pt x="774" y="1378"/>
                  </a:lnTo>
                  <a:lnTo>
                    <a:pt x="774" y="1378"/>
                  </a:lnTo>
                  <a:lnTo>
                    <a:pt x="782" y="1380"/>
                  </a:lnTo>
                  <a:lnTo>
                    <a:pt x="784" y="1382"/>
                  </a:lnTo>
                  <a:lnTo>
                    <a:pt x="786" y="1384"/>
                  </a:lnTo>
                  <a:lnTo>
                    <a:pt x="788" y="1388"/>
                  </a:lnTo>
                  <a:lnTo>
                    <a:pt x="788" y="1392"/>
                  </a:lnTo>
                  <a:lnTo>
                    <a:pt x="784" y="1406"/>
                  </a:lnTo>
                  <a:lnTo>
                    <a:pt x="784" y="1406"/>
                  </a:lnTo>
                  <a:close/>
                  <a:moveTo>
                    <a:pt x="798" y="1272"/>
                  </a:moveTo>
                  <a:lnTo>
                    <a:pt x="798" y="1272"/>
                  </a:lnTo>
                  <a:lnTo>
                    <a:pt x="792" y="1300"/>
                  </a:lnTo>
                  <a:lnTo>
                    <a:pt x="792" y="1300"/>
                  </a:lnTo>
                  <a:lnTo>
                    <a:pt x="798" y="1298"/>
                  </a:lnTo>
                  <a:lnTo>
                    <a:pt x="798" y="1298"/>
                  </a:lnTo>
                  <a:lnTo>
                    <a:pt x="802" y="1274"/>
                  </a:lnTo>
                  <a:lnTo>
                    <a:pt x="802" y="1274"/>
                  </a:lnTo>
                  <a:lnTo>
                    <a:pt x="802" y="1274"/>
                  </a:lnTo>
                  <a:lnTo>
                    <a:pt x="854" y="1274"/>
                  </a:lnTo>
                  <a:lnTo>
                    <a:pt x="854" y="1274"/>
                  </a:lnTo>
                  <a:lnTo>
                    <a:pt x="862" y="1256"/>
                  </a:lnTo>
                  <a:lnTo>
                    <a:pt x="804" y="1256"/>
                  </a:lnTo>
                  <a:lnTo>
                    <a:pt x="804" y="1256"/>
                  </a:lnTo>
                  <a:lnTo>
                    <a:pt x="798" y="1272"/>
                  </a:lnTo>
                  <a:lnTo>
                    <a:pt x="798" y="1272"/>
                  </a:lnTo>
                  <a:close/>
                  <a:moveTo>
                    <a:pt x="898" y="1088"/>
                  </a:moveTo>
                  <a:lnTo>
                    <a:pt x="898" y="1088"/>
                  </a:lnTo>
                  <a:lnTo>
                    <a:pt x="888" y="1088"/>
                  </a:lnTo>
                  <a:lnTo>
                    <a:pt x="882" y="1090"/>
                  </a:lnTo>
                  <a:lnTo>
                    <a:pt x="874" y="1094"/>
                  </a:lnTo>
                  <a:lnTo>
                    <a:pt x="868" y="1100"/>
                  </a:lnTo>
                  <a:lnTo>
                    <a:pt x="862" y="1106"/>
                  </a:lnTo>
                  <a:lnTo>
                    <a:pt x="858" y="1114"/>
                  </a:lnTo>
                  <a:lnTo>
                    <a:pt x="850" y="1132"/>
                  </a:lnTo>
                  <a:lnTo>
                    <a:pt x="850" y="1132"/>
                  </a:lnTo>
                  <a:lnTo>
                    <a:pt x="844" y="1152"/>
                  </a:lnTo>
                  <a:lnTo>
                    <a:pt x="842" y="1160"/>
                  </a:lnTo>
                  <a:lnTo>
                    <a:pt x="844" y="1166"/>
                  </a:lnTo>
                  <a:lnTo>
                    <a:pt x="846" y="1172"/>
                  </a:lnTo>
                  <a:lnTo>
                    <a:pt x="848" y="1176"/>
                  </a:lnTo>
                  <a:lnTo>
                    <a:pt x="854" y="1178"/>
                  </a:lnTo>
                  <a:lnTo>
                    <a:pt x="860" y="1180"/>
                  </a:lnTo>
                  <a:lnTo>
                    <a:pt x="860" y="1180"/>
                  </a:lnTo>
                  <a:lnTo>
                    <a:pt x="868" y="1178"/>
                  </a:lnTo>
                  <a:lnTo>
                    <a:pt x="878" y="1176"/>
                  </a:lnTo>
                  <a:lnTo>
                    <a:pt x="886" y="1172"/>
                  </a:lnTo>
                  <a:lnTo>
                    <a:pt x="894" y="1166"/>
                  </a:lnTo>
                  <a:lnTo>
                    <a:pt x="902" y="1160"/>
                  </a:lnTo>
                  <a:lnTo>
                    <a:pt x="910" y="1152"/>
                  </a:lnTo>
                  <a:lnTo>
                    <a:pt x="916" y="1144"/>
                  </a:lnTo>
                  <a:lnTo>
                    <a:pt x="922" y="1134"/>
                  </a:lnTo>
                  <a:lnTo>
                    <a:pt x="922" y="1134"/>
                  </a:lnTo>
                  <a:lnTo>
                    <a:pt x="926" y="1124"/>
                  </a:lnTo>
                  <a:lnTo>
                    <a:pt x="928" y="1114"/>
                  </a:lnTo>
                  <a:lnTo>
                    <a:pt x="926" y="1106"/>
                  </a:lnTo>
                  <a:lnTo>
                    <a:pt x="924" y="1100"/>
                  </a:lnTo>
                  <a:lnTo>
                    <a:pt x="920" y="1094"/>
                  </a:lnTo>
                  <a:lnTo>
                    <a:pt x="914" y="1090"/>
                  </a:lnTo>
                  <a:lnTo>
                    <a:pt x="906" y="1088"/>
                  </a:lnTo>
                  <a:lnTo>
                    <a:pt x="898" y="1088"/>
                  </a:lnTo>
                  <a:lnTo>
                    <a:pt x="898" y="1088"/>
                  </a:lnTo>
                  <a:close/>
                  <a:moveTo>
                    <a:pt x="912" y="1134"/>
                  </a:moveTo>
                  <a:lnTo>
                    <a:pt x="912" y="1134"/>
                  </a:lnTo>
                  <a:lnTo>
                    <a:pt x="904" y="1144"/>
                  </a:lnTo>
                  <a:lnTo>
                    <a:pt x="894" y="1154"/>
                  </a:lnTo>
                  <a:lnTo>
                    <a:pt x="882" y="1158"/>
                  </a:lnTo>
                  <a:lnTo>
                    <a:pt x="868" y="1160"/>
                  </a:lnTo>
                  <a:lnTo>
                    <a:pt x="868" y="1160"/>
                  </a:lnTo>
                  <a:lnTo>
                    <a:pt x="862" y="1160"/>
                  </a:lnTo>
                  <a:lnTo>
                    <a:pt x="858" y="1158"/>
                  </a:lnTo>
                  <a:lnTo>
                    <a:pt x="854" y="1156"/>
                  </a:lnTo>
                  <a:lnTo>
                    <a:pt x="852" y="1154"/>
                  </a:lnTo>
                  <a:lnTo>
                    <a:pt x="852" y="1144"/>
                  </a:lnTo>
                  <a:lnTo>
                    <a:pt x="854" y="1134"/>
                  </a:lnTo>
                  <a:lnTo>
                    <a:pt x="854" y="1134"/>
                  </a:lnTo>
                  <a:lnTo>
                    <a:pt x="860" y="1120"/>
                  </a:lnTo>
                  <a:lnTo>
                    <a:pt x="868" y="1112"/>
                  </a:lnTo>
                  <a:lnTo>
                    <a:pt x="878" y="1108"/>
                  </a:lnTo>
                  <a:lnTo>
                    <a:pt x="890" y="1106"/>
                  </a:lnTo>
                  <a:lnTo>
                    <a:pt x="890" y="1106"/>
                  </a:lnTo>
                  <a:lnTo>
                    <a:pt x="902" y="1108"/>
                  </a:lnTo>
                  <a:lnTo>
                    <a:pt x="908" y="1110"/>
                  </a:lnTo>
                  <a:lnTo>
                    <a:pt x="912" y="1112"/>
                  </a:lnTo>
                  <a:lnTo>
                    <a:pt x="914" y="1116"/>
                  </a:lnTo>
                  <a:lnTo>
                    <a:pt x="916" y="1122"/>
                  </a:lnTo>
                  <a:lnTo>
                    <a:pt x="914" y="1126"/>
                  </a:lnTo>
                  <a:lnTo>
                    <a:pt x="912" y="1134"/>
                  </a:lnTo>
                  <a:lnTo>
                    <a:pt x="912" y="1134"/>
                  </a:lnTo>
                  <a:close/>
                  <a:moveTo>
                    <a:pt x="950" y="952"/>
                  </a:moveTo>
                  <a:lnTo>
                    <a:pt x="950" y="952"/>
                  </a:lnTo>
                  <a:lnTo>
                    <a:pt x="940" y="952"/>
                  </a:lnTo>
                  <a:lnTo>
                    <a:pt x="930" y="954"/>
                  </a:lnTo>
                  <a:lnTo>
                    <a:pt x="922" y="958"/>
                  </a:lnTo>
                  <a:lnTo>
                    <a:pt x="916" y="964"/>
                  </a:lnTo>
                  <a:lnTo>
                    <a:pt x="910" y="970"/>
                  </a:lnTo>
                  <a:lnTo>
                    <a:pt x="904" y="978"/>
                  </a:lnTo>
                  <a:lnTo>
                    <a:pt x="896" y="996"/>
                  </a:lnTo>
                  <a:lnTo>
                    <a:pt x="896" y="996"/>
                  </a:lnTo>
                  <a:lnTo>
                    <a:pt x="892" y="1016"/>
                  </a:lnTo>
                  <a:lnTo>
                    <a:pt x="892" y="1024"/>
                  </a:lnTo>
                  <a:lnTo>
                    <a:pt x="892" y="1030"/>
                  </a:lnTo>
                  <a:lnTo>
                    <a:pt x="896" y="1036"/>
                  </a:lnTo>
                  <a:lnTo>
                    <a:pt x="900" y="1040"/>
                  </a:lnTo>
                  <a:lnTo>
                    <a:pt x="906" y="1042"/>
                  </a:lnTo>
                  <a:lnTo>
                    <a:pt x="916" y="1044"/>
                  </a:lnTo>
                  <a:lnTo>
                    <a:pt x="916" y="1044"/>
                  </a:lnTo>
                  <a:lnTo>
                    <a:pt x="926" y="1042"/>
                  </a:lnTo>
                  <a:lnTo>
                    <a:pt x="936" y="1040"/>
                  </a:lnTo>
                  <a:lnTo>
                    <a:pt x="946" y="1036"/>
                  </a:lnTo>
                  <a:lnTo>
                    <a:pt x="954" y="1030"/>
                  </a:lnTo>
                  <a:lnTo>
                    <a:pt x="964" y="1024"/>
                  </a:lnTo>
                  <a:lnTo>
                    <a:pt x="972" y="1016"/>
                  </a:lnTo>
                  <a:lnTo>
                    <a:pt x="978" y="1008"/>
                  </a:lnTo>
                  <a:lnTo>
                    <a:pt x="984" y="998"/>
                  </a:lnTo>
                  <a:lnTo>
                    <a:pt x="984" y="998"/>
                  </a:lnTo>
                  <a:lnTo>
                    <a:pt x="986" y="988"/>
                  </a:lnTo>
                  <a:lnTo>
                    <a:pt x="988" y="978"/>
                  </a:lnTo>
                  <a:lnTo>
                    <a:pt x="986" y="970"/>
                  </a:lnTo>
                  <a:lnTo>
                    <a:pt x="982" y="964"/>
                  </a:lnTo>
                  <a:lnTo>
                    <a:pt x="976" y="958"/>
                  </a:lnTo>
                  <a:lnTo>
                    <a:pt x="968" y="954"/>
                  </a:lnTo>
                  <a:lnTo>
                    <a:pt x="960" y="952"/>
                  </a:lnTo>
                  <a:lnTo>
                    <a:pt x="950" y="952"/>
                  </a:lnTo>
                  <a:lnTo>
                    <a:pt x="950" y="952"/>
                  </a:lnTo>
                  <a:close/>
                  <a:moveTo>
                    <a:pt x="972" y="998"/>
                  </a:moveTo>
                  <a:lnTo>
                    <a:pt x="972" y="998"/>
                  </a:lnTo>
                  <a:lnTo>
                    <a:pt x="968" y="1004"/>
                  </a:lnTo>
                  <a:lnTo>
                    <a:pt x="964" y="1008"/>
                  </a:lnTo>
                  <a:lnTo>
                    <a:pt x="952" y="1018"/>
                  </a:lnTo>
                  <a:lnTo>
                    <a:pt x="938" y="1024"/>
                  </a:lnTo>
                  <a:lnTo>
                    <a:pt x="922" y="1026"/>
                  </a:lnTo>
                  <a:lnTo>
                    <a:pt x="922" y="1026"/>
                  </a:lnTo>
                  <a:lnTo>
                    <a:pt x="916" y="1024"/>
                  </a:lnTo>
                  <a:lnTo>
                    <a:pt x="910" y="1024"/>
                  </a:lnTo>
                  <a:lnTo>
                    <a:pt x="906" y="1020"/>
                  </a:lnTo>
                  <a:lnTo>
                    <a:pt x="902" y="1018"/>
                  </a:lnTo>
                  <a:lnTo>
                    <a:pt x="900" y="1014"/>
                  </a:lnTo>
                  <a:lnTo>
                    <a:pt x="900" y="1008"/>
                  </a:lnTo>
                  <a:lnTo>
                    <a:pt x="902" y="998"/>
                  </a:lnTo>
                  <a:lnTo>
                    <a:pt x="902" y="998"/>
                  </a:lnTo>
                  <a:lnTo>
                    <a:pt x="908" y="986"/>
                  </a:lnTo>
                  <a:lnTo>
                    <a:pt x="918" y="976"/>
                  </a:lnTo>
                  <a:lnTo>
                    <a:pt x="928" y="972"/>
                  </a:lnTo>
                  <a:lnTo>
                    <a:pt x="942" y="970"/>
                  </a:lnTo>
                  <a:lnTo>
                    <a:pt x="942" y="970"/>
                  </a:lnTo>
                  <a:lnTo>
                    <a:pt x="958" y="972"/>
                  </a:lnTo>
                  <a:lnTo>
                    <a:pt x="964" y="974"/>
                  </a:lnTo>
                  <a:lnTo>
                    <a:pt x="968" y="976"/>
                  </a:lnTo>
                  <a:lnTo>
                    <a:pt x="972" y="980"/>
                  </a:lnTo>
                  <a:lnTo>
                    <a:pt x="974" y="986"/>
                  </a:lnTo>
                  <a:lnTo>
                    <a:pt x="974" y="992"/>
                  </a:lnTo>
                  <a:lnTo>
                    <a:pt x="972" y="998"/>
                  </a:lnTo>
                  <a:lnTo>
                    <a:pt x="972" y="998"/>
                  </a:lnTo>
                  <a:close/>
                  <a:moveTo>
                    <a:pt x="996" y="816"/>
                  </a:moveTo>
                  <a:lnTo>
                    <a:pt x="996" y="816"/>
                  </a:lnTo>
                  <a:lnTo>
                    <a:pt x="986" y="816"/>
                  </a:lnTo>
                  <a:lnTo>
                    <a:pt x="976" y="818"/>
                  </a:lnTo>
                  <a:lnTo>
                    <a:pt x="968" y="822"/>
                  </a:lnTo>
                  <a:lnTo>
                    <a:pt x="960" y="828"/>
                  </a:lnTo>
                  <a:lnTo>
                    <a:pt x="952" y="834"/>
                  </a:lnTo>
                  <a:lnTo>
                    <a:pt x="948" y="842"/>
                  </a:lnTo>
                  <a:lnTo>
                    <a:pt x="942" y="850"/>
                  </a:lnTo>
                  <a:lnTo>
                    <a:pt x="940" y="860"/>
                  </a:lnTo>
                  <a:lnTo>
                    <a:pt x="940" y="860"/>
                  </a:lnTo>
                  <a:lnTo>
                    <a:pt x="936" y="870"/>
                  </a:lnTo>
                  <a:lnTo>
                    <a:pt x="936" y="880"/>
                  </a:lnTo>
                  <a:lnTo>
                    <a:pt x="936" y="888"/>
                  </a:lnTo>
                  <a:lnTo>
                    <a:pt x="938" y="894"/>
                  </a:lnTo>
                  <a:lnTo>
                    <a:pt x="942" y="900"/>
                  </a:lnTo>
                  <a:lnTo>
                    <a:pt x="948" y="904"/>
                  </a:lnTo>
                  <a:lnTo>
                    <a:pt x="956" y="906"/>
                  </a:lnTo>
                  <a:lnTo>
                    <a:pt x="966" y="908"/>
                  </a:lnTo>
                  <a:lnTo>
                    <a:pt x="966" y="908"/>
                  </a:lnTo>
                  <a:lnTo>
                    <a:pt x="978" y="906"/>
                  </a:lnTo>
                  <a:lnTo>
                    <a:pt x="988" y="904"/>
                  </a:lnTo>
                  <a:lnTo>
                    <a:pt x="1000" y="900"/>
                  </a:lnTo>
                  <a:lnTo>
                    <a:pt x="1010" y="896"/>
                  </a:lnTo>
                  <a:lnTo>
                    <a:pt x="1020" y="888"/>
                  </a:lnTo>
                  <a:lnTo>
                    <a:pt x="1028" y="880"/>
                  </a:lnTo>
                  <a:lnTo>
                    <a:pt x="1034" y="872"/>
                  </a:lnTo>
                  <a:lnTo>
                    <a:pt x="1040" y="862"/>
                  </a:lnTo>
                  <a:lnTo>
                    <a:pt x="1040" y="862"/>
                  </a:lnTo>
                  <a:lnTo>
                    <a:pt x="1042" y="852"/>
                  </a:lnTo>
                  <a:lnTo>
                    <a:pt x="1042" y="842"/>
                  </a:lnTo>
                  <a:lnTo>
                    <a:pt x="1040" y="834"/>
                  </a:lnTo>
                  <a:lnTo>
                    <a:pt x="1034" y="828"/>
                  </a:lnTo>
                  <a:lnTo>
                    <a:pt x="1028" y="822"/>
                  </a:lnTo>
                  <a:lnTo>
                    <a:pt x="1020" y="818"/>
                  </a:lnTo>
                  <a:lnTo>
                    <a:pt x="1008" y="816"/>
                  </a:lnTo>
                  <a:lnTo>
                    <a:pt x="996" y="816"/>
                  </a:lnTo>
                  <a:lnTo>
                    <a:pt x="996" y="816"/>
                  </a:lnTo>
                  <a:close/>
                  <a:moveTo>
                    <a:pt x="1026" y="862"/>
                  </a:moveTo>
                  <a:lnTo>
                    <a:pt x="1026" y="862"/>
                  </a:lnTo>
                  <a:lnTo>
                    <a:pt x="1024" y="868"/>
                  </a:lnTo>
                  <a:lnTo>
                    <a:pt x="1018" y="874"/>
                  </a:lnTo>
                  <a:lnTo>
                    <a:pt x="1006" y="882"/>
                  </a:lnTo>
                  <a:lnTo>
                    <a:pt x="990" y="888"/>
                  </a:lnTo>
                  <a:lnTo>
                    <a:pt x="974" y="890"/>
                  </a:lnTo>
                  <a:lnTo>
                    <a:pt x="974" y="890"/>
                  </a:lnTo>
                  <a:lnTo>
                    <a:pt x="964" y="888"/>
                  </a:lnTo>
                  <a:lnTo>
                    <a:pt x="958" y="888"/>
                  </a:lnTo>
                  <a:lnTo>
                    <a:pt x="952" y="884"/>
                  </a:lnTo>
                  <a:lnTo>
                    <a:pt x="948" y="882"/>
                  </a:lnTo>
                  <a:lnTo>
                    <a:pt x="946" y="878"/>
                  </a:lnTo>
                  <a:lnTo>
                    <a:pt x="946" y="872"/>
                  </a:lnTo>
                  <a:lnTo>
                    <a:pt x="946" y="862"/>
                  </a:lnTo>
                  <a:lnTo>
                    <a:pt x="946" y="862"/>
                  </a:lnTo>
                  <a:lnTo>
                    <a:pt x="952" y="850"/>
                  </a:lnTo>
                  <a:lnTo>
                    <a:pt x="958" y="844"/>
                  </a:lnTo>
                  <a:lnTo>
                    <a:pt x="962" y="840"/>
                  </a:lnTo>
                  <a:lnTo>
                    <a:pt x="976" y="836"/>
                  </a:lnTo>
                  <a:lnTo>
                    <a:pt x="992" y="834"/>
                  </a:lnTo>
                  <a:lnTo>
                    <a:pt x="992" y="834"/>
                  </a:lnTo>
                  <a:lnTo>
                    <a:pt x="1008" y="836"/>
                  </a:lnTo>
                  <a:lnTo>
                    <a:pt x="1016" y="838"/>
                  </a:lnTo>
                  <a:lnTo>
                    <a:pt x="1020" y="840"/>
                  </a:lnTo>
                  <a:lnTo>
                    <a:pt x="1024" y="844"/>
                  </a:lnTo>
                  <a:lnTo>
                    <a:pt x="1028" y="850"/>
                  </a:lnTo>
                  <a:lnTo>
                    <a:pt x="1028" y="856"/>
                  </a:lnTo>
                  <a:lnTo>
                    <a:pt x="1026" y="862"/>
                  </a:lnTo>
                  <a:lnTo>
                    <a:pt x="1026" y="862"/>
                  </a:lnTo>
                  <a:close/>
                  <a:moveTo>
                    <a:pt x="1038" y="680"/>
                  </a:moveTo>
                  <a:lnTo>
                    <a:pt x="1038" y="680"/>
                  </a:lnTo>
                  <a:lnTo>
                    <a:pt x="1026" y="680"/>
                  </a:lnTo>
                  <a:lnTo>
                    <a:pt x="1016" y="682"/>
                  </a:lnTo>
                  <a:lnTo>
                    <a:pt x="1006" y="686"/>
                  </a:lnTo>
                  <a:lnTo>
                    <a:pt x="998" y="692"/>
                  </a:lnTo>
                  <a:lnTo>
                    <a:pt x="992" y="698"/>
                  </a:lnTo>
                  <a:lnTo>
                    <a:pt x="986" y="706"/>
                  </a:lnTo>
                  <a:lnTo>
                    <a:pt x="982" y="714"/>
                  </a:lnTo>
                  <a:lnTo>
                    <a:pt x="978" y="724"/>
                  </a:lnTo>
                  <a:lnTo>
                    <a:pt x="978" y="724"/>
                  </a:lnTo>
                  <a:lnTo>
                    <a:pt x="976" y="734"/>
                  </a:lnTo>
                  <a:lnTo>
                    <a:pt x="976" y="744"/>
                  </a:lnTo>
                  <a:lnTo>
                    <a:pt x="976" y="752"/>
                  </a:lnTo>
                  <a:lnTo>
                    <a:pt x="980" y="758"/>
                  </a:lnTo>
                  <a:lnTo>
                    <a:pt x="984" y="764"/>
                  </a:lnTo>
                  <a:lnTo>
                    <a:pt x="992" y="768"/>
                  </a:lnTo>
                  <a:lnTo>
                    <a:pt x="1000" y="770"/>
                  </a:lnTo>
                  <a:lnTo>
                    <a:pt x="1012" y="772"/>
                  </a:lnTo>
                  <a:lnTo>
                    <a:pt x="1012" y="772"/>
                  </a:lnTo>
                  <a:lnTo>
                    <a:pt x="1026" y="770"/>
                  </a:lnTo>
                  <a:lnTo>
                    <a:pt x="1038" y="768"/>
                  </a:lnTo>
                  <a:lnTo>
                    <a:pt x="1050" y="764"/>
                  </a:lnTo>
                  <a:lnTo>
                    <a:pt x="1060" y="760"/>
                  </a:lnTo>
                  <a:lnTo>
                    <a:pt x="1070" y="752"/>
                  </a:lnTo>
                  <a:lnTo>
                    <a:pt x="1078" y="746"/>
                  </a:lnTo>
                  <a:lnTo>
                    <a:pt x="1086" y="736"/>
                  </a:lnTo>
                  <a:lnTo>
                    <a:pt x="1090" y="726"/>
                  </a:lnTo>
                  <a:lnTo>
                    <a:pt x="1090" y="726"/>
                  </a:lnTo>
                  <a:lnTo>
                    <a:pt x="1092" y="716"/>
                  </a:lnTo>
                  <a:lnTo>
                    <a:pt x="1092" y="708"/>
                  </a:lnTo>
                  <a:lnTo>
                    <a:pt x="1088" y="698"/>
                  </a:lnTo>
                  <a:lnTo>
                    <a:pt x="1082" y="692"/>
                  </a:lnTo>
                  <a:lnTo>
                    <a:pt x="1074" y="686"/>
                  </a:lnTo>
                  <a:lnTo>
                    <a:pt x="1064" y="684"/>
                  </a:lnTo>
                  <a:lnTo>
                    <a:pt x="1052" y="680"/>
                  </a:lnTo>
                  <a:lnTo>
                    <a:pt x="1038" y="680"/>
                  </a:lnTo>
                  <a:lnTo>
                    <a:pt x="1038" y="680"/>
                  </a:lnTo>
                  <a:close/>
                  <a:moveTo>
                    <a:pt x="1076" y="726"/>
                  </a:moveTo>
                  <a:lnTo>
                    <a:pt x="1076" y="726"/>
                  </a:lnTo>
                  <a:lnTo>
                    <a:pt x="1072" y="732"/>
                  </a:lnTo>
                  <a:lnTo>
                    <a:pt x="1068" y="738"/>
                  </a:lnTo>
                  <a:lnTo>
                    <a:pt x="1062" y="742"/>
                  </a:lnTo>
                  <a:lnTo>
                    <a:pt x="1056" y="746"/>
                  </a:lnTo>
                  <a:lnTo>
                    <a:pt x="1038" y="752"/>
                  </a:lnTo>
                  <a:lnTo>
                    <a:pt x="1018" y="754"/>
                  </a:lnTo>
                  <a:lnTo>
                    <a:pt x="1018" y="754"/>
                  </a:lnTo>
                  <a:lnTo>
                    <a:pt x="1008" y="752"/>
                  </a:lnTo>
                  <a:lnTo>
                    <a:pt x="1000" y="752"/>
                  </a:lnTo>
                  <a:lnTo>
                    <a:pt x="994" y="748"/>
                  </a:lnTo>
                  <a:lnTo>
                    <a:pt x="990" y="746"/>
                  </a:lnTo>
                  <a:lnTo>
                    <a:pt x="988" y="742"/>
                  </a:lnTo>
                  <a:lnTo>
                    <a:pt x="986" y="736"/>
                  </a:lnTo>
                  <a:lnTo>
                    <a:pt x="986" y="732"/>
                  </a:lnTo>
                  <a:lnTo>
                    <a:pt x="986" y="726"/>
                  </a:lnTo>
                  <a:lnTo>
                    <a:pt x="986" y="726"/>
                  </a:lnTo>
                  <a:lnTo>
                    <a:pt x="990" y="720"/>
                  </a:lnTo>
                  <a:lnTo>
                    <a:pt x="992" y="714"/>
                  </a:lnTo>
                  <a:lnTo>
                    <a:pt x="998" y="708"/>
                  </a:lnTo>
                  <a:lnTo>
                    <a:pt x="1002" y="704"/>
                  </a:lnTo>
                  <a:lnTo>
                    <a:pt x="1016" y="700"/>
                  </a:lnTo>
                  <a:lnTo>
                    <a:pt x="1034" y="698"/>
                  </a:lnTo>
                  <a:lnTo>
                    <a:pt x="1034" y="698"/>
                  </a:lnTo>
                  <a:lnTo>
                    <a:pt x="1054" y="700"/>
                  </a:lnTo>
                  <a:lnTo>
                    <a:pt x="1062" y="702"/>
                  </a:lnTo>
                  <a:lnTo>
                    <a:pt x="1068" y="706"/>
                  </a:lnTo>
                  <a:lnTo>
                    <a:pt x="1072" y="708"/>
                  </a:lnTo>
                  <a:lnTo>
                    <a:pt x="1076" y="714"/>
                  </a:lnTo>
                  <a:lnTo>
                    <a:pt x="1076" y="720"/>
                  </a:lnTo>
                  <a:lnTo>
                    <a:pt x="1076" y="726"/>
                  </a:lnTo>
                  <a:lnTo>
                    <a:pt x="1076" y="726"/>
                  </a:lnTo>
                  <a:close/>
                  <a:moveTo>
                    <a:pt x="1076" y="544"/>
                  </a:moveTo>
                  <a:lnTo>
                    <a:pt x="1076" y="544"/>
                  </a:lnTo>
                  <a:lnTo>
                    <a:pt x="1062" y="544"/>
                  </a:lnTo>
                  <a:lnTo>
                    <a:pt x="1050" y="548"/>
                  </a:lnTo>
                  <a:lnTo>
                    <a:pt x="1040" y="550"/>
                  </a:lnTo>
                  <a:lnTo>
                    <a:pt x="1032" y="556"/>
                  </a:lnTo>
                  <a:lnTo>
                    <a:pt x="1024" y="562"/>
                  </a:lnTo>
                  <a:lnTo>
                    <a:pt x="1020" y="570"/>
                  </a:lnTo>
                  <a:lnTo>
                    <a:pt x="1014" y="578"/>
                  </a:lnTo>
                  <a:lnTo>
                    <a:pt x="1012" y="588"/>
                  </a:lnTo>
                  <a:lnTo>
                    <a:pt x="1012" y="588"/>
                  </a:lnTo>
                  <a:lnTo>
                    <a:pt x="1010" y="598"/>
                  </a:lnTo>
                  <a:lnTo>
                    <a:pt x="1010" y="608"/>
                  </a:lnTo>
                  <a:lnTo>
                    <a:pt x="1012" y="616"/>
                  </a:lnTo>
                  <a:lnTo>
                    <a:pt x="1016" y="622"/>
                  </a:lnTo>
                  <a:lnTo>
                    <a:pt x="1022" y="628"/>
                  </a:lnTo>
                  <a:lnTo>
                    <a:pt x="1030" y="632"/>
                  </a:lnTo>
                  <a:lnTo>
                    <a:pt x="1040" y="636"/>
                  </a:lnTo>
                  <a:lnTo>
                    <a:pt x="1054" y="636"/>
                  </a:lnTo>
                  <a:lnTo>
                    <a:pt x="1054" y="636"/>
                  </a:lnTo>
                  <a:lnTo>
                    <a:pt x="1066" y="636"/>
                  </a:lnTo>
                  <a:lnTo>
                    <a:pt x="1080" y="632"/>
                  </a:lnTo>
                  <a:lnTo>
                    <a:pt x="1092" y="628"/>
                  </a:lnTo>
                  <a:lnTo>
                    <a:pt x="1104" y="624"/>
                  </a:lnTo>
                  <a:lnTo>
                    <a:pt x="1114" y="616"/>
                  </a:lnTo>
                  <a:lnTo>
                    <a:pt x="1124" y="610"/>
                  </a:lnTo>
                  <a:lnTo>
                    <a:pt x="1130" y="600"/>
                  </a:lnTo>
                  <a:lnTo>
                    <a:pt x="1134" y="592"/>
                  </a:lnTo>
                  <a:lnTo>
                    <a:pt x="1134" y="592"/>
                  </a:lnTo>
                  <a:lnTo>
                    <a:pt x="1136" y="580"/>
                  </a:lnTo>
                  <a:lnTo>
                    <a:pt x="1134" y="572"/>
                  </a:lnTo>
                  <a:lnTo>
                    <a:pt x="1130" y="564"/>
                  </a:lnTo>
                  <a:lnTo>
                    <a:pt x="1122" y="556"/>
                  </a:lnTo>
                  <a:lnTo>
                    <a:pt x="1114" y="552"/>
                  </a:lnTo>
                  <a:lnTo>
                    <a:pt x="1102" y="548"/>
                  </a:lnTo>
                  <a:lnTo>
                    <a:pt x="1090" y="544"/>
                  </a:lnTo>
                  <a:lnTo>
                    <a:pt x="1076" y="544"/>
                  </a:lnTo>
                  <a:lnTo>
                    <a:pt x="1076" y="544"/>
                  </a:lnTo>
                  <a:close/>
                  <a:moveTo>
                    <a:pt x="1118" y="590"/>
                  </a:moveTo>
                  <a:lnTo>
                    <a:pt x="1118" y="590"/>
                  </a:lnTo>
                  <a:lnTo>
                    <a:pt x="1116" y="596"/>
                  </a:lnTo>
                  <a:lnTo>
                    <a:pt x="1112" y="602"/>
                  </a:lnTo>
                  <a:lnTo>
                    <a:pt x="1106" y="606"/>
                  </a:lnTo>
                  <a:lnTo>
                    <a:pt x="1098" y="610"/>
                  </a:lnTo>
                  <a:lnTo>
                    <a:pt x="1080" y="616"/>
                  </a:lnTo>
                  <a:lnTo>
                    <a:pt x="1058" y="618"/>
                  </a:lnTo>
                  <a:lnTo>
                    <a:pt x="1058" y="618"/>
                  </a:lnTo>
                  <a:lnTo>
                    <a:pt x="1048" y="618"/>
                  </a:lnTo>
                  <a:lnTo>
                    <a:pt x="1038" y="616"/>
                  </a:lnTo>
                  <a:lnTo>
                    <a:pt x="1032" y="614"/>
                  </a:lnTo>
                  <a:lnTo>
                    <a:pt x="1026" y="610"/>
                  </a:lnTo>
                  <a:lnTo>
                    <a:pt x="1024" y="606"/>
                  </a:lnTo>
                  <a:lnTo>
                    <a:pt x="1022" y="602"/>
                  </a:lnTo>
                  <a:lnTo>
                    <a:pt x="1020" y="596"/>
                  </a:lnTo>
                  <a:lnTo>
                    <a:pt x="1022" y="590"/>
                  </a:lnTo>
                  <a:lnTo>
                    <a:pt x="1022" y="590"/>
                  </a:lnTo>
                  <a:lnTo>
                    <a:pt x="1024" y="584"/>
                  </a:lnTo>
                  <a:lnTo>
                    <a:pt x="1028" y="578"/>
                  </a:lnTo>
                  <a:lnTo>
                    <a:pt x="1032" y="572"/>
                  </a:lnTo>
                  <a:lnTo>
                    <a:pt x="1038" y="570"/>
                  </a:lnTo>
                  <a:lnTo>
                    <a:pt x="1052" y="564"/>
                  </a:lnTo>
                  <a:lnTo>
                    <a:pt x="1072" y="562"/>
                  </a:lnTo>
                  <a:lnTo>
                    <a:pt x="1072" y="562"/>
                  </a:lnTo>
                  <a:lnTo>
                    <a:pt x="1092" y="564"/>
                  </a:lnTo>
                  <a:lnTo>
                    <a:pt x="1100" y="566"/>
                  </a:lnTo>
                  <a:lnTo>
                    <a:pt x="1108" y="570"/>
                  </a:lnTo>
                  <a:lnTo>
                    <a:pt x="1114" y="574"/>
                  </a:lnTo>
                  <a:lnTo>
                    <a:pt x="1118" y="578"/>
                  </a:lnTo>
                  <a:lnTo>
                    <a:pt x="1120" y="584"/>
                  </a:lnTo>
                  <a:lnTo>
                    <a:pt x="1118" y="590"/>
                  </a:lnTo>
                  <a:lnTo>
                    <a:pt x="1118" y="590"/>
                  </a:lnTo>
                  <a:close/>
                  <a:moveTo>
                    <a:pt x="1104" y="408"/>
                  </a:moveTo>
                  <a:lnTo>
                    <a:pt x="1104" y="408"/>
                  </a:lnTo>
                  <a:lnTo>
                    <a:pt x="1090" y="410"/>
                  </a:lnTo>
                  <a:lnTo>
                    <a:pt x="1078" y="412"/>
                  </a:lnTo>
                  <a:lnTo>
                    <a:pt x="1068" y="414"/>
                  </a:lnTo>
                  <a:lnTo>
                    <a:pt x="1060" y="420"/>
                  </a:lnTo>
                  <a:lnTo>
                    <a:pt x="1052" y="426"/>
                  </a:lnTo>
                  <a:lnTo>
                    <a:pt x="1046" y="434"/>
                  </a:lnTo>
                  <a:lnTo>
                    <a:pt x="1042" y="442"/>
                  </a:lnTo>
                  <a:lnTo>
                    <a:pt x="1040" y="454"/>
                  </a:lnTo>
                  <a:lnTo>
                    <a:pt x="1040" y="454"/>
                  </a:lnTo>
                  <a:lnTo>
                    <a:pt x="1038" y="462"/>
                  </a:lnTo>
                  <a:lnTo>
                    <a:pt x="1040" y="472"/>
                  </a:lnTo>
                  <a:lnTo>
                    <a:pt x="1042" y="480"/>
                  </a:lnTo>
                  <a:lnTo>
                    <a:pt x="1046" y="486"/>
                  </a:lnTo>
                  <a:lnTo>
                    <a:pt x="1054" y="492"/>
                  </a:lnTo>
                  <a:lnTo>
                    <a:pt x="1062" y="496"/>
                  </a:lnTo>
                  <a:lnTo>
                    <a:pt x="1074" y="500"/>
                  </a:lnTo>
                  <a:lnTo>
                    <a:pt x="1088" y="500"/>
                  </a:lnTo>
                  <a:lnTo>
                    <a:pt x="1088" y="500"/>
                  </a:lnTo>
                  <a:lnTo>
                    <a:pt x="1102" y="500"/>
                  </a:lnTo>
                  <a:lnTo>
                    <a:pt x="1116" y="496"/>
                  </a:lnTo>
                  <a:lnTo>
                    <a:pt x="1130" y="492"/>
                  </a:lnTo>
                  <a:lnTo>
                    <a:pt x="1142" y="488"/>
                  </a:lnTo>
                  <a:lnTo>
                    <a:pt x="1152" y="482"/>
                  </a:lnTo>
                  <a:lnTo>
                    <a:pt x="1160" y="474"/>
                  </a:lnTo>
                  <a:lnTo>
                    <a:pt x="1166" y="464"/>
                  </a:lnTo>
                  <a:lnTo>
                    <a:pt x="1170" y="456"/>
                  </a:lnTo>
                  <a:lnTo>
                    <a:pt x="1170" y="456"/>
                  </a:lnTo>
                  <a:lnTo>
                    <a:pt x="1172" y="444"/>
                  </a:lnTo>
                  <a:lnTo>
                    <a:pt x="1170" y="436"/>
                  </a:lnTo>
                  <a:lnTo>
                    <a:pt x="1164" y="428"/>
                  </a:lnTo>
                  <a:lnTo>
                    <a:pt x="1156" y="420"/>
                  </a:lnTo>
                  <a:lnTo>
                    <a:pt x="1146" y="416"/>
                  </a:lnTo>
                  <a:lnTo>
                    <a:pt x="1134" y="412"/>
                  </a:lnTo>
                  <a:lnTo>
                    <a:pt x="1120" y="410"/>
                  </a:lnTo>
                  <a:lnTo>
                    <a:pt x="1104" y="408"/>
                  </a:lnTo>
                  <a:lnTo>
                    <a:pt x="1104" y="408"/>
                  </a:lnTo>
                  <a:close/>
                  <a:moveTo>
                    <a:pt x="1154" y="454"/>
                  </a:moveTo>
                  <a:lnTo>
                    <a:pt x="1154" y="454"/>
                  </a:lnTo>
                  <a:lnTo>
                    <a:pt x="1152" y="460"/>
                  </a:lnTo>
                  <a:lnTo>
                    <a:pt x="1146" y="466"/>
                  </a:lnTo>
                  <a:lnTo>
                    <a:pt x="1140" y="470"/>
                  </a:lnTo>
                  <a:lnTo>
                    <a:pt x="1134" y="474"/>
                  </a:lnTo>
                  <a:lnTo>
                    <a:pt x="1114" y="480"/>
                  </a:lnTo>
                  <a:lnTo>
                    <a:pt x="1092" y="482"/>
                  </a:lnTo>
                  <a:lnTo>
                    <a:pt x="1092" y="482"/>
                  </a:lnTo>
                  <a:lnTo>
                    <a:pt x="1080" y="482"/>
                  </a:lnTo>
                  <a:lnTo>
                    <a:pt x="1070" y="480"/>
                  </a:lnTo>
                  <a:lnTo>
                    <a:pt x="1062" y="478"/>
                  </a:lnTo>
                  <a:lnTo>
                    <a:pt x="1058" y="474"/>
                  </a:lnTo>
                  <a:lnTo>
                    <a:pt x="1054" y="470"/>
                  </a:lnTo>
                  <a:lnTo>
                    <a:pt x="1050" y="466"/>
                  </a:lnTo>
                  <a:lnTo>
                    <a:pt x="1050" y="460"/>
                  </a:lnTo>
                  <a:lnTo>
                    <a:pt x="1050" y="454"/>
                  </a:lnTo>
                  <a:lnTo>
                    <a:pt x="1050" y="454"/>
                  </a:lnTo>
                  <a:lnTo>
                    <a:pt x="1052" y="448"/>
                  </a:lnTo>
                  <a:lnTo>
                    <a:pt x="1056" y="442"/>
                  </a:lnTo>
                  <a:lnTo>
                    <a:pt x="1060" y="438"/>
                  </a:lnTo>
                  <a:lnTo>
                    <a:pt x="1066" y="434"/>
                  </a:lnTo>
                  <a:lnTo>
                    <a:pt x="1072" y="430"/>
                  </a:lnTo>
                  <a:lnTo>
                    <a:pt x="1082" y="428"/>
                  </a:lnTo>
                  <a:lnTo>
                    <a:pt x="1102" y="426"/>
                  </a:lnTo>
                  <a:lnTo>
                    <a:pt x="1102" y="426"/>
                  </a:lnTo>
                  <a:lnTo>
                    <a:pt x="1124" y="428"/>
                  </a:lnTo>
                  <a:lnTo>
                    <a:pt x="1134" y="430"/>
                  </a:lnTo>
                  <a:lnTo>
                    <a:pt x="1142" y="434"/>
                  </a:lnTo>
                  <a:lnTo>
                    <a:pt x="1148" y="438"/>
                  </a:lnTo>
                  <a:lnTo>
                    <a:pt x="1152" y="442"/>
                  </a:lnTo>
                  <a:lnTo>
                    <a:pt x="1154" y="448"/>
                  </a:lnTo>
                  <a:lnTo>
                    <a:pt x="1154" y="454"/>
                  </a:lnTo>
                  <a:lnTo>
                    <a:pt x="1154" y="454"/>
                  </a:lnTo>
                  <a:close/>
                  <a:moveTo>
                    <a:pt x="1062" y="320"/>
                  </a:moveTo>
                  <a:lnTo>
                    <a:pt x="1062" y="320"/>
                  </a:lnTo>
                  <a:lnTo>
                    <a:pt x="1070" y="350"/>
                  </a:lnTo>
                  <a:lnTo>
                    <a:pt x="1070" y="350"/>
                  </a:lnTo>
                  <a:lnTo>
                    <a:pt x="1084" y="346"/>
                  </a:lnTo>
                  <a:lnTo>
                    <a:pt x="1084" y="346"/>
                  </a:lnTo>
                  <a:lnTo>
                    <a:pt x="1076" y="324"/>
                  </a:lnTo>
                  <a:lnTo>
                    <a:pt x="1076" y="324"/>
                  </a:lnTo>
                  <a:lnTo>
                    <a:pt x="1076" y="322"/>
                  </a:lnTo>
                  <a:lnTo>
                    <a:pt x="1196" y="322"/>
                  </a:lnTo>
                  <a:lnTo>
                    <a:pt x="1196" y="322"/>
                  </a:lnTo>
                  <a:lnTo>
                    <a:pt x="1198" y="304"/>
                  </a:lnTo>
                  <a:lnTo>
                    <a:pt x="1064" y="304"/>
                  </a:lnTo>
                  <a:lnTo>
                    <a:pt x="1064" y="304"/>
                  </a:lnTo>
                  <a:lnTo>
                    <a:pt x="1062" y="320"/>
                  </a:lnTo>
                  <a:lnTo>
                    <a:pt x="1062" y="320"/>
                  </a:lnTo>
                  <a:close/>
                  <a:moveTo>
                    <a:pt x="1078" y="184"/>
                  </a:moveTo>
                  <a:lnTo>
                    <a:pt x="1078" y="184"/>
                  </a:lnTo>
                  <a:lnTo>
                    <a:pt x="1088" y="214"/>
                  </a:lnTo>
                  <a:lnTo>
                    <a:pt x="1088" y="214"/>
                  </a:lnTo>
                  <a:lnTo>
                    <a:pt x="1100" y="210"/>
                  </a:lnTo>
                  <a:lnTo>
                    <a:pt x="1100" y="210"/>
                  </a:lnTo>
                  <a:lnTo>
                    <a:pt x="1092" y="188"/>
                  </a:lnTo>
                  <a:lnTo>
                    <a:pt x="1092" y="188"/>
                  </a:lnTo>
                  <a:lnTo>
                    <a:pt x="1092" y="186"/>
                  </a:lnTo>
                  <a:lnTo>
                    <a:pt x="1092" y="186"/>
                  </a:lnTo>
                  <a:lnTo>
                    <a:pt x="1214" y="186"/>
                  </a:lnTo>
                  <a:lnTo>
                    <a:pt x="1214" y="186"/>
                  </a:lnTo>
                  <a:lnTo>
                    <a:pt x="1216" y="170"/>
                  </a:lnTo>
                  <a:lnTo>
                    <a:pt x="1078" y="170"/>
                  </a:lnTo>
                  <a:lnTo>
                    <a:pt x="1078" y="170"/>
                  </a:lnTo>
                  <a:lnTo>
                    <a:pt x="1078" y="184"/>
                  </a:lnTo>
                  <a:lnTo>
                    <a:pt x="1078" y="184"/>
                  </a:lnTo>
                  <a:close/>
                  <a:moveTo>
                    <a:pt x="1144" y="0"/>
                  </a:moveTo>
                  <a:lnTo>
                    <a:pt x="1144" y="0"/>
                  </a:lnTo>
                  <a:lnTo>
                    <a:pt x="1130" y="2"/>
                  </a:lnTo>
                  <a:lnTo>
                    <a:pt x="1116" y="4"/>
                  </a:lnTo>
                  <a:lnTo>
                    <a:pt x="1106" y="8"/>
                  </a:lnTo>
                  <a:lnTo>
                    <a:pt x="1098" y="12"/>
                  </a:lnTo>
                  <a:lnTo>
                    <a:pt x="1090" y="18"/>
                  </a:lnTo>
                  <a:lnTo>
                    <a:pt x="1086" y="26"/>
                  </a:lnTo>
                  <a:lnTo>
                    <a:pt x="1084" y="36"/>
                  </a:lnTo>
                  <a:lnTo>
                    <a:pt x="1082" y="46"/>
                  </a:lnTo>
                  <a:lnTo>
                    <a:pt x="1082" y="46"/>
                  </a:lnTo>
                  <a:lnTo>
                    <a:pt x="1082" y="56"/>
                  </a:lnTo>
                  <a:lnTo>
                    <a:pt x="1086" y="64"/>
                  </a:lnTo>
                  <a:lnTo>
                    <a:pt x="1090" y="72"/>
                  </a:lnTo>
                  <a:lnTo>
                    <a:pt x="1096" y="80"/>
                  </a:lnTo>
                  <a:lnTo>
                    <a:pt x="1104" y="86"/>
                  </a:lnTo>
                  <a:lnTo>
                    <a:pt x="1116" y="90"/>
                  </a:lnTo>
                  <a:lnTo>
                    <a:pt x="1128" y="92"/>
                  </a:lnTo>
                  <a:lnTo>
                    <a:pt x="1144" y="92"/>
                  </a:lnTo>
                  <a:lnTo>
                    <a:pt x="1144" y="92"/>
                  </a:lnTo>
                  <a:lnTo>
                    <a:pt x="1160" y="92"/>
                  </a:lnTo>
                  <a:lnTo>
                    <a:pt x="1176" y="90"/>
                  </a:lnTo>
                  <a:lnTo>
                    <a:pt x="1190" y="86"/>
                  </a:lnTo>
                  <a:lnTo>
                    <a:pt x="1202" y="80"/>
                  </a:lnTo>
                  <a:lnTo>
                    <a:pt x="1212" y="74"/>
                  </a:lnTo>
                  <a:lnTo>
                    <a:pt x="1220" y="66"/>
                  </a:lnTo>
                  <a:lnTo>
                    <a:pt x="1224" y="58"/>
                  </a:lnTo>
                  <a:lnTo>
                    <a:pt x="1226" y="48"/>
                  </a:lnTo>
                  <a:lnTo>
                    <a:pt x="1226" y="48"/>
                  </a:lnTo>
                  <a:lnTo>
                    <a:pt x="1226" y="38"/>
                  </a:lnTo>
                  <a:lnTo>
                    <a:pt x="1220" y="28"/>
                  </a:lnTo>
                  <a:lnTo>
                    <a:pt x="1214" y="20"/>
                  </a:lnTo>
                  <a:lnTo>
                    <a:pt x="1204" y="14"/>
                  </a:lnTo>
                  <a:lnTo>
                    <a:pt x="1190" y="8"/>
                  </a:lnTo>
                  <a:lnTo>
                    <a:pt x="1176" y="4"/>
                  </a:lnTo>
                  <a:lnTo>
                    <a:pt x="1162" y="2"/>
                  </a:lnTo>
                  <a:lnTo>
                    <a:pt x="1144" y="0"/>
                  </a:lnTo>
                  <a:lnTo>
                    <a:pt x="1144" y="0"/>
                  </a:lnTo>
                  <a:close/>
                  <a:moveTo>
                    <a:pt x="1146" y="74"/>
                  </a:moveTo>
                  <a:lnTo>
                    <a:pt x="1146" y="74"/>
                  </a:lnTo>
                  <a:lnTo>
                    <a:pt x="1132" y="74"/>
                  </a:lnTo>
                  <a:lnTo>
                    <a:pt x="1122" y="72"/>
                  </a:lnTo>
                  <a:lnTo>
                    <a:pt x="1112" y="70"/>
                  </a:lnTo>
                  <a:lnTo>
                    <a:pt x="1106" y="66"/>
                  </a:lnTo>
                  <a:lnTo>
                    <a:pt x="1100" y="62"/>
                  </a:lnTo>
                  <a:lnTo>
                    <a:pt x="1096" y="58"/>
                  </a:lnTo>
                  <a:lnTo>
                    <a:pt x="1094" y="52"/>
                  </a:lnTo>
                  <a:lnTo>
                    <a:pt x="1094" y="46"/>
                  </a:lnTo>
                  <a:lnTo>
                    <a:pt x="1094" y="46"/>
                  </a:lnTo>
                  <a:lnTo>
                    <a:pt x="1094" y="40"/>
                  </a:lnTo>
                  <a:lnTo>
                    <a:pt x="1098" y="34"/>
                  </a:lnTo>
                  <a:lnTo>
                    <a:pt x="1102" y="30"/>
                  </a:lnTo>
                  <a:lnTo>
                    <a:pt x="1106" y="26"/>
                  </a:lnTo>
                  <a:lnTo>
                    <a:pt x="1114" y="22"/>
                  </a:lnTo>
                  <a:lnTo>
                    <a:pt x="1122" y="20"/>
                  </a:lnTo>
                  <a:lnTo>
                    <a:pt x="1144" y="20"/>
                  </a:lnTo>
                  <a:lnTo>
                    <a:pt x="1144" y="20"/>
                  </a:lnTo>
                  <a:lnTo>
                    <a:pt x="1170" y="20"/>
                  </a:lnTo>
                  <a:lnTo>
                    <a:pt x="1180" y="24"/>
                  </a:lnTo>
                  <a:lnTo>
                    <a:pt x="1190" y="26"/>
                  </a:lnTo>
                  <a:lnTo>
                    <a:pt x="1198" y="30"/>
                  </a:lnTo>
                  <a:lnTo>
                    <a:pt x="1204" y="34"/>
                  </a:lnTo>
                  <a:lnTo>
                    <a:pt x="1208" y="40"/>
                  </a:lnTo>
                  <a:lnTo>
                    <a:pt x="1208" y="46"/>
                  </a:lnTo>
                  <a:lnTo>
                    <a:pt x="1208" y="46"/>
                  </a:lnTo>
                  <a:lnTo>
                    <a:pt x="1206" y="52"/>
                  </a:lnTo>
                  <a:lnTo>
                    <a:pt x="1204" y="58"/>
                  </a:lnTo>
                  <a:lnTo>
                    <a:pt x="1198" y="62"/>
                  </a:lnTo>
                  <a:lnTo>
                    <a:pt x="1190" y="66"/>
                  </a:lnTo>
                  <a:lnTo>
                    <a:pt x="1170" y="72"/>
                  </a:lnTo>
                  <a:lnTo>
                    <a:pt x="1146" y="74"/>
                  </a:lnTo>
                  <a:lnTo>
                    <a:pt x="1146" y="74"/>
                  </a:lnTo>
                  <a:close/>
                </a:path>
              </a:pathLst>
            </a:custGeom>
            <a:solidFill>
              <a:srgbClr val="000000"/>
            </a:solidFill>
            <a:ln w="9525">
              <a:solidFill>
                <a:srgbClr val="000000"/>
              </a:solidFill>
              <a:round/>
              <a:headEnd/>
              <a:tailEnd/>
            </a:ln>
          </p:spPr>
          <p:txBody>
            <a:bodyPr/>
            <a:lstStyle/>
            <a:p>
              <a:endParaRPr lang="en-US" sz="2000" dirty="0">
                <a:latin typeface="微软雅黑" pitchFamily="34" charset="-122"/>
                <a:ea typeface="微软雅黑" pitchFamily="34" charset="-122"/>
              </a:endParaRPr>
            </a:p>
          </p:txBody>
        </p:sp>
        <p:grpSp>
          <p:nvGrpSpPr>
            <p:cNvPr id="258" name="Group 257"/>
            <p:cNvGrpSpPr/>
            <p:nvPr/>
          </p:nvGrpSpPr>
          <p:grpSpPr>
            <a:xfrm>
              <a:off x="3340173" y="3803720"/>
              <a:ext cx="1296987" cy="321945"/>
              <a:chOff x="171035" y="954157"/>
              <a:chExt cx="390949" cy="387626"/>
            </a:xfrm>
          </p:grpSpPr>
          <p:sp>
            <p:nvSpPr>
              <p:cNvPr id="260" name="Round Diagonal Corner Rectangle 259"/>
              <p:cNvSpPr/>
              <p:nvPr/>
            </p:nvSpPr>
            <p:spPr>
              <a:xfrm flipV="1">
                <a:off x="171035" y="954157"/>
                <a:ext cx="387626" cy="387626"/>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dirty="0">
                  <a:latin typeface="微软雅黑" pitchFamily="34" charset="-122"/>
                  <a:ea typeface="微软雅黑" pitchFamily="34" charset="-122"/>
                </a:endParaRPr>
              </a:p>
            </p:txBody>
          </p:sp>
          <p:sp>
            <p:nvSpPr>
              <p:cNvPr id="261" name="Round Diagonal Corner Rectangle 260"/>
              <p:cNvSpPr/>
              <p:nvPr/>
            </p:nvSpPr>
            <p:spPr>
              <a:xfrm>
                <a:off x="174358" y="954157"/>
                <a:ext cx="387626" cy="387626"/>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2300" dirty="0">
                    <a:latin typeface="微软雅黑" pitchFamily="34" charset="-122"/>
                    <a:ea typeface="微软雅黑" pitchFamily="34" charset="-122"/>
                  </a:rPr>
                  <a:t>外泄</a:t>
                </a:r>
                <a:endParaRPr lang="en-US" sz="2300" dirty="0">
                  <a:latin typeface="微软雅黑" pitchFamily="34" charset="-122"/>
                  <a:ea typeface="微软雅黑" pitchFamily="34" charset="-122"/>
                </a:endParaRPr>
              </a:p>
            </p:txBody>
          </p:sp>
        </p:grpSp>
      </p:grpSp>
    </p:spTree>
    <p:extLst>
      <p:ext uri="{BB962C8B-B14F-4D97-AF65-F5344CB8AC3E}">
        <p14:creationId xmlns:p14="http://schemas.microsoft.com/office/powerpoint/2010/main" val="1284330015"/>
      </p:ext>
    </p:extLst>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62"/>
                                        </p:tgtEl>
                                        <p:attrNameLst>
                                          <p:attrName>style.visibility</p:attrName>
                                        </p:attrNameLst>
                                      </p:cBhvr>
                                      <p:to>
                                        <p:strVal val="visible"/>
                                      </p:to>
                                    </p:set>
                                    <p:animEffect transition="in" filter="fade">
                                      <p:cBhvr>
                                        <p:cTn id="12" dur="500"/>
                                        <p:tgtEl>
                                          <p:spTgt spid="262"/>
                                        </p:tgtEl>
                                      </p:cBhvr>
                                    </p:animEffect>
                                  </p:childTnLst>
                                </p:cTn>
                              </p:par>
                              <p:par>
                                <p:cTn id="13" presetID="22" presetClass="entr" presetSubtype="8"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wipe(left)">
                                      <p:cBhvr>
                                        <p:cTn id="15" dur="500"/>
                                        <p:tgtEl>
                                          <p:spTgt spid="10"/>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1" fill="hold" nodeType="click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wipe(up)">
                                      <p:cBhvr>
                                        <p:cTn id="20" dur="500"/>
                                        <p:tgtEl>
                                          <p:spTgt spid="8"/>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271"/>
                                        </p:tgtEl>
                                        <p:attrNameLst>
                                          <p:attrName>style.visibility</p:attrName>
                                        </p:attrNameLst>
                                      </p:cBhvr>
                                      <p:to>
                                        <p:strVal val="visible"/>
                                      </p:to>
                                    </p:set>
                                    <p:animEffect transition="in" filter="fade">
                                      <p:cBhvr>
                                        <p:cTn id="24" dur="250"/>
                                        <p:tgtEl>
                                          <p:spTgt spid="271"/>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268"/>
                                        </p:tgtEl>
                                        <p:attrNameLst>
                                          <p:attrName>style.visibility</p:attrName>
                                        </p:attrNameLst>
                                      </p:cBhvr>
                                      <p:to>
                                        <p:strVal val="visible"/>
                                      </p:to>
                                    </p:set>
                                    <p:animEffect transition="in" filter="fade">
                                      <p:cBhvr>
                                        <p:cTn id="29" dur="500"/>
                                        <p:tgtEl>
                                          <p:spTgt spid="268"/>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2" fill="hold" nodeType="clickEffect">
                                  <p:stCondLst>
                                    <p:cond delay="0"/>
                                  </p:stCondLst>
                                  <p:childTnLst>
                                    <p:set>
                                      <p:cBhvr>
                                        <p:cTn id="33" dur="1" fill="hold">
                                          <p:stCondLst>
                                            <p:cond delay="0"/>
                                          </p:stCondLst>
                                        </p:cTn>
                                        <p:tgtEl>
                                          <p:spTgt spid="9"/>
                                        </p:tgtEl>
                                        <p:attrNameLst>
                                          <p:attrName>style.visibility</p:attrName>
                                        </p:attrNameLst>
                                      </p:cBhvr>
                                      <p:to>
                                        <p:strVal val="visible"/>
                                      </p:to>
                                    </p:set>
                                    <p:animEffect transition="in" filter="wipe(right)">
                                      <p:cBhvr>
                                        <p:cTn id="34" dur="500"/>
                                        <p:tgtEl>
                                          <p:spTgt spid="9"/>
                                        </p:tgtEl>
                                      </p:cBhvr>
                                    </p:animEffect>
                                  </p:childTnLst>
                                </p:cTn>
                              </p:par>
                            </p:childTnLst>
                          </p:cTn>
                        </p:par>
                        <p:par>
                          <p:cTn id="35" fill="hold">
                            <p:stCondLst>
                              <p:cond delay="500"/>
                            </p:stCondLst>
                            <p:childTnLst>
                              <p:par>
                                <p:cTn id="36" presetID="10" presetClass="entr" presetSubtype="0" fill="hold" nodeType="afterEffect">
                                  <p:stCondLst>
                                    <p:cond delay="0"/>
                                  </p:stCondLst>
                                  <p:childTnLst>
                                    <p:set>
                                      <p:cBhvr>
                                        <p:cTn id="37" dur="1" fill="hold">
                                          <p:stCondLst>
                                            <p:cond delay="0"/>
                                          </p:stCondLst>
                                        </p:cTn>
                                        <p:tgtEl>
                                          <p:spTgt spid="452"/>
                                        </p:tgtEl>
                                        <p:attrNameLst>
                                          <p:attrName>style.visibility</p:attrName>
                                        </p:attrNameLst>
                                      </p:cBhvr>
                                      <p:to>
                                        <p:strVal val="visible"/>
                                      </p:to>
                                    </p:set>
                                    <p:animEffect transition="in" filter="fade">
                                      <p:cBhvr>
                                        <p:cTn id="38" dur="500"/>
                                        <p:tgtEl>
                                          <p:spTgt spid="452"/>
                                        </p:tgtEl>
                                      </p:cBhvr>
                                    </p:animEffect>
                                  </p:childTnLst>
                                </p:cTn>
                              </p:par>
                              <p:par>
                                <p:cTn id="39" presetID="10" presetClass="entr" presetSubtype="0" fill="hold" nodeType="withEffect">
                                  <p:stCondLst>
                                    <p:cond delay="0"/>
                                  </p:stCondLst>
                                  <p:childTnLst>
                                    <p:set>
                                      <p:cBhvr>
                                        <p:cTn id="40" dur="1" fill="hold">
                                          <p:stCondLst>
                                            <p:cond delay="0"/>
                                          </p:stCondLst>
                                        </p:cTn>
                                        <p:tgtEl>
                                          <p:spTgt spid="432"/>
                                        </p:tgtEl>
                                        <p:attrNameLst>
                                          <p:attrName>style.visibility</p:attrName>
                                        </p:attrNameLst>
                                      </p:cBhvr>
                                      <p:to>
                                        <p:strVal val="visible"/>
                                      </p:to>
                                    </p:set>
                                    <p:animEffect transition="in" filter="fade">
                                      <p:cBhvr>
                                        <p:cTn id="41" dur="500"/>
                                        <p:tgtEl>
                                          <p:spTgt spid="4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1"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7" name="Freeform 575"/>
          <p:cNvSpPr>
            <a:spLocks noEditPoints="1"/>
          </p:cNvSpPr>
          <p:nvPr/>
        </p:nvSpPr>
        <p:spPr bwMode="auto">
          <a:xfrm>
            <a:off x="5707947" y="1382790"/>
            <a:ext cx="2573849" cy="5204176"/>
          </a:xfrm>
          <a:custGeom>
            <a:avLst/>
            <a:gdLst>
              <a:gd name="T0" fmla="*/ 156 w 180"/>
              <a:gd name="T1" fmla="*/ 0 h 364"/>
              <a:gd name="T2" fmla="*/ 0 w 180"/>
              <a:gd name="T3" fmla="*/ 0 h 364"/>
              <a:gd name="T4" fmla="*/ 0 w 180"/>
              <a:gd name="T5" fmla="*/ 340 h 364"/>
              <a:gd name="T6" fmla="*/ 24 w 180"/>
              <a:gd name="T7" fmla="*/ 364 h 364"/>
              <a:gd name="T8" fmla="*/ 180 w 180"/>
              <a:gd name="T9" fmla="*/ 364 h 364"/>
              <a:gd name="T10" fmla="*/ 180 w 180"/>
              <a:gd name="T11" fmla="*/ 24 h 364"/>
              <a:gd name="T12" fmla="*/ 156 w 180"/>
              <a:gd name="T13" fmla="*/ 0 h 364"/>
              <a:gd name="T14" fmla="*/ 76 w 180"/>
              <a:gd name="T15" fmla="*/ 292 h 364"/>
              <a:gd name="T16" fmla="*/ 28 w 180"/>
              <a:gd name="T17" fmla="*/ 292 h 364"/>
              <a:gd name="T18" fmla="*/ 28 w 180"/>
              <a:gd name="T19" fmla="*/ 244 h 364"/>
              <a:gd name="T20" fmla="*/ 76 w 180"/>
              <a:gd name="T21" fmla="*/ 244 h 364"/>
              <a:gd name="T22" fmla="*/ 76 w 180"/>
              <a:gd name="T23" fmla="*/ 292 h 364"/>
              <a:gd name="T24" fmla="*/ 76 w 180"/>
              <a:gd name="T25" fmla="*/ 220 h 364"/>
              <a:gd name="T26" fmla="*/ 28 w 180"/>
              <a:gd name="T27" fmla="*/ 220 h 364"/>
              <a:gd name="T28" fmla="*/ 28 w 180"/>
              <a:gd name="T29" fmla="*/ 172 h 364"/>
              <a:gd name="T30" fmla="*/ 76 w 180"/>
              <a:gd name="T31" fmla="*/ 172 h 364"/>
              <a:gd name="T32" fmla="*/ 76 w 180"/>
              <a:gd name="T33" fmla="*/ 220 h 364"/>
              <a:gd name="T34" fmla="*/ 76 w 180"/>
              <a:gd name="T35" fmla="*/ 148 h 364"/>
              <a:gd name="T36" fmla="*/ 28 w 180"/>
              <a:gd name="T37" fmla="*/ 148 h 364"/>
              <a:gd name="T38" fmla="*/ 28 w 180"/>
              <a:gd name="T39" fmla="*/ 100 h 364"/>
              <a:gd name="T40" fmla="*/ 76 w 180"/>
              <a:gd name="T41" fmla="*/ 100 h 364"/>
              <a:gd name="T42" fmla="*/ 76 w 180"/>
              <a:gd name="T43" fmla="*/ 148 h 364"/>
              <a:gd name="T44" fmla="*/ 76 w 180"/>
              <a:gd name="T45" fmla="*/ 76 h 364"/>
              <a:gd name="T46" fmla="*/ 28 w 180"/>
              <a:gd name="T47" fmla="*/ 76 h 364"/>
              <a:gd name="T48" fmla="*/ 28 w 180"/>
              <a:gd name="T49" fmla="*/ 28 h 364"/>
              <a:gd name="T50" fmla="*/ 76 w 180"/>
              <a:gd name="T51" fmla="*/ 28 h 364"/>
              <a:gd name="T52" fmla="*/ 76 w 180"/>
              <a:gd name="T53" fmla="*/ 76 h 364"/>
              <a:gd name="T54" fmla="*/ 152 w 180"/>
              <a:gd name="T55" fmla="*/ 220 h 364"/>
              <a:gd name="T56" fmla="*/ 104 w 180"/>
              <a:gd name="T57" fmla="*/ 220 h 364"/>
              <a:gd name="T58" fmla="*/ 104 w 180"/>
              <a:gd name="T59" fmla="*/ 172 h 364"/>
              <a:gd name="T60" fmla="*/ 152 w 180"/>
              <a:gd name="T61" fmla="*/ 172 h 364"/>
              <a:gd name="T62" fmla="*/ 152 w 180"/>
              <a:gd name="T63" fmla="*/ 220 h 364"/>
              <a:gd name="T64" fmla="*/ 152 w 180"/>
              <a:gd name="T65" fmla="*/ 148 h 364"/>
              <a:gd name="T66" fmla="*/ 104 w 180"/>
              <a:gd name="T67" fmla="*/ 148 h 364"/>
              <a:gd name="T68" fmla="*/ 104 w 180"/>
              <a:gd name="T69" fmla="*/ 100 h 364"/>
              <a:gd name="T70" fmla="*/ 152 w 180"/>
              <a:gd name="T71" fmla="*/ 100 h 364"/>
              <a:gd name="T72" fmla="*/ 152 w 180"/>
              <a:gd name="T73" fmla="*/ 148 h 364"/>
              <a:gd name="T74" fmla="*/ 152 w 180"/>
              <a:gd name="T75" fmla="*/ 76 h 364"/>
              <a:gd name="T76" fmla="*/ 104 w 180"/>
              <a:gd name="T77" fmla="*/ 76 h 364"/>
              <a:gd name="T78" fmla="*/ 104 w 180"/>
              <a:gd name="T79" fmla="*/ 28 h 364"/>
              <a:gd name="T80" fmla="*/ 152 w 180"/>
              <a:gd name="T81" fmla="*/ 28 h 364"/>
              <a:gd name="T82" fmla="*/ 152 w 180"/>
              <a:gd name="T83" fmla="*/ 76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0" h="364">
                <a:moveTo>
                  <a:pt x="156" y="0"/>
                </a:moveTo>
                <a:cubicBezTo>
                  <a:pt x="0" y="0"/>
                  <a:pt x="0" y="0"/>
                  <a:pt x="0" y="0"/>
                </a:cubicBezTo>
                <a:cubicBezTo>
                  <a:pt x="0" y="340"/>
                  <a:pt x="0" y="340"/>
                  <a:pt x="0" y="340"/>
                </a:cubicBezTo>
                <a:cubicBezTo>
                  <a:pt x="0" y="353"/>
                  <a:pt x="10" y="364"/>
                  <a:pt x="24" y="364"/>
                </a:cubicBezTo>
                <a:cubicBezTo>
                  <a:pt x="180" y="364"/>
                  <a:pt x="180" y="364"/>
                  <a:pt x="180" y="364"/>
                </a:cubicBezTo>
                <a:cubicBezTo>
                  <a:pt x="180" y="24"/>
                  <a:pt x="180" y="24"/>
                  <a:pt x="180" y="24"/>
                </a:cubicBezTo>
                <a:cubicBezTo>
                  <a:pt x="180" y="11"/>
                  <a:pt x="169" y="0"/>
                  <a:pt x="156" y="0"/>
                </a:cubicBezTo>
                <a:moveTo>
                  <a:pt x="76" y="292"/>
                </a:moveTo>
                <a:cubicBezTo>
                  <a:pt x="28" y="292"/>
                  <a:pt x="28" y="292"/>
                  <a:pt x="28" y="292"/>
                </a:cubicBezTo>
                <a:cubicBezTo>
                  <a:pt x="28" y="244"/>
                  <a:pt x="28" y="244"/>
                  <a:pt x="28" y="244"/>
                </a:cubicBezTo>
                <a:cubicBezTo>
                  <a:pt x="76" y="244"/>
                  <a:pt x="76" y="244"/>
                  <a:pt x="76" y="244"/>
                </a:cubicBezTo>
                <a:lnTo>
                  <a:pt x="76" y="292"/>
                </a:lnTo>
                <a:close/>
                <a:moveTo>
                  <a:pt x="76" y="220"/>
                </a:moveTo>
                <a:cubicBezTo>
                  <a:pt x="28" y="220"/>
                  <a:pt x="28" y="220"/>
                  <a:pt x="28" y="220"/>
                </a:cubicBezTo>
                <a:cubicBezTo>
                  <a:pt x="28" y="172"/>
                  <a:pt x="28" y="172"/>
                  <a:pt x="28" y="172"/>
                </a:cubicBezTo>
                <a:cubicBezTo>
                  <a:pt x="76" y="172"/>
                  <a:pt x="76" y="172"/>
                  <a:pt x="76" y="172"/>
                </a:cubicBezTo>
                <a:lnTo>
                  <a:pt x="76" y="220"/>
                </a:lnTo>
                <a:close/>
                <a:moveTo>
                  <a:pt x="76" y="148"/>
                </a:moveTo>
                <a:cubicBezTo>
                  <a:pt x="28" y="148"/>
                  <a:pt x="28" y="148"/>
                  <a:pt x="28" y="148"/>
                </a:cubicBezTo>
                <a:cubicBezTo>
                  <a:pt x="28" y="100"/>
                  <a:pt x="28" y="100"/>
                  <a:pt x="28" y="100"/>
                </a:cubicBezTo>
                <a:cubicBezTo>
                  <a:pt x="76" y="100"/>
                  <a:pt x="76" y="100"/>
                  <a:pt x="76" y="100"/>
                </a:cubicBezTo>
                <a:lnTo>
                  <a:pt x="76" y="148"/>
                </a:lnTo>
                <a:close/>
                <a:moveTo>
                  <a:pt x="76" y="76"/>
                </a:moveTo>
                <a:cubicBezTo>
                  <a:pt x="28" y="76"/>
                  <a:pt x="28" y="76"/>
                  <a:pt x="28" y="76"/>
                </a:cubicBezTo>
                <a:cubicBezTo>
                  <a:pt x="28" y="28"/>
                  <a:pt x="28" y="28"/>
                  <a:pt x="28" y="28"/>
                </a:cubicBezTo>
                <a:cubicBezTo>
                  <a:pt x="76" y="28"/>
                  <a:pt x="76" y="28"/>
                  <a:pt x="76" y="28"/>
                </a:cubicBezTo>
                <a:lnTo>
                  <a:pt x="76" y="76"/>
                </a:lnTo>
                <a:close/>
                <a:moveTo>
                  <a:pt x="152" y="220"/>
                </a:moveTo>
                <a:cubicBezTo>
                  <a:pt x="104" y="220"/>
                  <a:pt x="104" y="220"/>
                  <a:pt x="104" y="220"/>
                </a:cubicBezTo>
                <a:cubicBezTo>
                  <a:pt x="104" y="172"/>
                  <a:pt x="104" y="172"/>
                  <a:pt x="104" y="172"/>
                </a:cubicBezTo>
                <a:cubicBezTo>
                  <a:pt x="152" y="172"/>
                  <a:pt x="152" y="172"/>
                  <a:pt x="152" y="172"/>
                </a:cubicBezTo>
                <a:lnTo>
                  <a:pt x="152" y="220"/>
                </a:lnTo>
                <a:close/>
                <a:moveTo>
                  <a:pt x="152" y="148"/>
                </a:moveTo>
                <a:cubicBezTo>
                  <a:pt x="104" y="148"/>
                  <a:pt x="104" y="148"/>
                  <a:pt x="104" y="148"/>
                </a:cubicBezTo>
                <a:cubicBezTo>
                  <a:pt x="104" y="100"/>
                  <a:pt x="104" y="100"/>
                  <a:pt x="104" y="100"/>
                </a:cubicBezTo>
                <a:cubicBezTo>
                  <a:pt x="152" y="100"/>
                  <a:pt x="152" y="100"/>
                  <a:pt x="152" y="100"/>
                </a:cubicBezTo>
                <a:lnTo>
                  <a:pt x="152" y="148"/>
                </a:lnTo>
                <a:close/>
                <a:moveTo>
                  <a:pt x="152" y="76"/>
                </a:moveTo>
                <a:cubicBezTo>
                  <a:pt x="104" y="76"/>
                  <a:pt x="104" y="76"/>
                  <a:pt x="104" y="76"/>
                </a:cubicBezTo>
                <a:cubicBezTo>
                  <a:pt x="104" y="28"/>
                  <a:pt x="104" y="28"/>
                  <a:pt x="104" y="28"/>
                </a:cubicBezTo>
                <a:cubicBezTo>
                  <a:pt x="152" y="28"/>
                  <a:pt x="152" y="28"/>
                  <a:pt x="152" y="28"/>
                </a:cubicBezTo>
                <a:lnTo>
                  <a:pt x="152" y="76"/>
                </a:lnTo>
                <a:close/>
              </a:path>
            </a:pathLst>
          </a:custGeom>
          <a:solidFill>
            <a:schemeClr val="accent4">
              <a:lumMod val="40000"/>
              <a:lumOff val="60000"/>
            </a:schemeClr>
          </a:solidFill>
          <a:ln>
            <a:noFill/>
          </a:ln>
        </p:spPr>
        <p:txBody>
          <a:bodyPr vert="horz" wrap="square" lIns="129909" tIns="64954" rIns="129909" bIns="64954" numCol="1" anchor="t" anchorCtr="0" compatLnSpc="1">
            <a:prstTxWarp prst="textNoShape">
              <a:avLst/>
            </a:prstTxWarp>
          </a:bodyPr>
          <a:lstStyle/>
          <a:p>
            <a:endParaRPr lang="en-US">
              <a:latin typeface="微软雅黑" pitchFamily="34" charset="-122"/>
              <a:ea typeface="微软雅黑" pitchFamily="34" charset="-122"/>
            </a:endParaRPr>
          </a:p>
        </p:txBody>
      </p:sp>
      <p:grpSp>
        <p:nvGrpSpPr>
          <p:cNvPr id="8" name="Group 7"/>
          <p:cNvGrpSpPr/>
          <p:nvPr/>
        </p:nvGrpSpPr>
        <p:grpSpPr>
          <a:xfrm>
            <a:off x="6521830" y="2476623"/>
            <a:ext cx="1481740" cy="2674644"/>
            <a:chOff x="4592950" y="1741375"/>
            <a:chExt cx="1043504" cy="1880609"/>
          </a:xfrm>
        </p:grpSpPr>
        <p:grpSp>
          <p:nvGrpSpPr>
            <p:cNvPr id="297" name="Group 322"/>
            <p:cNvGrpSpPr/>
            <p:nvPr/>
          </p:nvGrpSpPr>
          <p:grpSpPr>
            <a:xfrm>
              <a:off x="4756914" y="2780883"/>
              <a:ext cx="738382" cy="841101"/>
              <a:chOff x="2344975" y="3326629"/>
              <a:chExt cx="809388" cy="921985"/>
            </a:xfrm>
            <a:solidFill>
              <a:srgbClr val="000000"/>
            </a:solidFill>
          </p:grpSpPr>
          <p:sp>
            <p:nvSpPr>
              <p:cNvPr id="298" name="Freeform 158"/>
              <p:cNvSpPr>
                <a:spLocks/>
              </p:cNvSpPr>
              <p:nvPr/>
            </p:nvSpPr>
            <p:spPr bwMode="auto">
              <a:xfrm>
                <a:off x="2354350" y="3326629"/>
                <a:ext cx="32813" cy="89224"/>
              </a:xfrm>
              <a:custGeom>
                <a:avLst/>
                <a:gdLst/>
                <a:ahLst/>
                <a:cxnLst>
                  <a:cxn ang="0">
                    <a:pos x="21" y="57"/>
                  </a:cxn>
                  <a:cxn ang="0">
                    <a:pos x="11" y="57"/>
                  </a:cxn>
                  <a:cxn ang="0">
                    <a:pos x="11" y="10"/>
                  </a:cxn>
                  <a:cxn ang="0">
                    <a:pos x="0" y="10"/>
                  </a:cxn>
                  <a:cxn ang="0">
                    <a:pos x="4" y="0"/>
                  </a:cxn>
                  <a:cxn ang="0">
                    <a:pos x="21" y="0"/>
                  </a:cxn>
                  <a:cxn ang="0">
                    <a:pos x="21" y="57"/>
                  </a:cxn>
                </a:cxnLst>
                <a:rect l="0" t="0" r="r" b="b"/>
                <a:pathLst>
                  <a:path w="21" h="57">
                    <a:moveTo>
                      <a:pt x="21" y="57"/>
                    </a:moveTo>
                    <a:lnTo>
                      <a:pt x="11" y="57"/>
                    </a:lnTo>
                    <a:lnTo>
                      <a:pt x="11" y="10"/>
                    </a:lnTo>
                    <a:lnTo>
                      <a:pt x="0" y="10"/>
                    </a:lnTo>
                    <a:lnTo>
                      <a:pt x="4" y="0"/>
                    </a:lnTo>
                    <a:lnTo>
                      <a:pt x="21" y="0"/>
                    </a:lnTo>
                    <a:lnTo>
                      <a:pt x="21"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299" name="Freeform 159"/>
              <p:cNvSpPr>
                <a:spLocks noEditPoints="1"/>
              </p:cNvSpPr>
              <p:nvPr/>
            </p:nvSpPr>
            <p:spPr bwMode="auto">
              <a:xfrm>
                <a:off x="2402789" y="3326629"/>
                <a:ext cx="60938" cy="89224"/>
              </a:xfrm>
              <a:custGeom>
                <a:avLst/>
                <a:gdLst/>
                <a:ahLst/>
                <a:cxnLst>
                  <a:cxn ang="0">
                    <a:pos x="51" y="37"/>
                  </a:cxn>
                  <a:cxn ang="0">
                    <a:pos x="44" y="65"/>
                  </a:cxn>
                  <a:cxn ang="0">
                    <a:pos x="25" y="75"/>
                  </a:cxn>
                  <a:cxn ang="0">
                    <a:pos x="7" y="65"/>
                  </a:cxn>
                  <a:cxn ang="0">
                    <a:pos x="0" y="37"/>
                  </a:cxn>
                  <a:cxn ang="0">
                    <a:pos x="7" y="10"/>
                  </a:cxn>
                  <a:cxn ang="0">
                    <a:pos x="25" y="0"/>
                  </a:cxn>
                  <a:cxn ang="0">
                    <a:pos x="44" y="10"/>
                  </a:cxn>
                  <a:cxn ang="0">
                    <a:pos x="51" y="37"/>
                  </a:cxn>
                  <a:cxn ang="0">
                    <a:pos x="37" y="37"/>
                  </a:cxn>
                  <a:cxn ang="0">
                    <a:pos x="34" y="19"/>
                  </a:cxn>
                  <a:cxn ang="0">
                    <a:pos x="25" y="12"/>
                  </a:cxn>
                  <a:cxn ang="0">
                    <a:pos x="17" y="19"/>
                  </a:cxn>
                  <a:cxn ang="0">
                    <a:pos x="13" y="37"/>
                  </a:cxn>
                  <a:cxn ang="0">
                    <a:pos x="17" y="56"/>
                  </a:cxn>
                  <a:cxn ang="0">
                    <a:pos x="25" y="63"/>
                  </a:cxn>
                  <a:cxn ang="0">
                    <a:pos x="34" y="56"/>
                  </a:cxn>
                  <a:cxn ang="0">
                    <a:pos x="37" y="37"/>
                  </a:cxn>
                </a:cxnLst>
                <a:rect l="0" t="0" r="r" b="b"/>
                <a:pathLst>
                  <a:path w="51" h="75">
                    <a:moveTo>
                      <a:pt x="51" y="37"/>
                    </a:moveTo>
                    <a:cubicBezTo>
                      <a:pt x="51" y="49"/>
                      <a:pt x="49" y="58"/>
                      <a:pt x="44" y="65"/>
                    </a:cubicBezTo>
                    <a:cubicBezTo>
                      <a:pt x="39" y="72"/>
                      <a:pt x="33" y="75"/>
                      <a:pt x="25" y="75"/>
                    </a:cubicBezTo>
                    <a:cubicBezTo>
                      <a:pt x="18" y="75"/>
                      <a:pt x="11" y="72"/>
                      <a:pt x="7" y="65"/>
                    </a:cubicBezTo>
                    <a:cubicBezTo>
                      <a:pt x="2" y="58"/>
                      <a:pt x="0" y="49"/>
                      <a:pt x="0" y="37"/>
                    </a:cubicBezTo>
                    <a:cubicBezTo>
                      <a:pt x="0" y="26"/>
                      <a:pt x="2" y="17"/>
                      <a:pt x="7" y="10"/>
                    </a:cubicBezTo>
                    <a:cubicBezTo>
                      <a:pt x="11" y="3"/>
                      <a:pt x="18" y="0"/>
                      <a:pt x="25" y="0"/>
                    </a:cubicBezTo>
                    <a:cubicBezTo>
                      <a:pt x="33" y="0"/>
                      <a:pt x="40" y="3"/>
                      <a:pt x="44" y="10"/>
                    </a:cubicBezTo>
                    <a:cubicBezTo>
                      <a:pt x="49" y="17"/>
                      <a:pt x="51" y="26"/>
                      <a:pt x="51" y="37"/>
                    </a:cubicBezTo>
                    <a:close/>
                    <a:moveTo>
                      <a:pt x="37" y="37"/>
                    </a:moveTo>
                    <a:cubicBezTo>
                      <a:pt x="37" y="30"/>
                      <a:pt x="36" y="24"/>
                      <a:pt x="34" y="19"/>
                    </a:cubicBezTo>
                    <a:cubicBezTo>
                      <a:pt x="32" y="14"/>
                      <a:pt x="29" y="12"/>
                      <a:pt x="25" y="12"/>
                    </a:cubicBezTo>
                    <a:cubicBezTo>
                      <a:pt x="22" y="12"/>
                      <a:pt x="19" y="14"/>
                      <a:pt x="17" y="19"/>
                    </a:cubicBezTo>
                    <a:cubicBezTo>
                      <a:pt x="15" y="24"/>
                      <a:pt x="13" y="30"/>
                      <a:pt x="13" y="37"/>
                    </a:cubicBezTo>
                    <a:cubicBezTo>
                      <a:pt x="13" y="45"/>
                      <a:pt x="15" y="51"/>
                      <a:pt x="17" y="56"/>
                    </a:cubicBezTo>
                    <a:cubicBezTo>
                      <a:pt x="19" y="60"/>
                      <a:pt x="22" y="63"/>
                      <a:pt x="25" y="63"/>
                    </a:cubicBezTo>
                    <a:cubicBezTo>
                      <a:pt x="29" y="63"/>
                      <a:pt x="32" y="61"/>
                      <a:pt x="34" y="56"/>
                    </a:cubicBezTo>
                    <a:cubicBezTo>
                      <a:pt x="36" y="51"/>
                      <a:pt x="37" y="45"/>
                      <a:pt x="37"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0" name="Freeform 160"/>
              <p:cNvSpPr>
                <a:spLocks/>
              </p:cNvSpPr>
              <p:nvPr/>
            </p:nvSpPr>
            <p:spPr bwMode="auto">
              <a:xfrm>
                <a:off x="2465290" y="3326629"/>
                <a:ext cx="32813" cy="89224"/>
              </a:xfrm>
              <a:custGeom>
                <a:avLst/>
                <a:gdLst/>
                <a:ahLst/>
                <a:cxnLst>
                  <a:cxn ang="0">
                    <a:pos x="21" y="57"/>
                  </a:cxn>
                  <a:cxn ang="0">
                    <a:pos x="10" y="57"/>
                  </a:cxn>
                  <a:cxn ang="0">
                    <a:pos x="10" y="10"/>
                  </a:cxn>
                  <a:cxn ang="0">
                    <a:pos x="0" y="10"/>
                  </a:cxn>
                  <a:cxn ang="0">
                    <a:pos x="4" y="0"/>
                  </a:cxn>
                  <a:cxn ang="0">
                    <a:pos x="21" y="0"/>
                  </a:cxn>
                  <a:cxn ang="0">
                    <a:pos x="21" y="57"/>
                  </a:cxn>
                </a:cxnLst>
                <a:rect l="0" t="0" r="r" b="b"/>
                <a:pathLst>
                  <a:path w="21" h="57">
                    <a:moveTo>
                      <a:pt x="21" y="57"/>
                    </a:moveTo>
                    <a:lnTo>
                      <a:pt x="10" y="57"/>
                    </a:lnTo>
                    <a:lnTo>
                      <a:pt x="10" y="10"/>
                    </a:lnTo>
                    <a:lnTo>
                      <a:pt x="0" y="10"/>
                    </a:lnTo>
                    <a:lnTo>
                      <a:pt x="4" y="0"/>
                    </a:lnTo>
                    <a:lnTo>
                      <a:pt x="21" y="0"/>
                    </a:lnTo>
                    <a:lnTo>
                      <a:pt x="21"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1" name="Freeform 161"/>
              <p:cNvSpPr>
                <a:spLocks/>
              </p:cNvSpPr>
              <p:nvPr/>
            </p:nvSpPr>
            <p:spPr bwMode="auto">
              <a:xfrm>
                <a:off x="2505915" y="3326629"/>
                <a:ext cx="32813" cy="89224"/>
              </a:xfrm>
              <a:custGeom>
                <a:avLst/>
                <a:gdLst/>
                <a:ahLst/>
                <a:cxnLst>
                  <a:cxn ang="0">
                    <a:pos x="21" y="57"/>
                  </a:cxn>
                  <a:cxn ang="0">
                    <a:pos x="11" y="57"/>
                  </a:cxn>
                  <a:cxn ang="0">
                    <a:pos x="11" y="10"/>
                  </a:cxn>
                  <a:cxn ang="0">
                    <a:pos x="0" y="10"/>
                  </a:cxn>
                  <a:cxn ang="0">
                    <a:pos x="4" y="0"/>
                  </a:cxn>
                  <a:cxn ang="0">
                    <a:pos x="21" y="0"/>
                  </a:cxn>
                  <a:cxn ang="0">
                    <a:pos x="21" y="57"/>
                  </a:cxn>
                </a:cxnLst>
                <a:rect l="0" t="0" r="r" b="b"/>
                <a:pathLst>
                  <a:path w="21" h="57">
                    <a:moveTo>
                      <a:pt x="21" y="57"/>
                    </a:moveTo>
                    <a:lnTo>
                      <a:pt x="11" y="57"/>
                    </a:lnTo>
                    <a:lnTo>
                      <a:pt x="11" y="10"/>
                    </a:lnTo>
                    <a:lnTo>
                      <a:pt x="0" y="10"/>
                    </a:lnTo>
                    <a:lnTo>
                      <a:pt x="4" y="0"/>
                    </a:lnTo>
                    <a:lnTo>
                      <a:pt x="21" y="0"/>
                    </a:lnTo>
                    <a:lnTo>
                      <a:pt x="21"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2" name="Freeform 162"/>
              <p:cNvSpPr>
                <a:spLocks/>
              </p:cNvSpPr>
              <p:nvPr/>
            </p:nvSpPr>
            <p:spPr bwMode="auto">
              <a:xfrm>
                <a:off x="2546541" y="3326629"/>
                <a:ext cx="32813" cy="89224"/>
              </a:xfrm>
              <a:custGeom>
                <a:avLst/>
                <a:gdLst/>
                <a:ahLst/>
                <a:cxnLst>
                  <a:cxn ang="0">
                    <a:pos x="21" y="57"/>
                  </a:cxn>
                  <a:cxn ang="0">
                    <a:pos x="11" y="57"/>
                  </a:cxn>
                  <a:cxn ang="0">
                    <a:pos x="11" y="10"/>
                  </a:cxn>
                  <a:cxn ang="0">
                    <a:pos x="0" y="10"/>
                  </a:cxn>
                  <a:cxn ang="0">
                    <a:pos x="5" y="0"/>
                  </a:cxn>
                  <a:cxn ang="0">
                    <a:pos x="21" y="0"/>
                  </a:cxn>
                  <a:cxn ang="0">
                    <a:pos x="21" y="57"/>
                  </a:cxn>
                </a:cxnLst>
                <a:rect l="0" t="0" r="r" b="b"/>
                <a:pathLst>
                  <a:path w="21" h="57">
                    <a:moveTo>
                      <a:pt x="21" y="57"/>
                    </a:moveTo>
                    <a:lnTo>
                      <a:pt x="11" y="57"/>
                    </a:lnTo>
                    <a:lnTo>
                      <a:pt x="11" y="10"/>
                    </a:lnTo>
                    <a:lnTo>
                      <a:pt x="0" y="10"/>
                    </a:lnTo>
                    <a:lnTo>
                      <a:pt x="5" y="0"/>
                    </a:lnTo>
                    <a:lnTo>
                      <a:pt x="21" y="0"/>
                    </a:lnTo>
                    <a:lnTo>
                      <a:pt x="21"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3" name="Freeform 163"/>
              <p:cNvSpPr>
                <a:spLocks/>
              </p:cNvSpPr>
              <p:nvPr/>
            </p:nvSpPr>
            <p:spPr bwMode="auto">
              <a:xfrm>
                <a:off x="2587167" y="3326629"/>
                <a:ext cx="34376" cy="89224"/>
              </a:xfrm>
              <a:custGeom>
                <a:avLst/>
                <a:gdLst/>
                <a:ahLst/>
                <a:cxnLst>
                  <a:cxn ang="0">
                    <a:pos x="22" y="57"/>
                  </a:cxn>
                  <a:cxn ang="0">
                    <a:pos x="11" y="57"/>
                  </a:cxn>
                  <a:cxn ang="0">
                    <a:pos x="11" y="10"/>
                  </a:cxn>
                  <a:cxn ang="0">
                    <a:pos x="0" y="10"/>
                  </a:cxn>
                  <a:cxn ang="0">
                    <a:pos x="5" y="0"/>
                  </a:cxn>
                  <a:cxn ang="0">
                    <a:pos x="22" y="0"/>
                  </a:cxn>
                  <a:cxn ang="0">
                    <a:pos x="22" y="57"/>
                  </a:cxn>
                </a:cxnLst>
                <a:rect l="0" t="0" r="r" b="b"/>
                <a:pathLst>
                  <a:path w="22" h="57">
                    <a:moveTo>
                      <a:pt x="22" y="57"/>
                    </a:moveTo>
                    <a:lnTo>
                      <a:pt x="11" y="57"/>
                    </a:lnTo>
                    <a:lnTo>
                      <a:pt x="11" y="10"/>
                    </a:lnTo>
                    <a:lnTo>
                      <a:pt x="0" y="10"/>
                    </a:lnTo>
                    <a:lnTo>
                      <a:pt x="5" y="0"/>
                    </a:lnTo>
                    <a:lnTo>
                      <a:pt x="22" y="0"/>
                    </a:lnTo>
                    <a:lnTo>
                      <a:pt x="22"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4" name="Freeform 164"/>
              <p:cNvSpPr>
                <a:spLocks noEditPoints="1"/>
              </p:cNvSpPr>
              <p:nvPr/>
            </p:nvSpPr>
            <p:spPr bwMode="auto">
              <a:xfrm>
                <a:off x="2635605" y="3326629"/>
                <a:ext cx="60938" cy="89224"/>
              </a:xfrm>
              <a:custGeom>
                <a:avLst/>
                <a:gdLst/>
                <a:ahLst/>
                <a:cxnLst>
                  <a:cxn ang="0">
                    <a:pos x="51" y="37"/>
                  </a:cxn>
                  <a:cxn ang="0">
                    <a:pos x="44" y="65"/>
                  </a:cxn>
                  <a:cxn ang="0">
                    <a:pos x="25" y="75"/>
                  </a:cxn>
                  <a:cxn ang="0">
                    <a:pos x="7" y="65"/>
                  </a:cxn>
                  <a:cxn ang="0">
                    <a:pos x="0" y="37"/>
                  </a:cxn>
                  <a:cxn ang="0">
                    <a:pos x="7" y="10"/>
                  </a:cxn>
                  <a:cxn ang="0">
                    <a:pos x="25" y="0"/>
                  </a:cxn>
                  <a:cxn ang="0">
                    <a:pos x="44" y="10"/>
                  </a:cxn>
                  <a:cxn ang="0">
                    <a:pos x="51" y="37"/>
                  </a:cxn>
                  <a:cxn ang="0">
                    <a:pos x="37" y="37"/>
                  </a:cxn>
                  <a:cxn ang="0">
                    <a:pos x="34" y="19"/>
                  </a:cxn>
                  <a:cxn ang="0">
                    <a:pos x="25" y="12"/>
                  </a:cxn>
                  <a:cxn ang="0">
                    <a:pos x="17" y="19"/>
                  </a:cxn>
                  <a:cxn ang="0">
                    <a:pos x="13" y="37"/>
                  </a:cxn>
                  <a:cxn ang="0">
                    <a:pos x="17" y="56"/>
                  </a:cxn>
                  <a:cxn ang="0">
                    <a:pos x="25" y="63"/>
                  </a:cxn>
                  <a:cxn ang="0">
                    <a:pos x="34" y="56"/>
                  </a:cxn>
                  <a:cxn ang="0">
                    <a:pos x="37" y="37"/>
                  </a:cxn>
                </a:cxnLst>
                <a:rect l="0" t="0" r="r" b="b"/>
                <a:pathLst>
                  <a:path w="51" h="75">
                    <a:moveTo>
                      <a:pt x="51" y="37"/>
                    </a:moveTo>
                    <a:cubicBezTo>
                      <a:pt x="51" y="49"/>
                      <a:pt x="49" y="58"/>
                      <a:pt x="44" y="65"/>
                    </a:cubicBezTo>
                    <a:cubicBezTo>
                      <a:pt x="39" y="72"/>
                      <a:pt x="33" y="75"/>
                      <a:pt x="25" y="75"/>
                    </a:cubicBezTo>
                    <a:cubicBezTo>
                      <a:pt x="17" y="75"/>
                      <a:pt x="11" y="72"/>
                      <a:pt x="7" y="65"/>
                    </a:cubicBezTo>
                    <a:cubicBezTo>
                      <a:pt x="2" y="58"/>
                      <a:pt x="0" y="49"/>
                      <a:pt x="0" y="37"/>
                    </a:cubicBezTo>
                    <a:cubicBezTo>
                      <a:pt x="0" y="26"/>
                      <a:pt x="2" y="17"/>
                      <a:pt x="7" y="10"/>
                    </a:cubicBezTo>
                    <a:cubicBezTo>
                      <a:pt x="11" y="3"/>
                      <a:pt x="18" y="0"/>
                      <a:pt x="25" y="0"/>
                    </a:cubicBezTo>
                    <a:cubicBezTo>
                      <a:pt x="33" y="0"/>
                      <a:pt x="39" y="3"/>
                      <a:pt x="44" y="10"/>
                    </a:cubicBezTo>
                    <a:cubicBezTo>
                      <a:pt x="49" y="17"/>
                      <a:pt x="51" y="26"/>
                      <a:pt x="51" y="37"/>
                    </a:cubicBezTo>
                    <a:close/>
                    <a:moveTo>
                      <a:pt x="37" y="37"/>
                    </a:moveTo>
                    <a:cubicBezTo>
                      <a:pt x="37" y="30"/>
                      <a:pt x="36" y="24"/>
                      <a:pt x="34" y="19"/>
                    </a:cubicBezTo>
                    <a:cubicBezTo>
                      <a:pt x="32" y="14"/>
                      <a:pt x="29" y="12"/>
                      <a:pt x="25" y="12"/>
                    </a:cubicBezTo>
                    <a:cubicBezTo>
                      <a:pt x="22" y="12"/>
                      <a:pt x="19" y="14"/>
                      <a:pt x="17" y="19"/>
                    </a:cubicBezTo>
                    <a:cubicBezTo>
                      <a:pt x="15" y="24"/>
                      <a:pt x="13" y="30"/>
                      <a:pt x="13" y="37"/>
                    </a:cubicBezTo>
                    <a:cubicBezTo>
                      <a:pt x="13" y="45"/>
                      <a:pt x="15" y="51"/>
                      <a:pt x="17" y="56"/>
                    </a:cubicBezTo>
                    <a:cubicBezTo>
                      <a:pt x="19" y="60"/>
                      <a:pt x="22" y="63"/>
                      <a:pt x="25" y="63"/>
                    </a:cubicBezTo>
                    <a:cubicBezTo>
                      <a:pt x="29" y="63"/>
                      <a:pt x="32" y="61"/>
                      <a:pt x="34" y="56"/>
                    </a:cubicBezTo>
                    <a:cubicBezTo>
                      <a:pt x="36" y="51"/>
                      <a:pt x="37" y="45"/>
                      <a:pt x="37"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5" name="Freeform 165"/>
              <p:cNvSpPr>
                <a:spLocks noEditPoints="1"/>
              </p:cNvSpPr>
              <p:nvPr/>
            </p:nvSpPr>
            <p:spPr bwMode="auto">
              <a:xfrm>
                <a:off x="2701231" y="3326629"/>
                <a:ext cx="62501" cy="89224"/>
              </a:xfrm>
              <a:custGeom>
                <a:avLst/>
                <a:gdLst/>
                <a:ahLst/>
                <a:cxnLst>
                  <a:cxn ang="0">
                    <a:pos x="52" y="37"/>
                  </a:cxn>
                  <a:cxn ang="0">
                    <a:pos x="45" y="65"/>
                  </a:cxn>
                  <a:cxn ang="0">
                    <a:pos x="26" y="75"/>
                  </a:cxn>
                  <a:cxn ang="0">
                    <a:pos x="7" y="65"/>
                  </a:cxn>
                  <a:cxn ang="0">
                    <a:pos x="0" y="37"/>
                  </a:cxn>
                  <a:cxn ang="0">
                    <a:pos x="7" y="10"/>
                  </a:cxn>
                  <a:cxn ang="0">
                    <a:pos x="26" y="0"/>
                  </a:cxn>
                  <a:cxn ang="0">
                    <a:pos x="45" y="10"/>
                  </a:cxn>
                  <a:cxn ang="0">
                    <a:pos x="52" y="37"/>
                  </a:cxn>
                  <a:cxn ang="0">
                    <a:pos x="38" y="37"/>
                  </a:cxn>
                  <a:cxn ang="0">
                    <a:pos x="35" y="19"/>
                  </a:cxn>
                  <a:cxn ang="0">
                    <a:pos x="26" y="12"/>
                  </a:cxn>
                  <a:cxn ang="0">
                    <a:pos x="17" y="19"/>
                  </a:cxn>
                  <a:cxn ang="0">
                    <a:pos x="14" y="37"/>
                  </a:cxn>
                  <a:cxn ang="0">
                    <a:pos x="17" y="56"/>
                  </a:cxn>
                  <a:cxn ang="0">
                    <a:pos x="26" y="63"/>
                  </a:cxn>
                  <a:cxn ang="0">
                    <a:pos x="35" y="56"/>
                  </a:cxn>
                  <a:cxn ang="0">
                    <a:pos x="38" y="37"/>
                  </a:cxn>
                </a:cxnLst>
                <a:rect l="0" t="0" r="r" b="b"/>
                <a:pathLst>
                  <a:path w="52" h="75">
                    <a:moveTo>
                      <a:pt x="52" y="37"/>
                    </a:moveTo>
                    <a:cubicBezTo>
                      <a:pt x="52" y="49"/>
                      <a:pt x="49" y="58"/>
                      <a:pt x="45" y="65"/>
                    </a:cubicBezTo>
                    <a:cubicBezTo>
                      <a:pt x="40" y="72"/>
                      <a:pt x="34" y="75"/>
                      <a:pt x="26" y="75"/>
                    </a:cubicBezTo>
                    <a:cubicBezTo>
                      <a:pt x="18" y="75"/>
                      <a:pt x="12" y="72"/>
                      <a:pt x="7" y="65"/>
                    </a:cubicBezTo>
                    <a:cubicBezTo>
                      <a:pt x="2" y="58"/>
                      <a:pt x="0" y="49"/>
                      <a:pt x="0" y="37"/>
                    </a:cubicBezTo>
                    <a:cubicBezTo>
                      <a:pt x="0" y="26"/>
                      <a:pt x="2" y="17"/>
                      <a:pt x="7" y="10"/>
                    </a:cubicBezTo>
                    <a:cubicBezTo>
                      <a:pt x="12" y="3"/>
                      <a:pt x="18" y="0"/>
                      <a:pt x="26" y="0"/>
                    </a:cubicBezTo>
                    <a:cubicBezTo>
                      <a:pt x="34" y="0"/>
                      <a:pt x="40" y="3"/>
                      <a:pt x="45" y="10"/>
                    </a:cubicBezTo>
                    <a:cubicBezTo>
                      <a:pt x="49" y="17"/>
                      <a:pt x="52" y="26"/>
                      <a:pt x="52" y="37"/>
                    </a:cubicBezTo>
                    <a:close/>
                    <a:moveTo>
                      <a:pt x="38" y="37"/>
                    </a:moveTo>
                    <a:cubicBezTo>
                      <a:pt x="38" y="30"/>
                      <a:pt x="37" y="24"/>
                      <a:pt x="35" y="19"/>
                    </a:cubicBezTo>
                    <a:cubicBezTo>
                      <a:pt x="32" y="14"/>
                      <a:pt x="29" y="12"/>
                      <a:pt x="26" y="12"/>
                    </a:cubicBezTo>
                    <a:cubicBezTo>
                      <a:pt x="22" y="12"/>
                      <a:pt x="19" y="14"/>
                      <a:pt x="17" y="19"/>
                    </a:cubicBezTo>
                    <a:cubicBezTo>
                      <a:pt x="15" y="24"/>
                      <a:pt x="14" y="30"/>
                      <a:pt x="14" y="37"/>
                    </a:cubicBezTo>
                    <a:cubicBezTo>
                      <a:pt x="14" y="45"/>
                      <a:pt x="15" y="51"/>
                      <a:pt x="17" y="56"/>
                    </a:cubicBezTo>
                    <a:cubicBezTo>
                      <a:pt x="19" y="60"/>
                      <a:pt x="22" y="63"/>
                      <a:pt x="26" y="63"/>
                    </a:cubicBezTo>
                    <a:cubicBezTo>
                      <a:pt x="29" y="63"/>
                      <a:pt x="32" y="61"/>
                      <a:pt x="35"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6" name="Freeform 166"/>
              <p:cNvSpPr>
                <a:spLocks/>
              </p:cNvSpPr>
              <p:nvPr/>
            </p:nvSpPr>
            <p:spPr bwMode="auto">
              <a:xfrm>
                <a:off x="2765294" y="3326629"/>
                <a:ext cx="32813" cy="89224"/>
              </a:xfrm>
              <a:custGeom>
                <a:avLst/>
                <a:gdLst/>
                <a:ahLst/>
                <a:cxnLst>
                  <a:cxn ang="0">
                    <a:pos x="21" y="57"/>
                  </a:cxn>
                  <a:cxn ang="0">
                    <a:pos x="11" y="57"/>
                  </a:cxn>
                  <a:cxn ang="0">
                    <a:pos x="11" y="10"/>
                  </a:cxn>
                  <a:cxn ang="0">
                    <a:pos x="0" y="10"/>
                  </a:cxn>
                  <a:cxn ang="0">
                    <a:pos x="5" y="0"/>
                  </a:cxn>
                  <a:cxn ang="0">
                    <a:pos x="21" y="0"/>
                  </a:cxn>
                  <a:cxn ang="0">
                    <a:pos x="21" y="57"/>
                  </a:cxn>
                </a:cxnLst>
                <a:rect l="0" t="0" r="r" b="b"/>
                <a:pathLst>
                  <a:path w="21" h="57">
                    <a:moveTo>
                      <a:pt x="21" y="57"/>
                    </a:moveTo>
                    <a:lnTo>
                      <a:pt x="11" y="57"/>
                    </a:lnTo>
                    <a:lnTo>
                      <a:pt x="11" y="10"/>
                    </a:lnTo>
                    <a:lnTo>
                      <a:pt x="0" y="10"/>
                    </a:lnTo>
                    <a:lnTo>
                      <a:pt x="5" y="0"/>
                    </a:lnTo>
                    <a:lnTo>
                      <a:pt x="21" y="0"/>
                    </a:lnTo>
                    <a:lnTo>
                      <a:pt x="21"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7" name="Freeform 167"/>
              <p:cNvSpPr>
                <a:spLocks/>
              </p:cNvSpPr>
              <p:nvPr/>
            </p:nvSpPr>
            <p:spPr bwMode="auto">
              <a:xfrm>
                <a:off x="2805920" y="3326629"/>
                <a:ext cx="32813" cy="89224"/>
              </a:xfrm>
              <a:custGeom>
                <a:avLst/>
                <a:gdLst/>
                <a:ahLst/>
                <a:cxnLst>
                  <a:cxn ang="0">
                    <a:pos x="21" y="57"/>
                  </a:cxn>
                  <a:cxn ang="0">
                    <a:pos x="10" y="57"/>
                  </a:cxn>
                  <a:cxn ang="0">
                    <a:pos x="10" y="10"/>
                  </a:cxn>
                  <a:cxn ang="0">
                    <a:pos x="0" y="10"/>
                  </a:cxn>
                  <a:cxn ang="0">
                    <a:pos x="5" y="0"/>
                  </a:cxn>
                  <a:cxn ang="0">
                    <a:pos x="21" y="0"/>
                  </a:cxn>
                  <a:cxn ang="0">
                    <a:pos x="21" y="57"/>
                  </a:cxn>
                </a:cxnLst>
                <a:rect l="0" t="0" r="r" b="b"/>
                <a:pathLst>
                  <a:path w="21" h="57">
                    <a:moveTo>
                      <a:pt x="21" y="57"/>
                    </a:moveTo>
                    <a:lnTo>
                      <a:pt x="10" y="57"/>
                    </a:lnTo>
                    <a:lnTo>
                      <a:pt x="10" y="10"/>
                    </a:lnTo>
                    <a:lnTo>
                      <a:pt x="0" y="10"/>
                    </a:lnTo>
                    <a:lnTo>
                      <a:pt x="5" y="0"/>
                    </a:lnTo>
                    <a:lnTo>
                      <a:pt x="21" y="0"/>
                    </a:lnTo>
                    <a:lnTo>
                      <a:pt x="21"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8" name="Freeform 168"/>
              <p:cNvSpPr>
                <a:spLocks noEditPoints="1"/>
              </p:cNvSpPr>
              <p:nvPr/>
            </p:nvSpPr>
            <p:spPr bwMode="auto">
              <a:xfrm>
                <a:off x="2852796" y="3326629"/>
                <a:ext cx="62501" cy="89224"/>
              </a:xfrm>
              <a:custGeom>
                <a:avLst/>
                <a:gdLst/>
                <a:ahLst/>
                <a:cxnLst>
                  <a:cxn ang="0">
                    <a:pos x="52" y="37"/>
                  </a:cxn>
                  <a:cxn ang="0">
                    <a:pos x="45" y="65"/>
                  </a:cxn>
                  <a:cxn ang="0">
                    <a:pos x="26" y="75"/>
                  </a:cxn>
                  <a:cxn ang="0">
                    <a:pos x="7" y="65"/>
                  </a:cxn>
                  <a:cxn ang="0">
                    <a:pos x="0" y="37"/>
                  </a:cxn>
                  <a:cxn ang="0">
                    <a:pos x="7" y="10"/>
                  </a:cxn>
                  <a:cxn ang="0">
                    <a:pos x="26" y="0"/>
                  </a:cxn>
                  <a:cxn ang="0">
                    <a:pos x="45" y="10"/>
                  </a:cxn>
                  <a:cxn ang="0">
                    <a:pos x="52" y="37"/>
                  </a:cxn>
                  <a:cxn ang="0">
                    <a:pos x="38" y="37"/>
                  </a:cxn>
                  <a:cxn ang="0">
                    <a:pos x="35" y="19"/>
                  </a:cxn>
                  <a:cxn ang="0">
                    <a:pos x="26" y="12"/>
                  </a:cxn>
                  <a:cxn ang="0">
                    <a:pos x="17" y="19"/>
                  </a:cxn>
                  <a:cxn ang="0">
                    <a:pos x="14" y="37"/>
                  </a:cxn>
                  <a:cxn ang="0">
                    <a:pos x="17" y="56"/>
                  </a:cxn>
                  <a:cxn ang="0">
                    <a:pos x="26" y="63"/>
                  </a:cxn>
                  <a:cxn ang="0">
                    <a:pos x="35" y="56"/>
                  </a:cxn>
                  <a:cxn ang="0">
                    <a:pos x="38" y="37"/>
                  </a:cxn>
                </a:cxnLst>
                <a:rect l="0" t="0" r="r" b="b"/>
                <a:pathLst>
                  <a:path w="52" h="75">
                    <a:moveTo>
                      <a:pt x="52" y="37"/>
                    </a:moveTo>
                    <a:cubicBezTo>
                      <a:pt x="52" y="49"/>
                      <a:pt x="50" y="58"/>
                      <a:pt x="45" y="65"/>
                    </a:cubicBezTo>
                    <a:cubicBezTo>
                      <a:pt x="40" y="72"/>
                      <a:pt x="34" y="75"/>
                      <a:pt x="26" y="75"/>
                    </a:cubicBezTo>
                    <a:cubicBezTo>
                      <a:pt x="18" y="75"/>
                      <a:pt x="12" y="72"/>
                      <a:pt x="7" y="65"/>
                    </a:cubicBezTo>
                    <a:cubicBezTo>
                      <a:pt x="3" y="58"/>
                      <a:pt x="0" y="49"/>
                      <a:pt x="0" y="37"/>
                    </a:cubicBezTo>
                    <a:cubicBezTo>
                      <a:pt x="0" y="26"/>
                      <a:pt x="3" y="17"/>
                      <a:pt x="7" y="10"/>
                    </a:cubicBezTo>
                    <a:cubicBezTo>
                      <a:pt x="12" y="3"/>
                      <a:pt x="18" y="0"/>
                      <a:pt x="26" y="0"/>
                    </a:cubicBezTo>
                    <a:cubicBezTo>
                      <a:pt x="34" y="0"/>
                      <a:pt x="40" y="3"/>
                      <a:pt x="45" y="10"/>
                    </a:cubicBezTo>
                    <a:cubicBezTo>
                      <a:pt x="50" y="17"/>
                      <a:pt x="52" y="26"/>
                      <a:pt x="52" y="37"/>
                    </a:cubicBezTo>
                    <a:close/>
                    <a:moveTo>
                      <a:pt x="38" y="37"/>
                    </a:moveTo>
                    <a:cubicBezTo>
                      <a:pt x="38" y="30"/>
                      <a:pt x="37" y="24"/>
                      <a:pt x="35" y="19"/>
                    </a:cubicBezTo>
                    <a:cubicBezTo>
                      <a:pt x="32" y="14"/>
                      <a:pt x="30" y="12"/>
                      <a:pt x="26" y="12"/>
                    </a:cubicBezTo>
                    <a:cubicBezTo>
                      <a:pt x="22" y="12"/>
                      <a:pt x="20" y="14"/>
                      <a:pt x="17" y="19"/>
                    </a:cubicBezTo>
                    <a:cubicBezTo>
                      <a:pt x="15" y="24"/>
                      <a:pt x="14" y="30"/>
                      <a:pt x="14" y="37"/>
                    </a:cubicBezTo>
                    <a:cubicBezTo>
                      <a:pt x="14" y="45"/>
                      <a:pt x="15" y="51"/>
                      <a:pt x="17" y="56"/>
                    </a:cubicBezTo>
                    <a:cubicBezTo>
                      <a:pt x="20" y="60"/>
                      <a:pt x="22" y="63"/>
                      <a:pt x="26" y="63"/>
                    </a:cubicBezTo>
                    <a:cubicBezTo>
                      <a:pt x="30" y="63"/>
                      <a:pt x="33" y="61"/>
                      <a:pt x="35"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9" name="Freeform 169"/>
              <p:cNvSpPr>
                <a:spLocks/>
              </p:cNvSpPr>
              <p:nvPr/>
            </p:nvSpPr>
            <p:spPr bwMode="auto">
              <a:xfrm>
                <a:off x="2916859" y="3326629"/>
                <a:ext cx="32813" cy="89224"/>
              </a:xfrm>
              <a:custGeom>
                <a:avLst/>
                <a:gdLst/>
                <a:ahLst/>
                <a:cxnLst>
                  <a:cxn ang="0">
                    <a:pos x="21" y="57"/>
                  </a:cxn>
                  <a:cxn ang="0">
                    <a:pos x="11" y="57"/>
                  </a:cxn>
                  <a:cxn ang="0">
                    <a:pos x="11" y="10"/>
                  </a:cxn>
                  <a:cxn ang="0">
                    <a:pos x="0" y="10"/>
                  </a:cxn>
                  <a:cxn ang="0">
                    <a:pos x="4" y="0"/>
                  </a:cxn>
                  <a:cxn ang="0">
                    <a:pos x="21" y="0"/>
                  </a:cxn>
                  <a:cxn ang="0">
                    <a:pos x="21" y="57"/>
                  </a:cxn>
                </a:cxnLst>
                <a:rect l="0" t="0" r="r" b="b"/>
                <a:pathLst>
                  <a:path w="21" h="57">
                    <a:moveTo>
                      <a:pt x="21" y="57"/>
                    </a:moveTo>
                    <a:lnTo>
                      <a:pt x="11" y="57"/>
                    </a:lnTo>
                    <a:lnTo>
                      <a:pt x="11" y="10"/>
                    </a:lnTo>
                    <a:lnTo>
                      <a:pt x="0" y="10"/>
                    </a:lnTo>
                    <a:lnTo>
                      <a:pt x="4" y="0"/>
                    </a:lnTo>
                    <a:lnTo>
                      <a:pt x="21" y="0"/>
                    </a:lnTo>
                    <a:lnTo>
                      <a:pt x="21"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0" name="Freeform 170"/>
              <p:cNvSpPr>
                <a:spLocks noEditPoints="1"/>
              </p:cNvSpPr>
              <p:nvPr/>
            </p:nvSpPr>
            <p:spPr bwMode="auto">
              <a:xfrm>
                <a:off x="2963735" y="3326629"/>
                <a:ext cx="62501" cy="89224"/>
              </a:xfrm>
              <a:custGeom>
                <a:avLst/>
                <a:gdLst/>
                <a:ahLst/>
                <a:cxnLst>
                  <a:cxn ang="0">
                    <a:pos x="52" y="37"/>
                  </a:cxn>
                  <a:cxn ang="0">
                    <a:pos x="45" y="65"/>
                  </a:cxn>
                  <a:cxn ang="0">
                    <a:pos x="26" y="75"/>
                  </a:cxn>
                  <a:cxn ang="0">
                    <a:pos x="7" y="65"/>
                  </a:cxn>
                  <a:cxn ang="0">
                    <a:pos x="0" y="37"/>
                  </a:cxn>
                  <a:cxn ang="0">
                    <a:pos x="7" y="10"/>
                  </a:cxn>
                  <a:cxn ang="0">
                    <a:pos x="26" y="0"/>
                  </a:cxn>
                  <a:cxn ang="0">
                    <a:pos x="45" y="10"/>
                  </a:cxn>
                  <a:cxn ang="0">
                    <a:pos x="52" y="37"/>
                  </a:cxn>
                  <a:cxn ang="0">
                    <a:pos x="38" y="37"/>
                  </a:cxn>
                  <a:cxn ang="0">
                    <a:pos x="35" y="19"/>
                  </a:cxn>
                  <a:cxn ang="0">
                    <a:pos x="26" y="12"/>
                  </a:cxn>
                  <a:cxn ang="0">
                    <a:pos x="18" y="19"/>
                  </a:cxn>
                  <a:cxn ang="0">
                    <a:pos x="14" y="37"/>
                  </a:cxn>
                  <a:cxn ang="0">
                    <a:pos x="18" y="56"/>
                  </a:cxn>
                  <a:cxn ang="0">
                    <a:pos x="26" y="63"/>
                  </a:cxn>
                  <a:cxn ang="0">
                    <a:pos x="35" y="56"/>
                  </a:cxn>
                  <a:cxn ang="0">
                    <a:pos x="38" y="37"/>
                  </a:cxn>
                </a:cxnLst>
                <a:rect l="0" t="0" r="r" b="b"/>
                <a:pathLst>
                  <a:path w="52" h="75">
                    <a:moveTo>
                      <a:pt x="52" y="37"/>
                    </a:moveTo>
                    <a:cubicBezTo>
                      <a:pt x="52" y="49"/>
                      <a:pt x="50" y="58"/>
                      <a:pt x="45" y="65"/>
                    </a:cubicBezTo>
                    <a:cubicBezTo>
                      <a:pt x="40" y="72"/>
                      <a:pt x="34" y="75"/>
                      <a:pt x="26" y="75"/>
                    </a:cubicBezTo>
                    <a:cubicBezTo>
                      <a:pt x="18" y="75"/>
                      <a:pt x="12" y="72"/>
                      <a:pt x="7" y="65"/>
                    </a:cubicBezTo>
                    <a:cubicBezTo>
                      <a:pt x="3" y="58"/>
                      <a:pt x="0" y="49"/>
                      <a:pt x="0" y="37"/>
                    </a:cubicBezTo>
                    <a:cubicBezTo>
                      <a:pt x="0" y="26"/>
                      <a:pt x="3" y="17"/>
                      <a:pt x="7" y="10"/>
                    </a:cubicBezTo>
                    <a:cubicBezTo>
                      <a:pt x="12" y="3"/>
                      <a:pt x="18" y="0"/>
                      <a:pt x="26" y="0"/>
                    </a:cubicBezTo>
                    <a:cubicBezTo>
                      <a:pt x="34" y="0"/>
                      <a:pt x="40" y="3"/>
                      <a:pt x="45" y="10"/>
                    </a:cubicBezTo>
                    <a:cubicBezTo>
                      <a:pt x="50" y="17"/>
                      <a:pt x="52" y="26"/>
                      <a:pt x="52" y="37"/>
                    </a:cubicBezTo>
                    <a:close/>
                    <a:moveTo>
                      <a:pt x="38" y="37"/>
                    </a:moveTo>
                    <a:cubicBezTo>
                      <a:pt x="38" y="30"/>
                      <a:pt x="37" y="24"/>
                      <a:pt x="35" y="19"/>
                    </a:cubicBezTo>
                    <a:cubicBezTo>
                      <a:pt x="33" y="14"/>
                      <a:pt x="30" y="12"/>
                      <a:pt x="26" y="12"/>
                    </a:cubicBezTo>
                    <a:cubicBezTo>
                      <a:pt x="23" y="12"/>
                      <a:pt x="20" y="14"/>
                      <a:pt x="18" y="19"/>
                    </a:cubicBezTo>
                    <a:cubicBezTo>
                      <a:pt x="15" y="24"/>
                      <a:pt x="14" y="30"/>
                      <a:pt x="14" y="37"/>
                    </a:cubicBezTo>
                    <a:cubicBezTo>
                      <a:pt x="14" y="45"/>
                      <a:pt x="15" y="51"/>
                      <a:pt x="18" y="56"/>
                    </a:cubicBezTo>
                    <a:cubicBezTo>
                      <a:pt x="20" y="60"/>
                      <a:pt x="23" y="63"/>
                      <a:pt x="26" y="63"/>
                    </a:cubicBezTo>
                    <a:cubicBezTo>
                      <a:pt x="30" y="63"/>
                      <a:pt x="33" y="61"/>
                      <a:pt x="35"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1" name="Freeform 171"/>
              <p:cNvSpPr>
                <a:spLocks/>
              </p:cNvSpPr>
              <p:nvPr/>
            </p:nvSpPr>
            <p:spPr bwMode="auto">
              <a:xfrm>
                <a:off x="3027799" y="3326629"/>
                <a:ext cx="32813" cy="89224"/>
              </a:xfrm>
              <a:custGeom>
                <a:avLst/>
                <a:gdLst/>
                <a:ahLst/>
                <a:cxnLst>
                  <a:cxn ang="0">
                    <a:pos x="21" y="57"/>
                  </a:cxn>
                  <a:cxn ang="0">
                    <a:pos x="10" y="57"/>
                  </a:cxn>
                  <a:cxn ang="0">
                    <a:pos x="10" y="10"/>
                  </a:cxn>
                  <a:cxn ang="0">
                    <a:pos x="0" y="10"/>
                  </a:cxn>
                  <a:cxn ang="0">
                    <a:pos x="4" y="0"/>
                  </a:cxn>
                  <a:cxn ang="0">
                    <a:pos x="21" y="0"/>
                  </a:cxn>
                  <a:cxn ang="0">
                    <a:pos x="21" y="57"/>
                  </a:cxn>
                </a:cxnLst>
                <a:rect l="0" t="0" r="r" b="b"/>
                <a:pathLst>
                  <a:path w="21" h="57">
                    <a:moveTo>
                      <a:pt x="21" y="57"/>
                    </a:moveTo>
                    <a:lnTo>
                      <a:pt x="10" y="57"/>
                    </a:lnTo>
                    <a:lnTo>
                      <a:pt x="10" y="10"/>
                    </a:lnTo>
                    <a:lnTo>
                      <a:pt x="0" y="10"/>
                    </a:lnTo>
                    <a:lnTo>
                      <a:pt x="4" y="0"/>
                    </a:lnTo>
                    <a:lnTo>
                      <a:pt x="21" y="0"/>
                    </a:lnTo>
                    <a:lnTo>
                      <a:pt x="21"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2" name="Freeform 172"/>
              <p:cNvSpPr>
                <a:spLocks noEditPoints="1"/>
              </p:cNvSpPr>
              <p:nvPr/>
            </p:nvSpPr>
            <p:spPr bwMode="auto">
              <a:xfrm>
                <a:off x="3074674" y="3326629"/>
                <a:ext cx="62501" cy="89224"/>
              </a:xfrm>
              <a:custGeom>
                <a:avLst/>
                <a:gdLst/>
                <a:ahLst/>
                <a:cxnLst>
                  <a:cxn ang="0">
                    <a:pos x="51" y="37"/>
                  </a:cxn>
                  <a:cxn ang="0">
                    <a:pos x="44" y="65"/>
                  </a:cxn>
                  <a:cxn ang="0">
                    <a:pos x="25" y="75"/>
                  </a:cxn>
                  <a:cxn ang="0">
                    <a:pos x="7" y="65"/>
                  </a:cxn>
                  <a:cxn ang="0">
                    <a:pos x="0" y="37"/>
                  </a:cxn>
                  <a:cxn ang="0">
                    <a:pos x="7" y="10"/>
                  </a:cxn>
                  <a:cxn ang="0">
                    <a:pos x="25" y="0"/>
                  </a:cxn>
                  <a:cxn ang="0">
                    <a:pos x="44" y="10"/>
                  </a:cxn>
                  <a:cxn ang="0">
                    <a:pos x="51" y="37"/>
                  </a:cxn>
                  <a:cxn ang="0">
                    <a:pos x="38" y="37"/>
                  </a:cxn>
                  <a:cxn ang="0">
                    <a:pos x="34" y="19"/>
                  </a:cxn>
                  <a:cxn ang="0">
                    <a:pos x="25" y="12"/>
                  </a:cxn>
                  <a:cxn ang="0">
                    <a:pos x="17" y="19"/>
                  </a:cxn>
                  <a:cxn ang="0">
                    <a:pos x="14" y="37"/>
                  </a:cxn>
                  <a:cxn ang="0">
                    <a:pos x="17" y="56"/>
                  </a:cxn>
                  <a:cxn ang="0">
                    <a:pos x="25" y="63"/>
                  </a:cxn>
                  <a:cxn ang="0">
                    <a:pos x="34" y="56"/>
                  </a:cxn>
                  <a:cxn ang="0">
                    <a:pos x="38" y="37"/>
                  </a:cxn>
                </a:cxnLst>
                <a:rect l="0" t="0" r="r" b="b"/>
                <a:pathLst>
                  <a:path w="51" h="75">
                    <a:moveTo>
                      <a:pt x="51" y="37"/>
                    </a:moveTo>
                    <a:cubicBezTo>
                      <a:pt x="51" y="49"/>
                      <a:pt x="49" y="58"/>
                      <a:pt x="44" y="65"/>
                    </a:cubicBezTo>
                    <a:cubicBezTo>
                      <a:pt x="40" y="72"/>
                      <a:pt x="33" y="75"/>
                      <a:pt x="25" y="75"/>
                    </a:cubicBezTo>
                    <a:cubicBezTo>
                      <a:pt x="18" y="75"/>
                      <a:pt x="11" y="72"/>
                      <a:pt x="7" y="65"/>
                    </a:cubicBezTo>
                    <a:cubicBezTo>
                      <a:pt x="2" y="58"/>
                      <a:pt x="0" y="49"/>
                      <a:pt x="0" y="37"/>
                    </a:cubicBezTo>
                    <a:cubicBezTo>
                      <a:pt x="0" y="26"/>
                      <a:pt x="2" y="17"/>
                      <a:pt x="7" y="10"/>
                    </a:cubicBezTo>
                    <a:cubicBezTo>
                      <a:pt x="11" y="3"/>
                      <a:pt x="18" y="0"/>
                      <a:pt x="25" y="0"/>
                    </a:cubicBezTo>
                    <a:cubicBezTo>
                      <a:pt x="33" y="0"/>
                      <a:pt x="40" y="3"/>
                      <a:pt x="44" y="10"/>
                    </a:cubicBezTo>
                    <a:cubicBezTo>
                      <a:pt x="49" y="17"/>
                      <a:pt x="51" y="26"/>
                      <a:pt x="51" y="37"/>
                    </a:cubicBezTo>
                    <a:close/>
                    <a:moveTo>
                      <a:pt x="38" y="37"/>
                    </a:moveTo>
                    <a:cubicBezTo>
                      <a:pt x="38" y="30"/>
                      <a:pt x="36" y="24"/>
                      <a:pt x="34" y="19"/>
                    </a:cubicBezTo>
                    <a:cubicBezTo>
                      <a:pt x="32" y="14"/>
                      <a:pt x="29" y="12"/>
                      <a:pt x="25" y="12"/>
                    </a:cubicBezTo>
                    <a:cubicBezTo>
                      <a:pt x="22" y="12"/>
                      <a:pt x="19" y="14"/>
                      <a:pt x="17" y="19"/>
                    </a:cubicBezTo>
                    <a:cubicBezTo>
                      <a:pt x="15" y="24"/>
                      <a:pt x="14" y="30"/>
                      <a:pt x="14" y="37"/>
                    </a:cubicBezTo>
                    <a:cubicBezTo>
                      <a:pt x="14" y="45"/>
                      <a:pt x="15" y="51"/>
                      <a:pt x="17" y="56"/>
                    </a:cubicBezTo>
                    <a:cubicBezTo>
                      <a:pt x="19" y="60"/>
                      <a:pt x="22" y="63"/>
                      <a:pt x="25" y="63"/>
                    </a:cubicBezTo>
                    <a:cubicBezTo>
                      <a:pt x="29" y="63"/>
                      <a:pt x="32" y="61"/>
                      <a:pt x="34" y="56"/>
                    </a:cubicBezTo>
                    <a:cubicBezTo>
                      <a:pt x="36"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3" name="Freeform 183"/>
              <p:cNvSpPr>
                <a:spLocks/>
              </p:cNvSpPr>
              <p:nvPr/>
            </p:nvSpPr>
            <p:spPr bwMode="auto">
              <a:xfrm>
                <a:off x="2354350" y="3465945"/>
                <a:ext cx="32813" cy="87659"/>
              </a:xfrm>
              <a:custGeom>
                <a:avLst/>
                <a:gdLst/>
                <a:ahLst/>
                <a:cxnLst>
                  <a:cxn ang="0">
                    <a:pos x="21" y="56"/>
                  </a:cxn>
                  <a:cxn ang="0">
                    <a:pos x="11" y="56"/>
                  </a:cxn>
                  <a:cxn ang="0">
                    <a:pos x="11" y="10"/>
                  </a:cxn>
                  <a:cxn ang="0">
                    <a:pos x="0" y="10"/>
                  </a:cxn>
                  <a:cxn ang="0">
                    <a:pos x="4" y="0"/>
                  </a:cxn>
                  <a:cxn ang="0">
                    <a:pos x="21" y="0"/>
                  </a:cxn>
                  <a:cxn ang="0">
                    <a:pos x="21" y="56"/>
                  </a:cxn>
                </a:cxnLst>
                <a:rect l="0" t="0" r="r" b="b"/>
                <a:pathLst>
                  <a:path w="21" h="56">
                    <a:moveTo>
                      <a:pt x="21" y="56"/>
                    </a:moveTo>
                    <a:lnTo>
                      <a:pt x="11" y="56"/>
                    </a:lnTo>
                    <a:lnTo>
                      <a:pt x="11"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4" name="Freeform 184"/>
              <p:cNvSpPr>
                <a:spLocks/>
              </p:cNvSpPr>
              <p:nvPr/>
            </p:nvSpPr>
            <p:spPr bwMode="auto">
              <a:xfrm>
                <a:off x="2394976" y="3465945"/>
                <a:ext cx="34376" cy="87659"/>
              </a:xfrm>
              <a:custGeom>
                <a:avLst/>
                <a:gdLst/>
                <a:ahLst/>
                <a:cxnLst>
                  <a:cxn ang="0">
                    <a:pos x="22" y="56"/>
                  </a:cxn>
                  <a:cxn ang="0">
                    <a:pos x="11" y="56"/>
                  </a:cxn>
                  <a:cxn ang="0">
                    <a:pos x="11" y="10"/>
                  </a:cxn>
                  <a:cxn ang="0">
                    <a:pos x="0" y="10"/>
                  </a:cxn>
                  <a:cxn ang="0">
                    <a:pos x="5" y="0"/>
                  </a:cxn>
                  <a:cxn ang="0">
                    <a:pos x="22" y="0"/>
                  </a:cxn>
                  <a:cxn ang="0">
                    <a:pos x="22" y="56"/>
                  </a:cxn>
                </a:cxnLst>
                <a:rect l="0" t="0" r="r" b="b"/>
                <a:pathLst>
                  <a:path w="22" h="56">
                    <a:moveTo>
                      <a:pt x="22" y="56"/>
                    </a:moveTo>
                    <a:lnTo>
                      <a:pt x="11" y="56"/>
                    </a:lnTo>
                    <a:lnTo>
                      <a:pt x="11" y="10"/>
                    </a:lnTo>
                    <a:lnTo>
                      <a:pt x="0" y="10"/>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5" name="Freeform 185"/>
              <p:cNvSpPr>
                <a:spLocks noEditPoints="1"/>
              </p:cNvSpPr>
              <p:nvPr/>
            </p:nvSpPr>
            <p:spPr bwMode="auto">
              <a:xfrm>
                <a:off x="2443414" y="3464379"/>
                <a:ext cx="60938" cy="90790"/>
              </a:xfrm>
              <a:custGeom>
                <a:avLst/>
                <a:gdLst/>
                <a:ahLst/>
                <a:cxnLst>
                  <a:cxn ang="0">
                    <a:pos x="51" y="38"/>
                  </a:cxn>
                  <a:cxn ang="0">
                    <a:pos x="44" y="65"/>
                  </a:cxn>
                  <a:cxn ang="0">
                    <a:pos x="25" y="75"/>
                  </a:cxn>
                  <a:cxn ang="0">
                    <a:pos x="7" y="65"/>
                  </a:cxn>
                  <a:cxn ang="0">
                    <a:pos x="0" y="38"/>
                  </a:cxn>
                  <a:cxn ang="0">
                    <a:pos x="7" y="10"/>
                  </a:cxn>
                  <a:cxn ang="0">
                    <a:pos x="25" y="0"/>
                  </a:cxn>
                  <a:cxn ang="0">
                    <a:pos x="44" y="10"/>
                  </a:cxn>
                  <a:cxn ang="0">
                    <a:pos x="51" y="38"/>
                  </a:cxn>
                  <a:cxn ang="0">
                    <a:pos x="37" y="37"/>
                  </a:cxn>
                  <a:cxn ang="0">
                    <a:pos x="34" y="19"/>
                  </a:cxn>
                  <a:cxn ang="0">
                    <a:pos x="25" y="12"/>
                  </a:cxn>
                  <a:cxn ang="0">
                    <a:pos x="17" y="19"/>
                  </a:cxn>
                  <a:cxn ang="0">
                    <a:pos x="13" y="38"/>
                  </a:cxn>
                  <a:cxn ang="0">
                    <a:pos x="17" y="56"/>
                  </a:cxn>
                  <a:cxn ang="0">
                    <a:pos x="25" y="63"/>
                  </a:cxn>
                  <a:cxn ang="0">
                    <a:pos x="34" y="56"/>
                  </a:cxn>
                  <a:cxn ang="0">
                    <a:pos x="37" y="37"/>
                  </a:cxn>
                </a:cxnLst>
                <a:rect l="0" t="0" r="r" b="b"/>
                <a:pathLst>
                  <a:path w="51" h="75">
                    <a:moveTo>
                      <a:pt x="51" y="38"/>
                    </a:moveTo>
                    <a:cubicBezTo>
                      <a:pt x="51" y="49"/>
                      <a:pt x="49" y="58"/>
                      <a:pt x="44" y="65"/>
                    </a:cubicBezTo>
                    <a:cubicBezTo>
                      <a:pt x="39" y="72"/>
                      <a:pt x="33" y="75"/>
                      <a:pt x="25" y="75"/>
                    </a:cubicBezTo>
                    <a:cubicBezTo>
                      <a:pt x="17" y="75"/>
                      <a:pt x="11" y="72"/>
                      <a:pt x="7" y="65"/>
                    </a:cubicBezTo>
                    <a:cubicBezTo>
                      <a:pt x="2" y="58"/>
                      <a:pt x="0" y="49"/>
                      <a:pt x="0" y="38"/>
                    </a:cubicBezTo>
                    <a:cubicBezTo>
                      <a:pt x="0" y="26"/>
                      <a:pt x="2" y="17"/>
                      <a:pt x="7" y="10"/>
                    </a:cubicBezTo>
                    <a:cubicBezTo>
                      <a:pt x="11" y="3"/>
                      <a:pt x="17" y="0"/>
                      <a:pt x="25" y="0"/>
                    </a:cubicBezTo>
                    <a:cubicBezTo>
                      <a:pt x="33" y="0"/>
                      <a:pt x="39" y="3"/>
                      <a:pt x="44" y="10"/>
                    </a:cubicBezTo>
                    <a:cubicBezTo>
                      <a:pt x="49" y="17"/>
                      <a:pt x="51" y="26"/>
                      <a:pt x="51" y="38"/>
                    </a:cubicBezTo>
                    <a:close/>
                    <a:moveTo>
                      <a:pt x="37" y="37"/>
                    </a:moveTo>
                    <a:cubicBezTo>
                      <a:pt x="37" y="30"/>
                      <a:pt x="36" y="24"/>
                      <a:pt x="34" y="19"/>
                    </a:cubicBezTo>
                    <a:cubicBezTo>
                      <a:pt x="32" y="14"/>
                      <a:pt x="29" y="12"/>
                      <a:pt x="25" y="12"/>
                    </a:cubicBezTo>
                    <a:cubicBezTo>
                      <a:pt x="22" y="12"/>
                      <a:pt x="19" y="15"/>
                      <a:pt x="17" y="19"/>
                    </a:cubicBezTo>
                    <a:cubicBezTo>
                      <a:pt x="14" y="24"/>
                      <a:pt x="13" y="30"/>
                      <a:pt x="13" y="38"/>
                    </a:cubicBezTo>
                    <a:cubicBezTo>
                      <a:pt x="13" y="45"/>
                      <a:pt x="14" y="51"/>
                      <a:pt x="17" y="56"/>
                    </a:cubicBezTo>
                    <a:cubicBezTo>
                      <a:pt x="19" y="61"/>
                      <a:pt x="22" y="63"/>
                      <a:pt x="25" y="63"/>
                    </a:cubicBezTo>
                    <a:cubicBezTo>
                      <a:pt x="29" y="63"/>
                      <a:pt x="32" y="61"/>
                      <a:pt x="34" y="56"/>
                    </a:cubicBezTo>
                    <a:cubicBezTo>
                      <a:pt x="36" y="51"/>
                      <a:pt x="37" y="45"/>
                      <a:pt x="37"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6" name="Freeform 186"/>
              <p:cNvSpPr>
                <a:spLocks noEditPoints="1"/>
              </p:cNvSpPr>
              <p:nvPr/>
            </p:nvSpPr>
            <p:spPr bwMode="auto">
              <a:xfrm>
                <a:off x="2509040" y="3464379"/>
                <a:ext cx="62501" cy="90790"/>
              </a:xfrm>
              <a:custGeom>
                <a:avLst/>
                <a:gdLst/>
                <a:ahLst/>
                <a:cxnLst>
                  <a:cxn ang="0">
                    <a:pos x="52" y="38"/>
                  </a:cxn>
                  <a:cxn ang="0">
                    <a:pos x="45" y="65"/>
                  </a:cxn>
                  <a:cxn ang="0">
                    <a:pos x="26" y="75"/>
                  </a:cxn>
                  <a:cxn ang="0">
                    <a:pos x="7" y="65"/>
                  </a:cxn>
                  <a:cxn ang="0">
                    <a:pos x="0" y="38"/>
                  </a:cxn>
                  <a:cxn ang="0">
                    <a:pos x="7" y="10"/>
                  </a:cxn>
                  <a:cxn ang="0">
                    <a:pos x="26" y="0"/>
                  </a:cxn>
                  <a:cxn ang="0">
                    <a:pos x="45" y="10"/>
                  </a:cxn>
                  <a:cxn ang="0">
                    <a:pos x="52" y="38"/>
                  </a:cxn>
                  <a:cxn ang="0">
                    <a:pos x="38" y="37"/>
                  </a:cxn>
                  <a:cxn ang="0">
                    <a:pos x="35" y="19"/>
                  </a:cxn>
                  <a:cxn ang="0">
                    <a:pos x="26" y="12"/>
                  </a:cxn>
                  <a:cxn ang="0">
                    <a:pos x="17" y="19"/>
                  </a:cxn>
                  <a:cxn ang="0">
                    <a:pos x="14" y="38"/>
                  </a:cxn>
                  <a:cxn ang="0">
                    <a:pos x="17" y="56"/>
                  </a:cxn>
                  <a:cxn ang="0">
                    <a:pos x="26" y="63"/>
                  </a:cxn>
                  <a:cxn ang="0">
                    <a:pos x="35" y="56"/>
                  </a:cxn>
                  <a:cxn ang="0">
                    <a:pos x="38" y="37"/>
                  </a:cxn>
                </a:cxnLst>
                <a:rect l="0" t="0" r="r" b="b"/>
                <a:pathLst>
                  <a:path w="52" h="75">
                    <a:moveTo>
                      <a:pt x="52" y="38"/>
                    </a:moveTo>
                    <a:cubicBezTo>
                      <a:pt x="52" y="49"/>
                      <a:pt x="49" y="58"/>
                      <a:pt x="45" y="65"/>
                    </a:cubicBezTo>
                    <a:cubicBezTo>
                      <a:pt x="40" y="72"/>
                      <a:pt x="34" y="75"/>
                      <a:pt x="26" y="75"/>
                    </a:cubicBezTo>
                    <a:cubicBezTo>
                      <a:pt x="18" y="75"/>
                      <a:pt x="12" y="72"/>
                      <a:pt x="7" y="65"/>
                    </a:cubicBezTo>
                    <a:cubicBezTo>
                      <a:pt x="2" y="58"/>
                      <a:pt x="0" y="49"/>
                      <a:pt x="0" y="38"/>
                    </a:cubicBezTo>
                    <a:cubicBezTo>
                      <a:pt x="0" y="26"/>
                      <a:pt x="2" y="17"/>
                      <a:pt x="7" y="10"/>
                    </a:cubicBezTo>
                    <a:cubicBezTo>
                      <a:pt x="12" y="3"/>
                      <a:pt x="18" y="0"/>
                      <a:pt x="26" y="0"/>
                    </a:cubicBezTo>
                    <a:cubicBezTo>
                      <a:pt x="34" y="0"/>
                      <a:pt x="40" y="3"/>
                      <a:pt x="45" y="10"/>
                    </a:cubicBezTo>
                    <a:cubicBezTo>
                      <a:pt x="49" y="17"/>
                      <a:pt x="52" y="26"/>
                      <a:pt x="52" y="38"/>
                    </a:cubicBezTo>
                    <a:close/>
                    <a:moveTo>
                      <a:pt x="38" y="37"/>
                    </a:moveTo>
                    <a:cubicBezTo>
                      <a:pt x="38" y="30"/>
                      <a:pt x="37" y="24"/>
                      <a:pt x="35" y="19"/>
                    </a:cubicBezTo>
                    <a:cubicBezTo>
                      <a:pt x="32" y="14"/>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5"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7" name="Freeform 187"/>
              <p:cNvSpPr>
                <a:spLocks/>
              </p:cNvSpPr>
              <p:nvPr/>
            </p:nvSpPr>
            <p:spPr bwMode="auto">
              <a:xfrm>
                <a:off x="2573104" y="3465945"/>
                <a:ext cx="32813" cy="87659"/>
              </a:xfrm>
              <a:custGeom>
                <a:avLst/>
                <a:gdLst/>
                <a:ahLst/>
                <a:cxnLst>
                  <a:cxn ang="0">
                    <a:pos x="21" y="56"/>
                  </a:cxn>
                  <a:cxn ang="0">
                    <a:pos x="11" y="56"/>
                  </a:cxn>
                  <a:cxn ang="0">
                    <a:pos x="11" y="10"/>
                  </a:cxn>
                  <a:cxn ang="0">
                    <a:pos x="0" y="10"/>
                  </a:cxn>
                  <a:cxn ang="0">
                    <a:pos x="4" y="0"/>
                  </a:cxn>
                  <a:cxn ang="0">
                    <a:pos x="21" y="0"/>
                  </a:cxn>
                  <a:cxn ang="0">
                    <a:pos x="21" y="56"/>
                  </a:cxn>
                </a:cxnLst>
                <a:rect l="0" t="0" r="r" b="b"/>
                <a:pathLst>
                  <a:path w="21" h="56">
                    <a:moveTo>
                      <a:pt x="21" y="56"/>
                    </a:moveTo>
                    <a:lnTo>
                      <a:pt x="11" y="56"/>
                    </a:lnTo>
                    <a:lnTo>
                      <a:pt x="11"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8" name="Freeform 188"/>
              <p:cNvSpPr>
                <a:spLocks/>
              </p:cNvSpPr>
              <p:nvPr/>
            </p:nvSpPr>
            <p:spPr bwMode="auto">
              <a:xfrm>
                <a:off x="2613729" y="3465945"/>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9" name="Freeform 189"/>
              <p:cNvSpPr>
                <a:spLocks/>
              </p:cNvSpPr>
              <p:nvPr/>
            </p:nvSpPr>
            <p:spPr bwMode="auto">
              <a:xfrm>
                <a:off x="2654355" y="3465945"/>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0" name="Freeform 190"/>
              <p:cNvSpPr>
                <a:spLocks noEditPoints="1"/>
              </p:cNvSpPr>
              <p:nvPr/>
            </p:nvSpPr>
            <p:spPr bwMode="auto">
              <a:xfrm>
                <a:off x="2701231" y="3464379"/>
                <a:ext cx="62501" cy="90790"/>
              </a:xfrm>
              <a:custGeom>
                <a:avLst/>
                <a:gdLst/>
                <a:ahLst/>
                <a:cxnLst>
                  <a:cxn ang="0">
                    <a:pos x="52" y="38"/>
                  </a:cxn>
                  <a:cxn ang="0">
                    <a:pos x="45" y="65"/>
                  </a:cxn>
                  <a:cxn ang="0">
                    <a:pos x="26" y="75"/>
                  </a:cxn>
                  <a:cxn ang="0">
                    <a:pos x="7" y="65"/>
                  </a:cxn>
                  <a:cxn ang="0">
                    <a:pos x="0" y="38"/>
                  </a:cxn>
                  <a:cxn ang="0">
                    <a:pos x="7" y="10"/>
                  </a:cxn>
                  <a:cxn ang="0">
                    <a:pos x="26" y="0"/>
                  </a:cxn>
                  <a:cxn ang="0">
                    <a:pos x="45" y="10"/>
                  </a:cxn>
                  <a:cxn ang="0">
                    <a:pos x="52" y="38"/>
                  </a:cxn>
                  <a:cxn ang="0">
                    <a:pos x="38" y="37"/>
                  </a:cxn>
                  <a:cxn ang="0">
                    <a:pos x="35" y="19"/>
                  </a:cxn>
                  <a:cxn ang="0">
                    <a:pos x="26" y="12"/>
                  </a:cxn>
                  <a:cxn ang="0">
                    <a:pos x="17" y="19"/>
                  </a:cxn>
                  <a:cxn ang="0">
                    <a:pos x="14" y="38"/>
                  </a:cxn>
                  <a:cxn ang="0">
                    <a:pos x="17" y="56"/>
                  </a:cxn>
                  <a:cxn ang="0">
                    <a:pos x="26" y="63"/>
                  </a:cxn>
                  <a:cxn ang="0">
                    <a:pos x="35" y="56"/>
                  </a:cxn>
                  <a:cxn ang="0">
                    <a:pos x="38" y="37"/>
                  </a:cxn>
                </a:cxnLst>
                <a:rect l="0" t="0" r="r" b="b"/>
                <a:pathLst>
                  <a:path w="52" h="75">
                    <a:moveTo>
                      <a:pt x="52" y="38"/>
                    </a:moveTo>
                    <a:cubicBezTo>
                      <a:pt x="52" y="49"/>
                      <a:pt x="49" y="58"/>
                      <a:pt x="45" y="65"/>
                    </a:cubicBezTo>
                    <a:cubicBezTo>
                      <a:pt x="40" y="72"/>
                      <a:pt x="34" y="75"/>
                      <a:pt x="26" y="75"/>
                    </a:cubicBezTo>
                    <a:cubicBezTo>
                      <a:pt x="18" y="75"/>
                      <a:pt x="12" y="72"/>
                      <a:pt x="7" y="65"/>
                    </a:cubicBezTo>
                    <a:cubicBezTo>
                      <a:pt x="2" y="58"/>
                      <a:pt x="0" y="49"/>
                      <a:pt x="0" y="38"/>
                    </a:cubicBezTo>
                    <a:cubicBezTo>
                      <a:pt x="0" y="26"/>
                      <a:pt x="2" y="17"/>
                      <a:pt x="7" y="10"/>
                    </a:cubicBezTo>
                    <a:cubicBezTo>
                      <a:pt x="12" y="3"/>
                      <a:pt x="18" y="0"/>
                      <a:pt x="26" y="0"/>
                    </a:cubicBezTo>
                    <a:cubicBezTo>
                      <a:pt x="34" y="0"/>
                      <a:pt x="40" y="3"/>
                      <a:pt x="45" y="10"/>
                    </a:cubicBezTo>
                    <a:cubicBezTo>
                      <a:pt x="49" y="17"/>
                      <a:pt x="52" y="26"/>
                      <a:pt x="52" y="38"/>
                    </a:cubicBezTo>
                    <a:close/>
                    <a:moveTo>
                      <a:pt x="38" y="37"/>
                    </a:moveTo>
                    <a:cubicBezTo>
                      <a:pt x="38" y="30"/>
                      <a:pt x="37" y="24"/>
                      <a:pt x="35" y="19"/>
                    </a:cubicBezTo>
                    <a:cubicBezTo>
                      <a:pt x="32" y="14"/>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5"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1" name="Freeform 191"/>
              <p:cNvSpPr>
                <a:spLocks noEditPoints="1"/>
              </p:cNvSpPr>
              <p:nvPr/>
            </p:nvSpPr>
            <p:spPr bwMode="auto">
              <a:xfrm>
                <a:off x="2768419" y="3464379"/>
                <a:ext cx="60938" cy="90790"/>
              </a:xfrm>
              <a:custGeom>
                <a:avLst/>
                <a:gdLst/>
                <a:ahLst/>
                <a:cxnLst>
                  <a:cxn ang="0">
                    <a:pos x="51" y="38"/>
                  </a:cxn>
                  <a:cxn ang="0">
                    <a:pos x="44" y="65"/>
                  </a:cxn>
                  <a:cxn ang="0">
                    <a:pos x="25" y="75"/>
                  </a:cxn>
                  <a:cxn ang="0">
                    <a:pos x="7" y="65"/>
                  </a:cxn>
                  <a:cxn ang="0">
                    <a:pos x="0" y="38"/>
                  </a:cxn>
                  <a:cxn ang="0">
                    <a:pos x="7" y="10"/>
                  </a:cxn>
                  <a:cxn ang="0">
                    <a:pos x="25" y="0"/>
                  </a:cxn>
                  <a:cxn ang="0">
                    <a:pos x="44" y="10"/>
                  </a:cxn>
                  <a:cxn ang="0">
                    <a:pos x="51" y="38"/>
                  </a:cxn>
                  <a:cxn ang="0">
                    <a:pos x="37" y="37"/>
                  </a:cxn>
                  <a:cxn ang="0">
                    <a:pos x="34" y="19"/>
                  </a:cxn>
                  <a:cxn ang="0">
                    <a:pos x="25" y="12"/>
                  </a:cxn>
                  <a:cxn ang="0">
                    <a:pos x="17" y="19"/>
                  </a:cxn>
                  <a:cxn ang="0">
                    <a:pos x="13" y="38"/>
                  </a:cxn>
                  <a:cxn ang="0">
                    <a:pos x="17" y="56"/>
                  </a:cxn>
                  <a:cxn ang="0">
                    <a:pos x="25" y="63"/>
                  </a:cxn>
                  <a:cxn ang="0">
                    <a:pos x="34" y="56"/>
                  </a:cxn>
                  <a:cxn ang="0">
                    <a:pos x="37" y="37"/>
                  </a:cxn>
                </a:cxnLst>
                <a:rect l="0" t="0" r="r" b="b"/>
                <a:pathLst>
                  <a:path w="51" h="75">
                    <a:moveTo>
                      <a:pt x="51" y="38"/>
                    </a:moveTo>
                    <a:cubicBezTo>
                      <a:pt x="51" y="49"/>
                      <a:pt x="49" y="58"/>
                      <a:pt x="44" y="65"/>
                    </a:cubicBezTo>
                    <a:cubicBezTo>
                      <a:pt x="39" y="72"/>
                      <a:pt x="33" y="75"/>
                      <a:pt x="25" y="75"/>
                    </a:cubicBezTo>
                    <a:cubicBezTo>
                      <a:pt x="17" y="75"/>
                      <a:pt x="11" y="72"/>
                      <a:pt x="7" y="65"/>
                    </a:cubicBezTo>
                    <a:cubicBezTo>
                      <a:pt x="2" y="58"/>
                      <a:pt x="0" y="49"/>
                      <a:pt x="0" y="38"/>
                    </a:cubicBezTo>
                    <a:cubicBezTo>
                      <a:pt x="0" y="26"/>
                      <a:pt x="2" y="17"/>
                      <a:pt x="7" y="10"/>
                    </a:cubicBezTo>
                    <a:cubicBezTo>
                      <a:pt x="11" y="3"/>
                      <a:pt x="18" y="0"/>
                      <a:pt x="25" y="0"/>
                    </a:cubicBezTo>
                    <a:cubicBezTo>
                      <a:pt x="33" y="0"/>
                      <a:pt x="39" y="3"/>
                      <a:pt x="44" y="10"/>
                    </a:cubicBezTo>
                    <a:cubicBezTo>
                      <a:pt x="49" y="17"/>
                      <a:pt x="51" y="26"/>
                      <a:pt x="51" y="38"/>
                    </a:cubicBezTo>
                    <a:close/>
                    <a:moveTo>
                      <a:pt x="37" y="37"/>
                    </a:moveTo>
                    <a:cubicBezTo>
                      <a:pt x="37" y="30"/>
                      <a:pt x="36" y="24"/>
                      <a:pt x="34" y="19"/>
                    </a:cubicBezTo>
                    <a:cubicBezTo>
                      <a:pt x="32" y="14"/>
                      <a:pt x="29" y="12"/>
                      <a:pt x="25" y="12"/>
                    </a:cubicBezTo>
                    <a:cubicBezTo>
                      <a:pt x="22" y="12"/>
                      <a:pt x="19" y="15"/>
                      <a:pt x="17" y="19"/>
                    </a:cubicBezTo>
                    <a:cubicBezTo>
                      <a:pt x="15" y="24"/>
                      <a:pt x="13" y="30"/>
                      <a:pt x="13" y="38"/>
                    </a:cubicBezTo>
                    <a:cubicBezTo>
                      <a:pt x="13" y="45"/>
                      <a:pt x="15" y="51"/>
                      <a:pt x="17" y="56"/>
                    </a:cubicBezTo>
                    <a:cubicBezTo>
                      <a:pt x="19" y="61"/>
                      <a:pt x="22" y="63"/>
                      <a:pt x="25" y="63"/>
                    </a:cubicBezTo>
                    <a:cubicBezTo>
                      <a:pt x="29" y="63"/>
                      <a:pt x="32" y="61"/>
                      <a:pt x="34" y="56"/>
                    </a:cubicBezTo>
                    <a:cubicBezTo>
                      <a:pt x="36" y="51"/>
                      <a:pt x="37" y="45"/>
                      <a:pt x="37"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2" name="Freeform 192"/>
              <p:cNvSpPr>
                <a:spLocks/>
              </p:cNvSpPr>
              <p:nvPr/>
            </p:nvSpPr>
            <p:spPr bwMode="auto">
              <a:xfrm>
                <a:off x="2830920" y="3465945"/>
                <a:ext cx="34376" cy="87659"/>
              </a:xfrm>
              <a:custGeom>
                <a:avLst/>
                <a:gdLst/>
                <a:ahLst/>
                <a:cxnLst>
                  <a:cxn ang="0">
                    <a:pos x="22" y="56"/>
                  </a:cxn>
                  <a:cxn ang="0">
                    <a:pos x="11" y="56"/>
                  </a:cxn>
                  <a:cxn ang="0">
                    <a:pos x="11" y="10"/>
                  </a:cxn>
                  <a:cxn ang="0">
                    <a:pos x="0" y="10"/>
                  </a:cxn>
                  <a:cxn ang="0">
                    <a:pos x="5" y="0"/>
                  </a:cxn>
                  <a:cxn ang="0">
                    <a:pos x="22" y="0"/>
                  </a:cxn>
                  <a:cxn ang="0">
                    <a:pos x="22" y="56"/>
                  </a:cxn>
                </a:cxnLst>
                <a:rect l="0" t="0" r="r" b="b"/>
                <a:pathLst>
                  <a:path w="22" h="56">
                    <a:moveTo>
                      <a:pt x="22" y="56"/>
                    </a:moveTo>
                    <a:lnTo>
                      <a:pt x="11" y="56"/>
                    </a:lnTo>
                    <a:lnTo>
                      <a:pt x="11" y="10"/>
                    </a:lnTo>
                    <a:lnTo>
                      <a:pt x="0" y="10"/>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3" name="Freeform 193"/>
              <p:cNvSpPr>
                <a:spLocks/>
              </p:cNvSpPr>
              <p:nvPr/>
            </p:nvSpPr>
            <p:spPr bwMode="auto">
              <a:xfrm>
                <a:off x="2871546" y="3465945"/>
                <a:ext cx="34376" cy="87659"/>
              </a:xfrm>
              <a:custGeom>
                <a:avLst/>
                <a:gdLst/>
                <a:ahLst/>
                <a:cxnLst>
                  <a:cxn ang="0">
                    <a:pos x="22" y="56"/>
                  </a:cxn>
                  <a:cxn ang="0">
                    <a:pos x="11" y="56"/>
                  </a:cxn>
                  <a:cxn ang="0">
                    <a:pos x="11" y="10"/>
                  </a:cxn>
                  <a:cxn ang="0">
                    <a:pos x="0" y="10"/>
                  </a:cxn>
                  <a:cxn ang="0">
                    <a:pos x="5" y="0"/>
                  </a:cxn>
                  <a:cxn ang="0">
                    <a:pos x="22" y="0"/>
                  </a:cxn>
                  <a:cxn ang="0">
                    <a:pos x="22" y="56"/>
                  </a:cxn>
                </a:cxnLst>
                <a:rect l="0" t="0" r="r" b="b"/>
                <a:pathLst>
                  <a:path w="22" h="56">
                    <a:moveTo>
                      <a:pt x="22" y="56"/>
                    </a:moveTo>
                    <a:lnTo>
                      <a:pt x="11" y="56"/>
                    </a:lnTo>
                    <a:lnTo>
                      <a:pt x="11" y="10"/>
                    </a:lnTo>
                    <a:lnTo>
                      <a:pt x="0" y="10"/>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4" name="Freeform 194"/>
              <p:cNvSpPr>
                <a:spLocks noEditPoints="1"/>
              </p:cNvSpPr>
              <p:nvPr/>
            </p:nvSpPr>
            <p:spPr bwMode="auto">
              <a:xfrm>
                <a:off x="2919984" y="3464379"/>
                <a:ext cx="60938" cy="90790"/>
              </a:xfrm>
              <a:custGeom>
                <a:avLst/>
                <a:gdLst/>
                <a:ahLst/>
                <a:cxnLst>
                  <a:cxn ang="0">
                    <a:pos x="51" y="38"/>
                  </a:cxn>
                  <a:cxn ang="0">
                    <a:pos x="44" y="65"/>
                  </a:cxn>
                  <a:cxn ang="0">
                    <a:pos x="25" y="75"/>
                  </a:cxn>
                  <a:cxn ang="0">
                    <a:pos x="7" y="65"/>
                  </a:cxn>
                  <a:cxn ang="0">
                    <a:pos x="0" y="38"/>
                  </a:cxn>
                  <a:cxn ang="0">
                    <a:pos x="7" y="10"/>
                  </a:cxn>
                  <a:cxn ang="0">
                    <a:pos x="25" y="0"/>
                  </a:cxn>
                  <a:cxn ang="0">
                    <a:pos x="44" y="10"/>
                  </a:cxn>
                  <a:cxn ang="0">
                    <a:pos x="51" y="38"/>
                  </a:cxn>
                  <a:cxn ang="0">
                    <a:pos x="38" y="37"/>
                  </a:cxn>
                  <a:cxn ang="0">
                    <a:pos x="34" y="19"/>
                  </a:cxn>
                  <a:cxn ang="0">
                    <a:pos x="25" y="12"/>
                  </a:cxn>
                  <a:cxn ang="0">
                    <a:pos x="17" y="19"/>
                  </a:cxn>
                  <a:cxn ang="0">
                    <a:pos x="14" y="38"/>
                  </a:cxn>
                  <a:cxn ang="0">
                    <a:pos x="17" y="56"/>
                  </a:cxn>
                  <a:cxn ang="0">
                    <a:pos x="25" y="63"/>
                  </a:cxn>
                  <a:cxn ang="0">
                    <a:pos x="34" y="56"/>
                  </a:cxn>
                  <a:cxn ang="0">
                    <a:pos x="38" y="37"/>
                  </a:cxn>
                </a:cxnLst>
                <a:rect l="0" t="0" r="r" b="b"/>
                <a:pathLst>
                  <a:path w="51" h="75">
                    <a:moveTo>
                      <a:pt x="51" y="38"/>
                    </a:moveTo>
                    <a:cubicBezTo>
                      <a:pt x="51" y="49"/>
                      <a:pt x="49" y="58"/>
                      <a:pt x="44" y="65"/>
                    </a:cubicBezTo>
                    <a:cubicBezTo>
                      <a:pt x="40" y="72"/>
                      <a:pt x="33" y="75"/>
                      <a:pt x="25" y="75"/>
                    </a:cubicBezTo>
                    <a:cubicBezTo>
                      <a:pt x="18" y="75"/>
                      <a:pt x="11" y="72"/>
                      <a:pt x="7" y="65"/>
                    </a:cubicBezTo>
                    <a:cubicBezTo>
                      <a:pt x="2" y="58"/>
                      <a:pt x="0" y="49"/>
                      <a:pt x="0" y="38"/>
                    </a:cubicBezTo>
                    <a:cubicBezTo>
                      <a:pt x="0" y="26"/>
                      <a:pt x="2" y="17"/>
                      <a:pt x="7" y="10"/>
                    </a:cubicBezTo>
                    <a:cubicBezTo>
                      <a:pt x="11" y="3"/>
                      <a:pt x="18" y="0"/>
                      <a:pt x="25" y="0"/>
                    </a:cubicBezTo>
                    <a:cubicBezTo>
                      <a:pt x="33" y="0"/>
                      <a:pt x="40" y="3"/>
                      <a:pt x="44" y="10"/>
                    </a:cubicBezTo>
                    <a:cubicBezTo>
                      <a:pt x="49" y="17"/>
                      <a:pt x="51" y="26"/>
                      <a:pt x="51" y="38"/>
                    </a:cubicBezTo>
                    <a:close/>
                    <a:moveTo>
                      <a:pt x="38" y="37"/>
                    </a:moveTo>
                    <a:cubicBezTo>
                      <a:pt x="38" y="30"/>
                      <a:pt x="36" y="24"/>
                      <a:pt x="34" y="19"/>
                    </a:cubicBezTo>
                    <a:cubicBezTo>
                      <a:pt x="32" y="14"/>
                      <a:pt x="29" y="12"/>
                      <a:pt x="25" y="12"/>
                    </a:cubicBezTo>
                    <a:cubicBezTo>
                      <a:pt x="22" y="12"/>
                      <a:pt x="19" y="15"/>
                      <a:pt x="17" y="19"/>
                    </a:cubicBezTo>
                    <a:cubicBezTo>
                      <a:pt x="15" y="24"/>
                      <a:pt x="14" y="30"/>
                      <a:pt x="14" y="38"/>
                    </a:cubicBezTo>
                    <a:cubicBezTo>
                      <a:pt x="14" y="45"/>
                      <a:pt x="15" y="51"/>
                      <a:pt x="17" y="56"/>
                    </a:cubicBezTo>
                    <a:cubicBezTo>
                      <a:pt x="19" y="61"/>
                      <a:pt x="22" y="63"/>
                      <a:pt x="25" y="63"/>
                    </a:cubicBezTo>
                    <a:cubicBezTo>
                      <a:pt x="29" y="63"/>
                      <a:pt x="32" y="61"/>
                      <a:pt x="34" y="56"/>
                    </a:cubicBezTo>
                    <a:cubicBezTo>
                      <a:pt x="36"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5" name="Freeform 195"/>
              <p:cNvSpPr>
                <a:spLocks/>
              </p:cNvSpPr>
              <p:nvPr/>
            </p:nvSpPr>
            <p:spPr bwMode="auto">
              <a:xfrm>
                <a:off x="2984048" y="3465945"/>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6" name="Freeform 196"/>
              <p:cNvSpPr>
                <a:spLocks noEditPoints="1"/>
              </p:cNvSpPr>
              <p:nvPr/>
            </p:nvSpPr>
            <p:spPr bwMode="auto">
              <a:xfrm>
                <a:off x="3030924" y="3464379"/>
                <a:ext cx="62501" cy="90790"/>
              </a:xfrm>
              <a:custGeom>
                <a:avLst/>
                <a:gdLst/>
                <a:ahLst/>
                <a:cxnLst>
                  <a:cxn ang="0">
                    <a:pos x="52" y="38"/>
                  </a:cxn>
                  <a:cxn ang="0">
                    <a:pos x="45" y="65"/>
                  </a:cxn>
                  <a:cxn ang="0">
                    <a:pos x="26" y="75"/>
                  </a:cxn>
                  <a:cxn ang="0">
                    <a:pos x="7" y="65"/>
                  </a:cxn>
                  <a:cxn ang="0">
                    <a:pos x="0" y="38"/>
                  </a:cxn>
                  <a:cxn ang="0">
                    <a:pos x="7" y="10"/>
                  </a:cxn>
                  <a:cxn ang="0">
                    <a:pos x="26" y="0"/>
                  </a:cxn>
                  <a:cxn ang="0">
                    <a:pos x="45" y="10"/>
                  </a:cxn>
                  <a:cxn ang="0">
                    <a:pos x="52" y="38"/>
                  </a:cxn>
                  <a:cxn ang="0">
                    <a:pos x="38" y="37"/>
                  </a:cxn>
                  <a:cxn ang="0">
                    <a:pos x="34" y="19"/>
                  </a:cxn>
                  <a:cxn ang="0">
                    <a:pos x="26" y="12"/>
                  </a:cxn>
                  <a:cxn ang="0">
                    <a:pos x="17" y="19"/>
                  </a:cxn>
                  <a:cxn ang="0">
                    <a:pos x="14" y="38"/>
                  </a:cxn>
                  <a:cxn ang="0">
                    <a:pos x="17" y="56"/>
                  </a:cxn>
                  <a:cxn ang="0">
                    <a:pos x="26" y="63"/>
                  </a:cxn>
                  <a:cxn ang="0">
                    <a:pos x="34" y="56"/>
                  </a:cxn>
                  <a:cxn ang="0">
                    <a:pos x="38" y="37"/>
                  </a:cxn>
                </a:cxnLst>
                <a:rect l="0" t="0" r="r" b="b"/>
                <a:pathLst>
                  <a:path w="52" h="75">
                    <a:moveTo>
                      <a:pt x="52" y="38"/>
                    </a:moveTo>
                    <a:cubicBezTo>
                      <a:pt x="52" y="49"/>
                      <a:pt x="49" y="58"/>
                      <a:pt x="45" y="65"/>
                    </a:cubicBezTo>
                    <a:cubicBezTo>
                      <a:pt x="40" y="72"/>
                      <a:pt x="34" y="75"/>
                      <a:pt x="26" y="75"/>
                    </a:cubicBezTo>
                    <a:cubicBezTo>
                      <a:pt x="18" y="75"/>
                      <a:pt x="12" y="72"/>
                      <a:pt x="7" y="65"/>
                    </a:cubicBezTo>
                    <a:cubicBezTo>
                      <a:pt x="2" y="58"/>
                      <a:pt x="0" y="49"/>
                      <a:pt x="0" y="38"/>
                    </a:cubicBezTo>
                    <a:cubicBezTo>
                      <a:pt x="0" y="26"/>
                      <a:pt x="2" y="17"/>
                      <a:pt x="7" y="10"/>
                    </a:cubicBezTo>
                    <a:cubicBezTo>
                      <a:pt x="12" y="3"/>
                      <a:pt x="18" y="0"/>
                      <a:pt x="26" y="0"/>
                    </a:cubicBezTo>
                    <a:cubicBezTo>
                      <a:pt x="34" y="0"/>
                      <a:pt x="40" y="3"/>
                      <a:pt x="45" y="10"/>
                    </a:cubicBezTo>
                    <a:cubicBezTo>
                      <a:pt x="49" y="17"/>
                      <a:pt x="52" y="26"/>
                      <a:pt x="52" y="38"/>
                    </a:cubicBezTo>
                    <a:close/>
                    <a:moveTo>
                      <a:pt x="38" y="37"/>
                    </a:moveTo>
                    <a:cubicBezTo>
                      <a:pt x="38" y="30"/>
                      <a:pt x="37" y="24"/>
                      <a:pt x="34" y="19"/>
                    </a:cubicBezTo>
                    <a:cubicBezTo>
                      <a:pt x="32" y="14"/>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4"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7" name="Freeform 197"/>
              <p:cNvSpPr>
                <a:spLocks/>
              </p:cNvSpPr>
              <p:nvPr/>
            </p:nvSpPr>
            <p:spPr bwMode="auto">
              <a:xfrm>
                <a:off x="3094987" y="3465945"/>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8" name="Freeform 208"/>
              <p:cNvSpPr>
                <a:spLocks noEditPoints="1"/>
              </p:cNvSpPr>
              <p:nvPr/>
            </p:nvSpPr>
            <p:spPr bwMode="auto">
              <a:xfrm>
                <a:off x="2344975" y="3603694"/>
                <a:ext cx="62501" cy="90790"/>
              </a:xfrm>
              <a:custGeom>
                <a:avLst/>
                <a:gdLst/>
                <a:ahLst/>
                <a:cxnLst>
                  <a:cxn ang="0">
                    <a:pos x="52" y="38"/>
                  </a:cxn>
                  <a:cxn ang="0">
                    <a:pos x="44" y="65"/>
                  </a:cxn>
                  <a:cxn ang="0">
                    <a:pos x="26" y="76"/>
                  </a:cxn>
                  <a:cxn ang="0">
                    <a:pos x="7" y="65"/>
                  </a:cxn>
                  <a:cxn ang="0">
                    <a:pos x="0" y="38"/>
                  </a:cxn>
                  <a:cxn ang="0">
                    <a:pos x="7" y="10"/>
                  </a:cxn>
                  <a:cxn ang="0">
                    <a:pos x="26" y="0"/>
                  </a:cxn>
                  <a:cxn ang="0">
                    <a:pos x="44" y="10"/>
                  </a:cxn>
                  <a:cxn ang="0">
                    <a:pos x="52" y="38"/>
                  </a:cxn>
                  <a:cxn ang="0">
                    <a:pos x="38" y="38"/>
                  </a:cxn>
                  <a:cxn ang="0">
                    <a:pos x="34" y="19"/>
                  </a:cxn>
                  <a:cxn ang="0">
                    <a:pos x="26" y="12"/>
                  </a:cxn>
                  <a:cxn ang="0">
                    <a:pos x="17" y="19"/>
                  </a:cxn>
                  <a:cxn ang="0">
                    <a:pos x="14" y="38"/>
                  </a:cxn>
                  <a:cxn ang="0">
                    <a:pos x="17" y="56"/>
                  </a:cxn>
                  <a:cxn ang="0">
                    <a:pos x="26" y="63"/>
                  </a:cxn>
                  <a:cxn ang="0">
                    <a:pos x="34" y="56"/>
                  </a:cxn>
                  <a:cxn ang="0">
                    <a:pos x="38" y="38"/>
                  </a:cxn>
                </a:cxnLst>
                <a:rect l="0" t="0" r="r" b="b"/>
                <a:pathLst>
                  <a:path w="52" h="76">
                    <a:moveTo>
                      <a:pt x="52" y="38"/>
                    </a:moveTo>
                    <a:cubicBezTo>
                      <a:pt x="52" y="49"/>
                      <a:pt x="49" y="58"/>
                      <a:pt x="44" y="65"/>
                    </a:cubicBezTo>
                    <a:cubicBezTo>
                      <a:pt x="40" y="72"/>
                      <a:pt x="33" y="76"/>
                      <a:pt x="26" y="76"/>
                    </a:cubicBezTo>
                    <a:cubicBezTo>
                      <a:pt x="18" y="76"/>
                      <a:pt x="11" y="72"/>
                      <a:pt x="7" y="65"/>
                    </a:cubicBezTo>
                    <a:cubicBezTo>
                      <a:pt x="2" y="58"/>
                      <a:pt x="0" y="49"/>
                      <a:pt x="0" y="38"/>
                    </a:cubicBezTo>
                    <a:cubicBezTo>
                      <a:pt x="0" y="26"/>
                      <a:pt x="2" y="17"/>
                      <a:pt x="7" y="10"/>
                    </a:cubicBezTo>
                    <a:cubicBezTo>
                      <a:pt x="12" y="4"/>
                      <a:pt x="18" y="0"/>
                      <a:pt x="26" y="0"/>
                    </a:cubicBezTo>
                    <a:cubicBezTo>
                      <a:pt x="33" y="0"/>
                      <a:pt x="40" y="3"/>
                      <a:pt x="44" y="10"/>
                    </a:cubicBezTo>
                    <a:cubicBezTo>
                      <a:pt x="49" y="17"/>
                      <a:pt x="52" y="26"/>
                      <a:pt x="52" y="38"/>
                    </a:cubicBezTo>
                    <a:close/>
                    <a:moveTo>
                      <a:pt x="38" y="38"/>
                    </a:moveTo>
                    <a:cubicBezTo>
                      <a:pt x="38" y="30"/>
                      <a:pt x="37" y="24"/>
                      <a:pt x="34" y="19"/>
                    </a:cubicBezTo>
                    <a:cubicBezTo>
                      <a:pt x="32" y="15"/>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4" y="56"/>
                    </a:cubicBezTo>
                    <a:cubicBezTo>
                      <a:pt x="37" y="51"/>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9" name="Freeform 209"/>
              <p:cNvSpPr>
                <a:spLocks/>
              </p:cNvSpPr>
              <p:nvPr/>
            </p:nvSpPr>
            <p:spPr bwMode="auto">
              <a:xfrm>
                <a:off x="2407476" y="3605260"/>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0" name="Freeform 210"/>
              <p:cNvSpPr>
                <a:spLocks/>
              </p:cNvSpPr>
              <p:nvPr/>
            </p:nvSpPr>
            <p:spPr bwMode="auto">
              <a:xfrm>
                <a:off x="2449664" y="3605260"/>
                <a:ext cx="31250" cy="87659"/>
              </a:xfrm>
              <a:custGeom>
                <a:avLst/>
                <a:gdLst/>
                <a:ahLst/>
                <a:cxnLst>
                  <a:cxn ang="0">
                    <a:pos x="20" y="56"/>
                  </a:cxn>
                  <a:cxn ang="0">
                    <a:pos x="10" y="56"/>
                  </a:cxn>
                  <a:cxn ang="0">
                    <a:pos x="10" y="9"/>
                  </a:cxn>
                  <a:cxn ang="0">
                    <a:pos x="0" y="9"/>
                  </a:cxn>
                  <a:cxn ang="0">
                    <a:pos x="3" y="0"/>
                  </a:cxn>
                  <a:cxn ang="0">
                    <a:pos x="20" y="0"/>
                  </a:cxn>
                  <a:cxn ang="0">
                    <a:pos x="20" y="56"/>
                  </a:cxn>
                </a:cxnLst>
                <a:rect l="0" t="0" r="r" b="b"/>
                <a:pathLst>
                  <a:path w="20" h="56">
                    <a:moveTo>
                      <a:pt x="20" y="56"/>
                    </a:moveTo>
                    <a:lnTo>
                      <a:pt x="10" y="56"/>
                    </a:lnTo>
                    <a:lnTo>
                      <a:pt x="10" y="9"/>
                    </a:lnTo>
                    <a:lnTo>
                      <a:pt x="0" y="9"/>
                    </a:lnTo>
                    <a:lnTo>
                      <a:pt x="3" y="0"/>
                    </a:lnTo>
                    <a:lnTo>
                      <a:pt x="20" y="0"/>
                    </a:lnTo>
                    <a:lnTo>
                      <a:pt x="20"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1" name="Freeform 211"/>
              <p:cNvSpPr>
                <a:spLocks/>
              </p:cNvSpPr>
              <p:nvPr/>
            </p:nvSpPr>
            <p:spPr bwMode="auto">
              <a:xfrm>
                <a:off x="2488727" y="3605260"/>
                <a:ext cx="34376" cy="87659"/>
              </a:xfrm>
              <a:custGeom>
                <a:avLst/>
                <a:gdLst/>
                <a:ahLst/>
                <a:cxnLst>
                  <a:cxn ang="0">
                    <a:pos x="22" y="56"/>
                  </a:cxn>
                  <a:cxn ang="0">
                    <a:pos x="11" y="56"/>
                  </a:cxn>
                  <a:cxn ang="0">
                    <a:pos x="11" y="9"/>
                  </a:cxn>
                  <a:cxn ang="0">
                    <a:pos x="0" y="9"/>
                  </a:cxn>
                  <a:cxn ang="0">
                    <a:pos x="5" y="0"/>
                  </a:cxn>
                  <a:cxn ang="0">
                    <a:pos x="22" y="0"/>
                  </a:cxn>
                  <a:cxn ang="0">
                    <a:pos x="22" y="56"/>
                  </a:cxn>
                </a:cxnLst>
                <a:rect l="0" t="0" r="r" b="b"/>
                <a:pathLst>
                  <a:path w="22" h="56">
                    <a:moveTo>
                      <a:pt x="22" y="56"/>
                    </a:moveTo>
                    <a:lnTo>
                      <a:pt x="11" y="56"/>
                    </a:lnTo>
                    <a:lnTo>
                      <a:pt x="11" y="9"/>
                    </a:lnTo>
                    <a:lnTo>
                      <a:pt x="0" y="9"/>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2" name="Freeform 212"/>
              <p:cNvSpPr>
                <a:spLocks noEditPoints="1"/>
              </p:cNvSpPr>
              <p:nvPr/>
            </p:nvSpPr>
            <p:spPr bwMode="auto">
              <a:xfrm>
                <a:off x="2537166" y="3603694"/>
                <a:ext cx="62501" cy="90790"/>
              </a:xfrm>
              <a:custGeom>
                <a:avLst/>
                <a:gdLst/>
                <a:ahLst/>
                <a:cxnLst>
                  <a:cxn ang="0">
                    <a:pos x="52" y="38"/>
                  </a:cxn>
                  <a:cxn ang="0">
                    <a:pos x="44" y="65"/>
                  </a:cxn>
                  <a:cxn ang="0">
                    <a:pos x="26" y="76"/>
                  </a:cxn>
                  <a:cxn ang="0">
                    <a:pos x="7" y="65"/>
                  </a:cxn>
                  <a:cxn ang="0">
                    <a:pos x="0" y="38"/>
                  </a:cxn>
                  <a:cxn ang="0">
                    <a:pos x="7" y="10"/>
                  </a:cxn>
                  <a:cxn ang="0">
                    <a:pos x="26" y="0"/>
                  </a:cxn>
                  <a:cxn ang="0">
                    <a:pos x="44" y="10"/>
                  </a:cxn>
                  <a:cxn ang="0">
                    <a:pos x="52" y="38"/>
                  </a:cxn>
                  <a:cxn ang="0">
                    <a:pos x="38" y="38"/>
                  </a:cxn>
                  <a:cxn ang="0">
                    <a:pos x="34" y="19"/>
                  </a:cxn>
                  <a:cxn ang="0">
                    <a:pos x="26" y="12"/>
                  </a:cxn>
                  <a:cxn ang="0">
                    <a:pos x="17" y="19"/>
                  </a:cxn>
                  <a:cxn ang="0">
                    <a:pos x="14" y="38"/>
                  </a:cxn>
                  <a:cxn ang="0">
                    <a:pos x="17" y="56"/>
                  </a:cxn>
                  <a:cxn ang="0">
                    <a:pos x="26" y="63"/>
                  </a:cxn>
                  <a:cxn ang="0">
                    <a:pos x="34" y="56"/>
                  </a:cxn>
                  <a:cxn ang="0">
                    <a:pos x="38" y="38"/>
                  </a:cxn>
                </a:cxnLst>
                <a:rect l="0" t="0" r="r" b="b"/>
                <a:pathLst>
                  <a:path w="52" h="76">
                    <a:moveTo>
                      <a:pt x="52" y="38"/>
                    </a:moveTo>
                    <a:cubicBezTo>
                      <a:pt x="52" y="49"/>
                      <a:pt x="49" y="58"/>
                      <a:pt x="44" y="65"/>
                    </a:cubicBezTo>
                    <a:cubicBezTo>
                      <a:pt x="40" y="72"/>
                      <a:pt x="33" y="76"/>
                      <a:pt x="26" y="76"/>
                    </a:cubicBezTo>
                    <a:cubicBezTo>
                      <a:pt x="18" y="76"/>
                      <a:pt x="12" y="72"/>
                      <a:pt x="7" y="65"/>
                    </a:cubicBezTo>
                    <a:cubicBezTo>
                      <a:pt x="2" y="58"/>
                      <a:pt x="0" y="49"/>
                      <a:pt x="0" y="38"/>
                    </a:cubicBezTo>
                    <a:cubicBezTo>
                      <a:pt x="0" y="26"/>
                      <a:pt x="2" y="17"/>
                      <a:pt x="7" y="10"/>
                    </a:cubicBezTo>
                    <a:cubicBezTo>
                      <a:pt x="12" y="4"/>
                      <a:pt x="18" y="0"/>
                      <a:pt x="26" y="0"/>
                    </a:cubicBezTo>
                    <a:cubicBezTo>
                      <a:pt x="33" y="0"/>
                      <a:pt x="40" y="3"/>
                      <a:pt x="44" y="10"/>
                    </a:cubicBezTo>
                    <a:cubicBezTo>
                      <a:pt x="49" y="17"/>
                      <a:pt x="52" y="26"/>
                      <a:pt x="52" y="38"/>
                    </a:cubicBezTo>
                    <a:close/>
                    <a:moveTo>
                      <a:pt x="38" y="38"/>
                    </a:moveTo>
                    <a:cubicBezTo>
                      <a:pt x="38" y="30"/>
                      <a:pt x="37" y="24"/>
                      <a:pt x="34" y="19"/>
                    </a:cubicBezTo>
                    <a:cubicBezTo>
                      <a:pt x="32" y="15"/>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4" y="56"/>
                    </a:cubicBezTo>
                    <a:cubicBezTo>
                      <a:pt x="37" y="51"/>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3" name="Freeform 213"/>
              <p:cNvSpPr>
                <a:spLocks noEditPoints="1"/>
              </p:cNvSpPr>
              <p:nvPr/>
            </p:nvSpPr>
            <p:spPr bwMode="auto">
              <a:xfrm>
                <a:off x="2602792" y="3603694"/>
                <a:ext cx="62501" cy="90790"/>
              </a:xfrm>
              <a:custGeom>
                <a:avLst/>
                <a:gdLst/>
                <a:ahLst/>
                <a:cxnLst>
                  <a:cxn ang="0">
                    <a:pos x="52" y="38"/>
                  </a:cxn>
                  <a:cxn ang="0">
                    <a:pos x="45" y="65"/>
                  </a:cxn>
                  <a:cxn ang="0">
                    <a:pos x="26" y="76"/>
                  </a:cxn>
                  <a:cxn ang="0">
                    <a:pos x="7" y="65"/>
                  </a:cxn>
                  <a:cxn ang="0">
                    <a:pos x="0" y="38"/>
                  </a:cxn>
                  <a:cxn ang="0">
                    <a:pos x="7" y="10"/>
                  </a:cxn>
                  <a:cxn ang="0">
                    <a:pos x="26" y="0"/>
                  </a:cxn>
                  <a:cxn ang="0">
                    <a:pos x="45" y="10"/>
                  </a:cxn>
                  <a:cxn ang="0">
                    <a:pos x="52" y="38"/>
                  </a:cxn>
                  <a:cxn ang="0">
                    <a:pos x="38" y="38"/>
                  </a:cxn>
                  <a:cxn ang="0">
                    <a:pos x="35" y="19"/>
                  </a:cxn>
                  <a:cxn ang="0">
                    <a:pos x="26" y="12"/>
                  </a:cxn>
                  <a:cxn ang="0">
                    <a:pos x="17" y="19"/>
                  </a:cxn>
                  <a:cxn ang="0">
                    <a:pos x="14" y="38"/>
                  </a:cxn>
                  <a:cxn ang="0">
                    <a:pos x="18" y="56"/>
                  </a:cxn>
                  <a:cxn ang="0">
                    <a:pos x="26" y="63"/>
                  </a:cxn>
                  <a:cxn ang="0">
                    <a:pos x="35" y="56"/>
                  </a:cxn>
                  <a:cxn ang="0">
                    <a:pos x="38" y="38"/>
                  </a:cxn>
                </a:cxnLst>
                <a:rect l="0" t="0" r="r" b="b"/>
                <a:pathLst>
                  <a:path w="52" h="76">
                    <a:moveTo>
                      <a:pt x="52" y="38"/>
                    </a:moveTo>
                    <a:cubicBezTo>
                      <a:pt x="52" y="49"/>
                      <a:pt x="50" y="58"/>
                      <a:pt x="45" y="65"/>
                    </a:cubicBezTo>
                    <a:cubicBezTo>
                      <a:pt x="40" y="72"/>
                      <a:pt x="34" y="76"/>
                      <a:pt x="26" y="76"/>
                    </a:cubicBezTo>
                    <a:cubicBezTo>
                      <a:pt x="18" y="76"/>
                      <a:pt x="12" y="72"/>
                      <a:pt x="7" y="65"/>
                    </a:cubicBezTo>
                    <a:cubicBezTo>
                      <a:pt x="3" y="58"/>
                      <a:pt x="0" y="49"/>
                      <a:pt x="0" y="38"/>
                    </a:cubicBezTo>
                    <a:cubicBezTo>
                      <a:pt x="0" y="26"/>
                      <a:pt x="3" y="17"/>
                      <a:pt x="7" y="10"/>
                    </a:cubicBezTo>
                    <a:cubicBezTo>
                      <a:pt x="12" y="4"/>
                      <a:pt x="18" y="0"/>
                      <a:pt x="26" y="0"/>
                    </a:cubicBezTo>
                    <a:cubicBezTo>
                      <a:pt x="34" y="0"/>
                      <a:pt x="40" y="3"/>
                      <a:pt x="45" y="10"/>
                    </a:cubicBezTo>
                    <a:cubicBezTo>
                      <a:pt x="50" y="17"/>
                      <a:pt x="52" y="26"/>
                      <a:pt x="52" y="38"/>
                    </a:cubicBezTo>
                    <a:close/>
                    <a:moveTo>
                      <a:pt x="38" y="38"/>
                    </a:moveTo>
                    <a:cubicBezTo>
                      <a:pt x="38" y="30"/>
                      <a:pt x="37" y="24"/>
                      <a:pt x="35" y="19"/>
                    </a:cubicBezTo>
                    <a:cubicBezTo>
                      <a:pt x="33" y="15"/>
                      <a:pt x="30" y="12"/>
                      <a:pt x="26" y="12"/>
                    </a:cubicBezTo>
                    <a:cubicBezTo>
                      <a:pt x="23" y="12"/>
                      <a:pt x="20" y="15"/>
                      <a:pt x="17" y="19"/>
                    </a:cubicBezTo>
                    <a:cubicBezTo>
                      <a:pt x="15" y="24"/>
                      <a:pt x="14" y="30"/>
                      <a:pt x="14" y="38"/>
                    </a:cubicBezTo>
                    <a:cubicBezTo>
                      <a:pt x="14" y="45"/>
                      <a:pt x="15" y="51"/>
                      <a:pt x="18" y="56"/>
                    </a:cubicBezTo>
                    <a:cubicBezTo>
                      <a:pt x="20" y="61"/>
                      <a:pt x="23" y="63"/>
                      <a:pt x="26" y="63"/>
                    </a:cubicBezTo>
                    <a:cubicBezTo>
                      <a:pt x="30" y="63"/>
                      <a:pt x="33" y="61"/>
                      <a:pt x="35" y="56"/>
                    </a:cubicBezTo>
                    <a:cubicBezTo>
                      <a:pt x="37" y="51"/>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4" name="Freeform 214"/>
              <p:cNvSpPr>
                <a:spLocks/>
              </p:cNvSpPr>
              <p:nvPr/>
            </p:nvSpPr>
            <p:spPr bwMode="auto">
              <a:xfrm>
                <a:off x="2666855" y="3605260"/>
                <a:ext cx="32813" cy="87659"/>
              </a:xfrm>
              <a:custGeom>
                <a:avLst/>
                <a:gdLst/>
                <a:ahLst/>
                <a:cxnLst>
                  <a:cxn ang="0">
                    <a:pos x="21" y="56"/>
                  </a:cxn>
                  <a:cxn ang="0">
                    <a:pos x="11" y="56"/>
                  </a:cxn>
                  <a:cxn ang="0">
                    <a:pos x="11" y="9"/>
                  </a:cxn>
                  <a:cxn ang="0">
                    <a:pos x="0" y="9"/>
                  </a:cxn>
                  <a:cxn ang="0">
                    <a:pos x="4" y="0"/>
                  </a:cxn>
                  <a:cxn ang="0">
                    <a:pos x="21" y="0"/>
                  </a:cxn>
                  <a:cxn ang="0">
                    <a:pos x="21" y="56"/>
                  </a:cxn>
                </a:cxnLst>
                <a:rect l="0" t="0" r="r" b="b"/>
                <a:pathLst>
                  <a:path w="21" h="56">
                    <a:moveTo>
                      <a:pt x="21" y="56"/>
                    </a:moveTo>
                    <a:lnTo>
                      <a:pt x="11" y="56"/>
                    </a:lnTo>
                    <a:lnTo>
                      <a:pt x="11"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5" name="Freeform 215"/>
              <p:cNvSpPr>
                <a:spLocks/>
              </p:cNvSpPr>
              <p:nvPr/>
            </p:nvSpPr>
            <p:spPr bwMode="auto">
              <a:xfrm>
                <a:off x="2707481" y="3605260"/>
                <a:ext cx="34376" cy="87659"/>
              </a:xfrm>
              <a:custGeom>
                <a:avLst/>
                <a:gdLst/>
                <a:ahLst/>
                <a:cxnLst>
                  <a:cxn ang="0">
                    <a:pos x="22" y="56"/>
                  </a:cxn>
                  <a:cxn ang="0">
                    <a:pos x="11" y="56"/>
                  </a:cxn>
                  <a:cxn ang="0">
                    <a:pos x="11" y="9"/>
                  </a:cxn>
                  <a:cxn ang="0">
                    <a:pos x="0" y="9"/>
                  </a:cxn>
                  <a:cxn ang="0">
                    <a:pos x="5" y="0"/>
                  </a:cxn>
                  <a:cxn ang="0">
                    <a:pos x="22" y="0"/>
                  </a:cxn>
                  <a:cxn ang="0">
                    <a:pos x="22" y="56"/>
                  </a:cxn>
                </a:cxnLst>
                <a:rect l="0" t="0" r="r" b="b"/>
                <a:pathLst>
                  <a:path w="22" h="56">
                    <a:moveTo>
                      <a:pt x="22" y="56"/>
                    </a:moveTo>
                    <a:lnTo>
                      <a:pt x="11" y="56"/>
                    </a:lnTo>
                    <a:lnTo>
                      <a:pt x="11" y="9"/>
                    </a:lnTo>
                    <a:lnTo>
                      <a:pt x="0" y="9"/>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6" name="Freeform 216"/>
              <p:cNvSpPr>
                <a:spLocks noEditPoints="1"/>
              </p:cNvSpPr>
              <p:nvPr/>
            </p:nvSpPr>
            <p:spPr bwMode="auto">
              <a:xfrm>
                <a:off x="2755919" y="3603694"/>
                <a:ext cx="60938" cy="90790"/>
              </a:xfrm>
              <a:custGeom>
                <a:avLst/>
                <a:gdLst/>
                <a:ahLst/>
                <a:cxnLst>
                  <a:cxn ang="0">
                    <a:pos x="51" y="38"/>
                  </a:cxn>
                  <a:cxn ang="0">
                    <a:pos x="44" y="65"/>
                  </a:cxn>
                  <a:cxn ang="0">
                    <a:pos x="25" y="76"/>
                  </a:cxn>
                  <a:cxn ang="0">
                    <a:pos x="7" y="65"/>
                  </a:cxn>
                  <a:cxn ang="0">
                    <a:pos x="0" y="38"/>
                  </a:cxn>
                  <a:cxn ang="0">
                    <a:pos x="7" y="10"/>
                  </a:cxn>
                  <a:cxn ang="0">
                    <a:pos x="25" y="0"/>
                  </a:cxn>
                  <a:cxn ang="0">
                    <a:pos x="44" y="10"/>
                  </a:cxn>
                  <a:cxn ang="0">
                    <a:pos x="51" y="38"/>
                  </a:cxn>
                  <a:cxn ang="0">
                    <a:pos x="37" y="38"/>
                  </a:cxn>
                  <a:cxn ang="0">
                    <a:pos x="34" y="19"/>
                  </a:cxn>
                  <a:cxn ang="0">
                    <a:pos x="25" y="12"/>
                  </a:cxn>
                  <a:cxn ang="0">
                    <a:pos x="17" y="19"/>
                  </a:cxn>
                  <a:cxn ang="0">
                    <a:pos x="13" y="38"/>
                  </a:cxn>
                  <a:cxn ang="0">
                    <a:pos x="17" y="56"/>
                  </a:cxn>
                  <a:cxn ang="0">
                    <a:pos x="25" y="63"/>
                  </a:cxn>
                  <a:cxn ang="0">
                    <a:pos x="34" y="56"/>
                  </a:cxn>
                  <a:cxn ang="0">
                    <a:pos x="37" y="38"/>
                  </a:cxn>
                </a:cxnLst>
                <a:rect l="0" t="0" r="r" b="b"/>
                <a:pathLst>
                  <a:path w="51" h="76">
                    <a:moveTo>
                      <a:pt x="51" y="38"/>
                    </a:moveTo>
                    <a:cubicBezTo>
                      <a:pt x="51" y="49"/>
                      <a:pt x="49" y="58"/>
                      <a:pt x="44" y="65"/>
                    </a:cubicBezTo>
                    <a:cubicBezTo>
                      <a:pt x="39" y="72"/>
                      <a:pt x="33" y="76"/>
                      <a:pt x="25" y="76"/>
                    </a:cubicBezTo>
                    <a:cubicBezTo>
                      <a:pt x="17" y="76"/>
                      <a:pt x="11" y="72"/>
                      <a:pt x="7" y="65"/>
                    </a:cubicBezTo>
                    <a:cubicBezTo>
                      <a:pt x="2" y="58"/>
                      <a:pt x="0" y="49"/>
                      <a:pt x="0" y="38"/>
                    </a:cubicBezTo>
                    <a:cubicBezTo>
                      <a:pt x="0" y="26"/>
                      <a:pt x="2" y="17"/>
                      <a:pt x="7" y="10"/>
                    </a:cubicBezTo>
                    <a:cubicBezTo>
                      <a:pt x="11" y="4"/>
                      <a:pt x="17" y="0"/>
                      <a:pt x="25" y="0"/>
                    </a:cubicBezTo>
                    <a:cubicBezTo>
                      <a:pt x="33" y="0"/>
                      <a:pt x="39" y="3"/>
                      <a:pt x="44" y="10"/>
                    </a:cubicBezTo>
                    <a:cubicBezTo>
                      <a:pt x="49" y="17"/>
                      <a:pt x="51" y="26"/>
                      <a:pt x="51" y="38"/>
                    </a:cubicBezTo>
                    <a:close/>
                    <a:moveTo>
                      <a:pt x="37" y="38"/>
                    </a:moveTo>
                    <a:cubicBezTo>
                      <a:pt x="37" y="30"/>
                      <a:pt x="36" y="24"/>
                      <a:pt x="34" y="19"/>
                    </a:cubicBezTo>
                    <a:cubicBezTo>
                      <a:pt x="32" y="15"/>
                      <a:pt x="29" y="12"/>
                      <a:pt x="25" y="12"/>
                    </a:cubicBezTo>
                    <a:cubicBezTo>
                      <a:pt x="22" y="12"/>
                      <a:pt x="19" y="15"/>
                      <a:pt x="17" y="19"/>
                    </a:cubicBezTo>
                    <a:cubicBezTo>
                      <a:pt x="14" y="24"/>
                      <a:pt x="13" y="30"/>
                      <a:pt x="13" y="38"/>
                    </a:cubicBezTo>
                    <a:cubicBezTo>
                      <a:pt x="13" y="45"/>
                      <a:pt x="14" y="51"/>
                      <a:pt x="17" y="56"/>
                    </a:cubicBezTo>
                    <a:cubicBezTo>
                      <a:pt x="19" y="61"/>
                      <a:pt x="22" y="63"/>
                      <a:pt x="25" y="63"/>
                    </a:cubicBezTo>
                    <a:cubicBezTo>
                      <a:pt x="29" y="63"/>
                      <a:pt x="32" y="61"/>
                      <a:pt x="34" y="56"/>
                    </a:cubicBezTo>
                    <a:cubicBezTo>
                      <a:pt x="36" y="51"/>
                      <a:pt x="37" y="45"/>
                      <a:pt x="37"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7" name="Freeform 217"/>
              <p:cNvSpPr>
                <a:spLocks/>
              </p:cNvSpPr>
              <p:nvPr/>
            </p:nvSpPr>
            <p:spPr bwMode="auto">
              <a:xfrm>
                <a:off x="2818420" y="3605260"/>
                <a:ext cx="32813" cy="87659"/>
              </a:xfrm>
              <a:custGeom>
                <a:avLst/>
                <a:gdLst/>
                <a:ahLst/>
                <a:cxnLst>
                  <a:cxn ang="0">
                    <a:pos x="21" y="56"/>
                  </a:cxn>
                  <a:cxn ang="0">
                    <a:pos x="11" y="56"/>
                  </a:cxn>
                  <a:cxn ang="0">
                    <a:pos x="11" y="9"/>
                  </a:cxn>
                  <a:cxn ang="0">
                    <a:pos x="0" y="9"/>
                  </a:cxn>
                  <a:cxn ang="0">
                    <a:pos x="4" y="0"/>
                  </a:cxn>
                  <a:cxn ang="0">
                    <a:pos x="21" y="0"/>
                  </a:cxn>
                  <a:cxn ang="0">
                    <a:pos x="21" y="56"/>
                  </a:cxn>
                </a:cxnLst>
                <a:rect l="0" t="0" r="r" b="b"/>
                <a:pathLst>
                  <a:path w="21" h="56">
                    <a:moveTo>
                      <a:pt x="21" y="56"/>
                    </a:moveTo>
                    <a:lnTo>
                      <a:pt x="11" y="56"/>
                    </a:lnTo>
                    <a:lnTo>
                      <a:pt x="11"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8" name="Freeform 218"/>
              <p:cNvSpPr>
                <a:spLocks noEditPoints="1"/>
              </p:cNvSpPr>
              <p:nvPr/>
            </p:nvSpPr>
            <p:spPr bwMode="auto">
              <a:xfrm>
                <a:off x="2866858" y="3603694"/>
                <a:ext cx="60938" cy="90790"/>
              </a:xfrm>
              <a:custGeom>
                <a:avLst/>
                <a:gdLst/>
                <a:ahLst/>
                <a:cxnLst>
                  <a:cxn ang="0">
                    <a:pos x="51" y="38"/>
                  </a:cxn>
                  <a:cxn ang="0">
                    <a:pos x="44" y="65"/>
                  </a:cxn>
                  <a:cxn ang="0">
                    <a:pos x="26" y="76"/>
                  </a:cxn>
                  <a:cxn ang="0">
                    <a:pos x="7" y="65"/>
                  </a:cxn>
                  <a:cxn ang="0">
                    <a:pos x="0" y="38"/>
                  </a:cxn>
                  <a:cxn ang="0">
                    <a:pos x="7" y="10"/>
                  </a:cxn>
                  <a:cxn ang="0">
                    <a:pos x="26" y="0"/>
                  </a:cxn>
                  <a:cxn ang="0">
                    <a:pos x="44" y="10"/>
                  </a:cxn>
                  <a:cxn ang="0">
                    <a:pos x="51" y="38"/>
                  </a:cxn>
                  <a:cxn ang="0">
                    <a:pos x="38" y="38"/>
                  </a:cxn>
                  <a:cxn ang="0">
                    <a:pos x="34" y="19"/>
                  </a:cxn>
                  <a:cxn ang="0">
                    <a:pos x="26" y="12"/>
                  </a:cxn>
                  <a:cxn ang="0">
                    <a:pos x="17" y="19"/>
                  </a:cxn>
                  <a:cxn ang="0">
                    <a:pos x="14" y="38"/>
                  </a:cxn>
                  <a:cxn ang="0">
                    <a:pos x="17" y="56"/>
                  </a:cxn>
                  <a:cxn ang="0">
                    <a:pos x="26" y="63"/>
                  </a:cxn>
                  <a:cxn ang="0">
                    <a:pos x="34" y="56"/>
                  </a:cxn>
                  <a:cxn ang="0">
                    <a:pos x="38" y="38"/>
                  </a:cxn>
                </a:cxnLst>
                <a:rect l="0" t="0" r="r" b="b"/>
                <a:pathLst>
                  <a:path w="51" h="76">
                    <a:moveTo>
                      <a:pt x="51" y="38"/>
                    </a:moveTo>
                    <a:cubicBezTo>
                      <a:pt x="51" y="49"/>
                      <a:pt x="49" y="58"/>
                      <a:pt x="44" y="65"/>
                    </a:cubicBezTo>
                    <a:cubicBezTo>
                      <a:pt x="40" y="72"/>
                      <a:pt x="33" y="76"/>
                      <a:pt x="26" y="76"/>
                    </a:cubicBezTo>
                    <a:cubicBezTo>
                      <a:pt x="18" y="76"/>
                      <a:pt x="11" y="72"/>
                      <a:pt x="7" y="65"/>
                    </a:cubicBezTo>
                    <a:cubicBezTo>
                      <a:pt x="2" y="58"/>
                      <a:pt x="0" y="49"/>
                      <a:pt x="0" y="38"/>
                    </a:cubicBezTo>
                    <a:cubicBezTo>
                      <a:pt x="0" y="26"/>
                      <a:pt x="2" y="17"/>
                      <a:pt x="7" y="10"/>
                    </a:cubicBezTo>
                    <a:cubicBezTo>
                      <a:pt x="11" y="4"/>
                      <a:pt x="18" y="0"/>
                      <a:pt x="26" y="0"/>
                    </a:cubicBezTo>
                    <a:cubicBezTo>
                      <a:pt x="33" y="0"/>
                      <a:pt x="40" y="3"/>
                      <a:pt x="44" y="10"/>
                    </a:cubicBezTo>
                    <a:cubicBezTo>
                      <a:pt x="49" y="17"/>
                      <a:pt x="51" y="26"/>
                      <a:pt x="51" y="38"/>
                    </a:cubicBezTo>
                    <a:close/>
                    <a:moveTo>
                      <a:pt x="38" y="38"/>
                    </a:moveTo>
                    <a:cubicBezTo>
                      <a:pt x="38" y="30"/>
                      <a:pt x="36" y="24"/>
                      <a:pt x="34" y="19"/>
                    </a:cubicBezTo>
                    <a:cubicBezTo>
                      <a:pt x="32" y="15"/>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4" y="56"/>
                    </a:cubicBezTo>
                    <a:cubicBezTo>
                      <a:pt x="36" y="51"/>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9" name="Freeform 219"/>
              <p:cNvSpPr>
                <a:spLocks/>
              </p:cNvSpPr>
              <p:nvPr/>
            </p:nvSpPr>
            <p:spPr bwMode="auto">
              <a:xfrm>
                <a:off x="2929359" y="3605260"/>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0" name="Freeform 220"/>
              <p:cNvSpPr>
                <a:spLocks noEditPoints="1"/>
              </p:cNvSpPr>
              <p:nvPr/>
            </p:nvSpPr>
            <p:spPr bwMode="auto">
              <a:xfrm>
                <a:off x="2976235" y="3603694"/>
                <a:ext cx="62501" cy="90790"/>
              </a:xfrm>
              <a:custGeom>
                <a:avLst/>
                <a:gdLst/>
                <a:ahLst/>
                <a:cxnLst>
                  <a:cxn ang="0">
                    <a:pos x="52" y="38"/>
                  </a:cxn>
                  <a:cxn ang="0">
                    <a:pos x="45" y="65"/>
                  </a:cxn>
                  <a:cxn ang="0">
                    <a:pos x="26" y="76"/>
                  </a:cxn>
                  <a:cxn ang="0">
                    <a:pos x="7" y="65"/>
                  </a:cxn>
                  <a:cxn ang="0">
                    <a:pos x="0" y="38"/>
                  </a:cxn>
                  <a:cxn ang="0">
                    <a:pos x="7" y="10"/>
                  </a:cxn>
                  <a:cxn ang="0">
                    <a:pos x="26" y="0"/>
                  </a:cxn>
                  <a:cxn ang="0">
                    <a:pos x="45" y="10"/>
                  </a:cxn>
                  <a:cxn ang="0">
                    <a:pos x="52" y="38"/>
                  </a:cxn>
                  <a:cxn ang="0">
                    <a:pos x="38" y="38"/>
                  </a:cxn>
                  <a:cxn ang="0">
                    <a:pos x="34" y="19"/>
                  </a:cxn>
                  <a:cxn ang="0">
                    <a:pos x="26" y="12"/>
                  </a:cxn>
                  <a:cxn ang="0">
                    <a:pos x="17" y="19"/>
                  </a:cxn>
                  <a:cxn ang="0">
                    <a:pos x="14" y="38"/>
                  </a:cxn>
                  <a:cxn ang="0">
                    <a:pos x="17" y="56"/>
                  </a:cxn>
                  <a:cxn ang="0">
                    <a:pos x="26" y="63"/>
                  </a:cxn>
                  <a:cxn ang="0">
                    <a:pos x="35" y="56"/>
                  </a:cxn>
                  <a:cxn ang="0">
                    <a:pos x="38" y="38"/>
                  </a:cxn>
                </a:cxnLst>
                <a:rect l="0" t="0" r="r" b="b"/>
                <a:pathLst>
                  <a:path w="52" h="76">
                    <a:moveTo>
                      <a:pt x="52" y="38"/>
                    </a:moveTo>
                    <a:cubicBezTo>
                      <a:pt x="52" y="49"/>
                      <a:pt x="49" y="58"/>
                      <a:pt x="45" y="65"/>
                    </a:cubicBezTo>
                    <a:cubicBezTo>
                      <a:pt x="40" y="72"/>
                      <a:pt x="34" y="76"/>
                      <a:pt x="26" y="76"/>
                    </a:cubicBezTo>
                    <a:cubicBezTo>
                      <a:pt x="18" y="76"/>
                      <a:pt x="12" y="72"/>
                      <a:pt x="7" y="65"/>
                    </a:cubicBezTo>
                    <a:cubicBezTo>
                      <a:pt x="2" y="58"/>
                      <a:pt x="0" y="49"/>
                      <a:pt x="0" y="38"/>
                    </a:cubicBezTo>
                    <a:cubicBezTo>
                      <a:pt x="0" y="26"/>
                      <a:pt x="2" y="17"/>
                      <a:pt x="7" y="10"/>
                    </a:cubicBezTo>
                    <a:cubicBezTo>
                      <a:pt x="12" y="4"/>
                      <a:pt x="18" y="0"/>
                      <a:pt x="26" y="0"/>
                    </a:cubicBezTo>
                    <a:cubicBezTo>
                      <a:pt x="34" y="0"/>
                      <a:pt x="40" y="3"/>
                      <a:pt x="45" y="10"/>
                    </a:cubicBezTo>
                    <a:cubicBezTo>
                      <a:pt x="49" y="17"/>
                      <a:pt x="52" y="26"/>
                      <a:pt x="52" y="38"/>
                    </a:cubicBezTo>
                    <a:close/>
                    <a:moveTo>
                      <a:pt x="38" y="38"/>
                    </a:moveTo>
                    <a:cubicBezTo>
                      <a:pt x="38" y="30"/>
                      <a:pt x="37" y="24"/>
                      <a:pt x="34" y="19"/>
                    </a:cubicBezTo>
                    <a:cubicBezTo>
                      <a:pt x="32" y="15"/>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5" y="56"/>
                    </a:cubicBezTo>
                    <a:cubicBezTo>
                      <a:pt x="37" y="51"/>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1" name="Freeform 221"/>
              <p:cNvSpPr>
                <a:spLocks/>
              </p:cNvSpPr>
              <p:nvPr/>
            </p:nvSpPr>
            <p:spPr bwMode="auto">
              <a:xfrm>
                <a:off x="3040299" y="3605260"/>
                <a:ext cx="32813" cy="87659"/>
              </a:xfrm>
              <a:custGeom>
                <a:avLst/>
                <a:gdLst/>
                <a:ahLst/>
                <a:cxnLst>
                  <a:cxn ang="0">
                    <a:pos x="21" y="56"/>
                  </a:cxn>
                  <a:cxn ang="0">
                    <a:pos x="11" y="56"/>
                  </a:cxn>
                  <a:cxn ang="0">
                    <a:pos x="11" y="9"/>
                  </a:cxn>
                  <a:cxn ang="0">
                    <a:pos x="0" y="9"/>
                  </a:cxn>
                  <a:cxn ang="0">
                    <a:pos x="5" y="0"/>
                  </a:cxn>
                  <a:cxn ang="0">
                    <a:pos x="21" y="0"/>
                  </a:cxn>
                  <a:cxn ang="0">
                    <a:pos x="21" y="56"/>
                  </a:cxn>
                </a:cxnLst>
                <a:rect l="0" t="0" r="r" b="b"/>
                <a:pathLst>
                  <a:path w="21" h="56">
                    <a:moveTo>
                      <a:pt x="21" y="56"/>
                    </a:moveTo>
                    <a:lnTo>
                      <a:pt x="11" y="56"/>
                    </a:lnTo>
                    <a:lnTo>
                      <a:pt x="11" y="9"/>
                    </a:lnTo>
                    <a:lnTo>
                      <a:pt x="0" y="9"/>
                    </a:lnTo>
                    <a:lnTo>
                      <a:pt x="5"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2" name="Freeform 222"/>
              <p:cNvSpPr>
                <a:spLocks/>
              </p:cNvSpPr>
              <p:nvPr/>
            </p:nvSpPr>
            <p:spPr bwMode="auto">
              <a:xfrm>
                <a:off x="3080924" y="3605260"/>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3" name="Freeform 223"/>
              <p:cNvSpPr>
                <a:spLocks/>
              </p:cNvSpPr>
              <p:nvPr/>
            </p:nvSpPr>
            <p:spPr bwMode="auto">
              <a:xfrm>
                <a:off x="3121550" y="3605260"/>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4" name="Freeform 234"/>
              <p:cNvSpPr>
                <a:spLocks noEditPoints="1"/>
              </p:cNvSpPr>
              <p:nvPr/>
            </p:nvSpPr>
            <p:spPr bwMode="auto">
              <a:xfrm>
                <a:off x="2360600" y="3741444"/>
                <a:ext cx="62501" cy="92355"/>
              </a:xfrm>
              <a:custGeom>
                <a:avLst/>
                <a:gdLst/>
                <a:ahLst/>
                <a:cxnLst>
                  <a:cxn ang="0">
                    <a:pos x="51" y="38"/>
                  </a:cxn>
                  <a:cxn ang="0">
                    <a:pos x="44" y="65"/>
                  </a:cxn>
                  <a:cxn ang="0">
                    <a:pos x="26" y="76"/>
                  </a:cxn>
                  <a:cxn ang="0">
                    <a:pos x="7" y="65"/>
                  </a:cxn>
                  <a:cxn ang="0">
                    <a:pos x="0" y="38"/>
                  </a:cxn>
                  <a:cxn ang="0">
                    <a:pos x="7" y="11"/>
                  </a:cxn>
                  <a:cxn ang="0">
                    <a:pos x="26" y="0"/>
                  </a:cxn>
                  <a:cxn ang="0">
                    <a:pos x="44" y="10"/>
                  </a:cxn>
                  <a:cxn ang="0">
                    <a:pos x="51" y="38"/>
                  </a:cxn>
                  <a:cxn ang="0">
                    <a:pos x="38" y="38"/>
                  </a:cxn>
                  <a:cxn ang="0">
                    <a:pos x="34" y="20"/>
                  </a:cxn>
                  <a:cxn ang="0">
                    <a:pos x="26" y="13"/>
                  </a:cxn>
                  <a:cxn ang="0">
                    <a:pos x="17" y="20"/>
                  </a:cxn>
                  <a:cxn ang="0">
                    <a:pos x="14" y="38"/>
                  </a:cxn>
                  <a:cxn ang="0">
                    <a:pos x="17" y="56"/>
                  </a:cxn>
                  <a:cxn ang="0">
                    <a:pos x="26" y="63"/>
                  </a:cxn>
                  <a:cxn ang="0">
                    <a:pos x="34" y="56"/>
                  </a:cxn>
                  <a:cxn ang="0">
                    <a:pos x="38" y="38"/>
                  </a:cxn>
                </a:cxnLst>
                <a:rect l="0" t="0" r="r" b="b"/>
                <a:pathLst>
                  <a:path w="51" h="76">
                    <a:moveTo>
                      <a:pt x="51" y="38"/>
                    </a:moveTo>
                    <a:cubicBezTo>
                      <a:pt x="51" y="49"/>
                      <a:pt x="49" y="58"/>
                      <a:pt x="44" y="65"/>
                    </a:cubicBezTo>
                    <a:cubicBezTo>
                      <a:pt x="40" y="72"/>
                      <a:pt x="33" y="76"/>
                      <a:pt x="26" y="76"/>
                    </a:cubicBezTo>
                    <a:cubicBezTo>
                      <a:pt x="18" y="76"/>
                      <a:pt x="11" y="72"/>
                      <a:pt x="7" y="65"/>
                    </a:cubicBezTo>
                    <a:cubicBezTo>
                      <a:pt x="2" y="59"/>
                      <a:pt x="0" y="49"/>
                      <a:pt x="0" y="38"/>
                    </a:cubicBezTo>
                    <a:cubicBezTo>
                      <a:pt x="0" y="27"/>
                      <a:pt x="2" y="17"/>
                      <a:pt x="7" y="11"/>
                    </a:cubicBezTo>
                    <a:cubicBezTo>
                      <a:pt x="11" y="4"/>
                      <a:pt x="18" y="0"/>
                      <a:pt x="26" y="0"/>
                    </a:cubicBezTo>
                    <a:cubicBezTo>
                      <a:pt x="33" y="0"/>
                      <a:pt x="40" y="4"/>
                      <a:pt x="44" y="10"/>
                    </a:cubicBezTo>
                    <a:cubicBezTo>
                      <a:pt x="49" y="17"/>
                      <a:pt x="51" y="26"/>
                      <a:pt x="51" y="38"/>
                    </a:cubicBezTo>
                    <a:close/>
                    <a:moveTo>
                      <a:pt x="38" y="38"/>
                    </a:moveTo>
                    <a:cubicBezTo>
                      <a:pt x="38" y="30"/>
                      <a:pt x="36" y="24"/>
                      <a:pt x="34" y="20"/>
                    </a:cubicBezTo>
                    <a:cubicBezTo>
                      <a:pt x="32" y="15"/>
                      <a:pt x="29" y="13"/>
                      <a:pt x="26" y="13"/>
                    </a:cubicBezTo>
                    <a:cubicBezTo>
                      <a:pt x="22" y="13"/>
                      <a:pt x="19" y="15"/>
                      <a:pt x="17" y="20"/>
                    </a:cubicBezTo>
                    <a:cubicBezTo>
                      <a:pt x="15" y="24"/>
                      <a:pt x="14" y="30"/>
                      <a:pt x="14" y="38"/>
                    </a:cubicBezTo>
                    <a:cubicBezTo>
                      <a:pt x="14" y="45"/>
                      <a:pt x="15" y="52"/>
                      <a:pt x="17" y="56"/>
                    </a:cubicBezTo>
                    <a:cubicBezTo>
                      <a:pt x="19" y="61"/>
                      <a:pt x="22" y="63"/>
                      <a:pt x="26" y="63"/>
                    </a:cubicBezTo>
                    <a:cubicBezTo>
                      <a:pt x="29" y="63"/>
                      <a:pt x="32" y="61"/>
                      <a:pt x="34" y="56"/>
                    </a:cubicBezTo>
                    <a:cubicBezTo>
                      <a:pt x="36" y="52"/>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5" name="Freeform 235"/>
              <p:cNvSpPr>
                <a:spLocks/>
              </p:cNvSpPr>
              <p:nvPr/>
            </p:nvSpPr>
            <p:spPr bwMode="auto">
              <a:xfrm>
                <a:off x="2424664" y="3744575"/>
                <a:ext cx="32813" cy="86094"/>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6" name="Freeform 236"/>
              <p:cNvSpPr>
                <a:spLocks noEditPoints="1"/>
              </p:cNvSpPr>
              <p:nvPr/>
            </p:nvSpPr>
            <p:spPr bwMode="auto">
              <a:xfrm>
                <a:off x="2471540" y="3741444"/>
                <a:ext cx="62501" cy="92355"/>
              </a:xfrm>
              <a:custGeom>
                <a:avLst/>
                <a:gdLst/>
                <a:ahLst/>
                <a:cxnLst>
                  <a:cxn ang="0">
                    <a:pos x="52" y="38"/>
                  </a:cxn>
                  <a:cxn ang="0">
                    <a:pos x="45" y="65"/>
                  </a:cxn>
                  <a:cxn ang="0">
                    <a:pos x="26" y="76"/>
                  </a:cxn>
                  <a:cxn ang="0">
                    <a:pos x="7" y="65"/>
                  </a:cxn>
                  <a:cxn ang="0">
                    <a:pos x="0" y="38"/>
                  </a:cxn>
                  <a:cxn ang="0">
                    <a:pos x="7" y="11"/>
                  </a:cxn>
                  <a:cxn ang="0">
                    <a:pos x="26" y="0"/>
                  </a:cxn>
                  <a:cxn ang="0">
                    <a:pos x="45" y="10"/>
                  </a:cxn>
                  <a:cxn ang="0">
                    <a:pos x="52" y="38"/>
                  </a:cxn>
                  <a:cxn ang="0">
                    <a:pos x="38" y="38"/>
                  </a:cxn>
                  <a:cxn ang="0">
                    <a:pos x="34" y="20"/>
                  </a:cxn>
                  <a:cxn ang="0">
                    <a:pos x="26" y="13"/>
                  </a:cxn>
                  <a:cxn ang="0">
                    <a:pos x="17" y="20"/>
                  </a:cxn>
                  <a:cxn ang="0">
                    <a:pos x="14" y="38"/>
                  </a:cxn>
                  <a:cxn ang="0">
                    <a:pos x="17" y="56"/>
                  </a:cxn>
                  <a:cxn ang="0">
                    <a:pos x="26" y="63"/>
                  </a:cxn>
                  <a:cxn ang="0">
                    <a:pos x="35" y="56"/>
                  </a:cxn>
                  <a:cxn ang="0">
                    <a:pos x="38" y="38"/>
                  </a:cxn>
                </a:cxnLst>
                <a:rect l="0" t="0" r="r" b="b"/>
                <a:pathLst>
                  <a:path w="52" h="76">
                    <a:moveTo>
                      <a:pt x="52" y="38"/>
                    </a:moveTo>
                    <a:cubicBezTo>
                      <a:pt x="52" y="49"/>
                      <a:pt x="49" y="58"/>
                      <a:pt x="45" y="65"/>
                    </a:cubicBezTo>
                    <a:cubicBezTo>
                      <a:pt x="40" y="72"/>
                      <a:pt x="34" y="76"/>
                      <a:pt x="26" y="76"/>
                    </a:cubicBezTo>
                    <a:cubicBezTo>
                      <a:pt x="18" y="76"/>
                      <a:pt x="12" y="72"/>
                      <a:pt x="7" y="65"/>
                    </a:cubicBezTo>
                    <a:cubicBezTo>
                      <a:pt x="2" y="59"/>
                      <a:pt x="0" y="49"/>
                      <a:pt x="0" y="38"/>
                    </a:cubicBezTo>
                    <a:cubicBezTo>
                      <a:pt x="0" y="27"/>
                      <a:pt x="2" y="17"/>
                      <a:pt x="7" y="11"/>
                    </a:cubicBezTo>
                    <a:cubicBezTo>
                      <a:pt x="12" y="4"/>
                      <a:pt x="18" y="0"/>
                      <a:pt x="26" y="0"/>
                    </a:cubicBezTo>
                    <a:cubicBezTo>
                      <a:pt x="34" y="0"/>
                      <a:pt x="40" y="4"/>
                      <a:pt x="45" y="10"/>
                    </a:cubicBezTo>
                    <a:cubicBezTo>
                      <a:pt x="49" y="17"/>
                      <a:pt x="52" y="26"/>
                      <a:pt x="52" y="38"/>
                    </a:cubicBezTo>
                    <a:close/>
                    <a:moveTo>
                      <a:pt x="38" y="38"/>
                    </a:moveTo>
                    <a:cubicBezTo>
                      <a:pt x="38" y="30"/>
                      <a:pt x="37" y="24"/>
                      <a:pt x="34" y="20"/>
                    </a:cubicBezTo>
                    <a:cubicBezTo>
                      <a:pt x="32" y="15"/>
                      <a:pt x="29" y="13"/>
                      <a:pt x="26" y="13"/>
                    </a:cubicBezTo>
                    <a:cubicBezTo>
                      <a:pt x="22" y="13"/>
                      <a:pt x="19" y="15"/>
                      <a:pt x="17" y="20"/>
                    </a:cubicBezTo>
                    <a:cubicBezTo>
                      <a:pt x="15" y="24"/>
                      <a:pt x="14" y="30"/>
                      <a:pt x="14" y="38"/>
                    </a:cubicBezTo>
                    <a:cubicBezTo>
                      <a:pt x="14" y="45"/>
                      <a:pt x="15" y="52"/>
                      <a:pt x="17" y="56"/>
                    </a:cubicBezTo>
                    <a:cubicBezTo>
                      <a:pt x="19" y="61"/>
                      <a:pt x="22" y="63"/>
                      <a:pt x="26" y="63"/>
                    </a:cubicBezTo>
                    <a:cubicBezTo>
                      <a:pt x="29" y="63"/>
                      <a:pt x="32" y="61"/>
                      <a:pt x="35" y="56"/>
                    </a:cubicBezTo>
                    <a:cubicBezTo>
                      <a:pt x="37" y="52"/>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7" name="Freeform 237"/>
              <p:cNvSpPr>
                <a:spLocks/>
              </p:cNvSpPr>
              <p:nvPr/>
            </p:nvSpPr>
            <p:spPr bwMode="auto">
              <a:xfrm>
                <a:off x="2535603" y="3744575"/>
                <a:ext cx="32813" cy="86094"/>
              </a:xfrm>
              <a:custGeom>
                <a:avLst/>
                <a:gdLst/>
                <a:ahLst/>
                <a:cxnLst>
                  <a:cxn ang="0">
                    <a:pos x="21" y="55"/>
                  </a:cxn>
                  <a:cxn ang="0">
                    <a:pos x="11" y="55"/>
                  </a:cxn>
                  <a:cxn ang="0">
                    <a:pos x="11" y="9"/>
                  </a:cxn>
                  <a:cxn ang="0">
                    <a:pos x="0" y="9"/>
                  </a:cxn>
                  <a:cxn ang="0">
                    <a:pos x="5" y="0"/>
                  </a:cxn>
                  <a:cxn ang="0">
                    <a:pos x="21" y="0"/>
                  </a:cxn>
                  <a:cxn ang="0">
                    <a:pos x="21" y="55"/>
                  </a:cxn>
                </a:cxnLst>
                <a:rect l="0" t="0" r="r" b="b"/>
                <a:pathLst>
                  <a:path w="21" h="55">
                    <a:moveTo>
                      <a:pt x="21" y="55"/>
                    </a:moveTo>
                    <a:lnTo>
                      <a:pt x="11" y="55"/>
                    </a:lnTo>
                    <a:lnTo>
                      <a:pt x="11" y="9"/>
                    </a:lnTo>
                    <a:lnTo>
                      <a:pt x="0" y="9"/>
                    </a:lnTo>
                    <a:lnTo>
                      <a:pt x="5" y="0"/>
                    </a:lnTo>
                    <a:lnTo>
                      <a:pt x="21" y="0"/>
                    </a:lnTo>
                    <a:lnTo>
                      <a:pt x="21"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8" name="Freeform 238"/>
              <p:cNvSpPr>
                <a:spLocks/>
              </p:cNvSpPr>
              <p:nvPr/>
            </p:nvSpPr>
            <p:spPr bwMode="auto">
              <a:xfrm>
                <a:off x="2576229" y="3744575"/>
                <a:ext cx="32813" cy="86094"/>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9" name="Freeform 239"/>
              <p:cNvSpPr>
                <a:spLocks/>
              </p:cNvSpPr>
              <p:nvPr/>
            </p:nvSpPr>
            <p:spPr bwMode="auto">
              <a:xfrm>
                <a:off x="2616855" y="3744575"/>
                <a:ext cx="32813" cy="86094"/>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0" name="Freeform 240"/>
              <p:cNvSpPr>
                <a:spLocks/>
              </p:cNvSpPr>
              <p:nvPr/>
            </p:nvSpPr>
            <p:spPr bwMode="auto">
              <a:xfrm>
                <a:off x="2657480" y="3744575"/>
                <a:ext cx="32813" cy="86094"/>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1" name="Freeform 241"/>
              <p:cNvSpPr>
                <a:spLocks noEditPoints="1"/>
              </p:cNvSpPr>
              <p:nvPr/>
            </p:nvSpPr>
            <p:spPr bwMode="auto">
              <a:xfrm>
                <a:off x="2704356" y="3741444"/>
                <a:ext cx="62501" cy="92355"/>
              </a:xfrm>
              <a:custGeom>
                <a:avLst/>
                <a:gdLst/>
                <a:ahLst/>
                <a:cxnLst>
                  <a:cxn ang="0">
                    <a:pos x="52" y="38"/>
                  </a:cxn>
                  <a:cxn ang="0">
                    <a:pos x="44" y="65"/>
                  </a:cxn>
                  <a:cxn ang="0">
                    <a:pos x="26" y="76"/>
                  </a:cxn>
                  <a:cxn ang="0">
                    <a:pos x="7" y="65"/>
                  </a:cxn>
                  <a:cxn ang="0">
                    <a:pos x="0" y="38"/>
                  </a:cxn>
                  <a:cxn ang="0">
                    <a:pos x="7" y="11"/>
                  </a:cxn>
                  <a:cxn ang="0">
                    <a:pos x="26" y="0"/>
                  </a:cxn>
                  <a:cxn ang="0">
                    <a:pos x="45" y="10"/>
                  </a:cxn>
                  <a:cxn ang="0">
                    <a:pos x="52" y="38"/>
                  </a:cxn>
                  <a:cxn ang="0">
                    <a:pos x="38" y="38"/>
                  </a:cxn>
                  <a:cxn ang="0">
                    <a:pos x="34" y="20"/>
                  </a:cxn>
                  <a:cxn ang="0">
                    <a:pos x="26" y="13"/>
                  </a:cxn>
                  <a:cxn ang="0">
                    <a:pos x="17" y="20"/>
                  </a:cxn>
                  <a:cxn ang="0">
                    <a:pos x="14" y="38"/>
                  </a:cxn>
                  <a:cxn ang="0">
                    <a:pos x="17" y="56"/>
                  </a:cxn>
                  <a:cxn ang="0">
                    <a:pos x="26" y="63"/>
                  </a:cxn>
                  <a:cxn ang="0">
                    <a:pos x="34" y="56"/>
                  </a:cxn>
                  <a:cxn ang="0">
                    <a:pos x="38" y="38"/>
                  </a:cxn>
                </a:cxnLst>
                <a:rect l="0" t="0" r="r" b="b"/>
                <a:pathLst>
                  <a:path w="52" h="76">
                    <a:moveTo>
                      <a:pt x="52" y="38"/>
                    </a:moveTo>
                    <a:cubicBezTo>
                      <a:pt x="52" y="49"/>
                      <a:pt x="49" y="58"/>
                      <a:pt x="44" y="65"/>
                    </a:cubicBezTo>
                    <a:cubicBezTo>
                      <a:pt x="40" y="72"/>
                      <a:pt x="33" y="76"/>
                      <a:pt x="26" y="76"/>
                    </a:cubicBezTo>
                    <a:cubicBezTo>
                      <a:pt x="18" y="76"/>
                      <a:pt x="12" y="72"/>
                      <a:pt x="7" y="65"/>
                    </a:cubicBezTo>
                    <a:cubicBezTo>
                      <a:pt x="2" y="59"/>
                      <a:pt x="0" y="49"/>
                      <a:pt x="0" y="38"/>
                    </a:cubicBezTo>
                    <a:cubicBezTo>
                      <a:pt x="0" y="27"/>
                      <a:pt x="2" y="17"/>
                      <a:pt x="7" y="11"/>
                    </a:cubicBezTo>
                    <a:cubicBezTo>
                      <a:pt x="12" y="4"/>
                      <a:pt x="18" y="0"/>
                      <a:pt x="26" y="0"/>
                    </a:cubicBezTo>
                    <a:cubicBezTo>
                      <a:pt x="34" y="0"/>
                      <a:pt x="40" y="4"/>
                      <a:pt x="45" y="10"/>
                    </a:cubicBezTo>
                    <a:cubicBezTo>
                      <a:pt x="49" y="17"/>
                      <a:pt x="52" y="26"/>
                      <a:pt x="52" y="38"/>
                    </a:cubicBezTo>
                    <a:close/>
                    <a:moveTo>
                      <a:pt x="38" y="38"/>
                    </a:moveTo>
                    <a:cubicBezTo>
                      <a:pt x="38" y="30"/>
                      <a:pt x="37" y="24"/>
                      <a:pt x="34" y="20"/>
                    </a:cubicBezTo>
                    <a:cubicBezTo>
                      <a:pt x="32" y="15"/>
                      <a:pt x="29" y="13"/>
                      <a:pt x="26" y="13"/>
                    </a:cubicBezTo>
                    <a:cubicBezTo>
                      <a:pt x="22" y="13"/>
                      <a:pt x="19" y="15"/>
                      <a:pt x="17" y="20"/>
                    </a:cubicBezTo>
                    <a:cubicBezTo>
                      <a:pt x="15" y="24"/>
                      <a:pt x="14" y="30"/>
                      <a:pt x="14" y="38"/>
                    </a:cubicBezTo>
                    <a:cubicBezTo>
                      <a:pt x="14" y="45"/>
                      <a:pt x="15" y="52"/>
                      <a:pt x="17" y="56"/>
                    </a:cubicBezTo>
                    <a:cubicBezTo>
                      <a:pt x="19" y="61"/>
                      <a:pt x="22" y="63"/>
                      <a:pt x="26" y="63"/>
                    </a:cubicBezTo>
                    <a:cubicBezTo>
                      <a:pt x="29" y="63"/>
                      <a:pt x="32" y="61"/>
                      <a:pt x="34" y="56"/>
                    </a:cubicBezTo>
                    <a:cubicBezTo>
                      <a:pt x="37" y="52"/>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2" name="Freeform 242"/>
              <p:cNvSpPr>
                <a:spLocks noEditPoints="1"/>
              </p:cNvSpPr>
              <p:nvPr/>
            </p:nvSpPr>
            <p:spPr bwMode="auto">
              <a:xfrm>
                <a:off x="2771544" y="3741444"/>
                <a:ext cx="62501" cy="92355"/>
              </a:xfrm>
              <a:custGeom>
                <a:avLst/>
                <a:gdLst/>
                <a:ahLst/>
                <a:cxnLst>
                  <a:cxn ang="0">
                    <a:pos x="52" y="38"/>
                  </a:cxn>
                  <a:cxn ang="0">
                    <a:pos x="45" y="65"/>
                  </a:cxn>
                  <a:cxn ang="0">
                    <a:pos x="26" y="76"/>
                  </a:cxn>
                  <a:cxn ang="0">
                    <a:pos x="7" y="65"/>
                  </a:cxn>
                  <a:cxn ang="0">
                    <a:pos x="0" y="38"/>
                  </a:cxn>
                  <a:cxn ang="0">
                    <a:pos x="7" y="11"/>
                  </a:cxn>
                  <a:cxn ang="0">
                    <a:pos x="26" y="0"/>
                  </a:cxn>
                  <a:cxn ang="0">
                    <a:pos x="45" y="10"/>
                  </a:cxn>
                  <a:cxn ang="0">
                    <a:pos x="52" y="38"/>
                  </a:cxn>
                  <a:cxn ang="0">
                    <a:pos x="38" y="38"/>
                  </a:cxn>
                  <a:cxn ang="0">
                    <a:pos x="35" y="20"/>
                  </a:cxn>
                  <a:cxn ang="0">
                    <a:pos x="26" y="13"/>
                  </a:cxn>
                  <a:cxn ang="0">
                    <a:pos x="18" y="20"/>
                  </a:cxn>
                  <a:cxn ang="0">
                    <a:pos x="14" y="38"/>
                  </a:cxn>
                  <a:cxn ang="0">
                    <a:pos x="18" y="56"/>
                  </a:cxn>
                  <a:cxn ang="0">
                    <a:pos x="26" y="63"/>
                  </a:cxn>
                  <a:cxn ang="0">
                    <a:pos x="35" y="56"/>
                  </a:cxn>
                  <a:cxn ang="0">
                    <a:pos x="38" y="38"/>
                  </a:cxn>
                </a:cxnLst>
                <a:rect l="0" t="0" r="r" b="b"/>
                <a:pathLst>
                  <a:path w="52" h="76">
                    <a:moveTo>
                      <a:pt x="52" y="38"/>
                    </a:moveTo>
                    <a:cubicBezTo>
                      <a:pt x="52" y="49"/>
                      <a:pt x="50" y="58"/>
                      <a:pt x="45" y="65"/>
                    </a:cubicBezTo>
                    <a:cubicBezTo>
                      <a:pt x="40" y="72"/>
                      <a:pt x="34" y="76"/>
                      <a:pt x="26" y="76"/>
                    </a:cubicBezTo>
                    <a:cubicBezTo>
                      <a:pt x="18" y="76"/>
                      <a:pt x="12" y="72"/>
                      <a:pt x="7" y="65"/>
                    </a:cubicBezTo>
                    <a:cubicBezTo>
                      <a:pt x="3" y="59"/>
                      <a:pt x="0" y="49"/>
                      <a:pt x="0" y="38"/>
                    </a:cubicBezTo>
                    <a:cubicBezTo>
                      <a:pt x="0" y="27"/>
                      <a:pt x="3" y="17"/>
                      <a:pt x="7" y="11"/>
                    </a:cubicBezTo>
                    <a:cubicBezTo>
                      <a:pt x="12" y="4"/>
                      <a:pt x="18" y="0"/>
                      <a:pt x="26" y="0"/>
                    </a:cubicBezTo>
                    <a:cubicBezTo>
                      <a:pt x="34" y="0"/>
                      <a:pt x="40" y="4"/>
                      <a:pt x="45" y="10"/>
                    </a:cubicBezTo>
                    <a:cubicBezTo>
                      <a:pt x="50" y="17"/>
                      <a:pt x="52" y="26"/>
                      <a:pt x="52" y="38"/>
                    </a:cubicBezTo>
                    <a:close/>
                    <a:moveTo>
                      <a:pt x="38" y="38"/>
                    </a:moveTo>
                    <a:cubicBezTo>
                      <a:pt x="38" y="30"/>
                      <a:pt x="37" y="24"/>
                      <a:pt x="35" y="20"/>
                    </a:cubicBezTo>
                    <a:cubicBezTo>
                      <a:pt x="33" y="15"/>
                      <a:pt x="30" y="13"/>
                      <a:pt x="26" y="13"/>
                    </a:cubicBezTo>
                    <a:cubicBezTo>
                      <a:pt x="23" y="13"/>
                      <a:pt x="20" y="15"/>
                      <a:pt x="18" y="20"/>
                    </a:cubicBezTo>
                    <a:cubicBezTo>
                      <a:pt x="15" y="24"/>
                      <a:pt x="14" y="30"/>
                      <a:pt x="14" y="38"/>
                    </a:cubicBezTo>
                    <a:cubicBezTo>
                      <a:pt x="14" y="45"/>
                      <a:pt x="15" y="52"/>
                      <a:pt x="18" y="56"/>
                    </a:cubicBezTo>
                    <a:cubicBezTo>
                      <a:pt x="20" y="61"/>
                      <a:pt x="23" y="63"/>
                      <a:pt x="26" y="63"/>
                    </a:cubicBezTo>
                    <a:cubicBezTo>
                      <a:pt x="30" y="63"/>
                      <a:pt x="33" y="61"/>
                      <a:pt x="35" y="56"/>
                    </a:cubicBezTo>
                    <a:cubicBezTo>
                      <a:pt x="37" y="52"/>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3" name="Freeform 243"/>
              <p:cNvSpPr>
                <a:spLocks/>
              </p:cNvSpPr>
              <p:nvPr/>
            </p:nvSpPr>
            <p:spPr bwMode="auto">
              <a:xfrm>
                <a:off x="2835608" y="3744575"/>
                <a:ext cx="32813" cy="86094"/>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4" name="Freeform 244"/>
              <p:cNvSpPr>
                <a:spLocks noEditPoints="1"/>
              </p:cNvSpPr>
              <p:nvPr/>
            </p:nvSpPr>
            <p:spPr bwMode="auto">
              <a:xfrm>
                <a:off x="2882484" y="3741444"/>
                <a:ext cx="62501" cy="92355"/>
              </a:xfrm>
              <a:custGeom>
                <a:avLst/>
                <a:gdLst/>
                <a:ahLst/>
                <a:cxnLst>
                  <a:cxn ang="0">
                    <a:pos x="51" y="38"/>
                  </a:cxn>
                  <a:cxn ang="0">
                    <a:pos x="44" y="65"/>
                  </a:cxn>
                  <a:cxn ang="0">
                    <a:pos x="25" y="76"/>
                  </a:cxn>
                  <a:cxn ang="0">
                    <a:pos x="7" y="65"/>
                  </a:cxn>
                  <a:cxn ang="0">
                    <a:pos x="0" y="38"/>
                  </a:cxn>
                  <a:cxn ang="0">
                    <a:pos x="7" y="11"/>
                  </a:cxn>
                  <a:cxn ang="0">
                    <a:pos x="25" y="0"/>
                  </a:cxn>
                  <a:cxn ang="0">
                    <a:pos x="44" y="10"/>
                  </a:cxn>
                  <a:cxn ang="0">
                    <a:pos x="51" y="38"/>
                  </a:cxn>
                  <a:cxn ang="0">
                    <a:pos x="38" y="38"/>
                  </a:cxn>
                  <a:cxn ang="0">
                    <a:pos x="34" y="20"/>
                  </a:cxn>
                  <a:cxn ang="0">
                    <a:pos x="25" y="13"/>
                  </a:cxn>
                  <a:cxn ang="0">
                    <a:pos x="17" y="20"/>
                  </a:cxn>
                  <a:cxn ang="0">
                    <a:pos x="14" y="38"/>
                  </a:cxn>
                  <a:cxn ang="0">
                    <a:pos x="17" y="56"/>
                  </a:cxn>
                  <a:cxn ang="0">
                    <a:pos x="25" y="63"/>
                  </a:cxn>
                  <a:cxn ang="0">
                    <a:pos x="34" y="56"/>
                  </a:cxn>
                  <a:cxn ang="0">
                    <a:pos x="38" y="38"/>
                  </a:cxn>
                </a:cxnLst>
                <a:rect l="0" t="0" r="r" b="b"/>
                <a:pathLst>
                  <a:path w="51" h="76">
                    <a:moveTo>
                      <a:pt x="51" y="38"/>
                    </a:moveTo>
                    <a:cubicBezTo>
                      <a:pt x="51" y="49"/>
                      <a:pt x="49" y="58"/>
                      <a:pt x="44" y="65"/>
                    </a:cubicBezTo>
                    <a:cubicBezTo>
                      <a:pt x="40" y="72"/>
                      <a:pt x="33" y="76"/>
                      <a:pt x="25" y="76"/>
                    </a:cubicBezTo>
                    <a:cubicBezTo>
                      <a:pt x="18" y="76"/>
                      <a:pt x="11" y="72"/>
                      <a:pt x="7" y="65"/>
                    </a:cubicBezTo>
                    <a:cubicBezTo>
                      <a:pt x="2" y="59"/>
                      <a:pt x="0" y="49"/>
                      <a:pt x="0" y="38"/>
                    </a:cubicBezTo>
                    <a:cubicBezTo>
                      <a:pt x="0" y="27"/>
                      <a:pt x="2" y="17"/>
                      <a:pt x="7" y="11"/>
                    </a:cubicBezTo>
                    <a:cubicBezTo>
                      <a:pt x="11" y="4"/>
                      <a:pt x="18" y="0"/>
                      <a:pt x="25" y="0"/>
                    </a:cubicBezTo>
                    <a:cubicBezTo>
                      <a:pt x="33" y="0"/>
                      <a:pt x="40" y="4"/>
                      <a:pt x="44" y="10"/>
                    </a:cubicBezTo>
                    <a:cubicBezTo>
                      <a:pt x="49" y="17"/>
                      <a:pt x="51" y="26"/>
                      <a:pt x="51" y="38"/>
                    </a:cubicBezTo>
                    <a:close/>
                    <a:moveTo>
                      <a:pt x="38" y="38"/>
                    </a:moveTo>
                    <a:cubicBezTo>
                      <a:pt x="38" y="30"/>
                      <a:pt x="36" y="24"/>
                      <a:pt x="34" y="20"/>
                    </a:cubicBezTo>
                    <a:cubicBezTo>
                      <a:pt x="32" y="15"/>
                      <a:pt x="29" y="13"/>
                      <a:pt x="25" y="13"/>
                    </a:cubicBezTo>
                    <a:cubicBezTo>
                      <a:pt x="22" y="13"/>
                      <a:pt x="19" y="15"/>
                      <a:pt x="17" y="20"/>
                    </a:cubicBezTo>
                    <a:cubicBezTo>
                      <a:pt x="15" y="24"/>
                      <a:pt x="14" y="30"/>
                      <a:pt x="14" y="38"/>
                    </a:cubicBezTo>
                    <a:cubicBezTo>
                      <a:pt x="14" y="45"/>
                      <a:pt x="15" y="52"/>
                      <a:pt x="17" y="56"/>
                    </a:cubicBezTo>
                    <a:cubicBezTo>
                      <a:pt x="19" y="61"/>
                      <a:pt x="22" y="63"/>
                      <a:pt x="25" y="63"/>
                    </a:cubicBezTo>
                    <a:cubicBezTo>
                      <a:pt x="29" y="63"/>
                      <a:pt x="32" y="61"/>
                      <a:pt x="34" y="56"/>
                    </a:cubicBezTo>
                    <a:cubicBezTo>
                      <a:pt x="36" y="52"/>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5" name="Freeform 245"/>
              <p:cNvSpPr>
                <a:spLocks/>
              </p:cNvSpPr>
              <p:nvPr/>
            </p:nvSpPr>
            <p:spPr bwMode="auto">
              <a:xfrm>
                <a:off x="2944985" y="3744575"/>
                <a:ext cx="34376" cy="86094"/>
              </a:xfrm>
              <a:custGeom>
                <a:avLst/>
                <a:gdLst/>
                <a:ahLst/>
                <a:cxnLst>
                  <a:cxn ang="0">
                    <a:pos x="22" y="55"/>
                  </a:cxn>
                  <a:cxn ang="0">
                    <a:pos x="11" y="55"/>
                  </a:cxn>
                  <a:cxn ang="0">
                    <a:pos x="11" y="9"/>
                  </a:cxn>
                  <a:cxn ang="0">
                    <a:pos x="0" y="9"/>
                  </a:cxn>
                  <a:cxn ang="0">
                    <a:pos x="5" y="0"/>
                  </a:cxn>
                  <a:cxn ang="0">
                    <a:pos x="22" y="0"/>
                  </a:cxn>
                  <a:cxn ang="0">
                    <a:pos x="22" y="55"/>
                  </a:cxn>
                </a:cxnLst>
                <a:rect l="0" t="0" r="r" b="b"/>
                <a:pathLst>
                  <a:path w="22" h="55">
                    <a:moveTo>
                      <a:pt x="22" y="55"/>
                    </a:moveTo>
                    <a:lnTo>
                      <a:pt x="11" y="55"/>
                    </a:lnTo>
                    <a:lnTo>
                      <a:pt x="11" y="9"/>
                    </a:lnTo>
                    <a:lnTo>
                      <a:pt x="0" y="9"/>
                    </a:lnTo>
                    <a:lnTo>
                      <a:pt x="5" y="0"/>
                    </a:lnTo>
                    <a:lnTo>
                      <a:pt x="22" y="0"/>
                    </a:lnTo>
                    <a:lnTo>
                      <a:pt x="22"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6" name="Freeform 246"/>
              <p:cNvSpPr>
                <a:spLocks noEditPoints="1"/>
              </p:cNvSpPr>
              <p:nvPr/>
            </p:nvSpPr>
            <p:spPr bwMode="auto">
              <a:xfrm>
                <a:off x="2993423" y="3741444"/>
                <a:ext cx="62501" cy="92355"/>
              </a:xfrm>
              <a:custGeom>
                <a:avLst/>
                <a:gdLst/>
                <a:ahLst/>
                <a:cxnLst>
                  <a:cxn ang="0">
                    <a:pos x="52" y="38"/>
                  </a:cxn>
                  <a:cxn ang="0">
                    <a:pos x="44" y="65"/>
                  </a:cxn>
                  <a:cxn ang="0">
                    <a:pos x="26" y="76"/>
                  </a:cxn>
                  <a:cxn ang="0">
                    <a:pos x="7" y="65"/>
                  </a:cxn>
                  <a:cxn ang="0">
                    <a:pos x="0" y="38"/>
                  </a:cxn>
                  <a:cxn ang="0">
                    <a:pos x="7" y="11"/>
                  </a:cxn>
                  <a:cxn ang="0">
                    <a:pos x="26" y="0"/>
                  </a:cxn>
                  <a:cxn ang="0">
                    <a:pos x="45" y="10"/>
                  </a:cxn>
                  <a:cxn ang="0">
                    <a:pos x="52" y="38"/>
                  </a:cxn>
                  <a:cxn ang="0">
                    <a:pos x="38" y="38"/>
                  </a:cxn>
                  <a:cxn ang="0">
                    <a:pos x="34" y="20"/>
                  </a:cxn>
                  <a:cxn ang="0">
                    <a:pos x="26" y="13"/>
                  </a:cxn>
                  <a:cxn ang="0">
                    <a:pos x="17" y="20"/>
                  </a:cxn>
                  <a:cxn ang="0">
                    <a:pos x="14" y="38"/>
                  </a:cxn>
                  <a:cxn ang="0">
                    <a:pos x="17" y="56"/>
                  </a:cxn>
                  <a:cxn ang="0">
                    <a:pos x="26" y="63"/>
                  </a:cxn>
                  <a:cxn ang="0">
                    <a:pos x="34" y="56"/>
                  </a:cxn>
                  <a:cxn ang="0">
                    <a:pos x="38" y="38"/>
                  </a:cxn>
                </a:cxnLst>
                <a:rect l="0" t="0" r="r" b="b"/>
                <a:pathLst>
                  <a:path w="52" h="76">
                    <a:moveTo>
                      <a:pt x="52" y="38"/>
                    </a:moveTo>
                    <a:cubicBezTo>
                      <a:pt x="52" y="49"/>
                      <a:pt x="49" y="58"/>
                      <a:pt x="44" y="65"/>
                    </a:cubicBezTo>
                    <a:cubicBezTo>
                      <a:pt x="40" y="72"/>
                      <a:pt x="33" y="76"/>
                      <a:pt x="26" y="76"/>
                    </a:cubicBezTo>
                    <a:cubicBezTo>
                      <a:pt x="18" y="76"/>
                      <a:pt x="12" y="72"/>
                      <a:pt x="7" y="65"/>
                    </a:cubicBezTo>
                    <a:cubicBezTo>
                      <a:pt x="2" y="59"/>
                      <a:pt x="0" y="49"/>
                      <a:pt x="0" y="38"/>
                    </a:cubicBezTo>
                    <a:cubicBezTo>
                      <a:pt x="0" y="27"/>
                      <a:pt x="2" y="17"/>
                      <a:pt x="7" y="11"/>
                    </a:cubicBezTo>
                    <a:cubicBezTo>
                      <a:pt x="12" y="4"/>
                      <a:pt x="18" y="0"/>
                      <a:pt x="26" y="0"/>
                    </a:cubicBezTo>
                    <a:cubicBezTo>
                      <a:pt x="34" y="0"/>
                      <a:pt x="40" y="4"/>
                      <a:pt x="45" y="10"/>
                    </a:cubicBezTo>
                    <a:cubicBezTo>
                      <a:pt x="49" y="17"/>
                      <a:pt x="52" y="26"/>
                      <a:pt x="52" y="38"/>
                    </a:cubicBezTo>
                    <a:close/>
                    <a:moveTo>
                      <a:pt x="38" y="38"/>
                    </a:moveTo>
                    <a:cubicBezTo>
                      <a:pt x="38" y="30"/>
                      <a:pt x="37" y="24"/>
                      <a:pt x="34" y="20"/>
                    </a:cubicBezTo>
                    <a:cubicBezTo>
                      <a:pt x="32" y="15"/>
                      <a:pt x="29" y="13"/>
                      <a:pt x="26" y="13"/>
                    </a:cubicBezTo>
                    <a:cubicBezTo>
                      <a:pt x="22" y="13"/>
                      <a:pt x="19" y="15"/>
                      <a:pt x="17" y="20"/>
                    </a:cubicBezTo>
                    <a:cubicBezTo>
                      <a:pt x="15" y="24"/>
                      <a:pt x="14" y="30"/>
                      <a:pt x="14" y="38"/>
                    </a:cubicBezTo>
                    <a:cubicBezTo>
                      <a:pt x="14" y="45"/>
                      <a:pt x="15" y="52"/>
                      <a:pt x="17" y="56"/>
                    </a:cubicBezTo>
                    <a:cubicBezTo>
                      <a:pt x="19" y="61"/>
                      <a:pt x="22" y="63"/>
                      <a:pt x="26" y="63"/>
                    </a:cubicBezTo>
                    <a:cubicBezTo>
                      <a:pt x="29" y="63"/>
                      <a:pt x="32" y="61"/>
                      <a:pt x="34" y="56"/>
                    </a:cubicBezTo>
                    <a:cubicBezTo>
                      <a:pt x="37" y="52"/>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7" name="Freeform 247"/>
              <p:cNvSpPr>
                <a:spLocks/>
              </p:cNvSpPr>
              <p:nvPr/>
            </p:nvSpPr>
            <p:spPr bwMode="auto">
              <a:xfrm>
                <a:off x="3057486" y="3744575"/>
                <a:ext cx="32813" cy="86094"/>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8" name="Freeform 248"/>
              <p:cNvSpPr>
                <a:spLocks/>
              </p:cNvSpPr>
              <p:nvPr/>
            </p:nvSpPr>
            <p:spPr bwMode="auto">
              <a:xfrm>
                <a:off x="3098112" y="3744575"/>
                <a:ext cx="32813" cy="86094"/>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9" name="Freeform 259"/>
              <p:cNvSpPr>
                <a:spLocks/>
              </p:cNvSpPr>
              <p:nvPr/>
            </p:nvSpPr>
            <p:spPr bwMode="auto">
              <a:xfrm>
                <a:off x="2366851" y="3882325"/>
                <a:ext cx="32813" cy="87659"/>
              </a:xfrm>
              <a:custGeom>
                <a:avLst/>
                <a:gdLst/>
                <a:ahLst/>
                <a:cxnLst>
                  <a:cxn ang="0">
                    <a:pos x="21" y="56"/>
                  </a:cxn>
                  <a:cxn ang="0">
                    <a:pos x="10" y="56"/>
                  </a:cxn>
                  <a:cxn ang="0">
                    <a:pos x="10" y="9"/>
                  </a:cxn>
                  <a:cxn ang="0">
                    <a:pos x="0" y="9"/>
                  </a:cxn>
                  <a:cxn ang="0">
                    <a:pos x="5" y="0"/>
                  </a:cxn>
                  <a:cxn ang="0">
                    <a:pos x="21" y="0"/>
                  </a:cxn>
                  <a:cxn ang="0">
                    <a:pos x="21" y="56"/>
                  </a:cxn>
                </a:cxnLst>
                <a:rect l="0" t="0" r="r" b="b"/>
                <a:pathLst>
                  <a:path w="21" h="56">
                    <a:moveTo>
                      <a:pt x="21" y="56"/>
                    </a:moveTo>
                    <a:lnTo>
                      <a:pt x="10" y="56"/>
                    </a:lnTo>
                    <a:lnTo>
                      <a:pt x="10" y="9"/>
                    </a:lnTo>
                    <a:lnTo>
                      <a:pt x="0" y="9"/>
                    </a:lnTo>
                    <a:lnTo>
                      <a:pt x="5"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0" name="Freeform 260"/>
              <p:cNvSpPr>
                <a:spLocks/>
              </p:cNvSpPr>
              <p:nvPr/>
            </p:nvSpPr>
            <p:spPr bwMode="auto">
              <a:xfrm>
                <a:off x="2407476" y="3882325"/>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1" name="Freeform 261"/>
              <p:cNvSpPr>
                <a:spLocks/>
              </p:cNvSpPr>
              <p:nvPr/>
            </p:nvSpPr>
            <p:spPr bwMode="auto">
              <a:xfrm>
                <a:off x="2449664" y="3882325"/>
                <a:ext cx="31250" cy="87659"/>
              </a:xfrm>
              <a:custGeom>
                <a:avLst/>
                <a:gdLst/>
                <a:ahLst/>
                <a:cxnLst>
                  <a:cxn ang="0">
                    <a:pos x="20" y="56"/>
                  </a:cxn>
                  <a:cxn ang="0">
                    <a:pos x="10" y="56"/>
                  </a:cxn>
                  <a:cxn ang="0">
                    <a:pos x="10" y="9"/>
                  </a:cxn>
                  <a:cxn ang="0">
                    <a:pos x="0" y="9"/>
                  </a:cxn>
                  <a:cxn ang="0">
                    <a:pos x="3" y="0"/>
                  </a:cxn>
                  <a:cxn ang="0">
                    <a:pos x="20" y="0"/>
                  </a:cxn>
                  <a:cxn ang="0">
                    <a:pos x="20" y="56"/>
                  </a:cxn>
                </a:cxnLst>
                <a:rect l="0" t="0" r="r" b="b"/>
                <a:pathLst>
                  <a:path w="20" h="56">
                    <a:moveTo>
                      <a:pt x="20" y="56"/>
                    </a:moveTo>
                    <a:lnTo>
                      <a:pt x="10" y="56"/>
                    </a:lnTo>
                    <a:lnTo>
                      <a:pt x="10" y="9"/>
                    </a:lnTo>
                    <a:lnTo>
                      <a:pt x="0" y="9"/>
                    </a:lnTo>
                    <a:lnTo>
                      <a:pt x="3" y="0"/>
                    </a:lnTo>
                    <a:lnTo>
                      <a:pt x="20" y="0"/>
                    </a:lnTo>
                    <a:lnTo>
                      <a:pt x="20"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2" name="Freeform 262"/>
              <p:cNvSpPr>
                <a:spLocks noEditPoints="1"/>
              </p:cNvSpPr>
              <p:nvPr/>
            </p:nvSpPr>
            <p:spPr bwMode="auto">
              <a:xfrm>
                <a:off x="2496540" y="3880759"/>
                <a:ext cx="62501" cy="90790"/>
              </a:xfrm>
              <a:custGeom>
                <a:avLst/>
                <a:gdLst/>
                <a:ahLst/>
                <a:cxnLst>
                  <a:cxn ang="0">
                    <a:pos x="52" y="38"/>
                  </a:cxn>
                  <a:cxn ang="0">
                    <a:pos x="45" y="66"/>
                  </a:cxn>
                  <a:cxn ang="0">
                    <a:pos x="26" y="76"/>
                  </a:cxn>
                  <a:cxn ang="0">
                    <a:pos x="7" y="66"/>
                  </a:cxn>
                  <a:cxn ang="0">
                    <a:pos x="0" y="38"/>
                  </a:cxn>
                  <a:cxn ang="0">
                    <a:pos x="7" y="11"/>
                  </a:cxn>
                  <a:cxn ang="0">
                    <a:pos x="26" y="0"/>
                  </a:cxn>
                  <a:cxn ang="0">
                    <a:pos x="45" y="11"/>
                  </a:cxn>
                  <a:cxn ang="0">
                    <a:pos x="52" y="38"/>
                  </a:cxn>
                  <a:cxn ang="0">
                    <a:pos x="38" y="38"/>
                  </a:cxn>
                  <a:cxn ang="0">
                    <a:pos x="34" y="20"/>
                  </a:cxn>
                  <a:cxn ang="0">
                    <a:pos x="26" y="13"/>
                  </a:cxn>
                  <a:cxn ang="0">
                    <a:pos x="17" y="20"/>
                  </a:cxn>
                  <a:cxn ang="0">
                    <a:pos x="14" y="38"/>
                  </a:cxn>
                  <a:cxn ang="0">
                    <a:pos x="17" y="57"/>
                  </a:cxn>
                  <a:cxn ang="0">
                    <a:pos x="26" y="64"/>
                  </a:cxn>
                  <a:cxn ang="0">
                    <a:pos x="34" y="57"/>
                  </a:cxn>
                  <a:cxn ang="0">
                    <a:pos x="38" y="38"/>
                  </a:cxn>
                </a:cxnLst>
                <a:rect l="0" t="0" r="r" b="b"/>
                <a:pathLst>
                  <a:path w="52" h="76">
                    <a:moveTo>
                      <a:pt x="52" y="38"/>
                    </a:moveTo>
                    <a:cubicBezTo>
                      <a:pt x="52" y="49"/>
                      <a:pt x="49" y="59"/>
                      <a:pt x="45" y="66"/>
                    </a:cubicBezTo>
                    <a:cubicBezTo>
                      <a:pt x="40" y="72"/>
                      <a:pt x="34" y="76"/>
                      <a:pt x="26" y="76"/>
                    </a:cubicBezTo>
                    <a:cubicBezTo>
                      <a:pt x="18" y="76"/>
                      <a:pt x="12" y="73"/>
                      <a:pt x="7" y="66"/>
                    </a:cubicBezTo>
                    <a:cubicBezTo>
                      <a:pt x="2" y="59"/>
                      <a:pt x="0" y="50"/>
                      <a:pt x="0" y="38"/>
                    </a:cubicBezTo>
                    <a:cubicBezTo>
                      <a:pt x="0" y="27"/>
                      <a:pt x="2" y="18"/>
                      <a:pt x="7" y="11"/>
                    </a:cubicBezTo>
                    <a:cubicBezTo>
                      <a:pt x="12" y="4"/>
                      <a:pt x="18" y="0"/>
                      <a:pt x="26" y="0"/>
                    </a:cubicBezTo>
                    <a:cubicBezTo>
                      <a:pt x="34" y="0"/>
                      <a:pt x="40" y="4"/>
                      <a:pt x="45" y="11"/>
                    </a:cubicBezTo>
                    <a:cubicBezTo>
                      <a:pt x="49" y="18"/>
                      <a:pt x="52" y="27"/>
                      <a:pt x="52" y="38"/>
                    </a:cubicBezTo>
                    <a:close/>
                    <a:moveTo>
                      <a:pt x="38" y="38"/>
                    </a:moveTo>
                    <a:cubicBezTo>
                      <a:pt x="38" y="31"/>
                      <a:pt x="37" y="24"/>
                      <a:pt x="34" y="20"/>
                    </a:cubicBezTo>
                    <a:cubicBezTo>
                      <a:pt x="32" y="15"/>
                      <a:pt x="29" y="13"/>
                      <a:pt x="26" y="13"/>
                    </a:cubicBezTo>
                    <a:cubicBezTo>
                      <a:pt x="22" y="13"/>
                      <a:pt x="19" y="15"/>
                      <a:pt x="17" y="20"/>
                    </a:cubicBezTo>
                    <a:cubicBezTo>
                      <a:pt x="15" y="25"/>
                      <a:pt x="14" y="31"/>
                      <a:pt x="14" y="38"/>
                    </a:cubicBezTo>
                    <a:cubicBezTo>
                      <a:pt x="14" y="46"/>
                      <a:pt x="15" y="52"/>
                      <a:pt x="17" y="57"/>
                    </a:cubicBezTo>
                    <a:cubicBezTo>
                      <a:pt x="19" y="61"/>
                      <a:pt x="22" y="64"/>
                      <a:pt x="26" y="64"/>
                    </a:cubicBezTo>
                    <a:cubicBezTo>
                      <a:pt x="29" y="64"/>
                      <a:pt x="32" y="61"/>
                      <a:pt x="34" y="57"/>
                    </a:cubicBezTo>
                    <a:cubicBezTo>
                      <a:pt x="37" y="52"/>
                      <a:pt x="38" y="46"/>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3" name="Freeform 263"/>
              <p:cNvSpPr>
                <a:spLocks noEditPoints="1"/>
              </p:cNvSpPr>
              <p:nvPr/>
            </p:nvSpPr>
            <p:spPr bwMode="auto">
              <a:xfrm>
                <a:off x="2562166" y="3880759"/>
                <a:ext cx="62501" cy="90790"/>
              </a:xfrm>
              <a:custGeom>
                <a:avLst/>
                <a:gdLst/>
                <a:ahLst/>
                <a:cxnLst>
                  <a:cxn ang="0">
                    <a:pos x="52" y="38"/>
                  </a:cxn>
                  <a:cxn ang="0">
                    <a:pos x="45" y="66"/>
                  </a:cxn>
                  <a:cxn ang="0">
                    <a:pos x="26" y="76"/>
                  </a:cxn>
                  <a:cxn ang="0">
                    <a:pos x="7" y="66"/>
                  </a:cxn>
                  <a:cxn ang="0">
                    <a:pos x="0" y="38"/>
                  </a:cxn>
                  <a:cxn ang="0">
                    <a:pos x="7" y="11"/>
                  </a:cxn>
                  <a:cxn ang="0">
                    <a:pos x="26" y="0"/>
                  </a:cxn>
                  <a:cxn ang="0">
                    <a:pos x="45" y="11"/>
                  </a:cxn>
                  <a:cxn ang="0">
                    <a:pos x="52" y="38"/>
                  </a:cxn>
                  <a:cxn ang="0">
                    <a:pos x="38" y="38"/>
                  </a:cxn>
                  <a:cxn ang="0">
                    <a:pos x="35" y="20"/>
                  </a:cxn>
                  <a:cxn ang="0">
                    <a:pos x="26" y="13"/>
                  </a:cxn>
                  <a:cxn ang="0">
                    <a:pos x="18" y="20"/>
                  </a:cxn>
                  <a:cxn ang="0">
                    <a:pos x="14" y="38"/>
                  </a:cxn>
                  <a:cxn ang="0">
                    <a:pos x="18" y="57"/>
                  </a:cxn>
                  <a:cxn ang="0">
                    <a:pos x="26" y="64"/>
                  </a:cxn>
                  <a:cxn ang="0">
                    <a:pos x="35" y="57"/>
                  </a:cxn>
                  <a:cxn ang="0">
                    <a:pos x="38" y="38"/>
                  </a:cxn>
                </a:cxnLst>
                <a:rect l="0" t="0" r="r" b="b"/>
                <a:pathLst>
                  <a:path w="52" h="76">
                    <a:moveTo>
                      <a:pt x="52" y="38"/>
                    </a:moveTo>
                    <a:cubicBezTo>
                      <a:pt x="52" y="49"/>
                      <a:pt x="50" y="59"/>
                      <a:pt x="45" y="66"/>
                    </a:cubicBezTo>
                    <a:cubicBezTo>
                      <a:pt x="40" y="72"/>
                      <a:pt x="34" y="76"/>
                      <a:pt x="26" y="76"/>
                    </a:cubicBezTo>
                    <a:cubicBezTo>
                      <a:pt x="18" y="76"/>
                      <a:pt x="12" y="73"/>
                      <a:pt x="7" y="66"/>
                    </a:cubicBezTo>
                    <a:cubicBezTo>
                      <a:pt x="3" y="59"/>
                      <a:pt x="0" y="50"/>
                      <a:pt x="0" y="38"/>
                    </a:cubicBezTo>
                    <a:cubicBezTo>
                      <a:pt x="0" y="27"/>
                      <a:pt x="3" y="18"/>
                      <a:pt x="7" y="11"/>
                    </a:cubicBezTo>
                    <a:cubicBezTo>
                      <a:pt x="12" y="4"/>
                      <a:pt x="18" y="0"/>
                      <a:pt x="26" y="0"/>
                    </a:cubicBezTo>
                    <a:cubicBezTo>
                      <a:pt x="34" y="0"/>
                      <a:pt x="40" y="4"/>
                      <a:pt x="45" y="11"/>
                    </a:cubicBezTo>
                    <a:cubicBezTo>
                      <a:pt x="50" y="18"/>
                      <a:pt x="52" y="27"/>
                      <a:pt x="52" y="38"/>
                    </a:cubicBezTo>
                    <a:close/>
                    <a:moveTo>
                      <a:pt x="38" y="38"/>
                    </a:moveTo>
                    <a:cubicBezTo>
                      <a:pt x="38" y="31"/>
                      <a:pt x="37" y="24"/>
                      <a:pt x="35" y="20"/>
                    </a:cubicBezTo>
                    <a:cubicBezTo>
                      <a:pt x="33" y="15"/>
                      <a:pt x="30" y="13"/>
                      <a:pt x="26" y="13"/>
                    </a:cubicBezTo>
                    <a:cubicBezTo>
                      <a:pt x="23" y="13"/>
                      <a:pt x="20" y="15"/>
                      <a:pt x="18" y="20"/>
                    </a:cubicBezTo>
                    <a:cubicBezTo>
                      <a:pt x="15" y="25"/>
                      <a:pt x="14" y="31"/>
                      <a:pt x="14" y="38"/>
                    </a:cubicBezTo>
                    <a:cubicBezTo>
                      <a:pt x="14" y="46"/>
                      <a:pt x="15" y="52"/>
                      <a:pt x="18" y="57"/>
                    </a:cubicBezTo>
                    <a:cubicBezTo>
                      <a:pt x="20" y="61"/>
                      <a:pt x="23" y="64"/>
                      <a:pt x="26" y="64"/>
                    </a:cubicBezTo>
                    <a:cubicBezTo>
                      <a:pt x="30" y="64"/>
                      <a:pt x="33" y="61"/>
                      <a:pt x="35" y="57"/>
                    </a:cubicBezTo>
                    <a:cubicBezTo>
                      <a:pt x="37" y="52"/>
                      <a:pt x="38" y="46"/>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4" name="Freeform 264"/>
              <p:cNvSpPr>
                <a:spLocks/>
              </p:cNvSpPr>
              <p:nvPr/>
            </p:nvSpPr>
            <p:spPr bwMode="auto">
              <a:xfrm>
                <a:off x="2626230" y="3882325"/>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5" name="Freeform 265"/>
              <p:cNvSpPr>
                <a:spLocks noEditPoints="1"/>
              </p:cNvSpPr>
              <p:nvPr/>
            </p:nvSpPr>
            <p:spPr bwMode="auto">
              <a:xfrm>
                <a:off x="2673105" y="3880759"/>
                <a:ext cx="62501" cy="90790"/>
              </a:xfrm>
              <a:custGeom>
                <a:avLst/>
                <a:gdLst/>
                <a:ahLst/>
                <a:cxnLst>
                  <a:cxn ang="0">
                    <a:pos x="51" y="38"/>
                  </a:cxn>
                  <a:cxn ang="0">
                    <a:pos x="44" y="66"/>
                  </a:cxn>
                  <a:cxn ang="0">
                    <a:pos x="25" y="76"/>
                  </a:cxn>
                  <a:cxn ang="0">
                    <a:pos x="7" y="66"/>
                  </a:cxn>
                  <a:cxn ang="0">
                    <a:pos x="0" y="38"/>
                  </a:cxn>
                  <a:cxn ang="0">
                    <a:pos x="7" y="11"/>
                  </a:cxn>
                  <a:cxn ang="0">
                    <a:pos x="25" y="0"/>
                  </a:cxn>
                  <a:cxn ang="0">
                    <a:pos x="44" y="11"/>
                  </a:cxn>
                  <a:cxn ang="0">
                    <a:pos x="51" y="38"/>
                  </a:cxn>
                  <a:cxn ang="0">
                    <a:pos x="38" y="38"/>
                  </a:cxn>
                  <a:cxn ang="0">
                    <a:pos x="34" y="20"/>
                  </a:cxn>
                  <a:cxn ang="0">
                    <a:pos x="25" y="13"/>
                  </a:cxn>
                  <a:cxn ang="0">
                    <a:pos x="17" y="20"/>
                  </a:cxn>
                  <a:cxn ang="0">
                    <a:pos x="14" y="38"/>
                  </a:cxn>
                  <a:cxn ang="0">
                    <a:pos x="17" y="57"/>
                  </a:cxn>
                  <a:cxn ang="0">
                    <a:pos x="25" y="64"/>
                  </a:cxn>
                  <a:cxn ang="0">
                    <a:pos x="34" y="57"/>
                  </a:cxn>
                  <a:cxn ang="0">
                    <a:pos x="38" y="38"/>
                  </a:cxn>
                </a:cxnLst>
                <a:rect l="0" t="0" r="r" b="b"/>
                <a:pathLst>
                  <a:path w="51" h="76">
                    <a:moveTo>
                      <a:pt x="51" y="38"/>
                    </a:moveTo>
                    <a:cubicBezTo>
                      <a:pt x="51" y="49"/>
                      <a:pt x="49" y="59"/>
                      <a:pt x="44" y="66"/>
                    </a:cubicBezTo>
                    <a:cubicBezTo>
                      <a:pt x="40" y="72"/>
                      <a:pt x="33" y="76"/>
                      <a:pt x="25" y="76"/>
                    </a:cubicBezTo>
                    <a:cubicBezTo>
                      <a:pt x="18" y="76"/>
                      <a:pt x="11" y="73"/>
                      <a:pt x="7" y="66"/>
                    </a:cubicBezTo>
                    <a:cubicBezTo>
                      <a:pt x="2" y="59"/>
                      <a:pt x="0" y="50"/>
                      <a:pt x="0" y="38"/>
                    </a:cubicBezTo>
                    <a:cubicBezTo>
                      <a:pt x="0" y="27"/>
                      <a:pt x="2" y="18"/>
                      <a:pt x="7" y="11"/>
                    </a:cubicBezTo>
                    <a:cubicBezTo>
                      <a:pt x="11" y="4"/>
                      <a:pt x="18" y="0"/>
                      <a:pt x="25" y="0"/>
                    </a:cubicBezTo>
                    <a:cubicBezTo>
                      <a:pt x="33" y="0"/>
                      <a:pt x="40" y="4"/>
                      <a:pt x="44" y="11"/>
                    </a:cubicBezTo>
                    <a:cubicBezTo>
                      <a:pt x="49" y="18"/>
                      <a:pt x="51" y="27"/>
                      <a:pt x="51" y="38"/>
                    </a:cubicBezTo>
                    <a:close/>
                    <a:moveTo>
                      <a:pt x="38" y="38"/>
                    </a:moveTo>
                    <a:cubicBezTo>
                      <a:pt x="38" y="31"/>
                      <a:pt x="36" y="24"/>
                      <a:pt x="34" y="20"/>
                    </a:cubicBezTo>
                    <a:cubicBezTo>
                      <a:pt x="32" y="15"/>
                      <a:pt x="29" y="13"/>
                      <a:pt x="25" y="13"/>
                    </a:cubicBezTo>
                    <a:cubicBezTo>
                      <a:pt x="22" y="13"/>
                      <a:pt x="19" y="15"/>
                      <a:pt x="17" y="20"/>
                    </a:cubicBezTo>
                    <a:cubicBezTo>
                      <a:pt x="15" y="25"/>
                      <a:pt x="14" y="31"/>
                      <a:pt x="14" y="38"/>
                    </a:cubicBezTo>
                    <a:cubicBezTo>
                      <a:pt x="14" y="46"/>
                      <a:pt x="15" y="52"/>
                      <a:pt x="17" y="57"/>
                    </a:cubicBezTo>
                    <a:cubicBezTo>
                      <a:pt x="19" y="61"/>
                      <a:pt x="22" y="64"/>
                      <a:pt x="25" y="64"/>
                    </a:cubicBezTo>
                    <a:cubicBezTo>
                      <a:pt x="29" y="64"/>
                      <a:pt x="32" y="61"/>
                      <a:pt x="34" y="57"/>
                    </a:cubicBezTo>
                    <a:cubicBezTo>
                      <a:pt x="36" y="52"/>
                      <a:pt x="38" y="46"/>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6" name="Freeform 266"/>
              <p:cNvSpPr>
                <a:spLocks/>
              </p:cNvSpPr>
              <p:nvPr/>
            </p:nvSpPr>
            <p:spPr bwMode="auto">
              <a:xfrm>
                <a:off x="2737169" y="3882325"/>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7" name="Freeform 267"/>
              <p:cNvSpPr>
                <a:spLocks noEditPoints="1"/>
              </p:cNvSpPr>
              <p:nvPr/>
            </p:nvSpPr>
            <p:spPr bwMode="auto">
              <a:xfrm>
                <a:off x="2784045" y="3880759"/>
                <a:ext cx="62501" cy="90790"/>
              </a:xfrm>
              <a:custGeom>
                <a:avLst/>
                <a:gdLst/>
                <a:ahLst/>
                <a:cxnLst>
                  <a:cxn ang="0">
                    <a:pos x="52" y="38"/>
                  </a:cxn>
                  <a:cxn ang="0">
                    <a:pos x="45" y="66"/>
                  </a:cxn>
                  <a:cxn ang="0">
                    <a:pos x="26" y="76"/>
                  </a:cxn>
                  <a:cxn ang="0">
                    <a:pos x="7" y="66"/>
                  </a:cxn>
                  <a:cxn ang="0">
                    <a:pos x="0" y="38"/>
                  </a:cxn>
                  <a:cxn ang="0">
                    <a:pos x="7" y="11"/>
                  </a:cxn>
                  <a:cxn ang="0">
                    <a:pos x="26" y="0"/>
                  </a:cxn>
                  <a:cxn ang="0">
                    <a:pos x="45" y="11"/>
                  </a:cxn>
                  <a:cxn ang="0">
                    <a:pos x="52" y="38"/>
                  </a:cxn>
                  <a:cxn ang="0">
                    <a:pos x="38" y="38"/>
                  </a:cxn>
                  <a:cxn ang="0">
                    <a:pos x="34" y="20"/>
                  </a:cxn>
                  <a:cxn ang="0">
                    <a:pos x="26" y="13"/>
                  </a:cxn>
                  <a:cxn ang="0">
                    <a:pos x="17" y="20"/>
                  </a:cxn>
                  <a:cxn ang="0">
                    <a:pos x="14" y="38"/>
                  </a:cxn>
                  <a:cxn ang="0">
                    <a:pos x="17" y="57"/>
                  </a:cxn>
                  <a:cxn ang="0">
                    <a:pos x="26" y="64"/>
                  </a:cxn>
                  <a:cxn ang="0">
                    <a:pos x="34" y="57"/>
                  </a:cxn>
                  <a:cxn ang="0">
                    <a:pos x="38" y="38"/>
                  </a:cxn>
                </a:cxnLst>
                <a:rect l="0" t="0" r="r" b="b"/>
                <a:pathLst>
                  <a:path w="52" h="76">
                    <a:moveTo>
                      <a:pt x="52" y="38"/>
                    </a:moveTo>
                    <a:cubicBezTo>
                      <a:pt x="52" y="49"/>
                      <a:pt x="49" y="59"/>
                      <a:pt x="45" y="66"/>
                    </a:cubicBezTo>
                    <a:cubicBezTo>
                      <a:pt x="40" y="72"/>
                      <a:pt x="34" y="76"/>
                      <a:pt x="26" y="76"/>
                    </a:cubicBezTo>
                    <a:cubicBezTo>
                      <a:pt x="18" y="76"/>
                      <a:pt x="12" y="73"/>
                      <a:pt x="7" y="66"/>
                    </a:cubicBezTo>
                    <a:cubicBezTo>
                      <a:pt x="2" y="59"/>
                      <a:pt x="0" y="50"/>
                      <a:pt x="0" y="38"/>
                    </a:cubicBezTo>
                    <a:cubicBezTo>
                      <a:pt x="0" y="27"/>
                      <a:pt x="2" y="18"/>
                      <a:pt x="7" y="11"/>
                    </a:cubicBezTo>
                    <a:cubicBezTo>
                      <a:pt x="12" y="4"/>
                      <a:pt x="18" y="0"/>
                      <a:pt x="26" y="0"/>
                    </a:cubicBezTo>
                    <a:cubicBezTo>
                      <a:pt x="34" y="0"/>
                      <a:pt x="40" y="4"/>
                      <a:pt x="45" y="11"/>
                    </a:cubicBezTo>
                    <a:cubicBezTo>
                      <a:pt x="49" y="18"/>
                      <a:pt x="52" y="27"/>
                      <a:pt x="52" y="38"/>
                    </a:cubicBezTo>
                    <a:close/>
                    <a:moveTo>
                      <a:pt x="38" y="38"/>
                    </a:moveTo>
                    <a:cubicBezTo>
                      <a:pt x="38" y="31"/>
                      <a:pt x="37" y="24"/>
                      <a:pt x="34" y="20"/>
                    </a:cubicBezTo>
                    <a:cubicBezTo>
                      <a:pt x="32" y="15"/>
                      <a:pt x="29" y="13"/>
                      <a:pt x="26" y="13"/>
                    </a:cubicBezTo>
                    <a:cubicBezTo>
                      <a:pt x="22" y="13"/>
                      <a:pt x="19" y="15"/>
                      <a:pt x="17" y="20"/>
                    </a:cubicBezTo>
                    <a:cubicBezTo>
                      <a:pt x="15" y="25"/>
                      <a:pt x="14" y="31"/>
                      <a:pt x="14" y="38"/>
                    </a:cubicBezTo>
                    <a:cubicBezTo>
                      <a:pt x="14" y="46"/>
                      <a:pt x="15" y="52"/>
                      <a:pt x="17" y="57"/>
                    </a:cubicBezTo>
                    <a:cubicBezTo>
                      <a:pt x="19" y="61"/>
                      <a:pt x="22" y="64"/>
                      <a:pt x="26" y="64"/>
                    </a:cubicBezTo>
                    <a:cubicBezTo>
                      <a:pt x="29" y="64"/>
                      <a:pt x="32" y="61"/>
                      <a:pt x="34" y="57"/>
                    </a:cubicBezTo>
                    <a:cubicBezTo>
                      <a:pt x="37" y="52"/>
                      <a:pt x="38" y="46"/>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8" name="Freeform 268"/>
              <p:cNvSpPr>
                <a:spLocks/>
              </p:cNvSpPr>
              <p:nvPr/>
            </p:nvSpPr>
            <p:spPr bwMode="auto">
              <a:xfrm>
                <a:off x="2848108" y="3882325"/>
                <a:ext cx="32813" cy="87659"/>
              </a:xfrm>
              <a:custGeom>
                <a:avLst/>
                <a:gdLst/>
                <a:ahLst/>
                <a:cxnLst>
                  <a:cxn ang="0">
                    <a:pos x="21" y="56"/>
                  </a:cxn>
                  <a:cxn ang="0">
                    <a:pos x="11" y="56"/>
                  </a:cxn>
                  <a:cxn ang="0">
                    <a:pos x="11" y="9"/>
                  </a:cxn>
                  <a:cxn ang="0">
                    <a:pos x="0" y="9"/>
                  </a:cxn>
                  <a:cxn ang="0">
                    <a:pos x="5" y="0"/>
                  </a:cxn>
                  <a:cxn ang="0">
                    <a:pos x="21" y="0"/>
                  </a:cxn>
                  <a:cxn ang="0">
                    <a:pos x="21" y="56"/>
                  </a:cxn>
                </a:cxnLst>
                <a:rect l="0" t="0" r="r" b="b"/>
                <a:pathLst>
                  <a:path w="21" h="56">
                    <a:moveTo>
                      <a:pt x="21" y="56"/>
                    </a:moveTo>
                    <a:lnTo>
                      <a:pt x="11" y="56"/>
                    </a:lnTo>
                    <a:lnTo>
                      <a:pt x="11" y="9"/>
                    </a:lnTo>
                    <a:lnTo>
                      <a:pt x="0" y="9"/>
                    </a:lnTo>
                    <a:lnTo>
                      <a:pt x="5"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9" name="Freeform 269"/>
              <p:cNvSpPr>
                <a:spLocks/>
              </p:cNvSpPr>
              <p:nvPr/>
            </p:nvSpPr>
            <p:spPr bwMode="auto">
              <a:xfrm>
                <a:off x="2888734" y="3882325"/>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0" name="Freeform 270"/>
              <p:cNvSpPr>
                <a:spLocks noEditPoints="1"/>
              </p:cNvSpPr>
              <p:nvPr/>
            </p:nvSpPr>
            <p:spPr bwMode="auto">
              <a:xfrm>
                <a:off x="2935610" y="3880759"/>
                <a:ext cx="62501" cy="90790"/>
              </a:xfrm>
              <a:custGeom>
                <a:avLst/>
                <a:gdLst/>
                <a:ahLst/>
                <a:cxnLst>
                  <a:cxn ang="0">
                    <a:pos x="52" y="38"/>
                  </a:cxn>
                  <a:cxn ang="0">
                    <a:pos x="45" y="66"/>
                  </a:cxn>
                  <a:cxn ang="0">
                    <a:pos x="26" y="76"/>
                  </a:cxn>
                  <a:cxn ang="0">
                    <a:pos x="7" y="66"/>
                  </a:cxn>
                  <a:cxn ang="0">
                    <a:pos x="0" y="38"/>
                  </a:cxn>
                  <a:cxn ang="0">
                    <a:pos x="7" y="11"/>
                  </a:cxn>
                  <a:cxn ang="0">
                    <a:pos x="26" y="0"/>
                  </a:cxn>
                  <a:cxn ang="0">
                    <a:pos x="45" y="11"/>
                  </a:cxn>
                  <a:cxn ang="0">
                    <a:pos x="52" y="38"/>
                  </a:cxn>
                  <a:cxn ang="0">
                    <a:pos x="38" y="38"/>
                  </a:cxn>
                  <a:cxn ang="0">
                    <a:pos x="35" y="20"/>
                  </a:cxn>
                  <a:cxn ang="0">
                    <a:pos x="26" y="13"/>
                  </a:cxn>
                  <a:cxn ang="0">
                    <a:pos x="17" y="20"/>
                  </a:cxn>
                  <a:cxn ang="0">
                    <a:pos x="14" y="38"/>
                  </a:cxn>
                  <a:cxn ang="0">
                    <a:pos x="17" y="57"/>
                  </a:cxn>
                  <a:cxn ang="0">
                    <a:pos x="26" y="64"/>
                  </a:cxn>
                  <a:cxn ang="0">
                    <a:pos x="35" y="57"/>
                  </a:cxn>
                  <a:cxn ang="0">
                    <a:pos x="38" y="38"/>
                  </a:cxn>
                </a:cxnLst>
                <a:rect l="0" t="0" r="r" b="b"/>
                <a:pathLst>
                  <a:path w="52" h="76">
                    <a:moveTo>
                      <a:pt x="52" y="38"/>
                    </a:moveTo>
                    <a:cubicBezTo>
                      <a:pt x="52" y="49"/>
                      <a:pt x="49" y="59"/>
                      <a:pt x="45" y="66"/>
                    </a:cubicBezTo>
                    <a:cubicBezTo>
                      <a:pt x="40" y="72"/>
                      <a:pt x="34" y="76"/>
                      <a:pt x="26" y="76"/>
                    </a:cubicBezTo>
                    <a:cubicBezTo>
                      <a:pt x="18" y="76"/>
                      <a:pt x="12" y="73"/>
                      <a:pt x="7" y="66"/>
                    </a:cubicBezTo>
                    <a:cubicBezTo>
                      <a:pt x="2" y="59"/>
                      <a:pt x="0" y="50"/>
                      <a:pt x="0" y="38"/>
                    </a:cubicBezTo>
                    <a:cubicBezTo>
                      <a:pt x="0" y="27"/>
                      <a:pt x="2" y="18"/>
                      <a:pt x="7" y="11"/>
                    </a:cubicBezTo>
                    <a:cubicBezTo>
                      <a:pt x="12" y="4"/>
                      <a:pt x="18" y="0"/>
                      <a:pt x="26" y="0"/>
                    </a:cubicBezTo>
                    <a:cubicBezTo>
                      <a:pt x="34" y="0"/>
                      <a:pt x="40" y="4"/>
                      <a:pt x="45" y="11"/>
                    </a:cubicBezTo>
                    <a:cubicBezTo>
                      <a:pt x="49" y="18"/>
                      <a:pt x="52" y="27"/>
                      <a:pt x="52" y="38"/>
                    </a:cubicBezTo>
                    <a:close/>
                    <a:moveTo>
                      <a:pt x="38" y="38"/>
                    </a:moveTo>
                    <a:cubicBezTo>
                      <a:pt x="38" y="31"/>
                      <a:pt x="37" y="24"/>
                      <a:pt x="35" y="20"/>
                    </a:cubicBezTo>
                    <a:cubicBezTo>
                      <a:pt x="32" y="15"/>
                      <a:pt x="29" y="13"/>
                      <a:pt x="26" y="13"/>
                    </a:cubicBezTo>
                    <a:cubicBezTo>
                      <a:pt x="22" y="13"/>
                      <a:pt x="19" y="15"/>
                      <a:pt x="17" y="20"/>
                    </a:cubicBezTo>
                    <a:cubicBezTo>
                      <a:pt x="15" y="25"/>
                      <a:pt x="14" y="31"/>
                      <a:pt x="14" y="38"/>
                    </a:cubicBezTo>
                    <a:cubicBezTo>
                      <a:pt x="14" y="46"/>
                      <a:pt x="15" y="52"/>
                      <a:pt x="17" y="57"/>
                    </a:cubicBezTo>
                    <a:cubicBezTo>
                      <a:pt x="19" y="61"/>
                      <a:pt x="22" y="64"/>
                      <a:pt x="26" y="64"/>
                    </a:cubicBezTo>
                    <a:cubicBezTo>
                      <a:pt x="29" y="64"/>
                      <a:pt x="32" y="61"/>
                      <a:pt x="35" y="57"/>
                    </a:cubicBezTo>
                    <a:cubicBezTo>
                      <a:pt x="37" y="52"/>
                      <a:pt x="38" y="46"/>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1" name="Freeform 271"/>
              <p:cNvSpPr>
                <a:spLocks noEditPoints="1"/>
              </p:cNvSpPr>
              <p:nvPr/>
            </p:nvSpPr>
            <p:spPr bwMode="auto">
              <a:xfrm>
                <a:off x="3002798" y="3880759"/>
                <a:ext cx="62501" cy="90790"/>
              </a:xfrm>
              <a:custGeom>
                <a:avLst/>
                <a:gdLst/>
                <a:ahLst/>
                <a:cxnLst>
                  <a:cxn ang="0">
                    <a:pos x="51" y="38"/>
                  </a:cxn>
                  <a:cxn ang="0">
                    <a:pos x="44" y="66"/>
                  </a:cxn>
                  <a:cxn ang="0">
                    <a:pos x="25" y="76"/>
                  </a:cxn>
                  <a:cxn ang="0">
                    <a:pos x="7" y="66"/>
                  </a:cxn>
                  <a:cxn ang="0">
                    <a:pos x="0" y="38"/>
                  </a:cxn>
                  <a:cxn ang="0">
                    <a:pos x="7" y="11"/>
                  </a:cxn>
                  <a:cxn ang="0">
                    <a:pos x="25" y="0"/>
                  </a:cxn>
                  <a:cxn ang="0">
                    <a:pos x="44" y="11"/>
                  </a:cxn>
                  <a:cxn ang="0">
                    <a:pos x="51" y="38"/>
                  </a:cxn>
                  <a:cxn ang="0">
                    <a:pos x="37" y="38"/>
                  </a:cxn>
                  <a:cxn ang="0">
                    <a:pos x="34" y="20"/>
                  </a:cxn>
                  <a:cxn ang="0">
                    <a:pos x="25" y="13"/>
                  </a:cxn>
                  <a:cxn ang="0">
                    <a:pos x="17" y="20"/>
                  </a:cxn>
                  <a:cxn ang="0">
                    <a:pos x="13" y="38"/>
                  </a:cxn>
                  <a:cxn ang="0">
                    <a:pos x="17" y="57"/>
                  </a:cxn>
                  <a:cxn ang="0">
                    <a:pos x="25" y="64"/>
                  </a:cxn>
                  <a:cxn ang="0">
                    <a:pos x="34" y="57"/>
                  </a:cxn>
                  <a:cxn ang="0">
                    <a:pos x="37" y="38"/>
                  </a:cxn>
                </a:cxnLst>
                <a:rect l="0" t="0" r="r" b="b"/>
                <a:pathLst>
                  <a:path w="51" h="76">
                    <a:moveTo>
                      <a:pt x="51" y="38"/>
                    </a:moveTo>
                    <a:cubicBezTo>
                      <a:pt x="51" y="49"/>
                      <a:pt x="49" y="59"/>
                      <a:pt x="44" y="66"/>
                    </a:cubicBezTo>
                    <a:cubicBezTo>
                      <a:pt x="39" y="72"/>
                      <a:pt x="33" y="76"/>
                      <a:pt x="25" y="76"/>
                    </a:cubicBezTo>
                    <a:cubicBezTo>
                      <a:pt x="18" y="76"/>
                      <a:pt x="11" y="73"/>
                      <a:pt x="7" y="66"/>
                    </a:cubicBezTo>
                    <a:cubicBezTo>
                      <a:pt x="2" y="59"/>
                      <a:pt x="0" y="50"/>
                      <a:pt x="0" y="38"/>
                    </a:cubicBezTo>
                    <a:cubicBezTo>
                      <a:pt x="0" y="27"/>
                      <a:pt x="2" y="18"/>
                      <a:pt x="7" y="11"/>
                    </a:cubicBezTo>
                    <a:cubicBezTo>
                      <a:pt x="11" y="4"/>
                      <a:pt x="18" y="0"/>
                      <a:pt x="25" y="0"/>
                    </a:cubicBezTo>
                    <a:cubicBezTo>
                      <a:pt x="33" y="0"/>
                      <a:pt x="40" y="4"/>
                      <a:pt x="44" y="11"/>
                    </a:cubicBezTo>
                    <a:cubicBezTo>
                      <a:pt x="49" y="18"/>
                      <a:pt x="51" y="27"/>
                      <a:pt x="51" y="38"/>
                    </a:cubicBezTo>
                    <a:close/>
                    <a:moveTo>
                      <a:pt x="37" y="38"/>
                    </a:moveTo>
                    <a:cubicBezTo>
                      <a:pt x="37" y="31"/>
                      <a:pt x="36" y="24"/>
                      <a:pt x="34" y="20"/>
                    </a:cubicBezTo>
                    <a:cubicBezTo>
                      <a:pt x="32" y="15"/>
                      <a:pt x="29" y="13"/>
                      <a:pt x="25" y="13"/>
                    </a:cubicBezTo>
                    <a:cubicBezTo>
                      <a:pt x="22" y="13"/>
                      <a:pt x="19" y="15"/>
                      <a:pt x="17" y="20"/>
                    </a:cubicBezTo>
                    <a:cubicBezTo>
                      <a:pt x="15" y="25"/>
                      <a:pt x="13" y="31"/>
                      <a:pt x="13" y="38"/>
                    </a:cubicBezTo>
                    <a:cubicBezTo>
                      <a:pt x="13" y="46"/>
                      <a:pt x="15" y="52"/>
                      <a:pt x="17" y="57"/>
                    </a:cubicBezTo>
                    <a:cubicBezTo>
                      <a:pt x="19" y="61"/>
                      <a:pt x="22" y="64"/>
                      <a:pt x="25" y="64"/>
                    </a:cubicBezTo>
                    <a:cubicBezTo>
                      <a:pt x="29" y="64"/>
                      <a:pt x="32" y="61"/>
                      <a:pt x="34" y="57"/>
                    </a:cubicBezTo>
                    <a:cubicBezTo>
                      <a:pt x="36" y="52"/>
                      <a:pt x="37" y="46"/>
                      <a:pt x="37"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2" name="Freeform 272"/>
              <p:cNvSpPr>
                <a:spLocks/>
              </p:cNvSpPr>
              <p:nvPr/>
            </p:nvSpPr>
            <p:spPr bwMode="auto">
              <a:xfrm>
                <a:off x="3065299" y="3882325"/>
                <a:ext cx="34376" cy="87659"/>
              </a:xfrm>
              <a:custGeom>
                <a:avLst/>
                <a:gdLst/>
                <a:ahLst/>
                <a:cxnLst>
                  <a:cxn ang="0">
                    <a:pos x="22" y="56"/>
                  </a:cxn>
                  <a:cxn ang="0">
                    <a:pos x="11" y="56"/>
                  </a:cxn>
                  <a:cxn ang="0">
                    <a:pos x="11" y="9"/>
                  </a:cxn>
                  <a:cxn ang="0">
                    <a:pos x="0" y="9"/>
                  </a:cxn>
                  <a:cxn ang="0">
                    <a:pos x="5" y="0"/>
                  </a:cxn>
                  <a:cxn ang="0">
                    <a:pos x="22" y="0"/>
                  </a:cxn>
                  <a:cxn ang="0">
                    <a:pos x="22" y="56"/>
                  </a:cxn>
                </a:cxnLst>
                <a:rect l="0" t="0" r="r" b="b"/>
                <a:pathLst>
                  <a:path w="22" h="56">
                    <a:moveTo>
                      <a:pt x="22" y="56"/>
                    </a:moveTo>
                    <a:lnTo>
                      <a:pt x="11" y="56"/>
                    </a:lnTo>
                    <a:lnTo>
                      <a:pt x="11" y="9"/>
                    </a:lnTo>
                    <a:lnTo>
                      <a:pt x="0" y="9"/>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3" name="Freeform 273"/>
              <p:cNvSpPr>
                <a:spLocks/>
              </p:cNvSpPr>
              <p:nvPr/>
            </p:nvSpPr>
            <p:spPr bwMode="auto">
              <a:xfrm>
                <a:off x="3105925" y="3882325"/>
                <a:ext cx="34376" cy="87659"/>
              </a:xfrm>
              <a:custGeom>
                <a:avLst/>
                <a:gdLst/>
                <a:ahLst/>
                <a:cxnLst>
                  <a:cxn ang="0">
                    <a:pos x="22" y="56"/>
                  </a:cxn>
                  <a:cxn ang="0">
                    <a:pos x="11" y="56"/>
                  </a:cxn>
                  <a:cxn ang="0">
                    <a:pos x="11" y="9"/>
                  </a:cxn>
                  <a:cxn ang="0">
                    <a:pos x="0" y="9"/>
                  </a:cxn>
                  <a:cxn ang="0">
                    <a:pos x="5" y="0"/>
                  </a:cxn>
                  <a:cxn ang="0">
                    <a:pos x="22" y="0"/>
                  </a:cxn>
                  <a:cxn ang="0">
                    <a:pos x="22" y="56"/>
                  </a:cxn>
                </a:cxnLst>
                <a:rect l="0" t="0" r="r" b="b"/>
                <a:pathLst>
                  <a:path w="22" h="56">
                    <a:moveTo>
                      <a:pt x="22" y="56"/>
                    </a:moveTo>
                    <a:lnTo>
                      <a:pt x="11" y="56"/>
                    </a:lnTo>
                    <a:lnTo>
                      <a:pt x="11" y="9"/>
                    </a:lnTo>
                    <a:lnTo>
                      <a:pt x="0" y="9"/>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5" name="Freeform 284"/>
              <p:cNvSpPr>
                <a:spLocks/>
              </p:cNvSpPr>
              <p:nvPr/>
            </p:nvSpPr>
            <p:spPr bwMode="auto">
              <a:xfrm>
                <a:off x="2384038" y="402164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6" name="Freeform 285"/>
              <p:cNvSpPr>
                <a:spLocks/>
              </p:cNvSpPr>
              <p:nvPr/>
            </p:nvSpPr>
            <p:spPr bwMode="auto">
              <a:xfrm>
                <a:off x="2424664" y="402164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7" name="Freeform 286"/>
              <p:cNvSpPr>
                <a:spLocks/>
              </p:cNvSpPr>
              <p:nvPr/>
            </p:nvSpPr>
            <p:spPr bwMode="auto">
              <a:xfrm>
                <a:off x="2465290" y="402164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8" name="Freeform 287"/>
              <p:cNvSpPr>
                <a:spLocks/>
              </p:cNvSpPr>
              <p:nvPr/>
            </p:nvSpPr>
            <p:spPr bwMode="auto">
              <a:xfrm>
                <a:off x="2505915" y="4021640"/>
                <a:ext cx="32813" cy="87659"/>
              </a:xfrm>
              <a:custGeom>
                <a:avLst/>
                <a:gdLst/>
                <a:ahLst/>
                <a:cxnLst>
                  <a:cxn ang="0">
                    <a:pos x="21" y="56"/>
                  </a:cxn>
                  <a:cxn ang="0">
                    <a:pos x="11" y="56"/>
                  </a:cxn>
                  <a:cxn ang="0">
                    <a:pos x="11" y="10"/>
                  </a:cxn>
                  <a:cxn ang="0">
                    <a:pos x="0" y="10"/>
                  </a:cxn>
                  <a:cxn ang="0">
                    <a:pos x="4" y="0"/>
                  </a:cxn>
                  <a:cxn ang="0">
                    <a:pos x="21" y="0"/>
                  </a:cxn>
                  <a:cxn ang="0">
                    <a:pos x="21" y="56"/>
                  </a:cxn>
                </a:cxnLst>
                <a:rect l="0" t="0" r="r" b="b"/>
                <a:pathLst>
                  <a:path w="21" h="56">
                    <a:moveTo>
                      <a:pt x="21" y="56"/>
                    </a:moveTo>
                    <a:lnTo>
                      <a:pt x="11" y="56"/>
                    </a:lnTo>
                    <a:lnTo>
                      <a:pt x="11"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9" name="Freeform 288"/>
              <p:cNvSpPr>
                <a:spLocks noEditPoints="1"/>
              </p:cNvSpPr>
              <p:nvPr/>
            </p:nvSpPr>
            <p:spPr bwMode="auto">
              <a:xfrm>
                <a:off x="2554354" y="4020075"/>
                <a:ext cx="60938" cy="90790"/>
              </a:xfrm>
              <a:custGeom>
                <a:avLst/>
                <a:gdLst/>
                <a:ahLst/>
                <a:cxnLst>
                  <a:cxn ang="0">
                    <a:pos x="51" y="37"/>
                  </a:cxn>
                  <a:cxn ang="0">
                    <a:pos x="44" y="65"/>
                  </a:cxn>
                  <a:cxn ang="0">
                    <a:pos x="26" y="75"/>
                  </a:cxn>
                  <a:cxn ang="0">
                    <a:pos x="7" y="65"/>
                  </a:cxn>
                  <a:cxn ang="0">
                    <a:pos x="0" y="37"/>
                  </a:cxn>
                  <a:cxn ang="0">
                    <a:pos x="7" y="10"/>
                  </a:cxn>
                  <a:cxn ang="0">
                    <a:pos x="26" y="0"/>
                  </a:cxn>
                  <a:cxn ang="0">
                    <a:pos x="44" y="10"/>
                  </a:cxn>
                  <a:cxn ang="0">
                    <a:pos x="51" y="37"/>
                  </a:cxn>
                  <a:cxn ang="0">
                    <a:pos x="38" y="37"/>
                  </a:cxn>
                  <a:cxn ang="0">
                    <a:pos x="34" y="19"/>
                  </a:cxn>
                  <a:cxn ang="0">
                    <a:pos x="26" y="12"/>
                  </a:cxn>
                  <a:cxn ang="0">
                    <a:pos x="17" y="19"/>
                  </a:cxn>
                  <a:cxn ang="0">
                    <a:pos x="14" y="37"/>
                  </a:cxn>
                  <a:cxn ang="0">
                    <a:pos x="17" y="56"/>
                  </a:cxn>
                  <a:cxn ang="0">
                    <a:pos x="26" y="63"/>
                  </a:cxn>
                  <a:cxn ang="0">
                    <a:pos x="34" y="56"/>
                  </a:cxn>
                  <a:cxn ang="0">
                    <a:pos x="38" y="37"/>
                  </a:cxn>
                </a:cxnLst>
                <a:rect l="0" t="0" r="r" b="b"/>
                <a:pathLst>
                  <a:path w="51" h="75">
                    <a:moveTo>
                      <a:pt x="51" y="37"/>
                    </a:moveTo>
                    <a:cubicBezTo>
                      <a:pt x="51" y="49"/>
                      <a:pt x="49" y="58"/>
                      <a:pt x="44" y="65"/>
                    </a:cubicBezTo>
                    <a:cubicBezTo>
                      <a:pt x="40" y="72"/>
                      <a:pt x="33" y="75"/>
                      <a:pt x="26" y="75"/>
                    </a:cubicBezTo>
                    <a:cubicBezTo>
                      <a:pt x="18" y="75"/>
                      <a:pt x="11" y="72"/>
                      <a:pt x="7" y="65"/>
                    </a:cubicBezTo>
                    <a:cubicBezTo>
                      <a:pt x="2" y="58"/>
                      <a:pt x="0" y="49"/>
                      <a:pt x="0" y="37"/>
                    </a:cubicBezTo>
                    <a:cubicBezTo>
                      <a:pt x="0" y="26"/>
                      <a:pt x="2" y="17"/>
                      <a:pt x="7" y="10"/>
                    </a:cubicBezTo>
                    <a:cubicBezTo>
                      <a:pt x="11" y="3"/>
                      <a:pt x="18" y="0"/>
                      <a:pt x="26" y="0"/>
                    </a:cubicBezTo>
                    <a:cubicBezTo>
                      <a:pt x="33" y="0"/>
                      <a:pt x="40" y="3"/>
                      <a:pt x="44" y="10"/>
                    </a:cubicBezTo>
                    <a:cubicBezTo>
                      <a:pt x="49" y="17"/>
                      <a:pt x="51" y="26"/>
                      <a:pt x="51" y="37"/>
                    </a:cubicBezTo>
                    <a:close/>
                    <a:moveTo>
                      <a:pt x="38" y="37"/>
                    </a:moveTo>
                    <a:cubicBezTo>
                      <a:pt x="38" y="30"/>
                      <a:pt x="37" y="24"/>
                      <a:pt x="34" y="19"/>
                    </a:cubicBezTo>
                    <a:cubicBezTo>
                      <a:pt x="32" y="14"/>
                      <a:pt x="29" y="12"/>
                      <a:pt x="26" y="12"/>
                    </a:cubicBezTo>
                    <a:cubicBezTo>
                      <a:pt x="22" y="12"/>
                      <a:pt x="19" y="14"/>
                      <a:pt x="17" y="19"/>
                    </a:cubicBezTo>
                    <a:cubicBezTo>
                      <a:pt x="15" y="24"/>
                      <a:pt x="14" y="30"/>
                      <a:pt x="14" y="37"/>
                    </a:cubicBezTo>
                    <a:cubicBezTo>
                      <a:pt x="14" y="45"/>
                      <a:pt x="15" y="51"/>
                      <a:pt x="17" y="56"/>
                    </a:cubicBezTo>
                    <a:cubicBezTo>
                      <a:pt x="19" y="60"/>
                      <a:pt x="22" y="63"/>
                      <a:pt x="26" y="63"/>
                    </a:cubicBezTo>
                    <a:cubicBezTo>
                      <a:pt x="29" y="63"/>
                      <a:pt x="32" y="61"/>
                      <a:pt x="34"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0" name="Freeform 289"/>
              <p:cNvSpPr>
                <a:spLocks noEditPoints="1"/>
              </p:cNvSpPr>
              <p:nvPr/>
            </p:nvSpPr>
            <p:spPr bwMode="auto">
              <a:xfrm>
                <a:off x="2619980" y="4020075"/>
                <a:ext cx="62501" cy="90790"/>
              </a:xfrm>
              <a:custGeom>
                <a:avLst/>
                <a:gdLst/>
                <a:ahLst/>
                <a:cxnLst>
                  <a:cxn ang="0">
                    <a:pos x="52" y="37"/>
                  </a:cxn>
                  <a:cxn ang="0">
                    <a:pos x="45" y="65"/>
                  </a:cxn>
                  <a:cxn ang="0">
                    <a:pos x="26" y="75"/>
                  </a:cxn>
                  <a:cxn ang="0">
                    <a:pos x="7" y="65"/>
                  </a:cxn>
                  <a:cxn ang="0">
                    <a:pos x="0" y="37"/>
                  </a:cxn>
                  <a:cxn ang="0">
                    <a:pos x="7" y="10"/>
                  </a:cxn>
                  <a:cxn ang="0">
                    <a:pos x="26" y="0"/>
                  </a:cxn>
                  <a:cxn ang="0">
                    <a:pos x="45" y="10"/>
                  </a:cxn>
                  <a:cxn ang="0">
                    <a:pos x="52" y="37"/>
                  </a:cxn>
                  <a:cxn ang="0">
                    <a:pos x="38" y="37"/>
                  </a:cxn>
                  <a:cxn ang="0">
                    <a:pos x="35" y="19"/>
                  </a:cxn>
                  <a:cxn ang="0">
                    <a:pos x="26" y="12"/>
                  </a:cxn>
                  <a:cxn ang="0">
                    <a:pos x="17" y="19"/>
                  </a:cxn>
                  <a:cxn ang="0">
                    <a:pos x="14" y="37"/>
                  </a:cxn>
                  <a:cxn ang="0">
                    <a:pos x="17" y="56"/>
                  </a:cxn>
                  <a:cxn ang="0">
                    <a:pos x="26" y="63"/>
                  </a:cxn>
                  <a:cxn ang="0">
                    <a:pos x="35" y="56"/>
                  </a:cxn>
                  <a:cxn ang="0">
                    <a:pos x="38" y="37"/>
                  </a:cxn>
                </a:cxnLst>
                <a:rect l="0" t="0" r="r" b="b"/>
                <a:pathLst>
                  <a:path w="52" h="75">
                    <a:moveTo>
                      <a:pt x="52" y="37"/>
                    </a:moveTo>
                    <a:cubicBezTo>
                      <a:pt x="52" y="49"/>
                      <a:pt x="50" y="58"/>
                      <a:pt x="45" y="65"/>
                    </a:cubicBezTo>
                    <a:cubicBezTo>
                      <a:pt x="40" y="72"/>
                      <a:pt x="34" y="75"/>
                      <a:pt x="26" y="75"/>
                    </a:cubicBezTo>
                    <a:cubicBezTo>
                      <a:pt x="18" y="75"/>
                      <a:pt x="12" y="72"/>
                      <a:pt x="7" y="65"/>
                    </a:cubicBezTo>
                    <a:cubicBezTo>
                      <a:pt x="3" y="58"/>
                      <a:pt x="0" y="49"/>
                      <a:pt x="0" y="37"/>
                    </a:cubicBezTo>
                    <a:cubicBezTo>
                      <a:pt x="0" y="26"/>
                      <a:pt x="3" y="17"/>
                      <a:pt x="7" y="10"/>
                    </a:cubicBezTo>
                    <a:cubicBezTo>
                      <a:pt x="12" y="3"/>
                      <a:pt x="18" y="0"/>
                      <a:pt x="26" y="0"/>
                    </a:cubicBezTo>
                    <a:cubicBezTo>
                      <a:pt x="34" y="0"/>
                      <a:pt x="40" y="3"/>
                      <a:pt x="45" y="10"/>
                    </a:cubicBezTo>
                    <a:cubicBezTo>
                      <a:pt x="50" y="17"/>
                      <a:pt x="52" y="26"/>
                      <a:pt x="52" y="37"/>
                    </a:cubicBezTo>
                    <a:close/>
                    <a:moveTo>
                      <a:pt x="38" y="37"/>
                    </a:moveTo>
                    <a:cubicBezTo>
                      <a:pt x="38" y="30"/>
                      <a:pt x="37" y="24"/>
                      <a:pt x="35" y="19"/>
                    </a:cubicBezTo>
                    <a:cubicBezTo>
                      <a:pt x="33" y="14"/>
                      <a:pt x="30" y="12"/>
                      <a:pt x="26" y="12"/>
                    </a:cubicBezTo>
                    <a:cubicBezTo>
                      <a:pt x="22" y="12"/>
                      <a:pt x="20" y="14"/>
                      <a:pt x="17" y="19"/>
                    </a:cubicBezTo>
                    <a:cubicBezTo>
                      <a:pt x="15" y="24"/>
                      <a:pt x="14" y="30"/>
                      <a:pt x="14" y="37"/>
                    </a:cubicBezTo>
                    <a:cubicBezTo>
                      <a:pt x="14" y="45"/>
                      <a:pt x="15" y="51"/>
                      <a:pt x="17" y="56"/>
                    </a:cubicBezTo>
                    <a:cubicBezTo>
                      <a:pt x="20" y="60"/>
                      <a:pt x="23" y="63"/>
                      <a:pt x="26" y="63"/>
                    </a:cubicBezTo>
                    <a:cubicBezTo>
                      <a:pt x="30" y="63"/>
                      <a:pt x="33" y="61"/>
                      <a:pt x="35"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1" name="Freeform 290"/>
              <p:cNvSpPr>
                <a:spLocks/>
              </p:cNvSpPr>
              <p:nvPr/>
            </p:nvSpPr>
            <p:spPr bwMode="auto">
              <a:xfrm>
                <a:off x="2684043" y="402164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2" name="Freeform 291"/>
              <p:cNvSpPr>
                <a:spLocks noEditPoints="1"/>
              </p:cNvSpPr>
              <p:nvPr/>
            </p:nvSpPr>
            <p:spPr bwMode="auto">
              <a:xfrm>
                <a:off x="2730919" y="4020075"/>
                <a:ext cx="62501" cy="90790"/>
              </a:xfrm>
              <a:custGeom>
                <a:avLst/>
                <a:gdLst/>
                <a:ahLst/>
                <a:cxnLst>
                  <a:cxn ang="0">
                    <a:pos x="51" y="37"/>
                  </a:cxn>
                  <a:cxn ang="0">
                    <a:pos x="44" y="65"/>
                  </a:cxn>
                  <a:cxn ang="0">
                    <a:pos x="25" y="75"/>
                  </a:cxn>
                  <a:cxn ang="0">
                    <a:pos x="7" y="65"/>
                  </a:cxn>
                  <a:cxn ang="0">
                    <a:pos x="0" y="37"/>
                  </a:cxn>
                  <a:cxn ang="0">
                    <a:pos x="7" y="10"/>
                  </a:cxn>
                  <a:cxn ang="0">
                    <a:pos x="25" y="0"/>
                  </a:cxn>
                  <a:cxn ang="0">
                    <a:pos x="44" y="10"/>
                  </a:cxn>
                  <a:cxn ang="0">
                    <a:pos x="51" y="37"/>
                  </a:cxn>
                  <a:cxn ang="0">
                    <a:pos x="37" y="37"/>
                  </a:cxn>
                  <a:cxn ang="0">
                    <a:pos x="34" y="19"/>
                  </a:cxn>
                  <a:cxn ang="0">
                    <a:pos x="25" y="12"/>
                  </a:cxn>
                  <a:cxn ang="0">
                    <a:pos x="17" y="19"/>
                  </a:cxn>
                  <a:cxn ang="0">
                    <a:pos x="13" y="37"/>
                  </a:cxn>
                  <a:cxn ang="0">
                    <a:pos x="17" y="56"/>
                  </a:cxn>
                  <a:cxn ang="0">
                    <a:pos x="25" y="63"/>
                  </a:cxn>
                  <a:cxn ang="0">
                    <a:pos x="34" y="56"/>
                  </a:cxn>
                  <a:cxn ang="0">
                    <a:pos x="37" y="37"/>
                  </a:cxn>
                </a:cxnLst>
                <a:rect l="0" t="0" r="r" b="b"/>
                <a:pathLst>
                  <a:path w="51" h="75">
                    <a:moveTo>
                      <a:pt x="51" y="37"/>
                    </a:moveTo>
                    <a:cubicBezTo>
                      <a:pt x="51" y="49"/>
                      <a:pt x="49" y="58"/>
                      <a:pt x="44" y="65"/>
                    </a:cubicBezTo>
                    <a:cubicBezTo>
                      <a:pt x="39" y="72"/>
                      <a:pt x="33" y="75"/>
                      <a:pt x="25" y="75"/>
                    </a:cubicBezTo>
                    <a:cubicBezTo>
                      <a:pt x="17" y="75"/>
                      <a:pt x="11" y="72"/>
                      <a:pt x="7" y="65"/>
                    </a:cubicBezTo>
                    <a:cubicBezTo>
                      <a:pt x="2" y="58"/>
                      <a:pt x="0" y="49"/>
                      <a:pt x="0" y="37"/>
                    </a:cubicBezTo>
                    <a:cubicBezTo>
                      <a:pt x="0" y="26"/>
                      <a:pt x="2" y="17"/>
                      <a:pt x="7" y="10"/>
                    </a:cubicBezTo>
                    <a:cubicBezTo>
                      <a:pt x="11" y="3"/>
                      <a:pt x="17" y="0"/>
                      <a:pt x="25" y="0"/>
                    </a:cubicBezTo>
                    <a:cubicBezTo>
                      <a:pt x="33" y="0"/>
                      <a:pt x="39" y="3"/>
                      <a:pt x="44" y="10"/>
                    </a:cubicBezTo>
                    <a:cubicBezTo>
                      <a:pt x="49" y="17"/>
                      <a:pt x="51" y="26"/>
                      <a:pt x="51" y="37"/>
                    </a:cubicBezTo>
                    <a:close/>
                    <a:moveTo>
                      <a:pt x="37" y="37"/>
                    </a:moveTo>
                    <a:cubicBezTo>
                      <a:pt x="37" y="30"/>
                      <a:pt x="36" y="24"/>
                      <a:pt x="34" y="19"/>
                    </a:cubicBezTo>
                    <a:cubicBezTo>
                      <a:pt x="32" y="14"/>
                      <a:pt x="29" y="12"/>
                      <a:pt x="25" y="12"/>
                    </a:cubicBezTo>
                    <a:cubicBezTo>
                      <a:pt x="22" y="12"/>
                      <a:pt x="19" y="14"/>
                      <a:pt x="17" y="19"/>
                    </a:cubicBezTo>
                    <a:cubicBezTo>
                      <a:pt x="14" y="24"/>
                      <a:pt x="13" y="30"/>
                      <a:pt x="13" y="37"/>
                    </a:cubicBezTo>
                    <a:cubicBezTo>
                      <a:pt x="13" y="45"/>
                      <a:pt x="14" y="51"/>
                      <a:pt x="17" y="56"/>
                    </a:cubicBezTo>
                    <a:cubicBezTo>
                      <a:pt x="19" y="60"/>
                      <a:pt x="22" y="63"/>
                      <a:pt x="25" y="63"/>
                    </a:cubicBezTo>
                    <a:cubicBezTo>
                      <a:pt x="29" y="63"/>
                      <a:pt x="32" y="61"/>
                      <a:pt x="34" y="56"/>
                    </a:cubicBezTo>
                    <a:cubicBezTo>
                      <a:pt x="36" y="51"/>
                      <a:pt x="37" y="45"/>
                      <a:pt x="37"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3" name="Freeform 292"/>
              <p:cNvSpPr>
                <a:spLocks/>
              </p:cNvSpPr>
              <p:nvPr/>
            </p:nvSpPr>
            <p:spPr bwMode="auto">
              <a:xfrm>
                <a:off x="2793420" y="4021640"/>
                <a:ext cx="34376" cy="87659"/>
              </a:xfrm>
              <a:custGeom>
                <a:avLst/>
                <a:gdLst/>
                <a:ahLst/>
                <a:cxnLst>
                  <a:cxn ang="0">
                    <a:pos x="22" y="56"/>
                  </a:cxn>
                  <a:cxn ang="0">
                    <a:pos x="11" y="56"/>
                  </a:cxn>
                  <a:cxn ang="0">
                    <a:pos x="11" y="10"/>
                  </a:cxn>
                  <a:cxn ang="0">
                    <a:pos x="0" y="10"/>
                  </a:cxn>
                  <a:cxn ang="0">
                    <a:pos x="5" y="0"/>
                  </a:cxn>
                  <a:cxn ang="0">
                    <a:pos x="22" y="0"/>
                  </a:cxn>
                  <a:cxn ang="0">
                    <a:pos x="22" y="56"/>
                  </a:cxn>
                </a:cxnLst>
                <a:rect l="0" t="0" r="r" b="b"/>
                <a:pathLst>
                  <a:path w="22" h="56">
                    <a:moveTo>
                      <a:pt x="22" y="56"/>
                    </a:moveTo>
                    <a:lnTo>
                      <a:pt x="11" y="56"/>
                    </a:lnTo>
                    <a:lnTo>
                      <a:pt x="11" y="10"/>
                    </a:lnTo>
                    <a:lnTo>
                      <a:pt x="0" y="10"/>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4" name="Freeform 293"/>
              <p:cNvSpPr>
                <a:spLocks/>
              </p:cNvSpPr>
              <p:nvPr/>
            </p:nvSpPr>
            <p:spPr bwMode="auto">
              <a:xfrm>
                <a:off x="2835608" y="402164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5" name="Freeform 294"/>
              <p:cNvSpPr>
                <a:spLocks noEditPoints="1"/>
              </p:cNvSpPr>
              <p:nvPr/>
            </p:nvSpPr>
            <p:spPr bwMode="auto">
              <a:xfrm>
                <a:off x="2882484" y="4020075"/>
                <a:ext cx="62501" cy="90790"/>
              </a:xfrm>
              <a:custGeom>
                <a:avLst/>
                <a:gdLst/>
                <a:ahLst/>
                <a:cxnLst>
                  <a:cxn ang="0">
                    <a:pos x="51" y="37"/>
                  </a:cxn>
                  <a:cxn ang="0">
                    <a:pos x="44" y="65"/>
                  </a:cxn>
                  <a:cxn ang="0">
                    <a:pos x="25" y="75"/>
                  </a:cxn>
                  <a:cxn ang="0">
                    <a:pos x="7" y="65"/>
                  </a:cxn>
                  <a:cxn ang="0">
                    <a:pos x="0" y="37"/>
                  </a:cxn>
                  <a:cxn ang="0">
                    <a:pos x="7" y="10"/>
                  </a:cxn>
                  <a:cxn ang="0">
                    <a:pos x="25" y="0"/>
                  </a:cxn>
                  <a:cxn ang="0">
                    <a:pos x="44" y="10"/>
                  </a:cxn>
                  <a:cxn ang="0">
                    <a:pos x="51" y="37"/>
                  </a:cxn>
                  <a:cxn ang="0">
                    <a:pos x="38" y="37"/>
                  </a:cxn>
                  <a:cxn ang="0">
                    <a:pos x="34" y="19"/>
                  </a:cxn>
                  <a:cxn ang="0">
                    <a:pos x="25" y="12"/>
                  </a:cxn>
                  <a:cxn ang="0">
                    <a:pos x="17" y="19"/>
                  </a:cxn>
                  <a:cxn ang="0">
                    <a:pos x="14" y="37"/>
                  </a:cxn>
                  <a:cxn ang="0">
                    <a:pos x="17" y="56"/>
                  </a:cxn>
                  <a:cxn ang="0">
                    <a:pos x="25" y="63"/>
                  </a:cxn>
                  <a:cxn ang="0">
                    <a:pos x="34" y="56"/>
                  </a:cxn>
                  <a:cxn ang="0">
                    <a:pos x="38" y="37"/>
                  </a:cxn>
                </a:cxnLst>
                <a:rect l="0" t="0" r="r" b="b"/>
                <a:pathLst>
                  <a:path w="51" h="75">
                    <a:moveTo>
                      <a:pt x="51" y="37"/>
                    </a:moveTo>
                    <a:cubicBezTo>
                      <a:pt x="51" y="49"/>
                      <a:pt x="49" y="58"/>
                      <a:pt x="44" y="65"/>
                    </a:cubicBezTo>
                    <a:cubicBezTo>
                      <a:pt x="40" y="72"/>
                      <a:pt x="33" y="75"/>
                      <a:pt x="25" y="75"/>
                    </a:cubicBezTo>
                    <a:cubicBezTo>
                      <a:pt x="18" y="75"/>
                      <a:pt x="11" y="72"/>
                      <a:pt x="7" y="65"/>
                    </a:cubicBezTo>
                    <a:cubicBezTo>
                      <a:pt x="2" y="58"/>
                      <a:pt x="0" y="49"/>
                      <a:pt x="0" y="37"/>
                    </a:cubicBezTo>
                    <a:cubicBezTo>
                      <a:pt x="0" y="26"/>
                      <a:pt x="2" y="17"/>
                      <a:pt x="7" y="10"/>
                    </a:cubicBezTo>
                    <a:cubicBezTo>
                      <a:pt x="11" y="3"/>
                      <a:pt x="18" y="0"/>
                      <a:pt x="25" y="0"/>
                    </a:cubicBezTo>
                    <a:cubicBezTo>
                      <a:pt x="33" y="0"/>
                      <a:pt x="40" y="3"/>
                      <a:pt x="44" y="10"/>
                    </a:cubicBezTo>
                    <a:cubicBezTo>
                      <a:pt x="49" y="17"/>
                      <a:pt x="51" y="26"/>
                      <a:pt x="51" y="37"/>
                    </a:cubicBezTo>
                    <a:close/>
                    <a:moveTo>
                      <a:pt x="38" y="37"/>
                    </a:moveTo>
                    <a:cubicBezTo>
                      <a:pt x="38" y="30"/>
                      <a:pt x="36" y="24"/>
                      <a:pt x="34" y="19"/>
                    </a:cubicBezTo>
                    <a:cubicBezTo>
                      <a:pt x="32" y="14"/>
                      <a:pt x="29" y="12"/>
                      <a:pt x="25" y="12"/>
                    </a:cubicBezTo>
                    <a:cubicBezTo>
                      <a:pt x="22" y="12"/>
                      <a:pt x="19" y="14"/>
                      <a:pt x="17" y="19"/>
                    </a:cubicBezTo>
                    <a:cubicBezTo>
                      <a:pt x="15" y="24"/>
                      <a:pt x="14" y="30"/>
                      <a:pt x="14" y="37"/>
                    </a:cubicBezTo>
                    <a:cubicBezTo>
                      <a:pt x="14" y="45"/>
                      <a:pt x="15" y="51"/>
                      <a:pt x="17" y="56"/>
                    </a:cubicBezTo>
                    <a:cubicBezTo>
                      <a:pt x="19" y="60"/>
                      <a:pt x="22" y="63"/>
                      <a:pt x="25" y="63"/>
                    </a:cubicBezTo>
                    <a:cubicBezTo>
                      <a:pt x="29" y="63"/>
                      <a:pt x="32" y="61"/>
                      <a:pt x="34" y="56"/>
                    </a:cubicBezTo>
                    <a:cubicBezTo>
                      <a:pt x="36"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6" name="Freeform 295"/>
              <p:cNvSpPr>
                <a:spLocks/>
              </p:cNvSpPr>
              <p:nvPr/>
            </p:nvSpPr>
            <p:spPr bwMode="auto">
              <a:xfrm>
                <a:off x="2944985" y="4021640"/>
                <a:ext cx="34376" cy="87659"/>
              </a:xfrm>
              <a:custGeom>
                <a:avLst/>
                <a:gdLst/>
                <a:ahLst/>
                <a:cxnLst>
                  <a:cxn ang="0">
                    <a:pos x="22" y="56"/>
                  </a:cxn>
                  <a:cxn ang="0">
                    <a:pos x="11" y="56"/>
                  </a:cxn>
                  <a:cxn ang="0">
                    <a:pos x="11" y="10"/>
                  </a:cxn>
                  <a:cxn ang="0">
                    <a:pos x="0" y="10"/>
                  </a:cxn>
                  <a:cxn ang="0">
                    <a:pos x="5" y="0"/>
                  </a:cxn>
                  <a:cxn ang="0">
                    <a:pos x="22" y="0"/>
                  </a:cxn>
                  <a:cxn ang="0">
                    <a:pos x="22" y="56"/>
                  </a:cxn>
                </a:cxnLst>
                <a:rect l="0" t="0" r="r" b="b"/>
                <a:pathLst>
                  <a:path w="22" h="56">
                    <a:moveTo>
                      <a:pt x="22" y="56"/>
                    </a:moveTo>
                    <a:lnTo>
                      <a:pt x="11" y="56"/>
                    </a:lnTo>
                    <a:lnTo>
                      <a:pt x="11" y="10"/>
                    </a:lnTo>
                    <a:lnTo>
                      <a:pt x="0" y="10"/>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7" name="Freeform 296"/>
              <p:cNvSpPr>
                <a:spLocks noEditPoints="1"/>
              </p:cNvSpPr>
              <p:nvPr/>
            </p:nvSpPr>
            <p:spPr bwMode="auto">
              <a:xfrm>
                <a:off x="2993423" y="4020075"/>
                <a:ext cx="62501" cy="90790"/>
              </a:xfrm>
              <a:custGeom>
                <a:avLst/>
                <a:gdLst/>
                <a:ahLst/>
                <a:cxnLst>
                  <a:cxn ang="0">
                    <a:pos x="52" y="37"/>
                  </a:cxn>
                  <a:cxn ang="0">
                    <a:pos x="44" y="65"/>
                  </a:cxn>
                  <a:cxn ang="0">
                    <a:pos x="26" y="75"/>
                  </a:cxn>
                  <a:cxn ang="0">
                    <a:pos x="7" y="65"/>
                  </a:cxn>
                  <a:cxn ang="0">
                    <a:pos x="0" y="37"/>
                  </a:cxn>
                  <a:cxn ang="0">
                    <a:pos x="7" y="10"/>
                  </a:cxn>
                  <a:cxn ang="0">
                    <a:pos x="26" y="0"/>
                  </a:cxn>
                  <a:cxn ang="0">
                    <a:pos x="45" y="10"/>
                  </a:cxn>
                  <a:cxn ang="0">
                    <a:pos x="52" y="37"/>
                  </a:cxn>
                  <a:cxn ang="0">
                    <a:pos x="38" y="37"/>
                  </a:cxn>
                  <a:cxn ang="0">
                    <a:pos x="34" y="19"/>
                  </a:cxn>
                  <a:cxn ang="0">
                    <a:pos x="26" y="12"/>
                  </a:cxn>
                  <a:cxn ang="0">
                    <a:pos x="17" y="19"/>
                  </a:cxn>
                  <a:cxn ang="0">
                    <a:pos x="14" y="37"/>
                  </a:cxn>
                  <a:cxn ang="0">
                    <a:pos x="17" y="56"/>
                  </a:cxn>
                  <a:cxn ang="0">
                    <a:pos x="26" y="63"/>
                  </a:cxn>
                  <a:cxn ang="0">
                    <a:pos x="34" y="56"/>
                  </a:cxn>
                  <a:cxn ang="0">
                    <a:pos x="38" y="37"/>
                  </a:cxn>
                </a:cxnLst>
                <a:rect l="0" t="0" r="r" b="b"/>
                <a:pathLst>
                  <a:path w="52" h="75">
                    <a:moveTo>
                      <a:pt x="52" y="37"/>
                    </a:moveTo>
                    <a:cubicBezTo>
                      <a:pt x="52" y="49"/>
                      <a:pt x="49" y="58"/>
                      <a:pt x="44" y="65"/>
                    </a:cubicBezTo>
                    <a:cubicBezTo>
                      <a:pt x="40" y="72"/>
                      <a:pt x="33" y="75"/>
                      <a:pt x="26" y="75"/>
                    </a:cubicBezTo>
                    <a:cubicBezTo>
                      <a:pt x="18" y="75"/>
                      <a:pt x="12" y="72"/>
                      <a:pt x="7" y="65"/>
                    </a:cubicBezTo>
                    <a:cubicBezTo>
                      <a:pt x="2" y="58"/>
                      <a:pt x="0" y="49"/>
                      <a:pt x="0" y="37"/>
                    </a:cubicBezTo>
                    <a:cubicBezTo>
                      <a:pt x="0" y="26"/>
                      <a:pt x="2" y="17"/>
                      <a:pt x="7" y="10"/>
                    </a:cubicBezTo>
                    <a:cubicBezTo>
                      <a:pt x="12" y="3"/>
                      <a:pt x="18" y="0"/>
                      <a:pt x="26" y="0"/>
                    </a:cubicBezTo>
                    <a:cubicBezTo>
                      <a:pt x="34" y="0"/>
                      <a:pt x="40" y="3"/>
                      <a:pt x="45" y="10"/>
                    </a:cubicBezTo>
                    <a:cubicBezTo>
                      <a:pt x="49" y="17"/>
                      <a:pt x="52" y="26"/>
                      <a:pt x="52" y="37"/>
                    </a:cubicBezTo>
                    <a:close/>
                    <a:moveTo>
                      <a:pt x="38" y="37"/>
                    </a:moveTo>
                    <a:cubicBezTo>
                      <a:pt x="38" y="30"/>
                      <a:pt x="37" y="24"/>
                      <a:pt x="34" y="19"/>
                    </a:cubicBezTo>
                    <a:cubicBezTo>
                      <a:pt x="32" y="14"/>
                      <a:pt x="29" y="12"/>
                      <a:pt x="26" y="12"/>
                    </a:cubicBezTo>
                    <a:cubicBezTo>
                      <a:pt x="22" y="12"/>
                      <a:pt x="19" y="14"/>
                      <a:pt x="17" y="19"/>
                    </a:cubicBezTo>
                    <a:cubicBezTo>
                      <a:pt x="15" y="24"/>
                      <a:pt x="14" y="30"/>
                      <a:pt x="14" y="37"/>
                    </a:cubicBezTo>
                    <a:cubicBezTo>
                      <a:pt x="14" y="45"/>
                      <a:pt x="15" y="51"/>
                      <a:pt x="17" y="56"/>
                    </a:cubicBezTo>
                    <a:cubicBezTo>
                      <a:pt x="19" y="60"/>
                      <a:pt x="22" y="63"/>
                      <a:pt x="26" y="63"/>
                    </a:cubicBezTo>
                    <a:cubicBezTo>
                      <a:pt x="29" y="63"/>
                      <a:pt x="32" y="61"/>
                      <a:pt x="34"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8" name="Freeform 297"/>
              <p:cNvSpPr>
                <a:spLocks/>
              </p:cNvSpPr>
              <p:nvPr/>
            </p:nvSpPr>
            <p:spPr bwMode="auto">
              <a:xfrm>
                <a:off x="3057486" y="402164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9" name="Freeform 298"/>
              <p:cNvSpPr>
                <a:spLocks/>
              </p:cNvSpPr>
              <p:nvPr/>
            </p:nvSpPr>
            <p:spPr bwMode="auto">
              <a:xfrm>
                <a:off x="3098112" y="402164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1" name="Freeform 310"/>
              <p:cNvSpPr>
                <a:spLocks/>
              </p:cNvSpPr>
              <p:nvPr/>
            </p:nvSpPr>
            <p:spPr bwMode="auto">
              <a:xfrm>
                <a:off x="2424664" y="415939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2" name="Freeform 311"/>
              <p:cNvSpPr>
                <a:spLocks noEditPoints="1"/>
              </p:cNvSpPr>
              <p:nvPr/>
            </p:nvSpPr>
            <p:spPr bwMode="auto">
              <a:xfrm>
                <a:off x="2471540" y="4159390"/>
                <a:ext cx="62501" cy="89224"/>
              </a:xfrm>
              <a:custGeom>
                <a:avLst/>
                <a:gdLst/>
                <a:ahLst/>
                <a:cxnLst>
                  <a:cxn ang="0">
                    <a:pos x="52" y="38"/>
                  </a:cxn>
                  <a:cxn ang="0">
                    <a:pos x="45" y="65"/>
                  </a:cxn>
                  <a:cxn ang="0">
                    <a:pos x="26" y="75"/>
                  </a:cxn>
                  <a:cxn ang="0">
                    <a:pos x="7" y="65"/>
                  </a:cxn>
                  <a:cxn ang="0">
                    <a:pos x="0" y="38"/>
                  </a:cxn>
                  <a:cxn ang="0">
                    <a:pos x="7" y="10"/>
                  </a:cxn>
                  <a:cxn ang="0">
                    <a:pos x="26" y="0"/>
                  </a:cxn>
                  <a:cxn ang="0">
                    <a:pos x="45" y="10"/>
                  </a:cxn>
                  <a:cxn ang="0">
                    <a:pos x="52" y="38"/>
                  </a:cxn>
                  <a:cxn ang="0">
                    <a:pos x="38" y="37"/>
                  </a:cxn>
                  <a:cxn ang="0">
                    <a:pos x="34" y="19"/>
                  </a:cxn>
                  <a:cxn ang="0">
                    <a:pos x="26" y="12"/>
                  </a:cxn>
                  <a:cxn ang="0">
                    <a:pos x="17" y="19"/>
                  </a:cxn>
                  <a:cxn ang="0">
                    <a:pos x="14" y="38"/>
                  </a:cxn>
                  <a:cxn ang="0">
                    <a:pos x="17" y="56"/>
                  </a:cxn>
                  <a:cxn ang="0">
                    <a:pos x="26" y="63"/>
                  </a:cxn>
                  <a:cxn ang="0">
                    <a:pos x="35" y="56"/>
                  </a:cxn>
                  <a:cxn ang="0">
                    <a:pos x="38" y="37"/>
                  </a:cxn>
                </a:cxnLst>
                <a:rect l="0" t="0" r="r" b="b"/>
                <a:pathLst>
                  <a:path w="52" h="75">
                    <a:moveTo>
                      <a:pt x="52" y="38"/>
                    </a:moveTo>
                    <a:cubicBezTo>
                      <a:pt x="52" y="49"/>
                      <a:pt x="49" y="58"/>
                      <a:pt x="45" y="65"/>
                    </a:cubicBezTo>
                    <a:cubicBezTo>
                      <a:pt x="40" y="72"/>
                      <a:pt x="34" y="75"/>
                      <a:pt x="26" y="75"/>
                    </a:cubicBezTo>
                    <a:cubicBezTo>
                      <a:pt x="18" y="75"/>
                      <a:pt x="12" y="72"/>
                      <a:pt x="7" y="65"/>
                    </a:cubicBezTo>
                    <a:cubicBezTo>
                      <a:pt x="2" y="58"/>
                      <a:pt x="0" y="49"/>
                      <a:pt x="0" y="38"/>
                    </a:cubicBezTo>
                    <a:cubicBezTo>
                      <a:pt x="0" y="26"/>
                      <a:pt x="2" y="17"/>
                      <a:pt x="7" y="10"/>
                    </a:cubicBezTo>
                    <a:cubicBezTo>
                      <a:pt x="12" y="3"/>
                      <a:pt x="18" y="0"/>
                      <a:pt x="26" y="0"/>
                    </a:cubicBezTo>
                    <a:cubicBezTo>
                      <a:pt x="34" y="0"/>
                      <a:pt x="40" y="3"/>
                      <a:pt x="45" y="10"/>
                    </a:cubicBezTo>
                    <a:cubicBezTo>
                      <a:pt x="49" y="17"/>
                      <a:pt x="52" y="26"/>
                      <a:pt x="52" y="38"/>
                    </a:cubicBezTo>
                    <a:close/>
                    <a:moveTo>
                      <a:pt x="38" y="37"/>
                    </a:moveTo>
                    <a:cubicBezTo>
                      <a:pt x="38" y="30"/>
                      <a:pt x="37" y="24"/>
                      <a:pt x="34" y="19"/>
                    </a:cubicBezTo>
                    <a:cubicBezTo>
                      <a:pt x="32" y="14"/>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5"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3" name="Freeform 312"/>
              <p:cNvSpPr>
                <a:spLocks/>
              </p:cNvSpPr>
              <p:nvPr/>
            </p:nvSpPr>
            <p:spPr bwMode="auto">
              <a:xfrm>
                <a:off x="2535603" y="4159390"/>
                <a:ext cx="32813" cy="87659"/>
              </a:xfrm>
              <a:custGeom>
                <a:avLst/>
                <a:gdLst/>
                <a:ahLst/>
                <a:cxnLst>
                  <a:cxn ang="0">
                    <a:pos x="21" y="56"/>
                  </a:cxn>
                  <a:cxn ang="0">
                    <a:pos x="11" y="56"/>
                  </a:cxn>
                  <a:cxn ang="0">
                    <a:pos x="11" y="10"/>
                  </a:cxn>
                  <a:cxn ang="0">
                    <a:pos x="0" y="10"/>
                  </a:cxn>
                  <a:cxn ang="0">
                    <a:pos x="5" y="0"/>
                  </a:cxn>
                  <a:cxn ang="0">
                    <a:pos x="21" y="0"/>
                  </a:cxn>
                  <a:cxn ang="0">
                    <a:pos x="21" y="56"/>
                  </a:cxn>
                </a:cxnLst>
                <a:rect l="0" t="0" r="r" b="b"/>
                <a:pathLst>
                  <a:path w="21" h="56">
                    <a:moveTo>
                      <a:pt x="21" y="56"/>
                    </a:moveTo>
                    <a:lnTo>
                      <a:pt x="11" y="56"/>
                    </a:lnTo>
                    <a:lnTo>
                      <a:pt x="11" y="10"/>
                    </a:lnTo>
                    <a:lnTo>
                      <a:pt x="0" y="10"/>
                    </a:lnTo>
                    <a:lnTo>
                      <a:pt x="5"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4" name="Freeform 313"/>
              <p:cNvSpPr>
                <a:spLocks/>
              </p:cNvSpPr>
              <p:nvPr/>
            </p:nvSpPr>
            <p:spPr bwMode="auto">
              <a:xfrm>
                <a:off x="2576229" y="415939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5" name="Freeform 314"/>
              <p:cNvSpPr>
                <a:spLocks/>
              </p:cNvSpPr>
              <p:nvPr/>
            </p:nvSpPr>
            <p:spPr bwMode="auto">
              <a:xfrm>
                <a:off x="2616855" y="415939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6" name="Freeform 315"/>
              <p:cNvSpPr>
                <a:spLocks/>
              </p:cNvSpPr>
              <p:nvPr/>
            </p:nvSpPr>
            <p:spPr bwMode="auto">
              <a:xfrm>
                <a:off x="2657480" y="415939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7" name="Freeform 316"/>
              <p:cNvSpPr>
                <a:spLocks noEditPoints="1"/>
              </p:cNvSpPr>
              <p:nvPr/>
            </p:nvSpPr>
            <p:spPr bwMode="auto">
              <a:xfrm>
                <a:off x="2704356" y="4159390"/>
                <a:ext cx="62501" cy="89224"/>
              </a:xfrm>
              <a:custGeom>
                <a:avLst/>
                <a:gdLst/>
                <a:ahLst/>
                <a:cxnLst>
                  <a:cxn ang="0">
                    <a:pos x="52" y="38"/>
                  </a:cxn>
                  <a:cxn ang="0">
                    <a:pos x="44" y="65"/>
                  </a:cxn>
                  <a:cxn ang="0">
                    <a:pos x="26" y="75"/>
                  </a:cxn>
                  <a:cxn ang="0">
                    <a:pos x="7" y="65"/>
                  </a:cxn>
                  <a:cxn ang="0">
                    <a:pos x="0" y="38"/>
                  </a:cxn>
                  <a:cxn ang="0">
                    <a:pos x="7" y="10"/>
                  </a:cxn>
                  <a:cxn ang="0">
                    <a:pos x="26" y="0"/>
                  </a:cxn>
                  <a:cxn ang="0">
                    <a:pos x="45" y="10"/>
                  </a:cxn>
                  <a:cxn ang="0">
                    <a:pos x="52" y="38"/>
                  </a:cxn>
                  <a:cxn ang="0">
                    <a:pos x="38" y="37"/>
                  </a:cxn>
                  <a:cxn ang="0">
                    <a:pos x="34" y="19"/>
                  </a:cxn>
                  <a:cxn ang="0">
                    <a:pos x="26" y="12"/>
                  </a:cxn>
                  <a:cxn ang="0">
                    <a:pos x="17" y="19"/>
                  </a:cxn>
                  <a:cxn ang="0">
                    <a:pos x="14" y="38"/>
                  </a:cxn>
                  <a:cxn ang="0">
                    <a:pos x="17" y="56"/>
                  </a:cxn>
                  <a:cxn ang="0">
                    <a:pos x="26" y="63"/>
                  </a:cxn>
                  <a:cxn ang="0">
                    <a:pos x="34" y="56"/>
                  </a:cxn>
                  <a:cxn ang="0">
                    <a:pos x="38" y="37"/>
                  </a:cxn>
                </a:cxnLst>
                <a:rect l="0" t="0" r="r" b="b"/>
                <a:pathLst>
                  <a:path w="52" h="75">
                    <a:moveTo>
                      <a:pt x="52" y="38"/>
                    </a:moveTo>
                    <a:cubicBezTo>
                      <a:pt x="52" y="49"/>
                      <a:pt x="49" y="58"/>
                      <a:pt x="44" y="65"/>
                    </a:cubicBezTo>
                    <a:cubicBezTo>
                      <a:pt x="40" y="72"/>
                      <a:pt x="33" y="75"/>
                      <a:pt x="26" y="75"/>
                    </a:cubicBezTo>
                    <a:cubicBezTo>
                      <a:pt x="18" y="75"/>
                      <a:pt x="12" y="72"/>
                      <a:pt x="7" y="65"/>
                    </a:cubicBezTo>
                    <a:cubicBezTo>
                      <a:pt x="2" y="58"/>
                      <a:pt x="0" y="49"/>
                      <a:pt x="0" y="38"/>
                    </a:cubicBezTo>
                    <a:cubicBezTo>
                      <a:pt x="0" y="26"/>
                      <a:pt x="2" y="17"/>
                      <a:pt x="7" y="10"/>
                    </a:cubicBezTo>
                    <a:cubicBezTo>
                      <a:pt x="12" y="3"/>
                      <a:pt x="18" y="0"/>
                      <a:pt x="26" y="0"/>
                    </a:cubicBezTo>
                    <a:cubicBezTo>
                      <a:pt x="34" y="0"/>
                      <a:pt x="40" y="3"/>
                      <a:pt x="45" y="10"/>
                    </a:cubicBezTo>
                    <a:cubicBezTo>
                      <a:pt x="49" y="17"/>
                      <a:pt x="52" y="26"/>
                      <a:pt x="52" y="38"/>
                    </a:cubicBezTo>
                    <a:close/>
                    <a:moveTo>
                      <a:pt x="38" y="37"/>
                    </a:moveTo>
                    <a:cubicBezTo>
                      <a:pt x="38" y="30"/>
                      <a:pt x="37" y="24"/>
                      <a:pt x="34" y="19"/>
                    </a:cubicBezTo>
                    <a:cubicBezTo>
                      <a:pt x="32" y="14"/>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4"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8" name="Freeform 317"/>
              <p:cNvSpPr>
                <a:spLocks noEditPoints="1"/>
              </p:cNvSpPr>
              <p:nvPr/>
            </p:nvSpPr>
            <p:spPr bwMode="auto">
              <a:xfrm>
                <a:off x="2771544" y="4159390"/>
                <a:ext cx="62501" cy="89224"/>
              </a:xfrm>
              <a:custGeom>
                <a:avLst/>
                <a:gdLst/>
                <a:ahLst/>
                <a:cxnLst>
                  <a:cxn ang="0">
                    <a:pos x="52" y="38"/>
                  </a:cxn>
                  <a:cxn ang="0">
                    <a:pos x="45" y="65"/>
                  </a:cxn>
                  <a:cxn ang="0">
                    <a:pos x="26" y="75"/>
                  </a:cxn>
                  <a:cxn ang="0">
                    <a:pos x="7" y="65"/>
                  </a:cxn>
                  <a:cxn ang="0">
                    <a:pos x="0" y="38"/>
                  </a:cxn>
                  <a:cxn ang="0">
                    <a:pos x="7" y="10"/>
                  </a:cxn>
                  <a:cxn ang="0">
                    <a:pos x="26" y="0"/>
                  </a:cxn>
                  <a:cxn ang="0">
                    <a:pos x="45" y="10"/>
                  </a:cxn>
                  <a:cxn ang="0">
                    <a:pos x="52" y="38"/>
                  </a:cxn>
                  <a:cxn ang="0">
                    <a:pos x="38" y="37"/>
                  </a:cxn>
                  <a:cxn ang="0">
                    <a:pos x="35" y="19"/>
                  </a:cxn>
                  <a:cxn ang="0">
                    <a:pos x="26" y="12"/>
                  </a:cxn>
                  <a:cxn ang="0">
                    <a:pos x="18" y="19"/>
                  </a:cxn>
                  <a:cxn ang="0">
                    <a:pos x="14" y="38"/>
                  </a:cxn>
                  <a:cxn ang="0">
                    <a:pos x="18" y="56"/>
                  </a:cxn>
                  <a:cxn ang="0">
                    <a:pos x="26" y="63"/>
                  </a:cxn>
                  <a:cxn ang="0">
                    <a:pos x="35" y="56"/>
                  </a:cxn>
                  <a:cxn ang="0">
                    <a:pos x="38" y="37"/>
                  </a:cxn>
                </a:cxnLst>
                <a:rect l="0" t="0" r="r" b="b"/>
                <a:pathLst>
                  <a:path w="52" h="75">
                    <a:moveTo>
                      <a:pt x="52" y="38"/>
                    </a:moveTo>
                    <a:cubicBezTo>
                      <a:pt x="52" y="49"/>
                      <a:pt x="50" y="58"/>
                      <a:pt x="45" y="65"/>
                    </a:cubicBezTo>
                    <a:cubicBezTo>
                      <a:pt x="40" y="72"/>
                      <a:pt x="34" y="75"/>
                      <a:pt x="26" y="75"/>
                    </a:cubicBezTo>
                    <a:cubicBezTo>
                      <a:pt x="18" y="75"/>
                      <a:pt x="12" y="72"/>
                      <a:pt x="7" y="65"/>
                    </a:cubicBezTo>
                    <a:cubicBezTo>
                      <a:pt x="3" y="58"/>
                      <a:pt x="0" y="49"/>
                      <a:pt x="0" y="38"/>
                    </a:cubicBezTo>
                    <a:cubicBezTo>
                      <a:pt x="0" y="26"/>
                      <a:pt x="3" y="17"/>
                      <a:pt x="7" y="10"/>
                    </a:cubicBezTo>
                    <a:cubicBezTo>
                      <a:pt x="12" y="3"/>
                      <a:pt x="18" y="0"/>
                      <a:pt x="26" y="0"/>
                    </a:cubicBezTo>
                    <a:cubicBezTo>
                      <a:pt x="34" y="0"/>
                      <a:pt x="40" y="3"/>
                      <a:pt x="45" y="10"/>
                    </a:cubicBezTo>
                    <a:cubicBezTo>
                      <a:pt x="50" y="17"/>
                      <a:pt x="52" y="26"/>
                      <a:pt x="52" y="38"/>
                    </a:cubicBezTo>
                    <a:close/>
                    <a:moveTo>
                      <a:pt x="38" y="37"/>
                    </a:moveTo>
                    <a:cubicBezTo>
                      <a:pt x="38" y="30"/>
                      <a:pt x="37" y="24"/>
                      <a:pt x="35" y="19"/>
                    </a:cubicBezTo>
                    <a:cubicBezTo>
                      <a:pt x="33" y="14"/>
                      <a:pt x="30" y="12"/>
                      <a:pt x="26" y="12"/>
                    </a:cubicBezTo>
                    <a:cubicBezTo>
                      <a:pt x="23" y="12"/>
                      <a:pt x="20" y="15"/>
                      <a:pt x="18" y="19"/>
                    </a:cubicBezTo>
                    <a:cubicBezTo>
                      <a:pt x="15" y="24"/>
                      <a:pt x="14" y="30"/>
                      <a:pt x="14" y="38"/>
                    </a:cubicBezTo>
                    <a:cubicBezTo>
                      <a:pt x="14" y="45"/>
                      <a:pt x="15" y="51"/>
                      <a:pt x="18" y="56"/>
                    </a:cubicBezTo>
                    <a:cubicBezTo>
                      <a:pt x="20" y="61"/>
                      <a:pt x="23" y="63"/>
                      <a:pt x="26" y="63"/>
                    </a:cubicBezTo>
                    <a:cubicBezTo>
                      <a:pt x="30" y="63"/>
                      <a:pt x="33" y="61"/>
                      <a:pt x="35"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9" name="Freeform 318"/>
              <p:cNvSpPr>
                <a:spLocks/>
              </p:cNvSpPr>
              <p:nvPr/>
            </p:nvSpPr>
            <p:spPr bwMode="auto">
              <a:xfrm>
                <a:off x="2835608" y="415939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400" name="Freeform 319"/>
              <p:cNvSpPr>
                <a:spLocks noEditPoints="1"/>
              </p:cNvSpPr>
              <p:nvPr/>
            </p:nvSpPr>
            <p:spPr bwMode="auto">
              <a:xfrm>
                <a:off x="2882484" y="4159390"/>
                <a:ext cx="62501" cy="89224"/>
              </a:xfrm>
              <a:custGeom>
                <a:avLst/>
                <a:gdLst/>
                <a:ahLst/>
                <a:cxnLst>
                  <a:cxn ang="0">
                    <a:pos x="51" y="38"/>
                  </a:cxn>
                  <a:cxn ang="0">
                    <a:pos x="44" y="65"/>
                  </a:cxn>
                  <a:cxn ang="0">
                    <a:pos x="25" y="75"/>
                  </a:cxn>
                  <a:cxn ang="0">
                    <a:pos x="7" y="65"/>
                  </a:cxn>
                  <a:cxn ang="0">
                    <a:pos x="0" y="38"/>
                  </a:cxn>
                  <a:cxn ang="0">
                    <a:pos x="7" y="10"/>
                  </a:cxn>
                  <a:cxn ang="0">
                    <a:pos x="25" y="0"/>
                  </a:cxn>
                  <a:cxn ang="0">
                    <a:pos x="44" y="10"/>
                  </a:cxn>
                  <a:cxn ang="0">
                    <a:pos x="51" y="38"/>
                  </a:cxn>
                  <a:cxn ang="0">
                    <a:pos x="38" y="37"/>
                  </a:cxn>
                  <a:cxn ang="0">
                    <a:pos x="34" y="19"/>
                  </a:cxn>
                  <a:cxn ang="0">
                    <a:pos x="25" y="12"/>
                  </a:cxn>
                  <a:cxn ang="0">
                    <a:pos x="17" y="19"/>
                  </a:cxn>
                  <a:cxn ang="0">
                    <a:pos x="14" y="38"/>
                  </a:cxn>
                  <a:cxn ang="0">
                    <a:pos x="17" y="56"/>
                  </a:cxn>
                  <a:cxn ang="0">
                    <a:pos x="25" y="63"/>
                  </a:cxn>
                  <a:cxn ang="0">
                    <a:pos x="34" y="56"/>
                  </a:cxn>
                  <a:cxn ang="0">
                    <a:pos x="38" y="37"/>
                  </a:cxn>
                </a:cxnLst>
                <a:rect l="0" t="0" r="r" b="b"/>
                <a:pathLst>
                  <a:path w="51" h="75">
                    <a:moveTo>
                      <a:pt x="51" y="38"/>
                    </a:moveTo>
                    <a:cubicBezTo>
                      <a:pt x="51" y="49"/>
                      <a:pt x="49" y="58"/>
                      <a:pt x="44" y="65"/>
                    </a:cubicBezTo>
                    <a:cubicBezTo>
                      <a:pt x="40" y="72"/>
                      <a:pt x="33" y="75"/>
                      <a:pt x="25" y="75"/>
                    </a:cubicBezTo>
                    <a:cubicBezTo>
                      <a:pt x="18" y="75"/>
                      <a:pt x="11" y="72"/>
                      <a:pt x="7" y="65"/>
                    </a:cubicBezTo>
                    <a:cubicBezTo>
                      <a:pt x="2" y="58"/>
                      <a:pt x="0" y="49"/>
                      <a:pt x="0" y="38"/>
                    </a:cubicBezTo>
                    <a:cubicBezTo>
                      <a:pt x="0" y="26"/>
                      <a:pt x="2" y="17"/>
                      <a:pt x="7" y="10"/>
                    </a:cubicBezTo>
                    <a:cubicBezTo>
                      <a:pt x="11" y="3"/>
                      <a:pt x="18" y="0"/>
                      <a:pt x="25" y="0"/>
                    </a:cubicBezTo>
                    <a:cubicBezTo>
                      <a:pt x="33" y="0"/>
                      <a:pt x="40" y="3"/>
                      <a:pt x="44" y="10"/>
                    </a:cubicBezTo>
                    <a:cubicBezTo>
                      <a:pt x="49" y="17"/>
                      <a:pt x="51" y="26"/>
                      <a:pt x="51" y="38"/>
                    </a:cubicBezTo>
                    <a:close/>
                    <a:moveTo>
                      <a:pt x="38" y="37"/>
                    </a:moveTo>
                    <a:cubicBezTo>
                      <a:pt x="38" y="30"/>
                      <a:pt x="36" y="24"/>
                      <a:pt x="34" y="19"/>
                    </a:cubicBezTo>
                    <a:cubicBezTo>
                      <a:pt x="32" y="14"/>
                      <a:pt x="29" y="12"/>
                      <a:pt x="25" y="12"/>
                    </a:cubicBezTo>
                    <a:cubicBezTo>
                      <a:pt x="22" y="12"/>
                      <a:pt x="19" y="15"/>
                      <a:pt x="17" y="19"/>
                    </a:cubicBezTo>
                    <a:cubicBezTo>
                      <a:pt x="15" y="24"/>
                      <a:pt x="14" y="30"/>
                      <a:pt x="14" y="38"/>
                    </a:cubicBezTo>
                    <a:cubicBezTo>
                      <a:pt x="14" y="45"/>
                      <a:pt x="15" y="51"/>
                      <a:pt x="17" y="56"/>
                    </a:cubicBezTo>
                    <a:cubicBezTo>
                      <a:pt x="19" y="61"/>
                      <a:pt x="22" y="63"/>
                      <a:pt x="25" y="63"/>
                    </a:cubicBezTo>
                    <a:cubicBezTo>
                      <a:pt x="29" y="63"/>
                      <a:pt x="32" y="61"/>
                      <a:pt x="34" y="56"/>
                    </a:cubicBezTo>
                    <a:cubicBezTo>
                      <a:pt x="36"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401" name="Freeform 320"/>
              <p:cNvSpPr>
                <a:spLocks/>
              </p:cNvSpPr>
              <p:nvPr/>
            </p:nvSpPr>
            <p:spPr bwMode="auto">
              <a:xfrm>
                <a:off x="2944985" y="4159390"/>
                <a:ext cx="34376" cy="87659"/>
              </a:xfrm>
              <a:custGeom>
                <a:avLst/>
                <a:gdLst/>
                <a:ahLst/>
                <a:cxnLst>
                  <a:cxn ang="0">
                    <a:pos x="22" y="56"/>
                  </a:cxn>
                  <a:cxn ang="0">
                    <a:pos x="11" y="56"/>
                  </a:cxn>
                  <a:cxn ang="0">
                    <a:pos x="11" y="10"/>
                  </a:cxn>
                  <a:cxn ang="0">
                    <a:pos x="0" y="10"/>
                  </a:cxn>
                  <a:cxn ang="0">
                    <a:pos x="5" y="0"/>
                  </a:cxn>
                  <a:cxn ang="0">
                    <a:pos x="22" y="0"/>
                  </a:cxn>
                  <a:cxn ang="0">
                    <a:pos x="22" y="56"/>
                  </a:cxn>
                </a:cxnLst>
                <a:rect l="0" t="0" r="r" b="b"/>
                <a:pathLst>
                  <a:path w="22" h="56">
                    <a:moveTo>
                      <a:pt x="22" y="56"/>
                    </a:moveTo>
                    <a:lnTo>
                      <a:pt x="11" y="56"/>
                    </a:lnTo>
                    <a:lnTo>
                      <a:pt x="11" y="10"/>
                    </a:lnTo>
                    <a:lnTo>
                      <a:pt x="0" y="10"/>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402" name="Freeform 321"/>
              <p:cNvSpPr>
                <a:spLocks noEditPoints="1"/>
              </p:cNvSpPr>
              <p:nvPr/>
            </p:nvSpPr>
            <p:spPr bwMode="auto">
              <a:xfrm>
                <a:off x="2993423" y="4159390"/>
                <a:ext cx="62501" cy="89224"/>
              </a:xfrm>
              <a:custGeom>
                <a:avLst/>
                <a:gdLst/>
                <a:ahLst/>
                <a:cxnLst>
                  <a:cxn ang="0">
                    <a:pos x="52" y="38"/>
                  </a:cxn>
                  <a:cxn ang="0">
                    <a:pos x="44" y="65"/>
                  </a:cxn>
                  <a:cxn ang="0">
                    <a:pos x="26" y="75"/>
                  </a:cxn>
                  <a:cxn ang="0">
                    <a:pos x="7" y="65"/>
                  </a:cxn>
                  <a:cxn ang="0">
                    <a:pos x="0" y="38"/>
                  </a:cxn>
                  <a:cxn ang="0">
                    <a:pos x="7" y="10"/>
                  </a:cxn>
                  <a:cxn ang="0">
                    <a:pos x="26" y="0"/>
                  </a:cxn>
                  <a:cxn ang="0">
                    <a:pos x="45" y="10"/>
                  </a:cxn>
                  <a:cxn ang="0">
                    <a:pos x="52" y="38"/>
                  </a:cxn>
                  <a:cxn ang="0">
                    <a:pos x="38" y="37"/>
                  </a:cxn>
                  <a:cxn ang="0">
                    <a:pos x="34" y="19"/>
                  </a:cxn>
                  <a:cxn ang="0">
                    <a:pos x="26" y="12"/>
                  </a:cxn>
                  <a:cxn ang="0">
                    <a:pos x="17" y="19"/>
                  </a:cxn>
                  <a:cxn ang="0">
                    <a:pos x="14" y="38"/>
                  </a:cxn>
                  <a:cxn ang="0">
                    <a:pos x="17" y="56"/>
                  </a:cxn>
                  <a:cxn ang="0">
                    <a:pos x="26" y="63"/>
                  </a:cxn>
                  <a:cxn ang="0">
                    <a:pos x="34" y="56"/>
                  </a:cxn>
                  <a:cxn ang="0">
                    <a:pos x="38" y="37"/>
                  </a:cxn>
                </a:cxnLst>
                <a:rect l="0" t="0" r="r" b="b"/>
                <a:pathLst>
                  <a:path w="52" h="75">
                    <a:moveTo>
                      <a:pt x="52" y="38"/>
                    </a:moveTo>
                    <a:cubicBezTo>
                      <a:pt x="52" y="49"/>
                      <a:pt x="49" y="58"/>
                      <a:pt x="44" y="65"/>
                    </a:cubicBezTo>
                    <a:cubicBezTo>
                      <a:pt x="40" y="72"/>
                      <a:pt x="33" y="75"/>
                      <a:pt x="26" y="75"/>
                    </a:cubicBezTo>
                    <a:cubicBezTo>
                      <a:pt x="18" y="75"/>
                      <a:pt x="12" y="72"/>
                      <a:pt x="7" y="65"/>
                    </a:cubicBezTo>
                    <a:cubicBezTo>
                      <a:pt x="2" y="58"/>
                      <a:pt x="0" y="49"/>
                      <a:pt x="0" y="38"/>
                    </a:cubicBezTo>
                    <a:cubicBezTo>
                      <a:pt x="0" y="26"/>
                      <a:pt x="2" y="17"/>
                      <a:pt x="7" y="10"/>
                    </a:cubicBezTo>
                    <a:cubicBezTo>
                      <a:pt x="12" y="3"/>
                      <a:pt x="18" y="0"/>
                      <a:pt x="26" y="0"/>
                    </a:cubicBezTo>
                    <a:cubicBezTo>
                      <a:pt x="34" y="0"/>
                      <a:pt x="40" y="3"/>
                      <a:pt x="45" y="10"/>
                    </a:cubicBezTo>
                    <a:cubicBezTo>
                      <a:pt x="49" y="17"/>
                      <a:pt x="52" y="26"/>
                      <a:pt x="52" y="38"/>
                    </a:cubicBezTo>
                    <a:close/>
                    <a:moveTo>
                      <a:pt x="38" y="37"/>
                    </a:moveTo>
                    <a:cubicBezTo>
                      <a:pt x="38" y="30"/>
                      <a:pt x="37" y="24"/>
                      <a:pt x="34" y="19"/>
                    </a:cubicBezTo>
                    <a:cubicBezTo>
                      <a:pt x="32" y="14"/>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4"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403" name="Freeform 322"/>
              <p:cNvSpPr>
                <a:spLocks/>
              </p:cNvSpPr>
              <p:nvPr/>
            </p:nvSpPr>
            <p:spPr bwMode="auto">
              <a:xfrm>
                <a:off x="3057486" y="415939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404" name="Freeform 323"/>
              <p:cNvSpPr>
                <a:spLocks/>
              </p:cNvSpPr>
              <p:nvPr/>
            </p:nvSpPr>
            <p:spPr bwMode="auto">
              <a:xfrm>
                <a:off x="3098112" y="415939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grpSp>
        <p:sp>
          <p:nvSpPr>
            <p:cNvPr id="431" name="Right Arrow 430"/>
            <p:cNvSpPr/>
            <p:nvPr/>
          </p:nvSpPr>
          <p:spPr>
            <a:xfrm rot="5400000">
              <a:off x="4596424" y="2103395"/>
              <a:ext cx="1036557" cy="312517"/>
            </a:xfrm>
            <a:prstGeom prst="rightArrow">
              <a:avLst>
                <a:gd name="adj1" fmla="val 42593"/>
                <a:gd name="adj2" fmla="val 87037"/>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微软雅黑" pitchFamily="34" charset="-122"/>
                <a:ea typeface="微软雅黑" pitchFamily="34" charset="-122"/>
              </a:endParaRPr>
            </a:p>
          </p:txBody>
        </p:sp>
        <p:grpSp>
          <p:nvGrpSpPr>
            <p:cNvPr id="265" name="Group 264"/>
            <p:cNvGrpSpPr/>
            <p:nvPr/>
          </p:nvGrpSpPr>
          <p:grpSpPr>
            <a:xfrm>
              <a:off x="4592950" y="1949920"/>
              <a:ext cx="1043504" cy="321946"/>
              <a:chOff x="161386" y="1052961"/>
              <a:chExt cx="314542" cy="387627"/>
            </a:xfrm>
          </p:grpSpPr>
          <p:sp>
            <p:nvSpPr>
              <p:cNvPr id="266" name="Round Diagonal Corner Rectangle 265"/>
              <p:cNvSpPr/>
              <p:nvPr/>
            </p:nvSpPr>
            <p:spPr>
              <a:xfrm flipV="1">
                <a:off x="171035" y="1052961"/>
                <a:ext cx="291924" cy="387627"/>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00" dirty="0">
                  <a:latin typeface="微软雅黑" pitchFamily="34" charset="-122"/>
                  <a:ea typeface="微软雅黑" pitchFamily="34" charset="-122"/>
                </a:endParaRPr>
              </a:p>
            </p:txBody>
          </p:sp>
          <p:sp>
            <p:nvSpPr>
              <p:cNvPr id="267" name="Round Diagonal Corner Rectangle 266"/>
              <p:cNvSpPr/>
              <p:nvPr/>
            </p:nvSpPr>
            <p:spPr>
              <a:xfrm>
                <a:off x="161386" y="1052962"/>
                <a:ext cx="314542" cy="387626"/>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2300" dirty="0">
                    <a:latin typeface="微软雅黑" pitchFamily="34" charset="-122"/>
                    <a:ea typeface="微软雅黑" pitchFamily="34" charset="-122"/>
                  </a:rPr>
                  <a:t>发现</a:t>
                </a:r>
                <a:endParaRPr lang="en-US" sz="2300" dirty="0">
                  <a:latin typeface="微软雅黑" pitchFamily="34" charset="-122"/>
                  <a:ea typeface="微软雅黑" pitchFamily="34" charset="-122"/>
                </a:endParaRPr>
              </a:p>
            </p:txBody>
          </p:sp>
        </p:grpSp>
      </p:grpSp>
      <p:sp>
        <p:nvSpPr>
          <p:cNvPr id="3" name="Title 2"/>
          <p:cNvSpPr>
            <a:spLocks noGrp="1"/>
          </p:cNvSpPr>
          <p:nvPr>
            <p:ph type="title"/>
          </p:nvPr>
        </p:nvSpPr>
        <p:spPr>
          <a:xfrm>
            <a:off x="497909" y="351028"/>
            <a:ext cx="12513487" cy="612817"/>
          </a:xfrm>
        </p:spPr>
        <p:txBody>
          <a:bodyPr/>
          <a:lstStyle/>
          <a:p>
            <a:r>
              <a:rPr lang="zh-CN" altLang="en-US" dirty="0" smtClean="0">
                <a:solidFill>
                  <a:srgbClr val="C00000"/>
                </a:solidFill>
                <a:latin typeface="微软雅黑" pitchFamily="34" charset="-122"/>
                <a:ea typeface="微软雅黑" pitchFamily="34" charset="-122"/>
              </a:rPr>
              <a:t>如何应对新型的信息安全攻击</a:t>
            </a:r>
            <a:endParaRPr lang="en-US" b="0" dirty="0">
              <a:solidFill>
                <a:srgbClr val="C00000"/>
              </a:solidFill>
              <a:latin typeface="微软雅黑" pitchFamily="34" charset="-122"/>
              <a:ea typeface="微软雅黑" pitchFamily="34" charset="-122"/>
            </a:endParaRPr>
          </a:p>
        </p:txBody>
      </p:sp>
      <p:grpSp>
        <p:nvGrpSpPr>
          <p:cNvPr id="239" name="Group 105"/>
          <p:cNvGrpSpPr>
            <a:grpSpLocks/>
          </p:cNvGrpSpPr>
          <p:nvPr/>
        </p:nvGrpSpPr>
        <p:grpSpPr bwMode="auto">
          <a:xfrm>
            <a:off x="5470361" y="7480640"/>
            <a:ext cx="725602" cy="997507"/>
            <a:chOff x="7162800" y="1447800"/>
            <a:chExt cx="877888" cy="1328738"/>
          </a:xfrm>
          <a:solidFill>
            <a:schemeClr val="accent5"/>
          </a:solidFill>
        </p:grpSpPr>
        <p:sp>
          <p:nvSpPr>
            <p:cNvPr id="243" name="Freeform 191"/>
            <p:cNvSpPr>
              <a:spLocks/>
            </p:cNvSpPr>
            <p:nvPr/>
          </p:nvSpPr>
          <p:spPr bwMode="auto">
            <a:xfrm>
              <a:off x="7208838" y="1981200"/>
              <a:ext cx="488950" cy="500062"/>
            </a:xfrm>
            <a:custGeom>
              <a:avLst/>
              <a:gdLst>
                <a:gd name="T0" fmla="*/ 22742 w 43"/>
                <a:gd name="T1" fmla="*/ 465967 h 44"/>
                <a:gd name="T2" fmla="*/ 22742 w 43"/>
                <a:gd name="T3" fmla="*/ 431872 h 44"/>
                <a:gd name="T4" fmla="*/ 22742 w 43"/>
                <a:gd name="T5" fmla="*/ 431872 h 44"/>
                <a:gd name="T6" fmla="*/ 45484 w 43"/>
                <a:gd name="T7" fmla="*/ 431872 h 44"/>
                <a:gd name="T8" fmla="*/ 45484 w 43"/>
                <a:gd name="T9" fmla="*/ 431872 h 44"/>
                <a:gd name="T10" fmla="*/ 159193 w 43"/>
                <a:gd name="T11" fmla="*/ 454602 h 44"/>
                <a:gd name="T12" fmla="*/ 159193 w 43"/>
                <a:gd name="T13" fmla="*/ 454602 h 44"/>
                <a:gd name="T14" fmla="*/ 261531 w 43"/>
                <a:gd name="T15" fmla="*/ 443237 h 44"/>
                <a:gd name="T16" fmla="*/ 261531 w 43"/>
                <a:gd name="T17" fmla="*/ 443237 h 44"/>
                <a:gd name="T18" fmla="*/ 386612 w 43"/>
                <a:gd name="T19" fmla="*/ 329586 h 44"/>
                <a:gd name="T20" fmla="*/ 386612 w 43"/>
                <a:gd name="T21" fmla="*/ 329586 h 44"/>
                <a:gd name="T22" fmla="*/ 443466 w 43"/>
                <a:gd name="T23" fmla="*/ 204571 h 44"/>
                <a:gd name="T24" fmla="*/ 443466 w 43"/>
                <a:gd name="T25" fmla="*/ 204571 h 44"/>
                <a:gd name="T26" fmla="*/ 443466 w 43"/>
                <a:gd name="T27" fmla="*/ 181841 h 44"/>
                <a:gd name="T28" fmla="*/ 443466 w 43"/>
                <a:gd name="T29" fmla="*/ 181841 h 44"/>
                <a:gd name="T30" fmla="*/ 420724 w 43"/>
                <a:gd name="T31" fmla="*/ 90920 h 44"/>
                <a:gd name="T32" fmla="*/ 420724 w 43"/>
                <a:gd name="T33" fmla="*/ 90920 h 44"/>
                <a:gd name="T34" fmla="*/ 363870 w 43"/>
                <a:gd name="T35" fmla="*/ 45460 h 44"/>
                <a:gd name="T36" fmla="*/ 363870 w 43"/>
                <a:gd name="T37" fmla="*/ 45460 h 44"/>
                <a:gd name="T38" fmla="*/ 341128 w 43"/>
                <a:gd name="T39" fmla="*/ 56825 h 44"/>
                <a:gd name="T40" fmla="*/ 341128 w 43"/>
                <a:gd name="T41" fmla="*/ 56825 h 44"/>
                <a:gd name="T42" fmla="*/ 159193 w 43"/>
                <a:gd name="T43" fmla="*/ 215936 h 44"/>
                <a:gd name="T44" fmla="*/ 159193 w 43"/>
                <a:gd name="T45" fmla="*/ 215936 h 44"/>
                <a:gd name="T46" fmla="*/ 45484 w 43"/>
                <a:gd name="T47" fmla="*/ 397777 h 44"/>
                <a:gd name="T48" fmla="*/ 45484 w 43"/>
                <a:gd name="T49" fmla="*/ 397777 h 44"/>
                <a:gd name="T50" fmla="*/ 45484 w 43"/>
                <a:gd name="T51" fmla="*/ 397777 h 44"/>
                <a:gd name="T52" fmla="*/ 11371 w 43"/>
                <a:gd name="T53" fmla="*/ 397777 h 44"/>
                <a:gd name="T54" fmla="*/ 11371 w 43"/>
                <a:gd name="T55" fmla="*/ 397777 h 44"/>
                <a:gd name="T56" fmla="*/ 11371 w 43"/>
                <a:gd name="T57" fmla="*/ 363682 h 44"/>
                <a:gd name="T58" fmla="*/ 11371 w 43"/>
                <a:gd name="T59" fmla="*/ 363682 h 44"/>
                <a:gd name="T60" fmla="*/ 125080 w 43"/>
                <a:gd name="T61" fmla="*/ 193206 h 44"/>
                <a:gd name="T62" fmla="*/ 125080 w 43"/>
                <a:gd name="T63" fmla="*/ 193206 h 44"/>
                <a:gd name="T64" fmla="*/ 318386 w 43"/>
                <a:gd name="T65" fmla="*/ 11365 h 44"/>
                <a:gd name="T66" fmla="*/ 318386 w 43"/>
                <a:gd name="T67" fmla="*/ 11365 h 44"/>
                <a:gd name="T68" fmla="*/ 363870 w 43"/>
                <a:gd name="T69" fmla="*/ 0 h 44"/>
                <a:gd name="T70" fmla="*/ 363870 w 43"/>
                <a:gd name="T71" fmla="*/ 0 h 44"/>
                <a:gd name="T72" fmla="*/ 466208 w 43"/>
                <a:gd name="T73" fmla="*/ 68190 h 44"/>
                <a:gd name="T74" fmla="*/ 466208 w 43"/>
                <a:gd name="T75" fmla="*/ 68190 h 44"/>
                <a:gd name="T76" fmla="*/ 488950 w 43"/>
                <a:gd name="T77" fmla="*/ 181841 h 44"/>
                <a:gd name="T78" fmla="*/ 488950 w 43"/>
                <a:gd name="T79" fmla="*/ 181841 h 44"/>
                <a:gd name="T80" fmla="*/ 488950 w 43"/>
                <a:gd name="T81" fmla="*/ 204571 h 44"/>
                <a:gd name="T82" fmla="*/ 488950 w 43"/>
                <a:gd name="T83" fmla="*/ 204571 h 44"/>
                <a:gd name="T84" fmla="*/ 420724 w 43"/>
                <a:gd name="T85" fmla="*/ 363682 h 44"/>
                <a:gd name="T86" fmla="*/ 420724 w 43"/>
                <a:gd name="T87" fmla="*/ 363682 h 44"/>
                <a:gd name="T88" fmla="*/ 284273 w 43"/>
                <a:gd name="T89" fmla="*/ 477332 h 44"/>
                <a:gd name="T90" fmla="*/ 284273 w 43"/>
                <a:gd name="T91" fmla="*/ 477332 h 44"/>
                <a:gd name="T92" fmla="*/ 159193 w 43"/>
                <a:gd name="T93" fmla="*/ 500062 h 44"/>
                <a:gd name="T94" fmla="*/ 159193 w 43"/>
                <a:gd name="T95" fmla="*/ 500062 h 44"/>
                <a:gd name="T96" fmla="*/ 22742 w 43"/>
                <a:gd name="T97" fmla="*/ 465967 h 4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44"/>
                <a:gd name="T149" fmla="*/ 43 w 43"/>
                <a:gd name="T150" fmla="*/ 44 h 4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44">
                  <a:moveTo>
                    <a:pt x="2" y="41"/>
                  </a:moveTo>
                  <a:cubicBezTo>
                    <a:pt x="1" y="40"/>
                    <a:pt x="1" y="39"/>
                    <a:pt x="2" y="38"/>
                  </a:cubicBezTo>
                  <a:cubicBezTo>
                    <a:pt x="2" y="38"/>
                    <a:pt x="2" y="38"/>
                    <a:pt x="2" y="38"/>
                  </a:cubicBezTo>
                  <a:cubicBezTo>
                    <a:pt x="2" y="37"/>
                    <a:pt x="4" y="37"/>
                    <a:pt x="4" y="38"/>
                  </a:cubicBezTo>
                  <a:cubicBezTo>
                    <a:pt x="4" y="38"/>
                    <a:pt x="4" y="38"/>
                    <a:pt x="4" y="38"/>
                  </a:cubicBezTo>
                  <a:cubicBezTo>
                    <a:pt x="6" y="39"/>
                    <a:pt x="10" y="40"/>
                    <a:pt x="14" y="40"/>
                  </a:cubicBezTo>
                  <a:cubicBezTo>
                    <a:pt x="14" y="40"/>
                    <a:pt x="14" y="40"/>
                    <a:pt x="14" y="40"/>
                  </a:cubicBezTo>
                  <a:cubicBezTo>
                    <a:pt x="17" y="40"/>
                    <a:pt x="21" y="39"/>
                    <a:pt x="23" y="39"/>
                  </a:cubicBezTo>
                  <a:cubicBezTo>
                    <a:pt x="23" y="39"/>
                    <a:pt x="23" y="39"/>
                    <a:pt x="23" y="39"/>
                  </a:cubicBezTo>
                  <a:cubicBezTo>
                    <a:pt x="27" y="37"/>
                    <a:pt x="31" y="34"/>
                    <a:pt x="34" y="29"/>
                  </a:cubicBezTo>
                  <a:cubicBezTo>
                    <a:pt x="34" y="29"/>
                    <a:pt x="34" y="29"/>
                    <a:pt x="34" y="29"/>
                  </a:cubicBezTo>
                  <a:cubicBezTo>
                    <a:pt x="37" y="25"/>
                    <a:pt x="39" y="21"/>
                    <a:pt x="39" y="18"/>
                  </a:cubicBezTo>
                  <a:cubicBezTo>
                    <a:pt x="39" y="18"/>
                    <a:pt x="39" y="18"/>
                    <a:pt x="39" y="18"/>
                  </a:cubicBezTo>
                  <a:cubicBezTo>
                    <a:pt x="39" y="17"/>
                    <a:pt x="39" y="17"/>
                    <a:pt x="39" y="16"/>
                  </a:cubicBezTo>
                  <a:cubicBezTo>
                    <a:pt x="39" y="16"/>
                    <a:pt x="39" y="16"/>
                    <a:pt x="39" y="16"/>
                  </a:cubicBezTo>
                  <a:cubicBezTo>
                    <a:pt x="39" y="14"/>
                    <a:pt x="39" y="10"/>
                    <a:pt x="37" y="8"/>
                  </a:cubicBezTo>
                  <a:cubicBezTo>
                    <a:pt x="37" y="8"/>
                    <a:pt x="37" y="8"/>
                    <a:pt x="37" y="8"/>
                  </a:cubicBezTo>
                  <a:cubicBezTo>
                    <a:pt x="36" y="6"/>
                    <a:pt x="35" y="4"/>
                    <a:pt x="32" y="4"/>
                  </a:cubicBezTo>
                  <a:cubicBezTo>
                    <a:pt x="32" y="4"/>
                    <a:pt x="32" y="4"/>
                    <a:pt x="32" y="4"/>
                  </a:cubicBezTo>
                  <a:cubicBezTo>
                    <a:pt x="31" y="4"/>
                    <a:pt x="31" y="4"/>
                    <a:pt x="30" y="5"/>
                  </a:cubicBezTo>
                  <a:cubicBezTo>
                    <a:pt x="30" y="5"/>
                    <a:pt x="30" y="5"/>
                    <a:pt x="30" y="5"/>
                  </a:cubicBezTo>
                  <a:cubicBezTo>
                    <a:pt x="25" y="6"/>
                    <a:pt x="19" y="13"/>
                    <a:pt x="14" y="19"/>
                  </a:cubicBezTo>
                  <a:cubicBezTo>
                    <a:pt x="14" y="19"/>
                    <a:pt x="14" y="19"/>
                    <a:pt x="14" y="19"/>
                  </a:cubicBezTo>
                  <a:cubicBezTo>
                    <a:pt x="9" y="26"/>
                    <a:pt x="5" y="33"/>
                    <a:pt x="4" y="35"/>
                  </a:cubicBezTo>
                  <a:cubicBezTo>
                    <a:pt x="4" y="35"/>
                    <a:pt x="4" y="35"/>
                    <a:pt x="4" y="35"/>
                  </a:cubicBezTo>
                  <a:cubicBezTo>
                    <a:pt x="4" y="35"/>
                    <a:pt x="4" y="35"/>
                    <a:pt x="4" y="35"/>
                  </a:cubicBezTo>
                  <a:cubicBezTo>
                    <a:pt x="3" y="36"/>
                    <a:pt x="2" y="36"/>
                    <a:pt x="1" y="35"/>
                  </a:cubicBezTo>
                  <a:cubicBezTo>
                    <a:pt x="1" y="35"/>
                    <a:pt x="1" y="35"/>
                    <a:pt x="1" y="35"/>
                  </a:cubicBezTo>
                  <a:cubicBezTo>
                    <a:pt x="0" y="34"/>
                    <a:pt x="0" y="33"/>
                    <a:pt x="1" y="32"/>
                  </a:cubicBezTo>
                  <a:cubicBezTo>
                    <a:pt x="1" y="32"/>
                    <a:pt x="1" y="32"/>
                    <a:pt x="1" y="32"/>
                  </a:cubicBezTo>
                  <a:cubicBezTo>
                    <a:pt x="2" y="31"/>
                    <a:pt x="6" y="24"/>
                    <a:pt x="11" y="17"/>
                  </a:cubicBezTo>
                  <a:cubicBezTo>
                    <a:pt x="11" y="17"/>
                    <a:pt x="11" y="17"/>
                    <a:pt x="11" y="17"/>
                  </a:cubicBezTo>
                  <a:cubicBezTo>
                    <a:pt x="16" y="10"/>
                    <a:pt x="22" y="3"/>
                    <a:pt x="28" y="1"/>
                  </a:cubicBezTo>
                  <a:cubicBezTo>
                    <a:pt x="28" y="1"/>
                    <a:pt x="28" y="1"/>
                    <a:pt x="28" y="1"/>
                  </a:cubicBezTo>
                  <a:cubicBezTo>
                    <a:pt x="30" y="1"/>
                    <a:pt x="31" y="0"/>
                    <a:pt x="32" y="0"/>
                  </a:cubicBezTo>
                  <a:cubicBezTo>
                    <a:pt x="32" y="0"/>
                    <a:pt x="32" y="0"/>
                    <a:pt x="32" y="0"/>
                  </a:cubicBezTo>
                  <a:cubicBezTo>
                    <a:pt x="36" y="0"/>
                    <a:pt x="39" y="3"/>
                    <a:pt x="41" y="6"/>
                  </a:cubicBezTo>
                  <a:cubicBezTo>
                    <a:pt x="41" y="6"/>
                    <a:pt x="41" y="6"/>
                    <a:pt x="41" y="6"/>
                  </a:cubicBezTo>
                  <a:cubicBezTo>
                    <a:pt x="43" y="9"/>
                    <a:pt x="43" y="13"/>
                    <a:pt x="43" y="16"/>
                  </a:cubicBezTo>
                  <a:cubicBezTo>
                    <a:pt x="43" y="16"/>
                    <a:pt x="43" y="16"/>
                    <a:pt x="43" y="16"/>
                  </a:cubicBezTo>
                  <a:cubicBezTo>
                    <a:pt x="43" y="17"/>
                    <a:pt x="43" y="18"/>
                    <a:pt x="43" y="18"/>
                  </a:cubicBezTo>
                  <a:cubicBezTo>
                    <a:pt x="43" y="18"/>
                    <a:pt x="43" y="18"/>
                    <a:pt x="43" y="18"/>
                  </a:cubicBezTo>
                  <a:cubicBezTo>
                    <a:pt x="43" y="22"/>
                    <a:pt x="41" y="27"/>
                    <a:pt x="37" y="32"/>
                  </a:cubicBezTo>
                  <a:cubicBezTo>
                    <a:pt x="37" y="32"/>
                    <a:pt x="37" y="32"/>
                    <a:pt x="37" y="32"/>
                  </a:cubicBezTo>
                  <a:cubicBezTo>
                    <a:pt x="34" y="36"/>
                    <a:pt x="29" y="40"/>
                    <a:pt x="25" y="42"/>
                  </a:cubicBezTo>
                  <a:cubicBezTo>
                    <a:pt x="25" y="42"/>
                    <a:pt x="25" y="42"/>
                    <a:pt x="25" y="42"/>
                  </a:cubicBezTo>
                  <a:cubicBezTo>
                    <a:pt x="22" y="43"/>
                    <a:pt x="18" y="44"/>
                    <a:pt x="14" y="44"/>
                  </a:cubicBezTo>
                  <a:cubicBezTo>
                    <a:pt x="14" y="44"/>
                    <a:pt x="14" y="44"/>
                    <a:pt x="14" y="44"/>
                  </a:cubicBezTo>
                  <a:cubicBezTo>
                    <a:pt x="10" y="44"/>
                    <a:pt x="5" y="43"/>
                    <a:pt x="2" y="41"/>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44" name="Freeform 192"/>
            <p:cNvSpPr>
              <a:spLocks/>
            </p:cNvSpPr>
            <p:nvPr/>
          </p:nvSpPr>
          <p:spPr bwMode="auto">
            <a:xfrm>
              <a:off x="7310438" y="2084387"/>
              <a:ext cx="307975" cy="306387"/>
            </a:xfrm>
            <a:custGeom>
              <a:avLst/>
              <a:gdLst>
                <a:gd name="T0" fmla="*/ 22813 w 27"/>
                <a:gd name="T1" fmla="*/ 306387 h 27"/>
                <a:gd name="T2" fmla="*/ 0 w 27"/>
                <a:gd name="T3" fmla="*/ 283692 h 27"/>
                <a:gd name="T4" fmla="*/ 0 w 27"/>
                <a:gd name="T5" fmla="*/ 283692 h 27"/>
                <a:gd name="T6" fmla="*/ 34219 w 27"/>
                <a:gd name="T7" fmla="*/ 260996 h 27"/>
                <a:gd name="T8" fmla="*/ 34219 w 27"/>
                <a:gd name="T9" fmla="*/ 260996 h 27"/>
                <a:gd name="T10" fmla="*/ 57032 w 27"/>
                <a:gd name="T11" fmla="*/ 260996 h 27"/>
                <a:gd name="T12" fmla="*/ 57032 w 27"/>
                <a:gd name="T13" fmla="*/ 260996 h 27"/>
                <a:gd name="T14" fmla="*/ 171097 w 27"/>
                <a:gd name="T15" fmla="*/ 238301 h 27"/>
                <a:gd name="T16" fmla="*/ 171097 w 27"/>
                <a:gd name="T17" fmla="*/ 238301 h 27"/>
                <a:gd name="T18" fmla="*/ 262349 w 27"/>
                <a:gd name="T19" fmla="*/ 124824 h 27"/>
                <a:gd name="T20" fmla="*/ 262349 w 27"/>
                <a:gd name="T21" fmla="*/ 124824 h 27"/>
                <a:gd name="T22" fmla="*/ 262349 w 27"/>
                <a:gd name="T23" fmla="*/ 102129 h 27"/>
                <a:gd name="T24" fmla="*/ 262349 w 27"/>
                <a:gd name="T25" fmla="*/ 102129 h 27"/>
                <a:gd name="T26" fmla="*/ 250943 w 27"/>
                <a:gd name="T27" fmla="*/ 56738 h 27"/>
                <a:gd name="T28" fmla="*/ 250943 w 27"/>
                <a:gd name="T29" fmla="*/ 56738 h 27"/>
                <a:gd name="T30" fmla="*/ 228130 w 27"/>
                <a:gd name="T31" fmla="*/ 45391 h 27"/>
                <a:gd name="T32" fmla="*/ 228130 w 27"/>
                <a:gd name="T33" fmla="*/ 45391 h 27"/>
                <a:gd name="T34" fmla="*/ 228130 w 27"/>
                <a:gd name="T35" fmla="*/ 45391 h 27"/>
                <a:gd name="T36" fmla="*/ 228130 w 27"/>
                <a:gd name="T37" fmla="*/ 45391 h 27"/>
                <a:gd name="T38" fmla="*/ 148284 w 27"/>
                <a:gd name="T39" fmla="*/ 113477 h 27"/>
                <a:gd name="T40" fmla="*/ 148284 w 27"/>
                <a:gd name="T41" fmla="*/ 113477 h 27"/>
                <a:gd name="T42" fmla="*/ 102658 w 27"/>
                <a:gd name="T43" fmla="*/ 192910 h 27"/>
                <a:gd name="T44" fmla="*/ 102658 w 27"/>
                <a:gd name="T45" fmla="*/ 192910 h 27"/>
                <a:gd name="T46" fmla="*/ 68439 w 27"/>
                <a:gd name="T47" fmla="*/ 192910 h 27"/>
                <a:gd name="T48" fmla="*/ 68439 w 27"/>
                <a:gd name="T49" fmla="*/ 192910 h 27"/>
                <a:gd name="T50" fmla="*/ 57032 w 27"/>
                <a:gd name="T51" fmla="*/ 158867 h 27"/>
                <a:gd name="T52" fmla="*/ 57032 w 27"/>
                <a:gd name="T53" fmla="*/ 158867 h 27"/>
                <a:gd name="T54" fmla="*/ 114065 w 27"/>
                <a:gd name="T55" fmla="*/ 79434 h 27"/>
                <a:gd name="T56" fmla="*/ 114065 w 27"/>
                <a:gd name="T57" fmla="*/ 79434 h 27"/>
                <a:gd name="T58" fmla="*/ 216723 w 27"/>
                <a:gd name="T59" fmla="*/ 0 h 27"/>
                <a:gd name="T60" fmla="*/ 216723 w 27"/>
                <a:gd name="T61" fmla="*/ 0 h 27"/>
                <a:gd name="T62" fmla="*/ 228130 w 27"/>
                <a:gd name="T63" fmla="*/ 0 h 27"/>
                <a:gd name="T64" fmla="*/ 228130 w 27"/>
                <a:gd name="T65" fmla="*/ 0 h 27"/>
                <a:gd name="T66" fmla="*/ 285162 w 27"/>
                <a:gd name="T67" fmla="*/ 34043 h 27"/>
                <a:gd name="T68" fmla="*/ 285162 w 27"/>
                <a:gd name="T69" fmla="*/ 34043 h 27"/>
                <a:gd name="T70" fmla="*/ 307975 w 27"/>
                <a:gd name="T71" fmla="*/ 102129 h 27"/>
                <a:gd name="T72" fmla="*/ 307975 w 27"/>
                <a:gd name="T73" fmla="*/ 102129 h 27"/>
                <a:gd name="T74" fmla="*/ 307975 w 27"/>
                <a:gd name="T75" fmla="*/ 136172 h 27"/>
                <a:gd name="T76" fmla="*/ 307975 w 27"/>
                <a:gd name="T77" fmla="*/ 136172 h 27"/>
                <a:gd name="T78" fmla="*/ 182504 w 27"/>
                <a:gd name="T79" fmla="*/ 283692 h 27"/>
                <a:gd name="T80" fmla="*/ 182504 w 27"/>
                <a:gd name="T81" fmla="*/ 283692 h 27"/>
                <a:gd name="T82" fmla="*/ 57032 w 27"/>
                <a:gd name="T83" fmla="*/ 306387 h 27"/>
                <a:gd name="T84" fmla="*/ 57032 w 27"/>
                <a:gd name="T85" fmla="*/ 306387 h 27"/>
                <a:gd name="T86" fmla="*/ 22813 w 27"/>
                <a:gd name="T87" fmla="*/ 306387 h 2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7"/>
                <a:gd name="T133" fmla="*/ 0 h 27"/>
                <a:gd name="T134" fmla="*/ 27 w 27"/>
                <a:gd name="T135" fmla="*/ 27 h 2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7" h="27">
                  <a:moveTo>
                    <a:pt x="2" y="27"/>
                  </a:moveTo>
                  <a:cubicBezTo>
                    <a:pt x="1" y="27"/>
                    <a:pt x="0" y="26"/>
                    <a:pt x="0" y="25"/>
                  </a:cubicBezTo>
                  <a:cubicBezTo>
                    <a:pt x="0" y="25"/>
                    <a:pt x="0" y="25"/>
                    <a:pt x="0" y="25"/>
                  </a:cubicBezTo>
                  <a:cubicBezTo>
                    <a:pt x="0" y="24"/>
                    <a:pt x="1" y="23"/>
                    <a:pt x="3" y="23"/>
                  </a:cubicBezTo>
                  <a:cubicBezTo>
                    <a:pt x="3" y="23"/>
                    <a:pt x="3" y="23"/>
                    <a:pt x="3" y="23"/>
                  </a:cubicBezTo>
                  <a:cubicBezTo>
                    <a:pt x="3" y="23"/>
                    <a:pt x="4" y="23"/>
                    <a:pt x="5" y="23"/>
                  </a:cubicBezTo>
                  <a:cubicBezTo>
                    <a:pt x="5" y="23"/>
                    <a:pt x="5" y="23"/>
                    <a:pt x="5" y="23"/>
                  </a:cubicBezTo>
                  <a:cubicBezTo>
                    <a:pt x="8" y="23"/>
                    <a:pt x="11" y="23"/>
                    <a:pt x="15" y="21"/>
                  </a:cubicBezTo>
                  <a:cubicBezTo>
                    <a:pt x="15" y="21"/>
                    <a:pt x="15" y="21"/>
                    <a:pt x="15" y="21"/>
                  </a:cubicBezTo>
                  <a:cubicBezTo>
                    <a:pt x="18" y="20"/>
                    <a:pt x="22" y="14"/>
                    <a:pt x="23" y="11"/>
                  </a:cubicBezTo>
                  <a:cubicBezTo>
                    <a:pt x="23" y="11"/>
                    <a:pt x="23" y="11"/>
                    <a:pt x="23" y="11"/>
                  </a:cubicBezTo>
                  <a:cubicBezTo>
                    <a:pt x="23" y="10"/>
                    <a:pt x="23" y="10"/>
                    <a:pt x="23" y="9"/>
                  </a:cubicBezTo>
                  <a:cubicBezTo>
                    <a:pt x="23" y="9"/>
                    <a:pt x="23" y="9"/>
                    <a:pt x="23" y="9"/>
                  </a:cubicBezTo>
                  <a:cubicBezTo>
                    <a:pt x="23" y="8"/>
                    <a:pt x="22" y="6"/>
                    <a:pt x="22" y="5"/>
                  </a:cubicBezTo>
                  <a:cubicBezTo>
                    <a:pt x="22" y="5"/>
                    <a:pt x="22" y="5"/>
                    <a:pt x="22" y="5"/>
                  </a:cubicBezTo>
                  <a:cubicBezTo>
                    <a:pt x="21" y="4"/>
                    <a:pt x="21" y="4"/>
                    <a:pt x="20" y="4"/>
                  </a:cubicBezTo>
                  <a:cubicBezTo>
                    <a:pt x="20" y="4"/>
                    <a:pt x="20" y="4"/>
                    <a:pt x="20" y="4"/>
                  </a:cubicBezTo>
                  <a:cubicBezTo>
                    <a:pt x="20" y="4"/>
                    <a:pt x="20" y="4"/>
                    <a:pt x="20" y="4"/>
                  </a:cubicBezTo>
                  <a:cubicBezTo>
                    <a:pt x="20" y="4"/>
                    <a:pt x="20" y="4"/>
                    <a:pt x="20" y="4"/>
                  </a:cubicBezTo>
                  <a:cubicBezTo>
                    <a:pt x="18" y="4"/>
                    <a:pt x="16" y="7"/>
                    <a:pt x="13" y="10"/>
                  </a:cubicBezTo>
                  <a:cubicBezTo>
                    <a:pt x="13" y="10"/>
                    <a:pt x="13" y="10"/>
                    <a:pt x="13" y="10"/>
                  </a:cubicBezTo>
                  <a:cubicBezTo>
                    <a:pt x="11" y="13"/>
                    <a:pt x="9" y="16"/>
                    <a:pt x="9" y="17"/>
                  </a:cubicBezTo>
                  <a:cubicBezTo>
                    <a:pt x="9" y="17"/>
                    <a:pt x="9" y="17"/>
                    <a:pt x="9" y="17"/>
                  </a:cubicBezTo>
                  <a:cubicBezTo>
                    <a:pt x="8" y="17"/>
                    <a:pt x="7" y="18"/>
                    <a:pt x="6" y="17"/>
                  </a:cubicBezTo>
                  <a:cubicBezTo>
                    <a:pt x="6" y="17"/>
                    <a:pt x="6" y="17"/>
                    <a:pt x="6" y="17"/>
                  </a:cubicBezTo>
                  <a:cubicBezTo>
                    <a:pt x="5" y="16"/>
                    <a:pt x="5" y="15"/>
                    <a:pt x="5" y="14"/>
                  </a:cubicBezTo>
                  <a:cubicBezTo>
                    <a:pt x="5" y="14"/>
                    <a:pt x="5" y="14"/>
                    <a:pt x="5" y="14"/>
                  </a:cubicBezTo>
                  <a:cubicBezTo>
                    <a:pt x="6" y="14"/>
                    <a:pt x="8" y="10"/>
                    <a:pt x="10" y="7"/>
                  </a:cubicBezTo>
                  <a:cubicBezTo>
                    <a:pt x="10" y="7"/>
                    <a:pt x="10" y="7"/>
                    <a:pt x="10" y="7"/>
                  </a:cubicBezTo>
                  <a:cubicBezTo>
                    <a:pt x="13" y="4"/>
                    <a:pt x="15" y="1"/>
                    <a:pt x="19" y="0"/>
                  </a:cubicBezTo>
                  <a:cubicBezTo>
                    <a:pt x="19" y="0"/>
                    <a:pt x="19" y="0"/>
                    <a:pt x="19" y="0"/>
                  </a:cubicBezTo>
                  <a:cubicBezTo>
                    <a:pt x="19" y="0"/>
                    <a:pt x="20" y="0"/>
                    <a:pt x="20" y="0"/>
                  </a:cubicBezTo>
                  <a:cubicBezTo>
                    <a:pt x="20" y="0"/>
                    <a:pt x="20" y="0"/>
                    <a:pt x="20" y="0"/>
                  </a:cubicBezTo>
                  <a:cubicBezTo>
                    <a:pt x="23" y="0"/>
                    <a:pt x="24" y="2"/>
                    <a:pt x="25" y="3"/>
                  </a:cubicBezTo>
                  <a:cubicBezTo>
                    <a:pt x="25" y="3"/>
                    <a:pt x="25" y="3"/>
                    <a:pt x="25" y="3"/>
                  </a:cubicBezTo>
                  <a:cubicBezTo>
                    <a:pt x="26" y="5"/>
                    <a:pt x="27" y="7"/>
                    <a:pt x="27" y="9"/>
                  </a:cubicBezTo>
                  <a:cubicBezTo>
                    <a:pt x="27" y="9"/>
                    <a:pt x="27" y="9"/>
                    <a:pt x="27" y="9"/>
                  </a:cubicBezTo>
                  <a:cubicBezTo>
                    <a:pt x="27" y="10"/>
                    <a:pt x="27" y="11"/>
                    <a:pt x="27" y="12"/>
                  </a:cubicBezTo>
                  <a:cubicBezTo>
                    <a:pt x="27" y="12"/>
                    <a:pt x="27" y="12"/>
                    <a:pt x="27" y="12"/>
                  </a:cubicBezTo>
                  <a:cubicBezTo>
                    <a:pt x="26" y="16"/>
                    <a:pt x="22" y="22"/>
                    <a:pt x="16" y="25"/>
                  </a:cubicBezTo>
                  <a:cubicBezTo>
                    <a:pt x="16" y="25"/>
                    <a:pt x="16" y="25"/>
                    <a:pt x="16" y="25"/>
                  </a:cubicBezTo>
                  <a:cubicBezTo>
                    <a:pt x="12" y="27"/>
                    <a:pt x="8" y="27"/>
                    <a:pt x="5" y="27"/>
                  </a:cubicBezTo>
                  <a:cubicBezTo>
                    <a:pt x="5" y="27"/>
                    <a:pt x="5" y="27"/>
                    <a:pt x="5" y="27"/>
                  </a:cubicBezTo>
                  <a:cubicBezTo>
                    <a:pt x="4" y="27"/>
                    <a:pt x="3" y="27"/>
                    <a:pt x="2" y="27"/>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45" name="Freeform 193"/>
            <p:cNvSpPr>
              <a:spLocks/>
            </p:cNvSpPr>
            <p:nvPr/>
          </p:nvSpPr>
          <p:spPr bwMode="auto">
            <a:xfrm>
              <a:off x="7435850" y="2185988"/>
              <a:ext cx="103188" cy="114300"/>
            </a:xfrm>
            <a:custGeom>
              <a:avLst/>
              <a:gdLst>
                <a:gd name="T0" fmla="*/ 11465 w 9"/>
                <a:gd name="T1" fmla="*/ 114300 h 10"/>
                <a:gd name="T2" fmla="*/ 11465 w 9"/>
                <a:gd name="T3" fmla="*/ 80010 h 10"/>
                <a:gd name="T4" fmla="*/ 11465 w 9"/>
                <a:gd name="T5" fmla="*/ 80010 h 10"/>
                <a:gd name="T6" fmla="*/ 45861 w 9"/>
                <a:gd name="T7" fmla="*/ 45720 h 10"/>
                <a:gd name="T8" fmla="*/ 45861 w 9"/>
                <a:gd name="T9" fmla="*/ 45720 h 10"/>
                <a:gd name="T10" fmla="*/ 57327 w 9"/>
                <a:gd name="T11" fmla="*/ 11430 h 10"/>
                <a:gd name="T12" fmla="*/ 57327 w 9"/>
                <a:gd name="T13" fmla="*/ 11430 h 10"/>
                <a:gd name="T14" fmla="*/ 91723 w 9"/>
                <a:gd name="T15" fmla="*/ 0 h 10"/>
                <a:gd name="T16" fmla="*/ 91723 w 9"/>
                <a:gd name="T17" fmla="*/ 0 h 10"/>
                <a:gd name="T18" fmla="*/ 103188 w 9"/>
                <a:gd name="T19" fmla="*/ 34290 h 10"/>
                <a:gd name="T20" fmla="*/ 103188 w 9"/>
                <a:gd name="T21" fmla="*/ 34290 h 10"/>
                <a:gd name="T22" fmla="*/ 80257 w 9"/>
                <a:gd name="T23" fmla="*/ 80010 h 10"/>
                <a:gd name="T24" fmla="*/ 80257 w 9"/>
                <a:gd name="T25" fmla="*/ 80010 h 10"/>
                <a:gd name="T26" fmla="*/ 45861 w 9"/>
                <a:gd name="T27" fmla="*/ 102870 h 10"/>
                <a:gd name="T28" fmla="*/ 45861 w 9"/>
                <a:gd name="T29" fmla="*/ 102870 h 10"/>
                <a:gd name="T30" fmla="*/ 45861 w 9"/>
                <a:gd name="T31" fmla="*/ 102870 h 10"/>
                <a:gd name="T32" fmla="*/ 22931 w 9"/>
                <a:gd name="T33" fmla="*/ 114300 h 10"/>
                <a:gd name="T34" fmla="*/ 22931 w 9"/>
                <a:gd name="T35" fmla="*/ 114300 h 10"/>
                <a:gd name="T36" fmla="*/ 11465 w 9"/>
                <a:gd name="T37" fmla="*/ 114300 h 1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
                <a:gd name="T58" fmla="*/ 0 h 10"/>
                <a:gd name="T59" fmla="*/ 9 w 9"/>
                <a:gd name="T60" fmla="*/ 10 h 1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 h="10">
                  <a:moveTo>
                    <a:pt x="1" y="10"/>
                  </a:moveTo>
                  <a:cubicBezTo>
                    <a:pt x="0" y="9"/>
                    <a:pt x="0" y="8"/>
                    <a:pt x="1" y="7"/>
                  </a:cubicBezTo>
                  <a:cubicBezTo>
                    <a:pt x="1" y="7"/>
                    <a:pt x="1" y="7"/>
                    <a:pt x="1" y="7"/>
                  </a:cubicBezTo>
                  <a:cubicBezTo>
                    <a:pt x="2" y="5"/>
                    <a:pt x="3" y="5"/>
                    <a:pt x="4" y="4"/>
                  </a:cubicBezTo>
                  <a:cubicBezTo>
                    <a:pt x="4" y="4"/>
                    <a:pt x="4" y="4"/>
                    <a:pt x="4" y="4"/>
                  </a:cubicBezTo>
                  <a:cubicBezTo>
                    <a:pt x="4" y="4"/>
                    <a:pt x="5" y="3"/>
                    <a:pt x="5" y="1"/>
                  </a:cubicBezTo>
                  <a:cubicBezTo>
                    <a:pt x="5" y="1"/>
                    <a:pt x="5" y="1"/>
                    <a:pt x="5" y="1"/>
                  </a:cubicBezTo>
                  <a:cubicBezTo>
                    <a:pt x="6" y="0"/>
                    <a:pt x="7" y="0"/>
                    <a:pt x="8" y="0"/>
                  </a:cubicBezTo>
                  <a:cubicBezTo>
                    <a:pt x="8" y="0"/>
                    <a:pt x="8" y="0"/>
                    <a:pt x="8" y="0"/>
                  </a:cubicBezTo>
                  <a:cubicBezTo>
                    <a:pt x="9" y="0"/>
                    <a:pt x="9" y="1"/>
                    <a:pt x="9" y="3"/>
                  </a:cubicBezTo>
                  <a:cubicBezTo>
                    <a:pt x="9" y="3"/>
                    <a:pt x="9" y="3"/>
                    <a:pt x="9" y="3"/>
                  </a:cubicBezTo>
                  <a:cubicBezTo>
                    <a:pt x="8" y="5"/>
                    <a:pt x="8" y="6"/>
                    <a:pt x="7" y="7"/>
                  </a:cubicBezTo>
                  <a:cubicBezTo>
                    <a:pt x="7" y="7"/>
                    <a:pt x="7" y="7"/>
                    <a:pt x="7" y="7"/>
                  </a:cubicBezTo>
                  <a:cubicBezTo>
                    <a:pt x="6" y="8"/>
                    <a:pt x="5" y="8"/>
                    <a:pt x="4" y="9"/>
                  </a:cubicBezTo>
                  <a:cubicBezTo>
                    <a:pt x="4" y="9"/>
                    <a:pt x="4" y="9"/>
                    <a:pt x="4" y="9"/>
                  </a:cubicBezTo>
                  <a:cubicBezTo>
                    <a:pt x="4" y="9"/>
                    <a:pt x="4" y="9"/>
                    <a:pt x="4" y="9"/>
                  </a:cubicBezTo>
                  <a:cubicBezTo>
                    <a:pt x="3" y="10"/>
                    <a:pt x="3" y="10"/>
                    <a:pt x="2" y="10"/>
                  </a:cubicBezTo>
                  <a:cubicBezTo>
                    <a:pt x="2" y="10"/>
                    <a:pt x="2" y="10"/>
                    <a:pt x="2" y="10"/>
                  </a:cubicBezTo>
                  <a:cubicBezTo>
                    <a:pt x="2" y="10"/>
                    <a:pt x="1" y="10"/>
                    <a:pt x="1" y="10"/>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46" name="Freeform 194"/>
            <p:cNvSpPr>
              <a:spLocks/>
            </p:cNvSpPr>
            <p:nvPr/>
          </p:nvSpPr>
          <p:spPr bwMode="auto">
            <a:xfrm>
              <a:off x="7277100" y="2117726"/>
              <a:ext cx="717550" cy="465137"/>
            </a:xfrm>
            <a:custGeom>
              <a:avLst/>
              <a:gdLst>
                <a:gd name="T0" fmla="*/ 0 w 63"/>
                <a:gd name="T1" fmla="*/ 442447 h 41"/>
                <a:gd name="T2" fmla="*/ 22779 w 63"/>
                <a:gd name="T3" fmla="*/ 419758 h 41"/>
                <a:gd name="T4" fmla="*/ 22779 w 63"/>
                <a:gd name="T5" fmla="*/ 419758 h 41"/>
                <a:gd name="T6" fmla="*/ 364470 w 63"/>
                <a:gd name="T7" fmla="*/ 260931 h 41"/>
                <a:gd name="T8" fmla="*/ 364470 w 63"/>
                <a:gd name="T9" fmla="*/ 260931 h 41"/>
                <a:gd name="T10" fmla="*/ 444198 w 63"/>
                <a:gd name="T11" fmla="*/ 45379 h 41"/>
                <a:gd name="T12" fmla="*/ 444198 w 63"/>
                <a:gd name="T13" fmla="*/ 45379 h 41"/>
                <a:gd name="T14" fmla="*/ 444198 w 63"/>
                <a:gd name="T15" fmla="*/ 22690 h 41"/>
                <a:gd name="T16" fmla="*/ 444198 w 63"/>
                <a:gd name="T17" fmla="*/ 22690 h 41"/>
                <a:gd name="T18" fmla="*/ 466977 w 63"/>
                <a:gd name="T19" fmla="*/ 0 h 41"/>
                <a:gd name="T20" fmla="*/ 466977 w 63"/>
                <a:gd name="T21" fmla="*/ 0 h 41"/>
                <a:gd name="T22" fmla="*/ 489756 w 63"/>
                <a:gd name="T23" fmla="*/ 11345 h 41"/>
                <a:gd name="T24" fmla="*/ 489756 w 63"/>
                <a:gd name="T25" fmla="*/ 11345 h 41"/>
                <a:gd name="T26" fmla="*/ 489756 w 63"/>
                <a:gd name="T27" fmla="*/ 22690 h 41"/>
                <a:gd name="T28" fmla="*/ 489756 w 63"/>
                <a:gd name="T29" fmla="*/ 22690 h 41"/>
                <a:gd name="T30" fmla="*/ 501146 w 63"/>
                <a:gd name="T31" fmla="*/ 34034 h 41"/>
                <a:gd name="T32" fmla="*/ 501146 w 63"/>
                <a:gd name="T33" fmla="*/ 34034 h 41"/>
                <a:gd name="T34" fmla="*/ 535315 w 63"/>
                <a:gd name="T35" fmla="*/ 102103 h 41"/>
                <a:gd name="T36" fmla="*/ 535315 w 63"/>
                <a:gd name="T37" fmla="*/ 102103 h 41"/>
                <a:gd name="T38" fmla="*/ 694771 w 63"/>
                <a:gd name="T39" fmla="*/ 272275 h 41"/>
                <a:gd name="T40" fmla="*/ 694771 w 63"/>
                <a:gd name="T41" fmla="*/ 272275 h 41"/>
                <a:gd name="T42" fmla="*/ 706160 w 63"/>
                <a:gd name="T43" fmla="*/ 294965 h 41"/>
                <a:gd name="T44" fmla="*/ 706160 w 63"/>
                <a:gd name="T45" fmla="*/ 294965 h 41"/>
                <a:gd name="T46" fmla="*/ 671991 w 63"/>
                <a:gd name="T47" fmla="*/ 306310 h 41"/>
                <a:gd name="T48" fmla="*/ 671991 w 63"/>
                <a:gd name="T49" fmla="*/ 306310 h 41"/>
                <a:gd name="T50" fmla="*/ 478367 w 63"/>
                <a:gd name="T51" fmla="*/ 113448 h 41"/>
                <a:gd name="T52" fmla="*/ 478367 w 63"/>
                <a:gd name="T53" fmla="*/ 113448 h 41"/>
                <a:gd name="T54" fmla="*/ 398639 w 63"/>
                <a:gd name="T55" fmla="*/ 283620 h 41"/>
                <a:gd name="T56" fmla="*/ 398639 w 63"/>
                <a:gd name="T57" fmla="*/ 283620 h 41"/>
                <a:gd name="T58" fmla="*/ 22779 w 63"/>
                <a:gd name="T59" fmla="*/ 465137 h 41"/>
                <a:gd name="T60" fmla="*/ 22779 w 63"/>
                <a:gd name="T61" fmla="*/ 465137 h 41"/>
                <a:gd name="T62" fmla="*/ 22779 w 63"/>
                <a:gd name="T63" fmla="*/ 465137 h 41"/>
                <a:gd name="T64" fmla="*/ 22779 w 63"/>
                <a:gd name="T65" fmla="*/ 465137 h 41"/>
                <a:gd name="T66" fmla="*/ 0 w 63"/>
                <a:gd name="T67" fmla="*/ 442447 h 4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3"/>
                <a:gd name="T103" fmla="*/ 0 h 41"/>
                <a:gd name="T104" fmla="*/ 63 w 63"/>
                <a:gd name="T105" fmla="*/ 41 h 4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3" h="41">
                  <a:moveTo>
                    <a:pt x="0" y="39"/>
                  </a:moveTo>
                  <a:cubicBezTo>
                    <a:pt x="0" y="38"/>
                    <a:pt x="1" y="37"/>
                    <a:pt x="2" y="37"/>
                  </a:cubicBezTo>
                  <a:cubicBezTo>
                    <a:pt x="2" y="37"/>
                    <a:pt x="2" y="37"/>
                    <a:pt x="2" y="37"/>
                  </a:cubicBezTo>
                  <a:cubicBezTo>
                    <a:pt x="18" y="35"/>
                    <a:pt x="27" y="29"/>
                    <a:pt x="32" y="23"/>
                  </a:cubicBezTo>
                  <a:cubicBezTo>
                    <a:pt x="32" y="23"/>
                    <a:pt x="32" y="23"/>
                    <a:pt x="32" y="23"/>
                  </a:cubicBezTo>
                  <a:cubicBezTo>
                    <a:pt x="38" y="16"/>
                    <a:pt x="39" y="8"/>
                    <a:pt x="39" y="4"/>
                  </a:cubicBezTo>
                  <a:cubicBezTo>
                    <a:pt x="39" y="4"/>
                    <a:pt x="39" y="4"/>
                    <a:pt x="39" y="4"/>
                  </a:cubicBezTo>
                  <a:cubicBezTo>
                    <a:pt x="39" y="3"/>
                    <a:pt x="39" y="2"/>
                    <a:pt x="39" y="2"/>
                  </a:cubicBezTo>
                  <a:cubicBezTo>
                    <a:pt x="39" y="2"/>
                    <a:pt x="39" y="2"/>
                    <a:pt x="39" y="2"/>
                  </a:cubicBezTo>
                  <a:cubicBezTo>
                    <a:pt x="39" y="1"/>
                    <a:pt x="40" y="0"/>
                    <a:pt x="41" y="0"/>
                  </a:cubicBezTo>
                  <a:cubicBezTo>
                    <a:pt x="41" y="0"/>
                    <a:pt x="41" y="0"/>
                    <a:pt x="41" y="0"/>
                  </a:cubicBezTo>
                  <a:cubicBezTo>
                    <a:pt x="42" y="0"/>
                    <a:pt x="43" y="0"/>
                    <a:pt x="43" y="1"/>
                  </a:cubicBezTo>
                  <a:cubicBezTo>
                    <a:pt x="43" y="1"/>
                    <a:pt x="43" y="1"/>
                    <a:pt x="43" y="1"/>
                  </a:cubicBezTo>
                  <a:cubicBezTo>
                    <a:pt x="43" y="1"/>
                    <a:pt x="43" y="1"/>
                    <a:pt x="43" y="2"/>
                  </a:cubicBezTo>
                  <a:cubicBezTo>
                    <a:pt x="43" y="2"/>
                    <a:pt x="43" y="2"/>
                    <a:pt x="43" y="2"/>
                  </a:cubicBezTo>
                  <a:cubicBezTo>
                    <a:pt x="43" y="2"/>
                    <a:pt x="43" y="3"/>
                    <a:pt x="44" y="3"/>
                  </a:cubicBezTo>
                  <a:cubicBezTo>
                    <a:pt x="44" y="3"/>
                    <a:pt x="44" y="3"/>
                    <a:pt x="44" y="3"/>
                  </a:cubicBezTo>
                  <a:cubicBezTo>
                    <a:pt x="44" y="5"/>
                    <a:pt x="45" y="7"/>
                    <a:pt x="47" y="9"/>
                  </a:cubicBezTo>
                  <a:cubicBezTo>
                    <a:pt x="47" y="9"/>
                    <a:pt x="47" y="9"/>
                    <a:pt x="47" y="9"/>
                  </a:cubicBezTo>
                  <a:cubicBezTo>
                    <a:pt x="50" y="14"/>
                    <a:pt x="54" y="19"/>
                    <a:pt x="61" y="24"/>
                  </a:cubicBezTo>
                  <a:cubicBezTo>
                    <a:pt x="61" y="24"/>
                    <a:pt x="61" y="24"/>
                    <a:pt x="61" y="24"/>
                  </a:cubicBezTo>
                  <a:cubicBezTo>
                    <a:pt x="62" y="24"/>
                    <a:pt x="63" y="25"/>
                    <a:pt x="62" y="26"/>
                  </a:cubicBezTo>
                  <a:cubicBezTo>
                    <a:pt x="62" y="26"/>
                    <a:pt x="62" y="26"/>
                    <a:pt x="62" y="26"/>
                  </a:cubicBezTo>
                  <a:cubicBezTo>
                    <a:pt x="61" y="27"/>
                    <a:pt x="60" y="27"/>
                    <a:pt x="59" y="27"/>
                  </a:cubicBezTo>
                  <a:cubicBezTo>
                    <a:pt x="59" y="27"/>
                    <a:pt x="59" y="27"/>
                    <a:pt x="59" y="27"/>
                  </a:cubicBezTo>
                  <a:cubicBezTo>
                    <a:pt x="51" y="22"/>
                    <a:pt x="45" y="15"/>
                    <a:pt x="42" y="10"/>
                  </a:cubicBezTo>
                  <a:cubicBezTo>
                    <a:pt x="42" y="10"/>
                    <a:pt x="42" y="10"/>
                    <a:pt x="42" y="10"/>
                  </a:cubicBezTo>
                  <a:cubicBezTo>
                    <a:pt x="41" y="14"/>
                    <a:pt x="39" y="20"/>
                    <a:pt x="35" y="25"/>
                  </a:cubicBezTo>
                  <a:cubicBezTo>
                    <a:pt x="35" y="25"/>
                    <a:pt x="35" y="25"/>
                    <a:pt x="35" y="25"/>
                  </a:cubicBezTo>
                  <a:cubicBezTo>
                    <a:pt x="29" y="33"/>
                    <a:pt x="19" y="39"/>
                    <a:pt x="2" y="41"/>
                  </a:cubicBezTo>
                  <a:cubicBezTo>
                    <a:pt x="2" y="41"/>
                    <a:pt x="2" y="41"/>
                    <a:pt x="2" y="41"/>
                  </a:cubicBezTo>
                  <a:cubicBezTo>
                    <a:pt x="2" y="41"/>
                    <a:pt x="2" y="41"/>
                    <a:pt x="2" y="41"/>
                  </a:cubicBezTo>
                  <a:cubicBezTo>
                    <a:pt x="2" y="41"/>
                    <a:pt x="2" y="41"/>
                    <a:pt x="2" y="41"/>
                  </a:cubicBezTo>
                  <a:cubicBezTo>
                    <a:pt x="1" y="41"/>
                    <a:pt x="0" y="40"/>
                    <a:pt x="0" y="39"/>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47" name="Freeform 195"/>
            <p:cNvSpPr>
              <a:spLocks/>
            </p:cNvSpPr>
            <p:nvPr/>
          </p:nvSpPr>
          <p:spPr bwMode="auto">
            <a:xfrm>
              <a:off x="7413625" y="2617788"/>
              <a:ext cx="387350" cy="112712"/>
            </a:xfrm>
            <a:custGeom>
              <a:avLst/>
              <a:gdLst>
                <a:gd name="T0" fmla="*/ 0 w 34"/>
                <a:gd name="T1" fmla="*/ 101441 h 10"/>
                <a:gd name="T2" fmla="*/ 11393 w 34"/>
                <a:gd name="T3" fmla="*/ 78898 h 10"/>
                <a:gd name="T4" fmla="*/ 11393 w 34"/>
                <a:gd name="T5" fmla="*/ 78898 h 10"/>
                <a:gd name="T6" fmla="*/ 227853 w 34"/>
                <a:gd name="T7" fmla="*/ 0 h 10"/>
                <a:gd name="T8" fmla="*/ 227853 w 34"/>
                <a:gd name="T9" fmla="*/ 0 h 10"/>
                <a:gd name="T10" fmla="*/ 364565 w 34"/>
                <a:gd name="T11" fmla="*/ 33814 h 10"/>
                <a:gd name="T12" fmla="*/ 364565 w 34"/>
                <a:gd name="T13" fmla="*/ 33814 h 10"/>
                <a:gd name="T14" fmla="*/ 375957 w 34"/>
                <a:gd name="T15" fmla="*/ 67627 h 10"/>
                <a:gd name="T16" fmla="*/ 375957 w 34"/>
                <a:gd name="T17" fmla="*/ 67627 h 10"/>
                <a:gd name="T18" fmla="*/ 341779 w 34"/>
                <a:gd name="T19" fmla="*/ 78898 h 10"/>
                <a:gd name="T20" fmla="*/ 341779 w 34"/>
                <a:gd name="T21" fmla="*/ 78898 h 10"/>
                <a:gd name="T22" fmla="*/ 227853 w 34"/>
                <a:gd name="T23" fmla="*/ 45085 h 10"/>
                <a:gd name="T24" fmla="*/ 227853 w 34"/>
                <a:gd name="T25" fmla="*/ 45085 h 10"/>
                <a:gd name="T26" fmla="*/ 34178 w 34"/>
                <a:gd name="T27" fmla="*/ 112712 h 10"/>
                <a:gd name="T28" fmla="*/ 34178 w 34"/>
                <a:gd name="T29" fmla="*/ 112712 h 10"/>
                <a:gd name="T30" fmla="*/ 22785 w 34"/>
                <a:gd name="T31" fmla="*/ 112712 h 10"/>
                <a:gd name="T32" fmla="*/ 22785 w 34"/>
                <a:gd name="T33" fmla="*/ 112712 h 10"/>
                <a:gd name="T34" fmla="*/ 0 w 34"/>
                <a:gd name="T35" fmla="*/ 101441 h 1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4"/>
                <a:gd name="T55" fmla="*/ 0 h 10"/>
                <a:gd name="T56" fmla="*/ 34 w 34"/>
                <a:gd name="T57" fmla="*/ 10 h 1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4" h="10">
                  <a:moveTo>
                    <a:pt x="0" y="9"/>
                  </a:moveTo>
                  <a:cubicBezTo>
                    <a:pt x="0" y="8"/>
                    <a:pt x="0" y="7"/>
                    <a:pt x="1" y="7"/>
                  </a:cubicBezTo>
                  <a:cubicBezTo>
                    <a:pt x="1" y="7"/>
                    <a:pt x="1" y="7"/>
                    <a:pt x="1" y="7"/>
                  </a:cubicBezTo>
                  <a:cubicBezTo>
                    <a:pt x="6" y="4"/>
                    <a:pt x="13" y="0"/>
                    <a:pt x="20" y="0"/>
                  </a:cubicBezTo>
                  <a:cubicBezTo>
                    <a:pt x="20" y="0"/>
                    <a:pt x="20" y="0"/>
                    <a:pt x="20" y="0"/>
                  </a:cubicBezTo>
                  <a:cubicBezTo>
                    <a:pt x="24" y="0"/>
                    <a:pt x="28" y="1"/>
                    <a:pt x="32" y="3"/>
                  </a:cubicBezTo>
                  <a:cubicBezTo>
                    <a:pt x="32" y="3"/>
                    <a:pt x="32" y="3"/>
                    <a:pt x="32" y="3"/>
                  </a:cubicBezTo>
                  <a:cubicBezTo>
                    <a:pt x="33" y="4"/>
                    <a:pt x="34" y="5"/>
                    <a:pt x="33" y="6"/>
                  </a:cubicBezTo>
                  <a:cubicBezTo>
                    <a:pt x="33" y="6"/>
                    <a:pt x="33" y="6"/>
                    <a:pt x="33" y="6"/>
                  </a:cubicBezTo>
                  <a:cubicBezTo>
                    <a:pt x="32" y="7"/>
                    <a:pt x="31" y="7"/>
                    <a:pt x="30" y="7"/>
                  </a:cubicBezTo>
                  <a:cubicBezTo>
                    <a:pt x="30" y="7"/>
                    <a:pt x="30" y="7"/>
                    <a:pt x="30" y="7"/>
                  </a:cubicBezTo>
                  <a:cubicBezTo>
                    <a:pt x="27" y="5"/>
                    <a:pt x="24" y="4"/>
                    <a:pt x="20" y="4"/>
                  </a:cubicBezTo>
                  <a:cubicBezTo>
                    <a:pt x="20" y="4"/>
                    <a:pt x="20" y="4"/>
                    <a:pt x="20" y="4"/>
                  </a:cubicBezTo>
                  <a:cubicBezTo>
                    <a:pt x="14" y="4"/>
                    <a:pt x="8" y="7"/>
                    <a:pt x="3" y="10"/>
                  </a:cubicBezTo>
                  <a:cubicBezTo>
                    <a:pt x="3" y="10"/>
                    <a:pt x="3" y="10"/>
                    <a:pt x="3" y="10"/>
                  </a:cubicBezTo>
                  <a:cubicBezTo>
                    <a:pt x="3" y="10"/>
                    <a:pt x="3" y="10"/>
                    <a:pt x="2" y="10"/>
                  </a:cubicBezTo>
                  <a:cubicBezTo>
                    <a:pt x="2" y="10"/>
                    <a:pt x="2" y="10"/>
                    <a:pt x="2" y="10"/>
                  </a:cubicBezTo>
                  <a:cubicBezTo>
                    <a:pt x="2" y="10"/>
                    <a:pt x="1" y="10"/>
                    <a:pt x="0" y="9"/>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48" name="Freeform 196"/>
            <p:cNvSpPr>
              <a:spLocks/>
            </p:cNvSpPr>
            <p:nvPr/>
          </p:nvSpPr>
          <p:spPr bwMode="auto">
            <a:xfrm>
              <a:off x="7675563" y="2527301"/>
              <a:ext cx="171450" cy="123825"/>
            </a:xfrm>
            <a:custGeom>
              <a:avLst/>
              <a:gdLst>
                <a:gd name="T0" fmla="*/ 137160 w 15"/>
                <a:gd name="T1" fmla="*/ 112568 h 11"/>
                <a:gd name="T2" fmla="*/ 68580 w 15"/>
                <a:gd name="T3" fmla="*/ 67541 h 11"/>
                <a:gd name="T4" fmla="*/ 68580 w 15"/>
                <a:gd name="T5" fmla="*/ 67541 h 11"/>
                <a:gd name="T6" fmla="*/ 22860 w 15"/>
                <a:gd name="T7" fmla="*/ 45027 h 11"/>
                <a:gd name="T8" fmla="*/ 22860 w 15"/>
                <a:gd name="T9" fmla="*/ 45027 h 11"/>
                <a:gd name="T10" fmla="*/ 11430 w 15"/>
                <a:gd name="T11" fmla="*/ 22514 h 11"/>
                <a:gd name="T12" fmla="*/ 11430 w 15"/>
                <a:gd name="T13" fmla="*/ 22514 h 11"/>
                <a:gd name="T14" fmla="*/ 34290 w 15"/>
                <a:gd name="T15" fmla="*/ 11257 h 11"/>
                <a:gd name="T16" fmla="*/ 34290 w 15"/>
                <a:gd name="T17" fmla="*/ 11257 h 11"/>
                <a:gd name="T18" fmla="*/ 91440 w 15"/>
                <a:gd name="T19" fmla="*/ 33770 h 11"/>
                <a:gd name="T20" fmla="*/ 91440 w 15"/>
                <a:gd name="T21" fmla="*/ 33770 h 11"/>
                <a:gd name="T22" fmla="*/ 171450 w 15"/>
                <a:gd name="T23" fmla="*/ 78798 h 11"/>
                <a:gd name="T24" fmla="*/ 171450 w 15"/>
                <a:gd name="T25" fmla="*/ 78798 h 11"/>
                <a:gd name="T26" fmla="*/ 160020 w 15"/>
                <a:gd name="T27" fmla="*/ 112568 h 11"/>
                <a:gd name="T28" fmla="*/ 160020 w 15"/>
                <a:gd name="T29" fmla="*/ 112568 h 11"/>
                <a:gd name="T30" fmla="*/ 148590 w 15"/>
                <a:gd name="T31" fmla="*/ 123825 h 11"/>
                <a:gd name="T32" fmla="*/ 148590 w 15"/>
                <a:gd name="T33" fmla="*/ 123825 h 11"/>
                <a:gd name="T34" fmla="*/ 137160 w 15"/>
                <a:gd name="T35" fmla="*/ 112568 h 1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5"/>
                <a:gd name="T55" fmla="*/ 0 h 11"/>
                <a:gd name="T56" fmla="*/ 15 w 15"/>
                <a:gd name="T57" fmla="*/ 11 h 1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5" h="11">
                  <a:moveTo>
                    <a:pt x="12" y="10"/>
                  </a:moveTo>
                  <a:cubicBezTo>
                    <a:pt x="11" y="9"/>
                    <a:pt x="8" y="7"/>
                    <a:pt x="6" y="6"/>
                  </a:cubicBezTo>
                  <a:cubicBezTo>
                    <a:pt x="6" y="6"/>
                    <a:pt x="6" y="6"/>
                    <a:pt x="6" y="6"/>
                  </a:cubicBezTo>
                  <a:cubicBezTo>
                    <a:pt x="4" y="5"/>
                    <a:pt x="2" y="4"/>
                    <a:pt x="2" y="4"/>
                  </a:cubicBezTo>
                  <a:cubicBezTo>
                    <a:pt x="2" y="4"/>
                    <a:pt x="2" y="4"/>
                    <a:pt x="2" y="4"/>
                  </a:cubicBezTo>
                  <a:cubicBezTo>
                    <a:pt x="1" y="4"/>
                    <a:pt x="0" y="3"/>
                    <a:pt x="1" y="2"/>
                  </a:cubicBezTo>
                  <a:cubicBezTo>
                    <a:pt x="1" y="2"/>
                    <a:pt x="1" y="2"/>
                    <a:pt x="1" y="2"/>
                  </a:cubicBezTo>
                  <a:cubicBezTo>
                    <a:pt x="1" y="1"/>
                    <a:pt x="2" y="0"/>
                    <a:pt x="3" y="1"/>
                  </a:cubicBezTo>
                  <a:cubicBezTo>
                    <a:pt x="3" y="1"/>
                    <a:pt x="3" y="1"/>
                    <a:pt x="3" y="1"/>
                  </a:cubicBezTo>
                  <a:cubicBezTo>
                    <a:pt x="3" y="1"/>
                    <a:pt x="5" y="1"/>
                    <a:pt x="8" y="3"/>
                  </a:cubicBezTo>
                  <a:cubicBezTo>
                    <a:pt x="8" y="3"/>
                    <a:pt x="8" y="3"/>
                    <a:pt x="8" y="3"/>
                  </a:cubicBezTo>
                  <a:cubicBezTo>
                    <a:pt x="10" y="4"/>
                    <a:pt x="13" y="5"/>
                    <a:pt x="15" y="7"/>
                  </a:cubicBezTo>
                  <a:cubicBezTo>
                    <a:pt x="15" y="7"/>
                    <a:pt x="15" y="7"/>
                    <a:pt x="15" y="7"/>
                  </a:cubicBezTo>
                  <a:cubicBezTo>
                    <a:pt x="15" y="8"/>
                    <a:pt x="15" y="10"/>
                    <a:pt x="14" y="10"/>
                  </a:cubicBezTo>
                  <a:cubicBezTo>
                    <a:pt x="14" y="10"/>
                    <a:pt x="14" y="10"/>
                    <a:pt x="14" y="10"/>
                  </a:cubicBezTo>
                  <a:cubicBezTo>
                    <a:pt x="14" y="11"/>
                    <a:pt x="14" y="11"/>
                    <a:pt x="13" y="11"/>
                  </a:cubicBezTo>
                  <a:cubicBezTo>
                    <a:pt x="13" y="11"/>
                    <a:pt x="13" y="11"/>
                    <a:pt x="13" y="11"/>
                  </a:cubicBezTo>
                  <a:cubicBezTo>
                    <a:pt x="13" y="11"/>
                    <a:pt x="12" y="10"/>
                    <a:pt x="12" y="10"/>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49" name="Freeform 197"/>
            <p:cNvSpPr>
              <a:spLocks/>
            </p:cNvSpPr>
            <p:nvPr/>
          </p:nvSpPr>
          <p:spPr bwMode="auto">
            <a:xfrm>
              <a:off x="7732713" y="2459038"/>
              <a:ext cx="171450" cy="123825"/>
            </a:xfrm>
            <a:custGeom>
              <a:avLst/>
              <a:gdLst>
                <a:gd name="T0" fmla="*/ 137160 w 15"/>
                <a:gd name="T1" fmla="*/ 123825 h 11"/>
                <a:gd name="T2" fmla="*/ 80010 w 15"/>
                <a:gd name="T3" fmla="*/ 67541 h 11"/>
                <a:gd name="T4" fmla="*/ 80010 w 15"/>
                <a:gd name="T5" fmla="*/ 67541 h 11"/>
                <a:gd name="T6" fmla="*/ 22860 w 15"/>
                <a:gd name="T7" fmla="*/ 45027 h 11"/>
                <a:gd name="T8" fmla="*/ 22860 w 15"/>
                <a:gd name="T9" fmla="*/ 45027 h 11"/>
                <a:gd name="T10" fmla="*/ 22860 w 15"/>
                <a:gd name="T11" fmla="*/ 45027 h 11"/>
                <a:gd name="T12" fmla="*/ 0 w 15"/>
                <a:gd name="T13" fmla="*/ 11257 h 11"/>
                <a:gd name="T14" fmla="*/ 0 w 15"/>
                <a:gd name="T15" fmla="*/ 11257 h 11"/>
                <a:gd name="T16" fmla="*/ 34290 w 15"/>
                <a:gd name="T17" fmla="*/ 0 h 11"/>
                <a:gd name="T18" fmla="*/ 34290 w 15"/>
                <a:gd name="T19" fmla="*/ 0 h 11"/>
                <a:gd name="T20" fmla="*/ 102870 w 15"/>
                <a:gd name="T21" fmla="*/ 33770 h 11"/>
                <a:gd name="T22" fmla="*/ 102870 w 15"/>
                <a:gd name="T23" fmla="*/ 33770 h 11"/>
                <a:gd name="T24" fmla="*/ 160020 w 15"/>
                <a:gd name="T25" fmla="*/ 90055 h 11"/>
                <a:gd name="T26" fmla="*/ 160020 w 15"/>
                <a:gd name="T27" fmla="*/ 90055 h 11"/>
                <a:gd name="T28" fmla="*/ 171450 w 15"/>
                <a:gd name="T29" fmla="*/ 112568 h 11"/>
                <a:gd name="T30" fmla="*/ 171450 w 15"/>
                <a:gd name="T31" fmla="*/ 112568 h 11"/>
                <a:gd name="T32" fmla="*/ 148590 w 15"/>
                <a:gd name="T33" fmla="*/ 123825 h 11"/>
                <a:gd name="T34" fmla="*/ 148590 w 15"/>
                <a:gd name="T35" fmla="*/ 123825 h 11"/>
                <a:gd name="T36" fmla="*/ 137160 w 15"/>
                <a:gd name="T37" fmla="*/ 123825 h 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
                <a:gd name="T58" fmla="*/ 0 h 11"/>
                <a:gd name="T59" fmla="*/ 15 w 15"/>
                <a:gd name="T60" fmla="*/ 11 h 1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 h="11">
                  <a:moveTo>
                    <a:pt x="12" y="11"/>
                  </a:moveTo>
                  <a:cubicBezTo>
                    <a:pt x="10" y="9"/>
                    <a:pt x="8" y="7"/>
                    <a:pt x="7" y="6"/>
                  </a:cubicBezTo>
                  <a:cubicBezTo>
                    <a:pt x="7" y="6"/>
                    <a:pt x="7" y="6"/>
                    <a:pt x="7" y="6"/>
                  </a:cubicBezTo>
                  <a:cubicBezTo>
                    <a:pt x="5" y="5"/>
                    <a:pt x="4" y="5"/>
                    <a:pt x="2" y="4"/>
                  </a:cubicBezTo>
                  <a:cubicBezTo>
                    <a:pt x="2" y="4"/>
                    <a:pt x="2" y="4"/>
                    <a:pt x="2" y="4"/>
                  </a:cubicBezTo>
                  <a:cubicBezTo>
                    <a:pt x="2" y="4"/>
                    <a:pt x="2" y="4"/>
                    <a:pt x="2" y="4"/>
                  </a:cubicBezTo>
                  <a:cubicBezTo>
                    <a:pt x="1" y="4"/>
                    <a:pt x="0" y="3"/>
                    <a:pt x="0" y="1"/>
                  </a:cubicBezTo>
                  <a:cubicBezTo>
                    <a:pt x="0" y="1"/>
                    <a:pt x="0" y="1"/>
                    <a:pt x="0" y="1"/>
                  </a:cubicBezTo>
                  <a:cubicBezTo>
                    <a:pt x="1" y="0"/>
                    <a:pt x="2" y="0"/>
                    <a:pt x="3" y="0"/>
                  </a:cubicBezTo>
                  <a:cubicBezTo>
                    <a:pt x="3" y="0"/>
                    <a:pt x="3" y="0"/>
                    <a:pt x="3" y="0"/>
                  </a:cubicBezTo>
                  <a:cubicBezTo>
                    <a:pt x="6" y="1"/>
                    <a:pt x="8" y="2"/>
                    <a:pt x="9" y="3"/>
                  </a:cubicBezTo>
                  <a:cubicBezTo>
                    <a:pt x="9" y="3"/>
                    <a:pt x="9" y="3"/>
                    <a:pt x="9" y="3"/>
                  </a:cubicBezTo>
                  <a:cubicBezTo>
                    <a:pt x="11" y="5"/>
                    <a:pt x="12" y="6"/>
                    <a:pt x="14" y="8"/>
                  </a:cubicBezTo>
                  <a:cubicBezTo>
                    <a:pt x="14" y="8"/>
                    <a:pt x="14" y="8"/>
                    <a:pt x="14" y="8"/>
                  </a:cubicBezTo>
                  <a:cubicBezTo>
                    <a:pt x="15" y="8"/>
                    <a:pt x="15" y="10"/>
                    <a:pt x="15" y="10"/>
                  </a:cubicBezTo>
                  <a:cubicBezTo>
                    <a:pt x="15" y="10"/>
                    <a:pt x="15" y="10"/>
                    <a:pt x="15" y="10"/>
                  </a:cubicBezTo>
                  <a:cubicBezTo>
                    <a:pt x="14" y="11"/>
                    <a:pt x="14" y="11"/>
                    <a:pt x="13" y="11"/>
                  </a:cubicBezTo>
                  <a:cubicBezTo>
                    <a:pt x="13" y="11"/>
                    <a:pt x="13" y="11"/>
                    <a:pt x="13" y="11"/>
                  </a:cubicBezTo>
                  <a:cubicBezTo>
                    <a:pt x="13" y="11"/>
                    <a:pt x="12" y="11"/>
                    <a:pt x="12" y="11"/>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50" name="Freeform 198"/>
            <p:cNvSpPr>
              <a:spLocks/>
            </p:cNvSpPr>
            <p:nvPr/>
          </p:nvSpPr>
          <p:spPr bwMode="auto">
            <a:xfrm>
              <a:off x="7585075" y="1912937"/>
              <a:ext cx="420688" cy="442912"/>
            </a:xfrm>
            <a:custGeom>
              <a:avLst/>
              <a:gdLst>
                <a:gd name="T0" fmla="*/ 386578 w 37"/>
                <a:gd name="T1" fmla="*/ 431555 h 39"/>
                <a:gd name="T2" fmla="*/ 204659 w 37"/>
                <a:gd name="T3" fmla="*/ 193064 h 39"/>
                <a:gd name="T4" fmla="*/ 204659 w 37"/>
                <a:gd name="T5" fmla="*/ 193064 h 39"/>
                <a:gd name="T6" fmla="*/ 147809 w 37"/>
                <a:gd name="T7" fmla="*/ 79497 h 39"/>
                <a:gd name="T8" fmla="*/ 147809 w 37"/>
                <a:gd name="T9" fmla="*/ 79497 h 39"/>
                <a:gd name="T10" fmla="*/ 34110 w 37"/>
                <a:gd name="T11" fmla="*/ 45427 h 39"/>
                <a:gd name="T12" fmla="*/ 34110 w 37"/>
                <a:gd name="T13" fmla="*/ 45427 h 39"/>
                <a:gd name="T14" fmla="*/ 22740 w 37"/>
                <a:gd name="T15" fmla="*/ 45427 h 39"/>
                <a:gd name="T16" fmla="*/ 22740 w 37"/>
                <a:gd name="T17" fmla="*/ 45427 h 39"/>
                <a:gd name="T18" fmla="*/ 0 w 37"/>
                <a:gd name="T19" fmla="*/ 22713 h 39"/>
                <a:gd name="T20" fmla="*/ 0 w 37"/>
                <a:gd name="T21" fmla="*/ 22713 h 39"/>
                <a:gd name="T22" fmla="*/ 22740 w 37"/>
                <a:gd name="T23" fmla="*/ 0 h 39"/>
                <a:gd name="T24" fmla="*/ 22740 w 37"/>
                <a:gd name="T25" fmla="*/ 0 h 39"/>
                <a:gd name="T26" fmla="*/ 34110 w 37"/>
                <a:gd name="T27" fmla="*/ 0 h 39"/>
                <a:gd name="T28" fmla="*/ 34110 w 37"/>
                <a:gd name="T29" fmla="*/ 0 h 39"/>
                <a:gd name="T30" fmla="*/ 181919 w 37"/>
                <a:gd name="T31" fmla="*/ 56784 h 39"/>
                <a:gd name="T32" fmla="*/ 181919 w 37"/>
                <a:gd name="T33" fmla="*/ 56784 h 39"/>
                <a:gd name="T34" fmla="*/ 250139 w 37"/>
                <a:gd name="T35" fmla="*/ 170351 h 39"/>
                <a:gd name="T36" fmla="*/ 250139 w 37"/>
                <a:gd name="T37" fmla="*/ 170351 h 39"/>
                <a:gd name="T38" fmla="*/ 409318 w 37"/>
                <a:gd name="T39" fmla="*/ 397485 h 39"/>
                <a:gd name="T40" fmla="*/ 409318 w 37"/>
                <a:gd name="T41" fmla="*/ 397485 h 39"/>
                <a:gd name="T42" fmla="*/ 409318 w 37"/>
                <a:gd name="T43" fmla="*/ 431555 h 39"/>
                <a:gd name="T44" fmla="*/ 409318 w 37"/>
                <a:gd name="T45" fmla="*/ 431555 h 39"/>
                <a:gd name="T46" fmla="*/ 397948 w 37"/>
                <a:gd name="T47" fmla="*/ 442912 h 39"/>
                <a:gd name="T48" fmla="*/ 397948 w 37"/>
                <a:gd name="T49" fmla="*/ 442912 h 39"/>
                <a:gd name="T50" fmla="*/ 386578 w 37"/>
                <a:gd name="T51" fmla="*/ 431555 h 3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7"/>
                <a:gd name="T79" fmla="*/ 0 h 39"/>
                <a:gd name="T80" fmla="*/ 37 w 37"/>
                <a:gd name="T81" fmla="*/ 39 h 3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7" h="39">
                  <a:moveTo>
                    <a:pt x="34" y="38"/>
                  </a:moveTo>
                  <a:cubicBezTo>
                    <a:pt x="26" y="32"/>
                    <a:pt x="23" y="26"/>
                    <a:pt x="18" y="17"/>
                  </a:cubicBezTo>
                  <a:cubicBezTo>
                    <a:pt x="18" y="17"/>
                    <a:pt x="18" y="17"/>
                    <a:pt x="18" y="17"/>
                  </a:cubicBezTo>
                  <a:cubicBezTo>
                    <a:pt x="16" y="13"/>
                    <a:pt x="15" y="10"/>
                    <a:pt x="13" y="7"/>
                  </a:cubicBezTo>
                  <a:cubicBezTo>
                    <a:pt x="13" y="7"/>
                    <a:pt x="13" y="7"/>
                    <a:pt x="13" y="7"/>
                  </a:cubicBezTo>
                  <a:cubicBezTo>
                    <a:pt x="11" y="5"/>
                    <a:pt x="8" y="4"/>
                    <a:pt x="3" y="4"/>
                  </a:cubicBezTo>
                  <a:cubicBezTo>
                    <a:pt x="3" y="4"/>
                    <a:pt x="3" y="4"/>
                    <a:pt x="3" y="4"/>
                  </a:cubicBezTo>
                  <a:cubicBezTo>
                    <a:pt x="3" y="4"/>
                    <a:pt x="2" y="4"/>
                    <a:pt x="2" y="4"/>
                  </a:cubicBezTo>
                  <a:cubicBezTo>
                    <a:pt x="2" y="4"/>
                    <a:pt x="2" y="4"/>
                    <a:pt x="2" y="4"/>
                  </a:cubicBezTo>
                  <a:cubicBezTo>
                    <a:pt x="1" y="4"/>
                    <a:pt x="0" y="3"/>
                    <a:pt x="0" y="2"/>
                  </a:cubicBezTo>
                  <a:cubicBezTo>
                    <a:pt x="0" y="2"/>
                    <a:pt x="0" y="2"/>
                    <a:pt x="0" y="2"/>
                  </a:cubicBezTo>
                  <a:cubicBezTo>
                    <a:pt x="0" y="1"/>
                    <a:pt x="1" y="0"/>
                    <a:pt x="2" y="0"/>
                  </a:cubicBezTo>
                  <a:cubicBezTo>
                    <a:pt x="2" y="0"/>
                    <a:pt x="2" y="0"/>
                    <a:pt x="2" y="0"/>
                  </a:cubicBezTo>
                  <a:cubicBezTo>
                    <a:pt x="2" y="0"/>
                    <a:pt x="3" y="0"/>
                    <a:pt x="3" y="0"/>
                  </a:cubicBezTo>
                  <a:cubicBezTo>
                    <a:pt x="3" y="0"/>
                    <a:pt x="3" y="0"/>
                    <a:pt x="3" y="0"/>
                  </a:cubicBezTo>
                  <a:cubicBezTo>
                    <a:pt x="9" y="0"/>
                    <a:pt x="13" y="2"/>
                    <a:pt x="16" y="5"/>
                  </a:cubicBezTo>
                  <a:cubicBezTo>
                    <a:pt x="16" y="5"/>
                    <a:pt x="16" y="5"/>
                    <a:pt x="16" y="5"/>
                  </a:cubicBezTo>
                  <a:cubicBezTo>
                    <a:pt x="18" y="8"/>
                    <a:pt x="20" y="12"/>
                    <a:pt x="22" y="15"/>
                  </a:cubicBezTo>
                  <a:cubicBezTo>
                    <a:pt x="22" y="15"/>
                    <a:pt x="22" y="15"/>
                    <a:pt x="22" y="15"/>
                  </a:cubicBezTo>
                  <a:cubicBezTo>
                    <a:pt x="26" y="24"/>
                    <a:pt x="29" y="30"/>
                    <a:pt x="36" y="35"/>
                  </a:cubicBezTo>
                  <a:cubicBezTo>
                    <a:pt x="36" y="35"/>
                    <a:pt x="36" y="35"/>
                    <a:pt x="36" y="35"/>
                  </a:cubicBezTo>
                  <a:cubicBezTo>
                    <a:pt x="37" y="36"/>
                    <a:pt x="37" y="37"/>
                    <a:pt x="36" y="38"/>
                  </a:cubicBezTo>
                  <a:cubicBezTo>
                    <a:pt x="36" y="38"/>
                    <a:pt x="36" y="38"/>
                    <a:pt x="36" y="38"/>
                  </a:cubicBezTo>
                  <a:cubicBezTo>
                    <a:pt x="36" y="38"/>
                    <a:pt x="35" y="39"/>
                    <a:pt x="35" y="39"/>
                  </a:cubicBezTo>
                  <a:cubicBezTo>
                    <a:pt x="35" y="39"/>
                    <a:pt x="35" y="39"/>
                    <a:pt x="35" y="39"/>
                  </a:cubicBezTo>
                  <a:cubicBezTo>
                    <a:pt x="34" y="39"/>
                    <a:pt x="34" y="38"/>
                    <a:pt x="34" y="38"/>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51" name="Freeform 199"/>
            <p:cNvSpPr>
              <a:spLocks/>
            </p:cNvSpPr>
            <p:nvPr/>
          </p:nvSpPr>
          <p:spPr bwMode="auto">
            <a:xfrm>
              <a:off x="7185025" y="1833562"/>
              <a:ext cx="844550" cy="442912"/>
            </a:xfrm>
            <a:custGeom>
              <a:avLst/>
              <a:gdLst>
                <a:gd name="T0" fmla="*/ 11413 w 74"/>
                <a:gd name="T1" fmla="*/ 442912 h 39"/>
                <a:gd name="T2" fmla="*/ 11413 w 74"/>
                <a:gd name="T3" fmla="*/ 408842 h 39"/>
                <a:gd name="T4" fmla="*/ 11413 w 74"/>
                <a:gd name="T5" fmla="*/ 408842 h 39"/>
                <a:gd name="T6" fmla="*/ 159780 w 74"/>
                <a:gd name="T7" fmla="*/ 204421 h 39"/>
                <a:gd name="T8" fmla="*/ 159780 w 74"/>
                <a:gd name="T9" fmla="*/ 204421 h 39"/>
                <a:gd name="T10" fmla="*/ 388037 w 74"/>
                <a:gd name="T11" fmla="*/ 11357 h 39"/>
                <a:gd name="T12" fmla="*/ 388037 w 74"/>
                <a:gd name="T13" fmla="*/ 11357 h 39"/>
                <a:gd name="T14" fmla="*/ 467926 w 74"/>
                <a:gd name="T15" fmla="*/ 0 h 39"/>
                <a:gd name="T16" fmla="*/ 467926 w 74"/>
                <a:gd name="T17" fmla="*/ 0 h 39"/>
                <a:gd name="T18" fmla="*/ 627706 w 74"/>
                <a:gd name="T19" fmla="*/ 68140 h 39"/>
                <a:gd name="T20" fmla="*/ 627706 w 74"/>
                <a:gd name="T21" fmla="*/ 68140 h 39"/>
                <a:gd name="T22" fmla="*/ 719009 w 74"/>
                <a:gd name="T23" fmla="*/ 227134 h 39"/>
                <a:gd name="T24" fmla="*/ 719009 w 74"/>
                <a:gd name="T25" fmla="*/ 227134 h 39"/>
                <a:gd name="T26" fmla="*/ 833137 w 74"/>
                <a:gd name="T27" fmla="*/ 386128 h 39"/>
                <a:gd name="T28" fmla="*/ 833137 w 74"/>
                <a:gd name="T29" fmla="*/ 386128 h 39"/>
                <a:gd name="T30" fmla="*/ 833137 w 74"/>
                <a:gd name="T31" fmla="*/ 408842 h 39"/>
                <a:gd name="T32" fmla="*/ 833137 w 74"/>
                <a:gd name="T33" fmla="*/ 408842 h 39"/>
                <a:gd name="T34" fmla="*/ 798899 w 74"/>
                <a:gd name="T35" fmla="*/ 420199 h 39"/>
                <a:gd name="T36" fmla="*/ 798899 w 74"/>
                <a:gd name="T37" fmla="*/ 420199 h 39"/>
                <a:gd name="T38" fmla="*/ 684770 w 74"/>
                <a:gd name="T39" fmla="*/ 249848 h 39"/>
                <a:gd name="T40" fmla="*/ 684770 w 74"/>
                <a:gd name="T41" fmla="*/ 249848 h 39"/>
                <a:gd name="T42" fmla="*/ 593467 w 74"/>
                <a:gd name="T43" fmla="*/ 102210 h 39"/>
                <a:gd name="T44" fmla="*/ 593467 w 74"/>
                <a:gd name="T45" fmla="*/ 102210 h 39"/>
                <a:gd name="T46" fmla="*/ 467926 w 74"/>
                <a:gd name="T47" fmla="*/ 45427 h 39"/>
                <a:gd name="T48" fmla="*/ 467926 w 74"/>
                <a:gd name="T49" fmla="*/ 45427 h 39"/>
                <a:gd name="T50" fmla="*/ 399449 w 74"/>
                <a:gd name="T51" fmla="*/ 45427 h 39"/>
                <a:gd name="T52" fmla="*/ 399449 w 74"/>
                <a:gd name="T53" fmla="*/ 45427 h 39"/>
                <a:gd name="T54" fmla="*/ 194018 w 74"/>
                <a:gd name="T55" fmla="*/ 227134 h 39"/>
                <a:gd name="T56" fmla="*/ 194018 w 74"/>
                <a:gd name="T57" fmla="*/ 227134 h 39"/>
                <a:gd name="T58" fmla="*/ 45651 w 74"/>
                <a:gd name="T59" fmla="*/ 431555 h 39"/>
                <a:gd name="T60" fmla="*/ 45651 w 74"/>
                <a:gd name="T61" fmla="*/ 431555 h 39"/>
                <a:gd name="T62" fmla="*/ 45651 w 74"/>
                <a:gd name="T63" fmla="*/ 431555 h 39"/>
                <a:gd name="T64" fmla="*/ 22826 w 74"/>
                <a:gd name="T65" fmla="*/ 442912 h 39"/>
                <a:gd name="T66" fmla="*/ 22826 w 74"/>
                <a:gd name="T67" fmla="*/ 442912 h 39"/>
                <a:gd name="T68" fmla="*/ 11413 w 74"/>
                <a:gd name="T69" fmla="*/ 442912 h 3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4"/>
                <a:gd name="T106" fmla="*/ 0 h 39"/>
                <a:gd name="T107" fmla="*/ 74 w 74"/>
                <a:gd name="T108" fmla="*/ 39 h 3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4" h="39">
                  <a:moveTo>
                    <a:pt x="1" y="39"/>
                  </a:moveTo>
                  <a:cubicBezTo>
                    <a:pt x="0" y="38"/>
                    <a:pt x="0" y="37"/>
                    <a:pt x="1" y="36"/>
                  </a:cubicBezTo>
                  <a:cubicBezTo>
                    <a:pt x="1" y="36"/>
                    <a:pt x="1" y="36"/>
                    <a:pt x="1" y="36"/>
                  </a:cubicBezTo>
                  <a:cubicBezTo>
                    <a:pt x="3" y="33"/>
                    <a:pt x="8" y="25"/>
                    <a:pt x="14" y="18"/>
                  </a:cubicBezTo>
                  <a:cubicBezTo>
                    <a:pt x="14" y="18"/>
                    <a:pt x="14" y="18"/>
                    <a:pt x="14" y="18"/>
                  </a:cubicBezTo>
                  <a:cubicBezTo>
                    <a:pt x="20" y="10"/>
                    <a:pt x="27" y="3"/>
                    <a:pt x="34" y="1"/>
                  </a:cubicBezTo>
                  <a:cubicBezTo>
                    <a:pt x="34" y="1"/>
                    <a:pt x="34" y="1"/>
                    <a:pt x="34" y="1"/>
                  </a:cubicBezTo>
                  <a:cubicBezTo>
                    <a:pt x="36" y="0"/>
                    <a:pt x="39" y="0"/>
                    <a:pt x="41" y="0"/>
                  </a:cubicBezTo>
                  <a:cubicBezTo>
                    <a:pt x="41" y="0"/>
                    <a:pt x="41" y="0"/>
                    <a:pt x="41" y="0"/>
                  </a:cubicBezTo>
                  <a:cubicBezTo>
                    <a:pt x="46" y="0"/>
                    <a:pt x="51" y="2"/>
                    <a:pt x="55" y="6"/>
                  </a:cubicBezTo>
                  <a:cubicBezTo>
                    <a:pt x="55" y="6"/>
                    <a:pt x="55" y="6"/>
                    <a:pt x="55" y="6"/>
                  </a:cubicBezTo>
                  <a:cubicBezTo>
                    <a:pt x="59" y="10"/>
                    <a:pt x="61" y="15"/>
                    <a:pt x="63" y="20"/>
                  </a:cubicBezTo>
                  <a:cubicBezTo>
                    <a:pt x="63" y="20"/>
                    <a:pt x="63" y="20"/>
                    <a:pt x="63" y="20"/>
                  </a:cubicBezTo>
                  <a:cubicBezTo>
                    <a:pt x="65" y="23"/>
                    <a:pt x="68" y="31"/>
                    <a:pt x="73" y="34"/>
                  </a:cubicBezTo>
                  <a:cubicBezTo>
                    <a:pt x="73" y="34"/>
                    <a:pt x="73" y="34"/>
                    <a:pt x="73" y="34"/>
                  </a:cubicBezTo>
                  <a:cubicBezTo>
                    <a:pt x="73" y="34"/>
                    <a:pt x="74" y="35"/>
                    <a:pt x="73" y="36"/>
                  </a:cubicBezTo>
                  <a:cubicBezTo>
                    <a:pt x="73" y="36"/>
                    <a:pt x="73" y="36"/>
                    <a:pt x="73" y="36"/>
                  </a:cubicBezTo>
                  <a:cubicBezTo>
                    <a:pt x="72" y="37"/>
                    <a:pt x="71" y="37"/>
                    <a:pt x="70" y="37"/>
                  </a:cubicBezTo>
                  <a:cubicBezTo>
                    <a:pt x="70" y="37"/>
                    <a:pt x="70" y="37"/>
                    <a:pt x="70" y="37"/>
                  </a:cubicBezTo>
                  <a:cubicBezTo>
                    <a:pt x="64" y="33"/>
                    <a:pt x="61" y="25"/>
                    <a:pt x="60" y="22"/>
                  </a:cubicBezTo>
                  <a:cubicBezTo>
                    <a:pt x="60" y="22"/>
                    <a:pt x="60" y="22"/>
                    <a:pt x="60" y="22"/>
                  </a:cubicBezTo>
                  <a:cubicBezTo>
                    <a:pt x="58" y="17"/>
                    <a:pt x="55" y="12"/>
                    <a:pt x="52" y="9"/>
                  </a:cubicBezTo>
                  <a:cubicBezTo>
                    <a:pt x="52" y="9"/>
                    <a:pt x="52" y="9"/>
                    <a:pt x="52" y="9"/>
                  </a:cubicBezTo>
                  <a:cubicBezTo>
                    <a:pt x="49" y="6"/>
                    <a:pt x="45" y="4"/>
                    <a:pt x="41" y="4"/>
                  </a:cubicBezTo>
                  <a:cubicBezTo>
                    <a:pt x="41" y="4"/>
                    <a:pt x="41" y="4"/>
                    <a:pt x="41" y="4"/>
                  </a:cubicBezTo>
                  <a:cubicBezTo>
                    <a:pt x="39" y="4"/>
                    <a:pt x="37" y="4"/>
                    <a:pt x="35" y="4"/>
                  </a:cubicBezTo>
                  <a:cubicBezTo>
                    <a:pt x="35" y="4"/>
                    <a:pt x="35" y="4"/>
                    <a:pt x="35" y="4"/>
                  </a:cubicBezTo>
                  <a:cubicBezTo>
                    <a:pt x="29" y="6"/>
                    <a:pt x="23" y="13"/>
                    <a:pt x="17" y="20"/>
                  </a:cubicBezTo>
                  <a:cubicBezTo>
                    <a:pt x="17" y="20"/>
                    <a:pt x="17" y="20"/>
                    <a:pt x="17" y="20"/>
                  </a:cubicBezTo>
                  <a:cubicBezTo>
                    <a:pt x="11" y="27"/>
                    <a:pt x="7" y="35"/>
                    <a:pt x="4" y="38"/>
                  </a:cubicBezTo>
                  <a:cubicBezTo>
                    <a:pt x="4" y="38"/>
                    <a:pt x="4" y="38"/>
                    <a:pt x="4" y="38"/>
                  </a:cubicBezTo>
                  <a:cubicBezTo>
                    <a:pt x="4" y="38"/>
                    <a:pt x="4" y="38"/>
                    <a:pt x="4" y="38"/>
                  </a:cubicBezTo>
                  <a:cubicBezTo>
                    <a:pt x="3" y="39"/>
                    <a:pt x="3" y="39"/>
                    <a:pt x="2" y="39"/>
                  </a:cubicBezTo>
                  <a:cubicBezTo>
                    <a:pt x="2" y="39"/>
                    <a:pt x="2" y="39"/>
                    <a:pt x="2" y="39"/>
                  </a:cubicBezTo>
                  <a:cubicBezTo>
                    <a:pt x="2" y="39"/>
                    <a:pt x="1" y="39"/>
                    <a:pt x="1" y="39"/>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52" name="Freeform 200"/>
            <p:cNvSpPr>
              <a:spLocks/>
            </p:cNvSpPr>
            <p:nvPr/>
          </p:nvSpPr>
          <p:spPr bwMode="auto">
            <a:xfrm>
              <a:off x="7334250" y="1447800"/>
              <a:ext cx="546100" cy="125412"/>
            </a:xfrm>
            <a:custGeom>
              <a:avLst/>
              <a:gdLst>
                <a:gd name="T0" fmla="*/ 511969 w 48"/>
                <a:gd name="T1" fmla="*/ 125412 h 11"/>
                <a:gd name="T2" fmla="*/ 261673 w 48"/>
                <a:gd name="T3" fmla="*/ 45604 h 11"/>
                <a:gd name="T4" fmla="*/ 261673 w 48"/>
                <a:gd name="T5" fmla="*/ 45604 h 11"/>
                <a:gd name="T6" fmla="*/ 261673 w 48"/>
                <a:gd name="T7" fmla="*/ 45604 h 11"/>
                <a:gd name="T8" fmla="*/ 261673 w 48"/>
                <a:gd name="T9" fmla="*/ 45604 h 11"/>
                <a:gd name="T10" fmla="*/ 34131 w 48"/>
                <a:gd name="T11" fmla="*/ 114011 h 11"/>
                <a:gd name="T12" fmla="*/ 34131 w 48"/>
                <a:gd name="T13" fmla="*/ 114011 h 11"/>
                <a:gd name="T14" fmla="*/ 34131 w 48"/>
                <a:gd name="T15" fmla="*/ 114011 h 11"/>
                <a:gd name="T16" fmla="*/ 0 w 48"/>
                <a:gd name="T17" fmla="*/ 102610 h 11"/>
                <a:gd name="T18" fmla="*/ 0 w 48"/>
                <a:gd name="T19" fmla="*/ 102610 h 11"/>
                <a:gd name="T20" fmla="*/ 11377 w 48"/>
                <a:gd name="T21" fmla="*/ 79808 h 11"/>
                <a:gd name="T22" fmla="*/ 11377 w 48"/>
                <a:gd name="T23" fmla="*/ 79808 h 11"/>
                <a:gd name="T24" fmla="*/ 261673 w 48"/>
                <a:gd name="T25" fmla="*/ 0 h 11"/>
                <a:gd name="T26" fmla="*/ 261673 w 48"/>
                <a:gd name="T27" fmla="*/ 0 h 11"/>
                <a:gd name="T28" fmla="*/ 261673 w 48"/>
                <a:gd name="T29" fmla="*/ 0 h 11"/>
                <a:gd name="T30" fmla="*/ 261673 w 48"/>
                <a:gd name="T31" fmla="*/ 0 h 11"/>
                <a:gd name="T32" fmla="*/ 534723 w 48"/>
                <a:gd name="T33" fmla="*/ 91209 h 11"/>
                <a:gd name="T34" fmla="*/ 534723 w 48"/>
                <a:gd name="T35" fmla="*/ 91209 h 11"/>
                <a:gd name="T36" fmla="*/ 546100 w 48"/>
                <a:gd name="T37" fmla="*/ 125412 h 11"/>
                <a:gd name="T38" fmla="*/ 546100 w 48"/>
                <a:gd name="T39" fmla="*/ 125412 h 11"/>
                <a:gd name="T40" fmla="*/ 523346 w 48"/>
                <a:gd name="T41" fmla="*/ 125412 h 11"/>
                <a:gd name="T42" fmla="*/ 523346 w 48"/>
                <a:gd name="T43" fmla="*/ 125412 h 11"/>
                <a:gd name="T44" fmla="*/ 511969 w 48"/>
                <a:gd name="T45" fmla="*/ 125412 h 1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8"/>
                <a:gd name="T70" fmla="*/ 0 h 11"/>
                <a:gd name="T71" fmla="*/ 48 w 48"/>
                <a:gd name="T72" fmla="*/ 11 h 1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8" h="11">
                  <a:moveTo>
                    <a:pt x="45" y="11"/>
                  </a:moveTo>
                  <a:cubicBezTo>
                    <a:pt x="36" y="5"/>
                    <a:pt x="29" y="4"/>
                    <a:pt x="23" y="4"/>
                  </a:cubicBezTo>
                  <a:cubicBezTo>
                    <a:pt x="23" y="4"/>
                    <a:pt x="23" y="4"/>
                    <a:pt x="23" y="4"/>
                  </a:cubicBezTo>
                  <a:cubicBezTo>
                    <a:pt x="23" y="4"/>
                    <a:pt x="23" y="4"/>
                    <a:pt x="23" y="4"/>
                  </a:cubicBezTo>
                  <a:cubicBezTo>
                    <a:pt x="23" y="4"/>
                    <a:pt x="23" y="4"/>
                    <a:pt x="23" y="4"/>
                  </a:cubicBezTo>
                  <a:cubicBezTo>
                    <a:pt x="14" y="4"/>
                    <a:pt x="9" y="7"/>
                    <a:pt x="3" y="10"/>
                  </a:cubicBezTo>
                  <a:cubicBezTo>
                    <a:pt x="3" y="10"/>
                    <a:pt x="3" y="10"/>
                    <a:pt x="3" y="10"/>
                  </a:cubicBezTo>
                  <a:cubicBezTo>
                    <a:pt x="3" y="10"/>
                    <a:pt x="3" y="10"/>
                    <a:pt x="3" y="10"/>
                  </a:cubicBezTo>
                  <a:cubicBezTo>
                    <a:pt x="2" y="11"/>
                    <a:pt x="1" y="10"/>
                    <a:pt x="0" y="9"/>
                  </a:cubicBezTo>
                  <a:cubicBezTo>
                    <a:pt x="0" y="9"/>
                    <a:pt x="0" y="9"/>
                    <a:pt x="0" y="9"/>
                  </a:cubicBezTo>
                  <a:cubicBezTo>
                    <a:pt x="0" y="8"/>
                    <a:pt x="0" y="7"/>
                    <a:pt x="1" y="7"/>
                  </a:cubicBezTo>
                  <a:cubicBezTo>
                    <a:pt x="1" y="7"/>
                    <a:pt x="1" y="7"/>
                    <a:pt x="1" y="7"/>
                  </a:cubicBezTo>
                  <a:cubicBezTo>
                    <a:pt x="7" y="4"/>
                    <a:pt x="13" y="0"/>
                    <a:pt x="23" y="0"/>
                  </a:cubicBezTo>
                  <a:cubicBezTo>
                    <a:pt x="23" y="0"/>
                    <a:pt x="23" y="0"/>
                    <a:pt x="23" y="0"/>
                  </a:cubicBezTo>
                  <a:cubicBezTo>
                    <a:pt x="23" y="0"/>
                    <a:pt x="23" y="0"/>
                    <a:pt x="23" y="0"/>
                  </a:cubicBezTo>
                  <a:cubicBezTo>
                    <a:pt x="23" y="0"/>
                    <a:pt x="23" y="0"/>
                    <a:pt x="23" y="0"/>
                  </a:cubicBezTo>
                  <a:cubicBezTo>
                    <a:pt x="30" y="0"/>
                    <a:pt x="38" y="1"/>
                    <a:pt x="47" y="8"/>
                  </a:cubicBezTo>
                  <a:cubicBezTo>
                    <a:pt x="47" y="8"/>
                    <a:pt x="47" y="8"/>
                    <a:pt x="47" y="8"/>
                  </a:cubicBezTo>
                  <a:cubicBezTo>
                    <a:pt x="48" y="9"/>
                    <a:pt x="48" y="10"/>
                    <a:pt x="48" y="11"/>
                  </a:cubicBezTo>
                  <a:cubicBezTo>
                    <a:pt x="48" y="11"/>
                    <a:pt x="48" y="11"/>
                    <a:pt x="48" y="11"/>
                  </a:cubicBezTo>
                  <a:cubicBezTo>
                    <a:pt x="47" y="11"/>
                    <a:pt x="47" y="11"/>
                    <a:pt x="46" y="11"/>
                  </a:cubicBezTo>
                  <a:cubicBezTo>
                    <a:pt x="46" y="11"/>
                    <a:pt x="46" y="11"/>
                    <a:pt x="46" y="11"/>
                  </a:cubicBezTo>
                  <a:cubicBezTo>
                    <a:pt x="46" y="11"/>
                    <a:pt x="45" y="11"/>
                    <a:pt x="45" y="11"/>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53" name="Freeform 201"/>
            <p:cNvSpPr>
              <a:spLocks/>
            </p:cNvSpPr>
            <p:nvPr/>
          </p:nvSpPr>
          <p:spPr bwMode="auto">
            <a:xfrm>
              <a:off x="7231063" y="1538287"/>
              <a:ext cx="719138" cy="238125"/>
            </a:xfrm>
            <a:custGeom>
              <a:avLst/>
              <a:gdLst>
                <a:gd name="T0" fmla="*/ 0 w 63"/>
                <a:gd name="T1" fmla="*/ 226786 h 21"/>
                <a:gd name="T2" fmla="*/ 11415 w 63"/>
                <a:gd name="T3" fmla="*/ 192768 h 21"/>
                <a:gd name="T4" fmla="*/ 11415 w 63"/>
                <a:gd name="T5" fmla="*/ 192768 h 21"/>
                <a:gd name="T6" fmla="*/ 296787 w 63"/>
                <a:gd name="T7" fmla="*/ 11339 h 21"/>
                <a:gd name="T8" fmla="*/ 296787 w 63"/>
                <a:gd name="T9" fmla="*/ 11339 h 21"/>
                <a:gd name="T10" fmla="*/ 388106 w 63"/>
                <a:gd name="T11" fmla="*/ 0 h 21"/>
                <a:gd name="T12" fmla="*/ 388106 w 63"/>
                <a:gd name="T13" fmla="*/ 0 h 21"/>
                <a:gd name="T14" fmla="*/ 570744 w 63"/>
                <a:gd name="T15" fmla="*/ 56696 h 21"/>
                <a:gd name="T16" fmla="*/ 570744 w 63"/>
                <a:gd name="T17" fmla="*/ 56696 h 21"/>
                <a:gd name="T18" fmla="*/ 707723 w 63"/>
                <a:gd name="T19" fmla="*/ 147411 h 21"/>
                <a:gd name="T20" fmla="*/ 707723 w 63"/>
                <a:gd name="T21" fmla="*/ 147411 h 21"/>
                <a:gd name="T22" fmla="*/ 707723 w 63"/>
                <a:gd name="T23" fmla="*/ 181429 h 21"/>
                <a:gd name="T24" fmla="*/ 707723 w 63"/>
                <a:gd name="T25" fmla="*/ 181429 h 21"/>
                <a:gd name="T26" fmla="*/ 673478 w 63"/>
                <a:gd name="T27" fmla="*/ 181429 h 21"/>
                <a:gd name="T28" fmla="*/ 673478 w 63"/>
                <a:gd name="T29" fmla="*/ 181429 h 21"/>
                <a:gd name="T30" fmla="*/ 547915 w 63"/>
                <a:gd name="T31" fmla="*/ 90714 h 21"/>
                <a:gd name="T32" fmla="*/ 547915 w 63"/>
                <a:gd name="T33" fmla="*/ 90714 h 21"/>
                <a:gd name="T34" fmla="*/ 388106 w 63"/>
                <a:gd name="T35" fmla="*/ 45357 h 21"/>
                <a:gd name="T36" fmla="*/ 388106 w 63"/>
                <a:gd name="T37" fmla="*/ 45357 h 21"/>
                <a:gd name="T38" fmla="*/ 308202 w 63"/>
                <a:gd name="T39" fmla="*/ 56696 h 21"/>
                <a:gd name="T40" fmla="*/ 308202 w 63"/>
                <a:gd name="T41" fmla="*/ 56696 h 21"/>
                <a:gd name="T42" fmla="*/ 34245 w 63"/>
                <a:gd name="T43" fmla="*/ 226786 h 21"/>
                <a:gd name="T44" fmla="*/ 34245 w 63"/>
                <a:gd name="T45" fmla="*/ 226786 h 21"/>
                <a:gd name="T46" fmla="*/ 34245 w 63"/>
                <a:gd name="T47" fmla="*/ 226786 h 21"/>
                <a:gd name="T48" fmla="*/ 22830 w 63"/>
                <a:gd name="T49" fmla="*/ 238125 h 21"/>
                <a:gd name="T50" fmla="*/ 22830 w 63"/>
                <a:gd name="T51" fmla="*/ 238125 h 21"/>
                <a:gd name="T52" fmla="*/ 0 w 63"/>
                <a:gd name="T53" fmla="*/ 226786 h 2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3"/>
                <a:gd name="T82" fmla="*/ 0 h 21"/>
                <a:gd name="T83" fmla="*/ 63 w 63"/>
                <a:gd name="T84" fmla="*/ 21 h 21"/>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3" h="21">
                  <a:moveTo>
                    <a:pt x="0" y="20"/>
                  </a:moveTo>
                  <a:cubicBezTo>
                    <a:pt x="0" y="19"/>
                    <a:pt x="0" y="18"/>
                    <a:pt x="1" y="17"/>
                  </a:cubicBezTo>
                  <a:cubicBezTo>
                    <a:pt x="1" y="17"/>
                    <a:pt x="1" y="17"/>
                    <a:pt x="1" y="17"/>
                  </a:cubicBezTo>
                  <a:cubicBezTo>
                    <a:pt x="6" y="13"/>
                    <a:pt x="16" y="4"/>
                    <a:pt x="26" y="1"/>
                  </a:cubicBezTo>
                  <a:cubicBezTo>
                    <a:pt x="26" y="1"/>
                    <a:pt x="26" y="1"/>
                    <a:pt x="26" y="1"/>
                  </a:cubicBezTo>
                  <a:cubicBezTo>
                    <a:pt x="29" y="0"/>
                    <a:pt x="32" y="0"/>
                    <a:pt x="34" y="0"/>
                  </a:cubicBezTo>
                  <a:cubicBezTo>
                    <a:pt x="34" y="0"/>
                    <a:pt x="34" y="0"/>
                    <a:pt x="34" y="0"/>
                  </a:cubicBezTo>
                  <a:cubicBezTo>
                    <a:pt x="41" y="0"/>
                    <a:pt x="46" y="2"/>
                    <a:pt x="50" y="5"/>
                  </a:cubicBezTo>
                  <a:cubicBezTo>
                    <a:pt x="50" y="5"/>
                    <a:pt x="50" y="5"/>
                    <a:pt x="50" y="5"/>
                  </a:cubicBezTo>
                  <a:cubicBezTo>
                    <a:pt x="55" y="7"/>
                    <a:pt x="59" y="10"/>
                    <a:pt x="62" y="13"/>
                  </a:cubicBezTo>
                  <a:cubicBezTo>
                    <a:pt x="62" y="13"/>
                    <a:pt x="62" y="13"/>
                    <a:pt x="62" y="13"/>
                  </a:cubicBezTo>
                  <a:cubicBezTo>
                    <a:pt x="63" y="14"/>
                    <a:pt x="63" y="15"/>
                    <a:pt x="62" y="16"/>
                  </a:cubicBezTo>
                  <a:cubicBezTo>
                    <a:pt x="62" y="16"/>
                    <a:pt x="62" y="16"/>
                    <a:pt x="62" y="16"/>
                  </a:cubicBezTo>
                  <a:cubicBezTo>
                    <a:pt x="61" y="17"/>
                    <a:pt x="60" y="17"/>
                    <a:pt x="59" y="16"/>
                  </a:cubicBezTo>
                  <a:cubicBezTo>
                    <a:pt x="59" y="16"/>
                    <a:pt x="59" y="16"/>
                    <a:pt x="59" y="16"/>
                  </a:cubicBezTo>
                  <a:cubicBezTo>
                    <a:pt x="56" y="13"/>
                    <a:pt x="53" y="11"/>
                    <a:pt x="48" y="8"/>
                  </a:cubicBezTo>
                  <a:cubicBezTo>
                    <a:pt x="48" y="8"/>
                    <a:pt x="48" y="8"/>
                    <a:pt x="48" y="8"/>
                  </a:cubicBezTo>
                  <a:cubicBezTo>
                    <a:pt x="45" y="6"/>
                    <a:pt x="40" y="4"/>
                    <a:pt x="34" y="4"/>
                  </a:cubicBezTo>
                  <a:cubicBezTo>
                    <a:pt x="34" y="4"/>
                    <a:pt x="34" y="4"/>
                    <a:pt x="34" y="4"/>
                  </a:cubicBezTo>
                  <a:cubicBezTo>
                    <a:pt x="32" y="4"/>
                    <a:pt x="29" y="4"/>
                    <a:pt x="27" y="5"/>
                  </a:cubicBezTo>
                  <a:cubicBezTo>
                    <a:pt x="27" y="5"/>
                    <a:pt x="27" y="5"/>
                    <a:pt x="27" y="5"/>
                  </a:cubicBezTo>
                  <a:cubicBezTo>
                    <a:pt x="18" y="8"/>
                    <a:pt x="9" y="16"/>
                    <a:pt x="3" y="20"/>
                  </a:cubicBezTo>
                  <a:cubicBezTo>
                    <a:pt x="3" y="20"/>
                    <a:pt x="3" y="20"/>
                    <a:pt x="3" y="20"/>
                  </a:cubicBezTo>
                  <a:cubicBezTo>
                    <a:pt x="3" y="20"/>
                    <a:pt x="3" y="20"/>
                    <a:pt x="3" y="20"/>
                  </a:cubicBezTo>
                  <a:cubicBezTo>
                    <a:pt x="3" y="21"/>
                    <a:pt x="2" y="21"/>
                    <a:pt x="2" y="21"/>
                  </a:cubicBezTo>
                  <a:cubicBezTo>
                    <a:pt x="2" y="21"/>
                    <a:pt x="2" y="21"/>
                    <a:pt x="2" y="21"/>
                  </a:cubicBezTo>
                  <a:cubicBezTo>
                    <a:pt x="1" y="21"/>
                    <a:pt x="1" y="21"/>
                    <a:pt x="0" y="20"/>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54" name="Freeform 202"/>
            <p:cNvSpPr>
              <a:spLocks/>
            </p:cNvSpPr>
            <p:nvPr/>
          </p:nvSpPr>
          <p:spPr bwMode="auto">
            <a:xfrm>
              <a:off x="7196138" y="1628775"/>
              <a:ext cx="809625" cy="341312"/>
            </a:xfrm>
            <a:custGeom>
              <a:avLst/>
              <a:gdLst>
                <a:gd name="T0" fmla="*/ 11403 w 71"/>
                <a:gd name="T1" fmla="*/ 329935 h 30"/>
                <a:gd name="T2" fmla="*/ 11403 w 71"/>
                <a:gd name="T3" fmla="*/ 307181 h 30"/>
                <a:gd name="T4" fmla="*/ 11403 w 71"/>
                <a:gd name="T5" fmla="*/ 307181 h 30"/>
                <a:gd name="T6" fmla="*/ 205257 w 71"/>
                <a:gd name="T7" fmla="*/ 102394 h 30"/>
                <a:gd name="T8" fmla="*/ 205257 w 71"/>
                <a:gd name="T9" fmla="*/ 102394 h 30"/>
                <a:gd name="T10" fmla="*/ 444724 w 71"/>
                <a:gd name="T11" fmla="*/ 0 h 30"/>
                <a:gd name="T12" fmla="*/ 444724 w 71"/>
                <a:gd name="T13" fmla="*/ 0 h 30"/>
                <a:gd name="T14" fmla="*/ 592965 w 71"/>
                <a:gd name="T15" fmla="*/ 45508 h 30"/>
                <a:gd name="T16" fmla="*/ 592965 w 71"/>
                <a:gd name="T17" fmla="*/ 45508 h 30"/>
                <a:gd name="T18" fmla="*/ 798222 w 71"/>
                <a:gd name="T19" fmla="*/ 238918 h 30"/>
                <a:gd name="T20" fmla="*/ 798222 w 71"/>
                <a:gd name="T21" fmla="*/ 238918 h 30"/>
                <a:gd name="T22" fmla="*/ 798222 w 71"/>
                <a:gd name="T23" fmla="*/ 273050 h 30"/>
                <a:gd name="T24" fmla="*/ 798222 w 71"/>
                <a:gd name="T25" fmla="*/ 273050 h 30"/>
                <a:gd name="T26" fmla="*/ 764012 w 71"/>
                <a:gd name="T27" fmla="*/ 273050 h 30"/>
                <a:gd name="T28" fmla="*/ 764012 w 71"/>
                <a:gd name="T29" fmla="*/ 273050 h 30"/>
                <a:gd name="T30" fmla="*/ 570158 w 71"/>
                <a:gd name="T31" fmla="*/ 79639 h 30"/>
                <a:gd name="T32" fmla="*/ 570158 w 71"/>
                <a:gd name="T33" fmla="*/ 79639 h 30"/>
                <a:gd name="T34" fmla="*/ 444724 w 71"/>
                <a:gd name="T35" fmla="*/ 45508 h 30"/>
                <a:gd name="T36" fmla="*/ 444724 w 71"/>
                <a:gd name="T37" fmla="*/ 45508 h 30"/>
                <a:gd name="T38" fmla="*/ 239467 w 71"/>
                <a:gd name="T39" fmla="*/ 136525 h 30"/>
                <a:gd name="T40" fmla="*/ 239467 w 71"/>
                <a:gd name="T41" fmla="*/ 136525 h 30"/>
                <a:gd name="T42" fmla="*/ 45613 w 71"/>
                <a:gd name="T43" fmla="*/ 329935 h 30"/>
                <a:gd name="T44" fmla="*/ 45613 w 71"/>
                <a:gd name="T45" fmla="*/ 329935 h 30"/>
                <a:gd name="T46" fmla="*/ 45613 w 71"/>
                <a:gd name="T47" fmla="*/ 329935 h 30"/>
                <a:gd name="T48" fmla="*/ 22806 w 71"/>
                <a:gd name="T49" fmla="*/ 341312 h 30"/>
                <a:gd name="T50" fmla="*/ 22806 w 71"/>
                <a:gd name="T51" fmla="*/ 341312 h 30"/>
                <a:gd name="T52" fmla="*/ 11403 w 71"/>
                <a:gd name="T53" fmla="*/ 329935 h 3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71"/>
                <a:gd name="T82" fmla="*/ 0 h 30"/>
                <a:gd name="T83" fmla="*/ 71 w 71"/>
                <a:gd name="T84" fmla="*/ 30 h 3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71" h="30">
                  <a:moveTo>
                    <a:pt x="1" y="29"/>
                  </a:moveTo>
                  <a:cubicBezTo>
                    <a:pt x="0" y="29"/>
                    <a:pt x="0" y="28"/>
                    <a:pt x="1" y="27"/>
                  </a:cubicBezTo>
                  <a:cubicBezTo>
                    <a:pt x="1" y="27"/>
                    <a:pt x="1" y="27"/>
                    <a:pt x="1" y="27"/>
                  </a:cubicBezTo>
                  <a:cubicBezTo>
                    <a:pt x="8" y="20"/>
                    <a:pt x="10" y="16"/>
                    <a:pt x="18" y="9"/>
                  </a:cubicBezTo>
                  <a:cubicBezTo>
                    <a:pt x="18" y="9"/>
                    <a:pt x="18" y="9"/>
                    <a:pt x="18" y="9"/>
                  </a:cubicBezTo>
                  <a:cubicBezTo>
                    <a:pt x="25" y="3"/>
                    <a:pt x="32" y="0"/>
                    <a:pt x="39" y="0"/>
                  </a:cubicBezTo>
                  <a:cubicBezTo>
                    <a:pt x="39" y="0"/>
                    <a:pt x="39" y="0"/>
                    <a:pt x="39" y="0"/>
                  </a:cubicBezTo>
                  <a:cubicBezTo>
                    <a:pt x="43" y="0"/>
                    <a:pt x="48" y="2"/>
                    <a:pt x="52" y="4"/>
                  </a:cubicBezTo>
                  <a:cubicBezTo>
                    <a:pt x="52" y="4"/>
                    <a:pt x="52" y="4"/>
                    <a:pt x="52" y="4"/>
                  </a:cubicBezTo>
                  <a:cubicBezTo>
                    <a:pt x="58" y="7"/>
                    <a:pt x="65" y="15"/>
                    <a:pt x="70" y="21"/>
                  </a:cubicBezTo>
                  <a:cubicBezTo>
                    <a:pt x="70" y="21"/>
                    <a:pt x="70" y="21"/>
                    <a:pt x="70" y="21"/>
                  </a:cubicBezTo>
                  <a:cubicBezTo>
                    <a:pt x="71" y="22"/>
                    <a:pt x="71" y="23"/>
                    <a:pt x="70" y="24"/>
                  </a:cubicBezTo>
                  <a:cubicBezTo>
                    <a:pt x="70" y="24"/>
                    <a:pt x="70" y="24"/>
                    <a:pt x="70" y="24"/>
                  </a:cubicBezTo>
                  <a:cubicBezTo>
                    <a:pt x="69" y="25"/>
                    <a:pt x="68" y="25"/>
                    <a:pt x="67" y="24"/>
                  </a:cubicBezTo>
                  <a:cubicBezTo>
                    <a:pt x="67" y="24"/>
                    <a:pt x="67" y="24"/>
                    <a:pt x="67" y="24"/>
                  </a:cubicBezTo>
                  <a:cubicBezTo>
                    <a:pt x="62" y="18"/>
                    <a:pt x="55" y="10"/>
                    <a:pt x="50" y="7"/>
                  </a:cubicBezTo>
                  <a:cubicBezTo>
                    <a:pt x="50" y="7"/>
                    <a:pt x="50" y="7"/>
                    <a:pt x="50" y="7"/>
                  </a:cubicBezTo>
                  <a:cubicBezTo>
                    <a:pt x="46" y="5"/>
                    <a:pt x="43" y="4"/>
                    <a:pt x="39" y="4"/>
                  </a:cubicBezTo>
                  <a:cubicBezTo>
                    <a:pt x="39" y="4"/>
                    <a:pt x="39" y="4"/>
                    <a:pt x="39" y="4"/>
                  </a:cubicBezTo>
                  <a:cubicBezTo>
                    <a:pt x="33" y="4"/>
                    <a:pt x="28" y="6"/>
                    <a:pt x="21" y="12"/>
                  </a:cubicBezTo>
                  <a:cubicBezTo>
                    <a:pt x="21" y="12"/>
                    <a:pt x="21" y="12"/>
                    <a:pt x="21" y="12"/>
                  </a:cubicBezTo>
                  <a:cubicBezTo>
                    <a:pt x="13" y="19"/>
                    <a:pt x="11" y="22"/>
                    <a:pt x="4" y="29"/>
                  </a:cubicBezTo>
                  <a:cubicBezTo>
                    <a:pt x="4" y="29"/>
                    <a:pt x="4" y="29"/>
                    <a:pt x="4" y="29"/>
                  </a:cubicBezTo>
                  <a:cubicBezTo>
                    <a:pt x="4" y="29"/>
                    <a:pt x="4" y="29"/>
                    <a:pt x="4" y="29"/>
                  </a:cubicBezTo>
                  <a:cubicBezTo>
                    <a:pt x="3" y="30"/>
                    <a:pt x="3" y="30"/>
                    <a:pt x="2" y="30"/>
                  </a:cubicBezTo>
                  <a:cubicBezTo>
                    <a:pt x="2" y="30"/>
                    <a:pt x="2" y="30"/>
                    <a:pt x="2" y="30"/>
                  </a:cubicBezTo>
                  <a:cubicBezTo>
                    <a:pt x="2" y="30"/>
                    <a:pt x="1" y="30"/>
                    <a:pt x="1" y="29"/>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55" name="Freeform 203"/>
            <p:cNvSpPr>
              <a:spLocks/>
            </p:cNvSpPr>
            <p:nvPr/>
          </p:nvSpPr>
          <p:spPr bwMode="auto">
            <a:xfrm>
              <a:off x="7162800" y="1731962"/>
              <a:ext cx="877888" cy="431800"/>
            </a:xfrm>
            <a:custGeom>
              <a:avLst/>
              <a:gdLst>
                <a:gd name="T0" fmla="*/ 832283 w 77"/>
                <a:gd name="T1" fmla="*/ 431800 h 38"/>
                <a:gd name="T2" fmla="*/ 718272 w 77"/>
                <a:gd name="T3" fmla="*/ 204537 h 38"/>
                <a:gd name="T4" fmla="*/ 718272 w 77"/>
                <a:gd name="T5" fmla="*/ 204537 h 38"/>
                <a:gd name="T6" fmla="*/ 501650 w 77"/>
                <a:gd name="T7" fmla="*/ 45453 h 38"/>
                <a:gd name="T8" fmla="*/ 501650 w 77"/>
                <a:gd name="T9" fmla="*/ 45453 h 38"/>
                <a:gd name="T10" fmla="*/ 342034 w 77"/>
                <a:gd name="T11" fmla="*/ 102268 h 38"/>
                <a:gd name="T12" fmla="*/ 342034 w 77"/>
                <a:gd name="T13" fmla="*/ 102268 h 38"/>
                <a:gd name="T14" fmla="*/ 45605 w 77"/>
                <a:gd name="T15" fmla="*/ 420437 h 38"/>
                <a:gd name="T16" fmla="*/ 45605 w 77"/>
                <a:gd name="T17" fmla="*/ 420437 h 38"/>
                <a:gd name="T18" fmla="*/ 11401 w 77"/>
                <a:gd name="T19" fmla="*/ 431800 h 38"/>
                <a:gd name="T20" fmla="*/ 11401 w 77"/>
                <a:gd name="T21" fmla="*/ 431800 h 38"/>
                <a:gd name="T22" fmla="*/ 11401 w 77"/>
                <a:gd name="T23" fmla="*/ 397711 h 38"/>
                <a:gd name="T24" fmla="*/ 11401 w 77"/>
                <a:gd name="T25" fmla="*/ 397711 h 38"/>
                <a:gd name="T26" fmla="*/ 319232 w 77"/>
                <a:gd name="T27" fmla="*/ 56816 h 38"/>
                <a:gd name="T28" fmla="*/ 319232 w 77"/>
                <a:gd name="T29" fmla="*/ 56816 h 38"/>
                <a:gd name="T30" fmla="*/ 501650 w 77"/>
                <a:gd name="T31" fmla="*/ 11363 h 38"/>
                <a:gd name="T32" fmla="*/ 501650 w 77"/>
                <a:gd name="T33" fmla="*/ 11363 h 38"/>
                <a:gd name="T34" fmla="*/ 752475 w 77"/>
                <a:gd name="T35" fmla="*/ 181811 h 38"/>
                <a:gd name="T36" fmla="*/ 752475 w 77"/>
                <a:gd name="T37" fmla="*/ 181811 h 38"/>
                <a:gd name="T38" fmla="*/ 866487 w 77"/>
                <a:gd name="T39" fmla="*/ 397711 h 38"/>
                <a:gd name="T40" fmla="*/ 866487 w 77"/>
                <a:gd name="T41" fmla="*/ 397711 h 38"/>
                <a:gd name="T42" fmla="*/ 866487 w 77"/>
                <a:gd name="T43" fmla="*/ 431800 h 38"/>
                <a:gd name="T44" fmla="*/ 866487 w 77"/>
                <a:gd name="T45" fmla="*/ 431800 h 38"/>
                <a:gd name="T46" fmla="*/ 855086 w 77"/>
                <a:gd name="T47" fmla="*/ 431800 h 38"/>
                <a:gd name="T48" fmla="*/ 855086 w 77"/>
                <a:gd name="T49" fmla="*/ 431800 h 38"/>
                <a:gd name="T50" fmla="*/ 832283 w 77"/>
                <a:gd name="T51" fmla="*/ 431800 h 3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7"/>
                <a:gd name="T79" fmla="*/ 0 h 38"/>
                <a:gd name="T80" fmla="*/ 77 w 77"/>
                <a:gd name="T81" fmla="*/ 38 h 3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7" h="38">
                  <a:moveTo>
                    <a:pt x="73" y="38"/>
                  </a:moveTo>
                  <a:cubicBezTo>
                    <a:pt x="67" y="30"/>
                    <a:pt x="67" y="24"/>
                    <a:pt x="63" y="18"/>
                  </a:cubicBezTo>
                  <a:cubicBezTo>
                    <a:pt x="63" y="18"/>
                    <a:pt x="63" y="18"/>
                    <a:pt x="63" y="18"/>
                  </a:cubicBezTo>
                  <a:cubicBezTo>
                    <a:pt x="57" y="8"/>
                    <a:pt x="50" y="4"/>
                    <a:pt x="44" y="4"/>
                  </a:cubicBezTo>
                  <a:cubicBezTo>
                    <a:pt x="44" y="4"/>
                    <a:pt x="44" y="4"/>
                    <a:pt x="44" y="4"/>
                  </a:cubicBezTo>
                  <a:cubicBezTo>
                    <a:pt x="39" y="4"/>
                    <a:pt x="35" y="6"/>
                    <a:pt x="30" y="9"/>
                  </a:cubicBezTo>
                  <a:cubicBezTo>
                    <a:pt x="30" y="9"/>
                    <a:pt x="30" y="9"/>
                    <a:pt x="30" y="9"/>
                  </a:cubicBezTo>
                  <a:cubicBezTo>
                    <a:pt x="20" y="14"/>
                    <a:pt x="10" y="30"/>
                    <a:pt x="4" y="37"/>
                  </a:cubicBezTo>
                  <a:cubicBezTo>
                    <a:pt x="4" y="37"/>
                    <a:pt x="4" y="37"/>
                    <a:pt x="4" y="37"/>
                  </a:cubicBezTo>
                  <a:cubicBezTo>
                    <a:pt x="3" y="38"/>
                    <a:pt x="2" y="38"/>
                    <a:pt x="1" y="38"/>
                  </a:cubicBezTo>
                  <a:cubicBezTo>
                    <a:pt x="1" y="38"/>
                    <a:pt x="1" y="38"/>
                    <a:pt x="1" y="38"/>
                  </a:cubicBezTo>
                  <a:cubicBezTo>
                    <a:pt x="0" y="37"/>
                    <a:pt x="0" y="36"/>
                    <a:pt x="1" y="35"/>
                  </a:cubicBezTo>
                  <a:cubicBezTo>
                    <a:pt x="1" y="35"/>
                    <a:pt x="1" y="35"/>
                    <a:pt x="1" y="35"/>
                  </a:cubicBezTo>
                  <a:cubicBezTo>
                    <a:pt x="7" y="28"/>
                    <a:pt x="17" y="12"/>
                    <a:pt x="28" y="5"/>
                  </a:cubicBezTo>
                  <a:cubicBezTo>
                    <a:pt x="28" y="5"/>
                    <a:pt x="28" y="5"/>
                    <a:pt x="28" y="5"/>
                  </a:cubicBezTo>
                  <a:cubicBezTo>
                    <a:pt x="33" y="2"/>
                    <a:pt x="38" y="1"/>
                    <a:pt x="44" y="1"/>
                  </a:cubicBezTo>
                  <a:cubicBezTo>
                    <a:pt x="44" y="1"/>
                    <a:pt x="44" y="1"/>
                    <a:pt x="44" y="1"/>
                  </a:cubicBezTo>
                  <a:cubicBezTo>
                    <a:pt x="52" y="0"/>
                    <a:pt x="60" y="5"/>
                    <a:pt x="66" y="16"/>
                  </a:cubicBezTo>
                  <a:cubicBezTo>
                    <a:pt x="66" y="16"/>
                    <a:pt x="66" y="16"/>
                    <a:pt x="66" y="16"/>
                  </a:cubicBezTo>
                  <a:cubicBezTo>
                    <a:pt x="70" y="23"/>
                    <a:pt x="71" y="28"/>
                    <a:pt x="76" y="35"/>
                  </a:cubicBezTo>
                  <a:cubicBezTo>
                    <a:pt x="76" y="35"/>
                    <a:pt x="76" y="35"/>
                    <a:pt x="76" y="35"/>
                  </a:cubicBezTo>
                  <a:cubicBezTo>
                    <a:pt x="77" y="36"/>
                    <a:pt x="77" y="37"/>
                    <a:pt x="76" y="38"/>
                  </a:cubicBezTo>
                  <a:cubicBezTo>
                    <a:pt x="76" y="38"/>
                    <a:pt x="76" y="38"/>
                    <a:pt x="76" y="38"/>
                  </a:cubicBezTo>
                  <a:cubicBezTo>
                    <a:pt x="76" y="38"/>
                    <a:pt x="75" y="38"/>
                    <a:pt x="75" y="38"/>
                  </a:cubicBezTo>
                  <a:cubicBezTo>
                    <a:pt x="75" y="38"/>
                    <a:pt x="75" y="38"/>
                    <a:pt x="75" y="38"/>
                  </a:cubicBezTo>
                  <a:cubicBezTo>
                    <a:pt x="74" y="38"/>
                    <a:pt x="74" y="38"/>
                    <a:pt x="73" y="38"/>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56" name="Freeform 204"/>
            <p:cNvSpPr>
              <a:spLocks/>
            </p:cNvSpPr>
            <p:nvPr/>
          </p:nvSpPr>
          <p:spPr bwMode="auto">
            <a:xfrm>
              <a:off x="7321550" y="2311401"/>
              <a:ext cx="639763" cy="339725"/>
            </a:xfrm>
            <a:custGeom>
              <a:avLst/>
              <a:gdLst>
                <a:gd name="T0" fmla="*/ 0 w 56"/>
                <a:gd name="T1" fmla="*/ 317077 h 30"/>
                <a:gd name="T2" fmla="*/ 11424 w 56"/>
                <a:gd name="T3" fmla="*/ 294428 h 30"/>
                <a:gd name="T4" fmla="*/ 11424 w 56"/>
                <a:gd name="T5" fmla="*/ 294428 h 30"/>
                <a:gd name="T6" fmla="*/ 217062 w 56"/>
                <a:gd name="T7" fmla="*/ 237808 h 30"/>
                <a:gd name="T8" fmla="*/ 217062 w 56"/>
                <a:gd name="T9" fmla="*/ 237808 h 30"/>
                <a:gd name="T10" fmla="*/ 434125 w 56"/>
                <a:gd name="T11" fmla="*/ 22648 h 30"/>
                <a:gd name="T12" fmla="*/ 434125 w 56"/>
                <a:gd name="T13" fmla="*/ 22648 h 30"/>
                <a:gd name="T14" fmla="*/ 445549 w 56"/>
                <a:gd name="T15" fmla="*/ 0 h 30"/>
                <a:gd name="T16" fmla="*/ 445549 w 56"/>
                <a:gd name="T17" fmla="*/ 0 h 30"/>
                <a:gd name="T18" fmla="*/ 468398 w 56"/>
                <a:gd name="T19" fmla="*/ 11324 h 30"/>
                <a:gd name="T20" fmla="*/ 468398 w 56"/>
                <a:gd name="T21" fmla="*/ 11324 h 30"/>
                <a:gd name="T22" fmla="*/ 479822 w 56"/>
                <a:gd name="T23" fmla="*/ 33973 h 30"/>
                <a:gd name="T24" fmla="*/ 479822 w 56"/>
                <a:gd name="T25" fmla="*/ 33973 h 30"/>
                <a:gd name="T26" fmla="*/ 525520 w 56"/>
                <a:gd name="T27" fmla="*/ 67945 h 30"/>
                <a:gd name="T28" fmla="*/ 525520 w 56"/>
                <a:gd name="T29" fmla="*/ 67945 h 30"/>
                <a:gd name="T30" fmla="*/ 628339 w 56"/>
                <a:gd name="T31" fmla="*/ 147214 h 30"/>
                <a:gd name="T32" fmla="*/ 628339 w 56"/>
                <a:gd name="T33" fmla="*/ 147214 h 30"/>
                <a:gd name="T34" fmla="*/ 639763 w 56"/>
                <a:gd name="T35" fmla="*/ 181187 h 30"/>
                <a:gd name="T36" fmla="*/ 639763 w 56"/>
                <a:gd name="T37" fmla="*/ 181187 h 30"/>
                <a:gd name="T38" fmla="*/ 605490 w 56"/>
                <a:gd name="T39" fmla="*/ 181187 h 30"/>
                <a:gd name="T40" fmla="*/ 605490 w 56"/>
                <a:gd name="T41" fmla="*/ 181187 h 30"/>
                <a:gd name="T42" fmla="*/ 456974 w 56"/>
                <a:gd name="T43" fmla="*/ 67945 h 30"/>
                <a:gd name="T44" fmla="*/ 456974 w 56"/>
                <a:gd name="T45" fmla="*/ 67945 h 30"/>
                <a:gd name="T46" fmla="*/ 239911 w 56"/>
                <a:gd name="T47" fmla="*/ 283104 h 30"/>
                <a:gd name="T48" fmla="*/ 239911 w 56"/>
                <a:gd name="T49" fmla="*/ 283104 h 30"/>
                <a:gd name="T50" fmla="*/ 22849 w 56"/>
                <a:gd name="T51" fmla="*/ 339725 h 30"/>
                <a:gd name="T52" fmla="*/ 22849 w 56"/>
                <a:gd name="T53" fmla="*/ 339725 h 30"/>
                <a:gd name="T54" fmla="*/ 22849 w 56"/>
                <a:gd name="T55" fmla="*/ 339725 h 30"/>
                <a:gd name="T56" fmla="*/ 22849 w 56"/>
                <a:gd name="T57" fmla="*/ 339725 h 30"/>
                <a:gd name="T58" fmla="*/ 22849 w 56"/>
                <a:gd name="T59" fmla="*/ 339725 h 30"/>
                <a:gd name="T60" fmla="*/ 0 w 56"/>
                <a:gd name="T61" fmla="*/ 317077 h 3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6"/>
                <a:gd name="T94" fmla="*/ 0 h 30"/>
                <a:gd name="T95" fmla="*/ 56 w 56"/>
                <a:gd name="T96" fmla="*/ 30 h 3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6" h="30">
                  <a:moveTo>
                    <a:pt x="0" y="28"/>
                  </a:moveTo>
                  <a:cubicBezTo>
                    <a:pt x="0" y="27"/>
                    <a:pt x="0" y="26"/>
                    <a:pt x="1" y="26"/>
                  </a:cubicBezTo>
                  <a:cubicBezTo>
                    <a:pt x="1" y="26"/>
                    <a:pt x="1" y="26"/>
                    <a:pt x="1" y="26"/>
                  </a:cubicBezTo>
                  <a:cubicBezTo>
                    <a:pt x="5" y="26"/>
                    <a:pt x="12" y="25"/>
                    <a:pt x="19" y="21"/>
                  </a:cubicBezTo>
                  <a:cubicBezTo>
                    <a:pt x="19" y="21"/>
                    <a:pt x="19" y="21"/>
                    <a:pt x="19" y="21"/>
                  </a:cubicBezTo>
                  <a:cubicBezTo>
                    <a:pt x="27" y="18"/>
                    <a:pt x="34" y="12"/>
                    <a:pt x="38" y="2"/>
                  </a:cubicBezTo>
                  <a:cubicBezTo>
                    <a:pt x="38" y="2"/>
                    <a:pt x="38" y="2"/>
                    <a:pt x="38" y="2"/>
                  </a:cubicBezTo>
                  <a:cubicBezTo>
                    <a:pt x="38" y="1"/>
                    <a:pt x="39" y="1"/>
                    <a:pt x="39" y="0"/>
                  </a:cubicBezTo>
                  <a:cubicBezTo>
                    <a:pt x="39" y="0"/>
                    <a:pt x="39" y="0"/>
                    <a:pt x="39" y="0"/>
                  </a:cubicBezTo>
                  <a:cubicBezTo>
                    <a:pt x="40" y="0"/>
                    <a:pt x="41" y="1"/>
                    <a:pt x="41" y="1"/>
                  </a:cubicBezTo>
                  <a:cubicBezTo>
                    <a:pt x="41" y="1"/>
                    <a:pt x="41" y="1"/>
                    <a:pt x="41" y="1"/>
                  </a:cubicBezTo>
                  <a:cubicBezTo>
                    <a:pt x="41" y="1"/>
                    <a:pt x="42" y="2"/>
                    <a:pt x="42" y="3"/>
                  </a:cubicBezTo>
                  <a:cubicBezTo>
                    <a:pt x="42" y="3"/>
                    <a:pt x="42" y="3"/>
                    <a:pt x="42" y="3"/>
                  </a:cubicBezTo>
                  <a:cubicBezTo>
                    <a:pt x="43" y="3"/>
                    <a:pt x="44" y="5"/>
                    <a:pt x="46" y="6"/>
                  </a:cubicBezTo>
                  <a:cubicBezTo>
                    <a:pt x="46" y="6"/>
                    <a:pt x="46" y="6"/>
                    <a:pt x="46" y="6"/>
                  </a:cubicBezTo>
                  <a:cubicBezTo>
                    <a:pt x="48" y="8"/>
                    <a:pt x="52" y="11"/>
                    <a:pt x="55" y="13"/>
                  </a:cubicBezTo>
                  <a:cubicBezTo>
                    <a:pt x="55" y="13"/>
                    <a:pt x="55" y="13"/>
                    <a:pt x="55" y="13"/>
                  </a:cubicBezTo>
                  <a:cubicBezTo>
                    <a:pt x="56" y="13"/>
                    <a:pt x="56" y="15"/>
                    <a:pt x="56" y="16"/>
                  </a:cubicBezTo>
                  <a:cubicBezTo>
                    <a:pt x="56" y="16"/>
                    <a:pt x="56" y="16"/>
                    <a:pt x="56" y="16"/>
                  </a:cubicBezTo>
                  <a:cubicBezTo>
                    <a:pt x="55" y="17"/>
                    <a:pt x="54" y="17"/>
                    <a:pt x="53" y="16"/>
                  </a:cubicBezTo>
                  <a:cubicBezTo>
                    <a:pt x="53" y="16"/>
                    <a:pt x="53" y="16"/>
                    <a:pt x="53" y="16"/>
                  </a:cubicBezTo>
                  <a:cubicBezTo>
                    <a:pt x="48" y="14"/>
                    <a:pt x="43" y="9"/>
                    <a:pt x="40" y="6"/>
                  </a:cubicBezTo>
                  <a:cubicBezTo>
                    <a:pt x="40" y="6"/>
                    <a:pt x="40" y="6"/>
                    <a:pt x="40" y="6"/>
                  </a:cubicBezTo>
                  <a:cubicBezTo>
                    <a:pt x="36" y="16"/>
                    <a:pt x="28" y="21"/>
                    <a:pt x="21" y="25"/>
                  </a:cubicBezTo>
                  <a:cubicBezTo>
                    <a:pt x="21" y="25"/>
                    <a:pt x="21" y="25"/>
                    <a:pt x="21" y="25"/>
                  </a:cubicBezTo>
                  <a:cubicBezTo>
                    <a:pt x="13" y="29"/>
                    <a:pt x="6" y="30"/>
                    <a:pt x="2" y="30"/>
                  </a:cubicBezTo>
                  <a:cubicBezTo>
                    <a:pt x="2" y="30"/>
                    <a:pt x="2" y="30"/>
                    <a:pt x="2" y="30"/>
                  </a:cubicBezTo>
                  <a:cubicBezTo>
                    <a:pt x="2" y="30"/>
                    <a:pt x="2" y="30"/>
                    <a:pt x="2" y="30"/>
                  </a:cubicBezTo>
                  <a:cubicBezTo>
                    <a:pt x="2" y="30"/>
                    <a:pt x="2" y="30"/>
                    <a:pt x="2" y="30"/>
                  </a:cubicBezTo>
                  <a:cubicBezTo>
                    <a:pt x="2" y="30"/>
                    <a:pt x="2" y="30"/>
                    <a:pt x="2" y="30"/>
                  </a:cubicBezTo>
                  <a:cubicBezTo>
                    <a:pt x="0" y="30"/>
                    <a:pt x="0" y="29"/>
                    <a:pt x="0" y="28"/>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57" name="Freeform 205"/>
            <p:cNvSpPr>
              <a:spLocks/>
            </p:cNvSpPr>
            <p:nvPr/>
          </p:nvSpPr>
          <p:spPr bwMode="auto">
            <a:xfrm>
              <a:off x="7516813" y="2719388"/>
              <a:ext cx="169863" cy="57150"/>
            </a:xfrm>
            <a:custGeom>
              <a:avLst/>
              <a:gdLst>
                <a:gd name="T0" fmla="*/ 0 w 15"/>
                <a:gd name="T1" fmla="*/ 45720 h 5"/>
                <a:gd name="T2" fmla="*/ 11324 w 15"/>
                <a:gd name="T3" fmla="*/ 11430 h 5"/>
                <a:gd name="T4" fmla="*/ 11324 w 15"/>
                <a:gd name="T5" fmla="*/ 11430 h 5"/>
                <a:gd name="T6" fmla="*/ 79269 w 15"/>
                <a:gd name="T7" fmla="*/ 0 h 5"/>
                <a:gd name="T8" fmla="*/ 79269 w 15"/>
                <a:gd name="T9" fmla="*/ 0 h 5"/>
                <a:gd name="T10" fmla="*/ 147215 w 15"/>
                <a:gd name="T11" fmla="*/ 11430 h 5"/>
                <a:gd name="T12" fmla="*/ 147215 w 15"/>
                <a:gd name="T13" fmla="*/ 11430 h 5"/>
                <a:gd name="T14" fmla="*/ 158539 w 15"/>
                <a:gd name="T15" fmla="*/ 34290 h 5"/>
                <a:gd name="T16" fmla="*/ 158539 w 15"/>
                <a:gd name="T17" fmla="*/ 34290 h 5"/>
                <a:gd name="T18" fmla="*/ 135890 w 15"/>
                <a:gd name="T19" fmla="*/ 57150 h 5"/>
                <a:gd name="T20" fmla="*/ 135890 w 15"/>
                <a:gd name="T21" fmla="*/ 57150 h 5"/>
                <a:gd name="T22" fmla="*/ 79269 w 15"/>
                <a:gd name="T23" fmla="*/ 45720 h 5"/>
                <a:gd name="T24" fmla="*/ 79269 w 15"/>
                <a:gd name="T25" fmla="*/ 45720 h 5"/>
                <a:gd name="T26" fmla="*/ 33973 w 15"/>
                <a:gd name="T27" fmla="*/ 57150 h 5"/>
                <a:gd name="T28" fmla="*/ 33973 w 15"/>
                <a:gd name="T29" fmla="*/ 57150 h 5"/>
                <a:gd name="T30" fmla="*/ 33973 w 15"/>
                <a:gd name="T31" fmla="*/ 57150 h 5"/>
                <a:gd name="T32" fmla="*/ 22648 w 15"/>
                <a:gd name="T33" fmla="*/ 57150 h 5"/>
                <a:gd name="T34" fmla="*/ 22648 w 15"/>
                <a:gd name="T35" fmla="*/ 57150 h 5"/>
                <a:gd name="T36" fmla="*/ 0 w 15"/>
                <a:gd name="T37" fmla="*/ 45720 h 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
                <a:gd name="T58" fmla="*/ 0 h 5"/>
                <a:gd name="T59" fmla="*/ 15 w 15"/>
                <a:gd name="T60" fmla="*/ 5 h 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 h="5">
                  <a:moveTo>
                    <a:pt x="0" y="4"/>
                  </a:moveTo>
                  <a:cubicBezTo>
                    <a:pt x="0" y="3"/>
                    <a:pt x="0" y="2"/>
                    <a:pt x="1" y="1"/>
                  </a:cubicBezTo>
                  <a:cubicBezTo>
                    <a:pt x="1" y="1"/>
                    <a:pt x="1" y="1"/>
                    <a:pt x="1" y="1"/>
                  </a:cubicBezTo>
                  <a:cubicBezTo>
                    <a:pt x="3" y="0"/>
                    <a:pt x="5" y="0"/>
                    <a:pt x="7" y="0"/>
                  </a:cubicBezTo>
                  <a:cubicBezTo>
                    <a:pt x="7" y="0"/>
                    <a:pt x="7" y="0"/>
                    <a:pt x="7" y="0"/>
                  </a:cubicBezTo>
                  <a:cubicBezTo>
                    <a:pt x="10" y="0"/>
                    <a:pt x="12" y="0"/>
                    <a:pt x="13" y="1"/>
                  </a:cubicBezTo>
                  <a:cubicBezTo>
                    <a:pt x="13" y="1"/>
                    <a:pt x="13" y="1"/>
                    <a:pt x="13" y="1"/>
                  </a:cubicBezTo>
                  <a:cubicBezTo>
                    <a:pt x="14" y="1"/>
                    <a:pt x="15" y="2"/>
                    <a:pt x="14" y="3"/>
                  </a:cubicBezTo>
                  <a:cubicBezTo>
                    <a:pt x="14" y="3"/>
                    <a:pt x="14" y="3"/>
                    <a:pt x="14" y="3"/>
                  </a:cubicBezTo>
                  <a:cubicBezTo>
                    <a:pt x="14" y="4"/>
                    <a:pt x="13" y="5"/>
                    <a:pt x="12" y="5"/>
                  </a:cubicBezTo>
                  <a:cubicBezTo>
                    <a:pt x="12" y="5"/>
                    <a:pt x="12" y="5"/>
                    <a:pt x="12" y="5"/>
                  </a:cubicBezTo>
                  <a:cubicBezTo>
                    <a:pt x="11" y="4"/>
                    <a:pt x="9" y="4"/>
                    <a:pt x="7" y="4"/>
                  </a:cubicBezTo>
                  <a:cubicBezTo>
                    <a:pt x="7" y="4"/>
                    <a:pt x="7" y="4"/>
                    <a:pt x="7" y="4"/>
                  </a:cubicBezTo>
                  <a:cubicBezTo>
                    <a:pt x="6" y="4"/>
                    <a:pt x="4" y="4"/>
                    <a:pt x="3" y="5"/>
                  </a:cubicBezTo>
                  <a:cubicBezTo>
                    <a:pt x="3" y="5"/>
                    <a:pt x="3" y="5"/>
                    <a:pt x="3" y="5"/>
                  </a:cubicBezTo>
                  <a:cubicBezTo>
                    <a:pt x="3" y="5"/>
                    <a:pt x="3" y="5"/>
                    <a:pt x="3" y="5"/>
                  </a:cubicBezTo>
                  <a:cubicBezTo>
                    <a:pt x="2" y="5"/>
                    <a:pt x="2" y="5"/>
                    <a:pt x="2" y="5"/>
                  </a:cubicBezTo>
                  <a:cubicBezTo>
                    <a:pt x="2" y="5"/>
                    <a:pt x="2" y="5"/>
                    <a:pt x="2" y="5"/>
                  </a:cubicBezTo>
                  <a:cubicBezTo>
                    <a:pt x="1" y="5"/>
                    <a:pt x="0" y="5"/>
                    <a:pt x="0" y="4"/>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grpSp>
      <p:sp>
        <p:nvSpPr>
          <p:cNvPr id="428" name="Freeform 575"/>
          <p:cNvSpPr>
            <a:spLocks noEditPoints="1"/>
          </p:cNvSpPr>
          <p:nvPr/>
        </p:nvSpPr>
        <p:spPr bwMode="auto">
          <a:xfrm>
            <a:off x="8350556" y="4476947"/>
            <a:ext cx="1053058" cy="2129222"/>
          </a:xfrm>
          <a:custGeom>
            <a:avLst/>
            <a:gdLst>
              <a:gd name="T0" fmla="*/ 156 w 180"/>
              <a:gd name="T1" fmla="*/ 0 h 364"/>
              <a:gd name="T2" fmla="*/ 0 w 180"/>
              <a:gd name="T3" fmla="*/ 0 h 364"/>
              <a:gd name="T4" fmla="*/ 0 w 180"/>
              <a:gd name="T5" fmla="*/ 340 h 364"/>
              <a:gd name="T6" fmla="*/ 24 w 180"/>
              <a:gd name="T7" fmla="*/ 364 h 364"/>
              <a:gd name="T8" fmla="*/ 180 w 180"/>
              <a:gd name="T9" fmla="*/ 364 h 364"/>
              <a:gd name="T10" fmla="*/ 180 w 180"/>
              <a:gd name="T11" fmla="*/ 24 h 364"/>
              <a:gd name="T12" fmla="*/ 156 w 180"/>
              <a:gd name="T13" fmla="*/ 0 h 364"/>
              <a:gd name="T14" fmla="*/ 76 w 180"/>
              <a:gd name="T15" fmla="*/ 292 h 364"/>
              <a:gd name="T16" fmla="*/ 28 w 180"/>
              <a:gd name="T17" fmla="*/ 292 h 364"/>
              <a:gd name="T18" fmla="*/ 28 w 180"/>
              <a:gd name="T19" fmla="*/ 244 h 364"/>
              <a:gd name="T20" fmla="*/ 76 w 180"/>
              <a:gd name="T21" fmla="*/ 244 h 364"/>
              <a:gd name="T22" fmla="*/ 76 w 180"/>
              <a:gd name="T23" fmla="*/ 292 h 364"/>
              <a:gd name="T24" fmla="*/ 76 w 180"/>
              <a:gd name="T25" fmla="*/ 220 h 364"/>
              <a:gd name="T26" fmla="*/ 28 w 180"/>
              <a:gd name="T27" fmla="*/ 220 h 364"/>
              <a:gd name="T28" fmla="*/ 28 w 180"/>
              <a:gd name="T29" fmla="*/ 172 h 364"/>
              <a:gd name="T30" fmla="*/ 76 w 180"/>
              <a:gd name="T31" fmla="*/ 172 h 364"/>
              <a:gd name="T32" fmla="*/ 76 w 180"/>
              <a:gd name="T33" fmla="*/ 220 h 364"/>
              <a:gd name="T34" fmla="*/ 76 w 180"/>
              <a:gd name="T35" fmla="*/ 148 h 364"/>
              <a:gd name="T36" fmla="*/ 28 w 180"/>
              <a:gd name="T37" fmla="*/ 148 h 364"/>
              <a:gd name="T38" fmla="*/ 28 w 180"/>
              <a:gd name="T39" fmla="*/ 100 h 364"/>
              <a:gd name="T40" fmla="*/ 76 w 180"/>
              <a:gd name="T41" fmla="*/ 100 h 364"/>
              <a:gd name="T42" fmla="*/ 76 w 180"/>
              <a:gd name="T43" fmla="*/ 148 h 364"/>
              <a:gd name="T44" fmla="*/ 76 w 180"/>
              <a:gd name="T45" fmla="*/ 76 h 364"/>
              <a:gd name="T46" fmla="*/ 28 w 180"/>
              <a:gd name="T47" fmla="*/ 76 h 364"/>
              <a:gd name="T48" fmla="*/ 28 w 180"/>
              <a:gd name="T49" fmla="*/ 28 h 364"/>
              <a:gd name="T50" fmla="*/ 76 w 180"/>
              <a:gd name="T51" fmla="*/ 28 h 364"/>
              <a:gd name="T52" fmla="*/ 76 w 180"/>
              <a:gd name="T53" fmla="*/ 76 h 364"/>
              <a:gd name="T54" fmla="*/ 152 w 180"/>
              <a:gd name="T55" fmla="*/ 220 h 364"/>
              <a:gd name="T56" fmla="*/ 104 w 180"/>
              <a:gd name="T57" fmla="*/ 220 h 364"/>
              <a:gd name="T58" fmla="*/ 104 w 180"/>
              <a:gd name="T59" fmla="*/ 172 h 364"/>
              <a:gd name="T60" fmla="*/ 152 w 180"/>
              <a:gd name="T61" fmla="*/ 172 h 364"/>
              <a:gd name="T62" fmla="*/ 152 w 180"/>
              <a:gd name="T63" fmla="*/ 220 h 364"/>
              <a:gd name="T64" fmla="*/ 152 w 180"/>
              <a:gd name="T65" fmla="*/ 148 h 364"/>
              <a:gd name="T66" fmla="*/ 104 w 180"/>
              <a:gd name="T67" fmla="*/ 148 h 364"/>
              <a:gd name="T68" fmla="*/ 104 w 180"/>
              <a:gd name="T69" fmla="*/ 100 h 364"/>
              <a:gd name="T70" fmla="*/ 152 w 180"/>
              <a:gd name="T71" fmla="*/ 100 h 364"/>
              <a:gd name="T72" fmla="*/ 152 w 180"/>
              <a:gd name="T73" fmla="*/ 148 h 364"/>
              <a:gd name="T74" fmla="*/ 152 w 180"/>
              <a:gd name="T75" fmla="*/ 76 h 364"/>
              <a:gd name="T76" fmla="*/ 104 w 180"/>
              <a:gd name="T77" fmla="*/ 76 h 364"/>
              <a:gd name="T78" fmla="*/ 104 w 180"/>
              <a:gd name="T79" fmla="*/ 28 h 364"/>
              <a:gd name="T80" fmla="*/ 152 w 180"/>
              <a:gd name="T81" fmla="*/ 28 h 364"/>
              <a:gd name="T82" fmla="*/ 152 w 180"/>
              <a:gd name="T83" fmla="*/ 76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0" h="364">
                <a:moveTo>
                  <a:pt x="156" y="0"/>
                </a:moveTo>
                <a:cubicBezTo>
                  <a:pt x="0" y="0"/>
                  <a:pt x="0" y="0"/>
                  <a:pt x="0" y="0"/>
                </a:cubicBezTo>
                <a:cubicBezTo>
                  <a:pt x="0" y="340"/>
                  <a:pt x="0" y="340"/>
                  <a:pt x="0" y="340"/>
                </a:cubicBezTo>
                <a:cubicBezTo>
                  <a:pt x="0" y="353"/>
                  <a:pt x="10" y="364"/>
                  <a:pt x="24" y="364"/>
                </a:cubicBezTo>
                <a:cubicBezTo>
                  <a:pt x="180" y="364"/>
                  <a:pt x="180" y="364"/>
                  <a:pt x="180" y="364"/>
                </a:cubicBezTo>
                <a:cubicBezTo>
                  <a:pt x="180" y="24"/>
                  <a:pt x="180" y="24"/>
                  <a:pt x="180" y="24"/>
                </a:cubicBezTo>
                <a:cubicBezTo>
                  <a:pt x="180" y="11"/>
                  <a:pt x="169" y="0"/>
                  <a:pt x="156" y="0"/>
                </a:cubicBezTo>
                <a:moveTo>
                  <a:pt x="76" y="292"/>
                </a:moveTo>
                <a:cubicBezTo>
                  <a:pt x="28" y="292"/>
                  <a:pt x="28" y="292"/>
                  <a:pt x="28" y="292"/>
                </a:cubicBezTo>
                <a:cubicBezTo>
                  <a:pt x="28" y="244"/>
                  <a:pt x="28" y="244"/>
                  <a:pt x="28" y="244"/>
                </a:cubicBezTo>
                <a:cubicBezTo>
                  <a:pt x="76" y="244"/>
                  <a:pt x="76" y="244"/>
                  <a:pt x="76" y="244"/>
                </a:cubicBezTo>
                <a:lnTo>
                  <a:pt x="76" y="292"/>
                </a:lnTo>
                <a:close/>
                <a:moveTo>
                  <a:pt x="76" y="220"/>
                </a:moveTo>
                <a:cubicBezTo>
                  <a:pt x="28" y="220"/>
                  <a:pt x="28" y="220"/>
                  <a:pt x="28" y="220"/>
                </a:cubicBezTo>
                <a:cubicBezTo>
                  <a:pt x="28" y="172"/>
                  <a:pt x="28" y="172"/>
                  <a:pt x="28" y="172"/>
                </a:cubicBezTo>
                <a:cubicBezTo>
                  <a:pt x="76" y="172"/>
                  <a:pt x="76" y="172"/>
                  <a:pt x="76" y="172"/>
                </a:cubicBezTo>
                <a:lnTo>
                  <a:pt x="76" y="220"/>
                </a:lnTo>
                <a:close/>
                <a:moveTo>
                  <a:pt x="76" y="148"/>
                </a:moveTo>
                <a:cubicBezTo>
                  <a:pt x="28" y="148"/>
                  <a:pt x="28" y="148"/>
                  <a:pt x="28" y="148"/>
                </a:cubicBezTo>
                <a:cubicBezTo>
                  <a:pt x="28" y="100"/>
                  <a:pt x="28" y="100"/>
                  <a:pt x="28" y="100"/>
                </a:cubicBezTo>
                <a:cubicBezTo>
                  <a:pt x="76" y="100"/>
                  <a:pt x="76" y="100"/>
                  <a:pt x="76" y="100"/>
                </a:cubicBezTo>
                <a:lnTo>
                  <a:pt x="76" y="148"/>
                </a:lnTo>
                <a:close/>
                <a:moveTo>
                  <a:pt x="76" y="76"/>
                </a:moveTo>
                <a:cubicBezTo>
                  <a:pt x="28" y="76"/>
                  <a:pt x="28" y="76"/>
                  <a:pt x="28" y="76"/>
                </a:cubicBezTo>
                <a:cubicBezTo>
                  <a:pt x="28" y="28"/>
                  <a:pt x="28" y="28"/>
                  <a:pt x="28" y="28"/>
                </a:cubicBezTo>
                <a:cubicBezTo>
                  <a:pt x="76" y="28"/>
                  <a:pt x="76" y="28"/>
                  <a:pt x="76" y="28"/>
                </a:cubicBezTo>
                <a:lnTo>
                  <a:pt x="76" y="76"/>
                </a:lnTo>
                <a:close/>
                <a:moveTo>
                  <a:pt x="152" y="220"/>
                </a:moveTo>
                <a:cubicBezTo>
                  <a:pt x="104" y="220"/>
                  <a:pt x="104" y="220"/>
                  <a:pt x="104" y="220"/>
                </a:cubicBezTo>
                <a:cubicBezTo>
                  <a:pt x="104" y="172"/>
                  <a:pt x="104" y="172"/>
                  <a:pt x="104" y="172"/>
                </a:cubicBezTo>
                <a:cubicBezTo>
                  <a:pt x="152" y="172"/>
                  <a:pt x="152" y="172"/>
                  <a:pt x="152" y="172"/>
                </a:cubicBezTo>
                <a:lnTo>
                  <a:pt x="152" y="220"/>
                </a:lnTo>
                <a:close/>
                <a:moveTo>
                  <a:pt x="152" y="148"/>
                </a:moveTo>
                <a:cubicBezTo>
                  <a:pt x="104" y="148"/>
                  <a:pt x="104" y="148"/>
                  <a:pt x="104" y="148"/>
                </a:cubicBezTo>
                <a:cubicBezTo>
                  <a:pt x="104" y="100"/>
                  <a:pt x="104" y="100"/>
                  <a:pt x="104" y="100"/>
                </a:cubicBezTo>
                <a:cubicBezTo>
                  <a:pt x="152" y="100"/>
                  <a:pt x="152" y="100"/>
                  <a:pt x="152" y="100"/>
                </a:cubicBezTo>
                <a:lnTo>
                  <a:pt x="152" y="148"/>
                </a:lnTo>
                <a:close/>
                <a:moveTo>
                  <a:pt x="152" y="76"/>
                </a:moveTo>
                <a:cubicBezTo>
                  <a:pt x="104" y="76"/>
                  <a:pt x="104" y="76"/>
                  <a:pt x="104" y="76"/>
                </a:cubicBezTo>
                <a:cubicBezTo>
                  <a:pt x="104" y="28"/>
                  <a:pt x="104" y="28"/>
                  <a:pt x="104" y="28"/>
                </a:cubicBezTo>
                <a:cubicBezTo>
                  <a:pt x="152" y="28"/>
                  <a:pt x="152" y="28"/>
                  <a:pt x="152" y="28"/>
                </a:cubicBezTo>
                <a:lnTo>
                  <a:pt x="152" y="76"/>
                </a:lnTo>
                <a:close/>
              </a:path>
            </a:pathLst>
          </a:custGeom>
          <a:solidFill>
            <a:schemeClr val="accent4">
              <a:lumMod val="40000"/>
              <a:lumOff val="60000"/>
            </a:schemeClr>
          </a:solidFill>
          <a:ln>
            <a:noFill/>
          </a:ln>
        </p:spPr>
        <p:txBody>
          <a:bodyPr vert="horz" wrap="square" lIns="129909" tIns="64954" rIns="129909" bIns="64954" numCol="1" anchor="t" anchorCtr="0" compatLnSpc="1">
            <a:prstTxWarp prst="textNoShape">
              <a:avLst/>
            </a:prstTxWarp>
          </a:bodyPr>
          <a:lstStyle/>
          <a:p>
            <a:endParaRPr lang="en-US">
              <a:latin typeface="微软雅黑" pitchFamily="34" charset="-122"/>
              <a:ea typeface="微软雅黑" pitchFamily="34" charset="-122"/>
            </a:endParaRPr>
          </a:p>
        </p:txBody>
      </p:sp>
      <p:grpSp>
        <p:nvGrpSpPr>
          <p:cNvPr id="6" name="Group 5"/>
          <p:cNvGrpSpPr/>
          <p:nvPr/>
        </p:nvGrpSpPr>
        <p:grpSpPr>
          <a:xfrm>
            <a:off x="3000810" y="1414046"/>
            <a:ext cx="1481740" cy="1221955"/>
            <a:chOff x="2113298" y="994251"/>
            <a:chExt cx="1043504" cy="859187"/>
          </a:xfrm>
        </p:grpSpPr>
        <p:grpSp>
          <p:nvGrpSpPr>
            <p:cNvPr id="405" name="Group 404"/>
            <p:cNvGrpSpPr/>
            <p:nvPr/>
          </p:nvGrpSpPr>
          <p:grpSpPr>
            <a:xfrm>
              <a:off x="2113298" y="994251"/>
              <a:ext cx="1043504" cy="321946"/>
              <a:chOff x="161386" y="954156"/>
              <a:chExt cx="314542" cy="387627"/>
            </a:xfrm>
          </p:grpSpPr>
          <p:sp>
            <p:nvSpPr>
              <p:cNvPr id="406" name="Round Diagonal Corner Rectangle 405"/>
              <p:cNvSpPr/>
              <p:nvPr/>
            </p:nvSpPr>
            <p:spPr>
              <a:xfrm flipV="1">
                <a:off x="171035" y="954156"/>
                <a:ext cx="291924" cy="387626"/>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00" dirty="0">
                  <a:latin typeface="微软雅黑" pitchFamily="34" charset="-122"/>
                  <a:ea typeface="微软雅黑" pitchFamily="34" charset="-122"/>
                </a:endParaRPr>
              </a:p>
            </p:txBody>
          </p:sp>
          <p:sp>
            <p:nvSpPr>
              <p:cNvPr id="407" name="Round Diagonal Corner Rectangle 406"/>
              <p:cNvSpPr/>
              <p:nvPr/>
            </p:nvSpPr>
            <p:spPr>
              <a:xfrm>
                <a:off x="161386" y="954157"/>
                <a:ext cx="314542" cy="387626"/>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2300" dirty="0">
                    <a:latin typeface="微软雅黑" pitchFamily="34" charset="-122"/>
                    <a:ea typeface="微软雅黑" pitchFamily="34" charset="-122"/>
                  </a:rPr>
                  <a:t>研究</a:t>
                </a:r>
                <a:endParaRPr lang="en-US" sz="2300" dirty="0">
                  <a:latin typeface="微软雅黑" pitchFamily="34" charset="-122"/>
                  <a:ea typeface="微软雅黑" pitchFamily="34" charset="-122"/>
                </a:endParaRPr>
              </a:p>
            </p:txBody>
          </p:sp>
        </p:grpSp>
        <p:sp>
          <p:nvSpPr>
            <p:cNvPr id="422" name="Freeform 248"/>
            <p:cNvSpPr>
              <a:spLocks noEditPoints="1"/>
            </p:cNvSpPr>
            <p:nvPr/>
          </p:nvSpPr>
          <p:spPr bwMode="auto">
            <a:xfrm>
              <a:off x="2246142" y="1370083"/>
              <a:ext cx="492004" cy="483355"/>
            </a:xfrm>
            <a:custGeom>
              <a:avLst/>
              <a:gdLst>
                <a:gd name="T0" fmla="*/ 136 w 216"/>
                <a:gd name="T1" fmla="*/ 134 h 212"/>
                <a:gd name="T2" fmla="*/ 116 w 216"/>
                <a:gd name="T3" fmla="*/ 130 h 212"/>
                <a:gd name="T4" fmla="*/ 87 w 216"/>
                <a:gd name="T5" fmla="*/ 101 h 212"/>
                <a:gd name="T6" fmla="*/ 83 w 216"/>
                <a:gd name="T7" fmla="*/ 81 h 212"/>
                <a:gd name="T8" fmla="*/ 136 w 216"/>
                <a:gd name="T9" fmla="*/ 28 h 212"/>
                <a:gd name="T10" fmla="*/ 189 w 216"/>
                <a:gd name="T11" fmla="*/ 81 h 212"/>
                <a:gd name="T12" fmla="*/ 136 w 216"/>
                <a:gd name="T13" fmla="*/ 134 h 212"/>
                <a:gd name="T14" fmla="*/ 136 w 216"/>
                <a:gd name="T15" fmla="*/ 0 h 212"/>
                <a:gd name="T16" fmla="*/ 56 w 216"/>
                <a:gd name="T17" fmla="*/ 81 h 212"/>
                <a:gd name="T18" fmla="*/ 67 w 216"/>
                <a:gd name="T19" fmla="*/ 121 h 212"/>
                <a:gd name="T20" fmla="*/ 15 w 216"/>
                <a:gd name="T21" fmla="*/ 173 h 212"/>
                <a:gd name="T22" fmla="*/ 15 w 216"/>
                <a:gd name="T23" fmla="*/ 173 h 212"/>
                <a:gd name="T24" fmla="*/ 0 w 216"/>
                <a:gd name="T25" fmla="*/ 189 h 212"/>
                <a:gd name="T26" fmla="*/ 17 w 216"/>
                <a:gd name="T27" fmla="*/ 207 h 212"/>
                <a:gd name="T28" fmla="*/ 39 w 216"/>
                <a:gd name="T29" fmla="*/ 207 h 212"/>
                <a:gd name="T30" fmla="*/ 96 w 216"/>
                <a:gd name="T31" fmla="*/ 150 h 212"/>
                <a:gd name="T32" fmla="*/ 136 w 216"/>
                <a:gd name="T33" fmla="*/ 161 h 212"/>
                <a:gd name="T34" fmla="*/ 216 w 216"/>
                <a:gd name="T35" fmla="*/ 81 h 212"/>
                <a:gd name="T36" fmla="*/ 136 w 216"/>
                <a:gd name="T3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6" h="212">
                  <a:moveTo>
                    <a:pt x="136" y="134"/>
                  </a:moveTo>
                  <a:cubicBezTo>
                    <a:pt x="129" y="134"/>
                    <a:pt x="122" y="132"/>
                    <a:pt x="116" y="130"/>
                  </a:cubicBezTo>
                  <a:cubicBezTo>
                    <a:pt x="103" y="124"/>
                    <a:pt x="93" y="114"/>
                    <a:pt x="87" y="101"/>
                  </a:cubicBezTo>
                  <a:cubicBezTo>
                    <a:pt x="84" y="95"/>
                    <a:pt x="83" y="88"/>
                    <a:pt x="83" y="81"/>
                  </a:cubicBezTo>
                  <a:cubicBezTo>
                    <a:pt x="83" y="51"/>
                    <a:pt x="107" y="28"/>
                    <a:pt x="136" y="28"/>
                  </a:cubicBezTo>
                  <a:cubicBezTo>
                    <a:pt x="165" y="28"/>
                    <a:pt x="189" y="51"/>
                    <a:pt x="189" y="81"/>
                  </a:cubicBezTo>
                  <a:cubicBezTo>
                    <a:pt x="189" y="110"/>
                    <a:pt x="165" y="134"/>
                    <a:pt x="136" y="134"/>
                  </a:cubicBezTo>
                  <a:moveTo>
                    <a:pt x="136" y="0"/>
                  </a:moveTo>
                  <a:cubicBezTo>
                    <a:pt x="92" y="0"/>
                    <a:pt x="56" y="36"/>
                    <a:pt x="56" y="81"/>
                  </a:cubicBezTo>
                  <a:cubicBezTo>
                    <a:pt x="56" y="95"/>
                    <a:pt x="60" y="109"/>
                    <a:pt x="67" y="121"/>
                  </a:cubicBezTo>
                  <a:cubicBezTo>
                    <a:pt x="15" y="173"/>
                    <a:pt x="15" y="173"/>
                    <a:pt x="15" y="173"/>
                  </a:cubicBezTo>
                  <a:cubicBezTo>
                    <a:pt x="15" y="173"/>
                    <a:pt x="15" y="173"/>
                    <a:pt x="15" y="173"/>
                  </a:cubicBezTo>
                  <a:cubicBezTo>
                    <a:pt x="0" y="189"/>
                    <a:pt x="0" y="189"/>
                    <a:pt x="0" y="189"/>
                  </a:cubicBezTo>
                  <a:cubicBezTo>
                    <a:pt x="17" y="207"/>
                    <a:pt x="17" y="207"/>
                    <a:pt x="17" y="207"/>
                  </a:cubicBezTo>
                  <a:cubicBezTo>
                    <a:pt x="23" y="212"/>
                    <a:pt x="33" y="212"/>
                    <a:pt x="39" y="207"/>
                  </a:cubicBezTo>
                  <a:cubicBezTo>
                    <a:pt x="96" y="150"/>
                    <a:pt x="96" y="150"/>
                    <a:pt x="96" y="150"/>
                  </a:cubicBezTo>
                  <a:cubicBezTo>
                    <a:pt x="108" y="157"/>
                    <a:pt x="121" y="161"/>
                    <a:pt x="136" y="161"/>
                  </a:cubicBezTo>
                  <a:cubicBezTo>
                    <a:pt x="180" y="161"/>
                    <a:pt x="216" y="125"/>
                    <a:pt x="216" y="81"/>
                  </a:cubicBezTo>
                  <a:cubicBezTo>
                    <a:pt x="216" y="36"/>
                    <a:pt x="180" y="0"/>
                    <a:pt x="136" y="0"/>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nvGrpSpPr>
          <p:cNvPr id="432" name="Group 431"/>
          <p:cNvGrpSpPr/>
          <p:nvPr/>
        </p:nvGrpSpPr>
        <p:grpSpPr>
          <a:xfrm>
            <a:off x="3055350" y="5170062"/>
            <a:ext cx="1004809" cy="1200649"/>
            <a:chOff x="4008438" y="1887538"/>
            <a:chExt cx="1135063" cy="1354138"/>
          </a:xfrm>
          <a:solidFill>
            <a:srgbClr val="000000"/>
          </a:solidFill>
        </p:grpSpPr>
        <p:sp>
          <p:nvSpPr>
            <p:cNvPr id="433" name="Oval 796"/>
            <p:cNvSpPr>
              <a:spLocks noChangeArrowheads="1"/>
            </p:cNvSpPr>
            <p:nvPr/>
          </p:nvSpPr>
          <p:spPr bwMode="auto">
            <a:xfrm>
              <a:off x="4094163" y="2252663"/>
              <a:ext cx="184150" cy="195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34" name="Freeform 797"/>
            <p:cNvSpPr>
              <a:spLocks/>
            </p:cNvSpPr>
            <p:nvPr/>
          </p:nvSpPr>
          <p:spPr bwMode="auto">
            <a:xfrm>
              <a:off x="4008438" y="2478088"/>
              <a:ext cx="357188" cy="665163"/>
            </a:xfrm>
            <a:custGeom>
              <a:avLst/>
              <a:gdLst>
                <a:gd name="T0" fmla="*/ 75 w 95"/>
                <a:gd name="T1" fmla="*/ 0 h 177"/>
                <a:gd name="T2" fmla="*/ 48 w 95"/>
                <a:gd name="T3" fmla="*/ 0 h 177"/>
                <a:gd name="T4" fmla="*/ 20 w 95"/>
                <a:gd name="T5" fmla="*/ 0 h 177"/>
                <a:gd name="T6" fmla="*/ 0 w 95"/>
                <a:gd name="T7" fmla="*/ 21 h 177"/>
                <a:gd name="T8" fmla="*/ 0 w 95"/>
                <a:gd name="T9" fmla="*/ 24 h 177"/>
                <a:gd name="T10" fmla="*/ 0 w 95"/>
                <a:gd name="T11" fmla="*/ 40 h 177"/>
                <a:gd name="T12" fmla="*/ 0 w 95"/>
                <a:gd name="T13" fmla="*/ 55 h 177"/>
                <a:gd name="T14" fmla="*/ 0 w 95"/>
                <a:gd name="T15" fmla="*/ 83 h 177"/>
                <a:gd name="T16" fmla="*/ 0 w 95"/>
                <a:gd name="T17" fmla="*/ 83 h 177"/>
                <a:gd name="T18" fmla="*/ 8 w 95"/>
                <a:gd name="T19" fmla="*/ 91 h 177"/>
                <a:gd name="T20" fmla="*/ 16 w 95"/>
                <a:gd name="T21" fmla="*/ 84 h 177"/>
                <a:gd name="T22" fmla="*/ 16 w 95"/>
                <a:gd name="T23" fmla="*/ 83 h 177"/>
                <a:gd name="T24" fmla="*/ 16 w 95"/>
                <a:gd name="T25" fmla="*/ 27 h 177"/>
                <a:gd name="T26" fmla="*/ 18 w 95"/>
                <a:gd name="T27" fmla="*/ 25 h 177"/>
                <a:gd name="T28" fmla="*/ 20 w 95"/>
                <a:gd name="T29" fmla="*/ 27 h 177"/>
                <a:gd name="T30" fmla="*/ 20 w 95"/>
                <a:gd name="T31" fmla="*/ 87 h 177"/>
                <a:gd name="T32" fmla="*/ 20 w 95"/>
                <a:gd name="T33" fmla="*/ 95 h 177"/>
                <a:gd name="T34" fmla="*/ 20 w 95"/>
                <a:gd name="T35" fmla="*/ 96 h 177"/>
                <a:gd name="T36" fmla="*/ 20 w 95"/>
                <a:gd name="T37" fmla="*/ 96 h 177"/>
                <a:gd name="T38" fmla="*/ 26 w 95"/>
                <a:gd name="T39" fmla="*/ 163 h 177"/>
                <a:gd name="T40" fmla="*/ 40 w 95"/>
                <a:gd name="T41" fmla="*/ 177 h 177"/>
                <a:gd name="T42" fmla="*/ 48 w 95"/>
                <a:gd name="T43" fmla="*/ 177 h 177"/>
                <a:gd name="T44" fmla="*/ 55 w 95"/>
                <a:gd name="T45" fmla="*/ 177 h 177"/>
                <a:gd name="T46" fmla="*/ 69 w 95"/>
                <a:gd name="T47" fmla="*/ 163 h 177"/>
                <a:gd name="T48" fmla="*/ 75 w 95"/>
                <a:gd name="T49" fmla="*/ 96 h 177"/>
                <a:gd name="T50" fmla="*/ 75 w 95"/>
                <a:gd name="T51" fmla="*/ 96 h 177"/>
                <a:gd name="T52" fmla="*/ 75 w 95"/>
                <a:gd name="T53" fmla="*/ 95 h 177"/>
                <a:gd name="T54" fmla="*/ 75 w 95"/>
                <a:gd name="T55" fmla="*/ 87 h 177"/>
                <a:gd name="T56" fmla="*/ 75 w 95"/>
                <a:gd name="T57" fmla="*/ 27 h 177"/>
                <a:gd name="T58" fmla="*/ 77 w 95"/>
                <a:gd name="T59" fmla="*/ 25 h 177"/>
                <a:gd name="T60" fmla="*/ 79 w 95"/>
                <a:gd name="T61" fmla="*/ 27 h 177"/>
                <a:gd name="T62" fmla="*/ 79 w 95"/>
                <a:gd name="T63" fmla="*/ 83 h 177"/>
                <a:gd name="T64" fmla="*/ 79 w 95"/>
                <a:gd name="T65" fmla="*/ 84 h 177"/>
                <a:gd name="T66" fmla="*/ 87 w 95"/>
                <a:gd name="T67" fmla="*/ 91 h 177"/>
                <a:gd name="T68" fmla="*/ 95 w 95"/>
                <a:gd name="T69" fmla="*/ 83 h 177"/>
                <a:gd name="T70" fmla="*/ 95 w 95"/>
                <a:gd name="T71" fmla="*/ 83 h 177"/>
                <a:gd name="T72" fmla="*/ 95 w 95"/>
                <a:gd name="T73" fmla="*/ 40 h 177"/>
                <a:gd name="T74" fmla="*/ 95 w 95"/>
                <a:gd name="T75" fmla="*/ 24 h 177"/>
                <a:gd name="T76" fmla="*/ 95 w 95"/>
                <a:gd name="T77" fmla="*/ 21 h 177"/>
                <a:gd name="T78" fmla="*/ 75 w 95"/>
                <a:gd name="T79"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5" h="177">
                  <a:moveTo>
                    <a:pt x="75" y="0"/>
                  </a:moveTo>
                  <a:cubicBezTo>
                    <a:pt x="48" y="0"/>
                    <a:pt x="48" y="0"/>
                    <a:pt x="48" y="0"/>
                  </a:cubicBezTo>
                  <a:cubicBezTo>
                    <a:pt x="20" y="0"/>
                    <a:pt x="20" y="0"/>
                    <a:pt x="20" y="0"/>
                  </a:cubicBezTo>
                  <a:cubicBezTo>
                    <a:pt x="7" y="0"/>
                    <a:pt x="0" y="6"/>
                    <a:pt x="0" y="21"/>
                  </a:cubicBezTo>
                  <a:cubicBezTo>
                    <a:pt x="0" y="24"/>
                    <a:pt x="0" y="24"/>
                    <a:pt x="0" y="24"/>
                  </a:cubicBezTo>
                  <a:cubicBezTo>
                    <a:pt x="0" y="40"/>
                    <a:pt x="0" y="40"/>
                    <a:pt x="0" y="40"/>
                  </a:cubicBezTo>
                  <a:cubicBezTo>
                    <a:pt x="0" y="55"/>
                    <a:pt x="0" y="55"/>
                    <a:pt x="0" y="55"/>
                  </a:cubicBezTo>
                  <a:cubicBezTo>
                    <a:pt x="0" y="83"/>
                    <a:pt x="0" y="83"/>
                    <a:pt x="0" y="83"/>
                  </a:cubicBezTo>
                  <a:cubicBezTo>
                    <a:pt x="0" y="83"/>
                    <a:pt x="0" y="83"/>
                    <a:pt x="0" y="83"/>
                  </a:cubicBezTo>
                  <a:cubicBezTo>
                    <a:pt x="0" y="88"/>
                    <a:pt x="4" y="91"/>
                    <a:pt x="8" y="91"/>
                  </a:cubicBezTo>
                  <a:cubicBezTo>
                    <a:pt x="12" y="91"/>
                    <a:pt x="15" y="88"/>
                    <a:pt x="16" y="84"/>
                  </a:cubicBezTo>
                  <a:cubicBezTo>
                    <a:pt x="16" y="84"/>
                    <a:pt x="16" y="84"/>
                    <a:pt x="16" y="83"/>
                  </a:cubicBezTo>
                  <a:cubicBezTo>
                    <a:pt x="16" y="27"/>
                    <a:pt x="16" y="27"/>
                    <a:pt x="16" y="27"/>
                  </a:cubicBezTo>
                  <a:cubicBezTo>
                    <a:pt x="16" y="26"/>
                    <a:pt x="17" y="25"/>
                    <a:pt x="18" y="25"/>
                  </a:cubicBezTo>
                  <a:cubicBezTo>
                    <a:pt x="19" y="25"/>
                    <a:pt x="20" y="26"/>
                    <a:pt x="20" y="27"/>
                  </a:cubicBezTo>
                  <a:cubicBezTo>
                    <a:pt x="20" y="87"/>
                    <a:pt x="20" y="87"/>
                    <a:pt x="20" y="87"/>
                  </a:cubicBezTo>
                  <a:cubicBezTo>
                    <a:pt x="20" y="87"/>
                    <a:pt x="20" y="92"/>
                    <a:pt x="20" y="95"/>
                  </a:cubicBezTo>
                  <a:cubicBezTo>
                    <a:pt x="20" y="96"/>
                    <a:pt x="20" y="96"/>
                    <a:pt x="20" y="96"/>
                  </a:cubicBezTo>
                  <a:cubicBezTo>
                    <a:pt x="20" y="96"/>
                    <a:pt x="20" y="96"/>
                    <a:pt x="20" y="96"/>
                  </a:cubicBezTo>
                  <a:cubicBezTo>
                    <a:pt x="26" y="163"/>
                    <a:pt x="26" y="163"/>
                    <a:pt x="26" y="163"/>
                  </a:cubicBezTo>
                  <a:cubicBezTo>
                    <a:pt x="27" y="173"/>
                    <a:pt x="31" y="177"/>
                    <a:pt x="40" y="177"/>
                  </a:cubicBezTo>
                  <a:cubicBezTo>
                    <a:pt x="48" y="177"/>
                    <a:pt x="48" y="177"/>
                    <a:pt x="48" y="177"/>
                  </a:cubicBezTo>
                  <a:cubicBezTo>
                    <a:pt x="55" y="177"/>
                    <a:pt x="55" y="177"/>
                    <a:pt x="55" y="177"/>
                  </a:cubicBezTo>
                  <a:cubicBezTo>
                    <a:pt x="64" y="177"/>
                    <a:pt x="68" y="173"/>
                    <a:pt x="69" y="163"/>
                  </a:cubicBezTo>
                  <a:cubicBezTo>
                    <a:pt x="75" y="96"/>
                    <a:pt x="75" y="96"/>
                    <a:pt x="75" y="96"/>
                  </a:cubicBezTo>
                  <a:cubicBezTo>
                    <a:pt x="75" y="96"/>
                    <a:pt x="75" y="96"/>
                    <a:pt x="75" y="96"/>
                  </a:cubicBezTo>
                  <a:cubicBezTo>
                    <a:pt x="75" y="95"/>
                    <a:pt x="75" y="95"/>
                    <a:pt x="75" y="95"/>
                  </a:cubicBezTo>
                  <a:cubicBezTo>
                    <a:pt x="75" y="92"/>
                    <a:pt x="75" y="87"/>
                    <a:pt x="75" y="87"/>
                  </a:cubicBezTo>
                  <a:cubicBezTo>
                    <a:pt x="75" y="27"/>
                    <a:pt x="75" y="27"/>
                    <a:pt x="75" y="27"/>
                  </a:cubicBezTo>
                  <a:cubicBezTo>
                    <a:pt x="75" y="26"/>
                    <a:pt x="76" y="25"/>
                    <a:pt x="77" y="25"/>
                  </a:cubicBezTo>
                  <a:cubicBezTo>
                    <a:pt x="78" y="25"/>
                    <a:pt x="79" y="26"/>
                    <a:pt x="79" y="27"/>
                  </a:cubicBezTo>
                  <a:cubicBezTo>
                    <a:pt x="79" y="83"/>
                    <a:pt x="79" y="83"/>
                    <a:pt x="79" y="83"/>
                  </a:cubicBezTo>
                  <a:cubicBezTo>
                    <a:pt x="79" y="84"/>
                    <a:pt x="79" y="84"/>
                    <a:pt x="79" y="84"/>
                  </a:cubicBezTo>
                  <a:cubicBezTo>
                    <a:pt x="80" y="88"/>
                    <a:pt x="83" y="91"/>
                    <a:pt x="87" y="91"/>
                  </a:cubicBezTo>
                  <a:cubicBezTo>
                    <a:pt x="91" y="91"/>
                    <a:pt x="95" y="88"/>
                    <a:pt x="95" y="83"/>
                  </a:cubicBezTo>
                  <a:cubicBezTo>
                    <a:pt x="95" y="83"/>
                    <a:pt x="95" y="83"/>
                    <a:pt x="95" y="83"/>
                  </a:cubicBezTo>
                  <a:cubicBezTo>
                    <a:pt x="95" y="40"/>
                    <a:pt x="95" y="40"/>
                    <a:pt x="95" y="40"/>
                  </a:cubicBezTo>
                  <a:cubicBezTo>
                    <a:pt x="95" y="24"/>
                    <a:pt x="95" y="24"/>
                    <a:pt x="95" y="24"/>
                  </a:cubicBezTo>
                  <a:cubicBezTo>
                    <a:pt x="95" y="21"/>
                    <a:pt x="95" y="21"/>
                    <a:pt x="95" y="21"/>
                  </a:cubicBezTo>
                  <a:cubicBezTo>
                    <a:pt x="95" y="6"/>
                    <a:pt x="88" y="0"/>
                    <a:pt x="7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35" name="Oval 798"/>
            <p:cNvSpPr>
              <a:spLocks noChangeArrowheads="1"/>
            </p:cNvSpPr>
            <p:nvPr/>
          </p:nvSpPr>
          <p:spPr bwMode="auto">
            <a:xfrm>
              <a:off x="4778376" y="2041526"/>
              <a:ext cx="249238" cy="2667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36" name="Freeform 799"/>
            <p:cNvSpPr>
              <a:spLocks/>
            </p:cNvSpPr>
            <p:nvPr/>
          </p:nvSpPr>
          <p:spPr bwMode="auto">
            <a:xfrm>
              <a:off x="4157663" y="1887538"/>
              <a:ext cx="771525" cy="250825"/>
            </a:xfrm>
            <a:custGeom>
              <a:avLst/>
              <a:gdLst>
                <a:gd name="T0" fmla="*/ 16 w 205"/>
                <a:gd name="T1" fmla="*/ 16 h 67"/>
                <a:gd name="T2" fmla="*/ 104 w 205"/>
                <a:gd name="T3" fmla="*/ 16 h 67"/>
                <a:gd name="T4" fmla="*/ 104 w 205"/>
                <a:gd name="T5" fmla="*/ 67 h 67"/>
                <a:gd name="T6" fmla="*/ 120 w 205"/>
                <a:gd name="T7" fmla="*/ 67 h 67"/>
                <a:gd name="T8" fmla="*/ 120 w 205"/>
                <a:gd name="T9" fmla="*/ 16 h 67"/>
                <a:gd name="T10" fmla="*/ 189 w 205"/>
                <a:gd name="T11" fmla="*/ 16 h 67"/>
                <a:gd name="T12" fmla="*/ 189 w 205"/>
                <a:gd name="T13" fmla="*/ 32 h 67"/>
                <a:gd name="T14" fmla="*/ 198 w 205"/>
                <a:gd name="T15" fmla="*/ 32 h 67"/>
                <a:gd name="T16" fmla="*/ 205 w 205"/>
                <a:gd name="T17" fmla="*/ 32 h 67"/>
                <a:gd name="T18" fmla="*/ 205 w 205"/>
                <a:gd name="T19" fmla="*/ 0 h 67"/>
                <a:gd name="T20" fmla="*/ 0 w 205"/>
                <a:gd name="T21" fmla="*/ 0 h 67"/>
                <a:gd name="T22" fmla="*/ 0 w 205"/>
                <a:gd name="T23" fmla="*/ 67 h 67"/>
                <a:gd name="T24" fmla="*/ 16 w 205"/>
                <a:gd name="T25" fmla="*/ 67 h 67"/>
                <a:gd name="T26" fmla="*/ 16 w 205"/>
                <a:gd name="T27" fmla="*/ 16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5" h="67">
                  <a:moveTo>
                    <a:pt x="16" y="16"/>
                  </a:moveTo>
                  <a:cubicBezTo>
                    <a:pt x="104" y="16"/>
                    <a:pt x="104" y="16"/>
                    <a:pt x="104" y="16"/>
                  </a:cubicBezTo>
                  <a:cubicBezTo>
                    <a:pt x="104" y="67"/>
                    <a:pt x="104" y="67"/>
                    <a:pt x="104" y="67"/>
                  </a:cubicBezTo>
                  <a:cubicBezTo>
                    <a:pt x="120" y="67"/>
                    <a:pt x="120" y="67"/>
                    <a:pt x="120" y="67"/>
                  </a:cubicBezTo>
                  <a:cubicBezTo>
                    <a:pt x="120" y="16"/>
                    <a:pt x="120" y="16"/>
                    <a:pt x="120" y="16"/>
                  </a:cubicBezTo>
                  <a:cubicBezTo>
                    <a:pt x="189" y="16"/>
                    <a:pt x="189" y="16"/>
                    <a:pt x="189" y="16"/>
                  </a:cubicBezTo>
                  <a:cubicBezTo>
                    <a:pt x="189" y="32"/>
                    <a:pt x="189" y="32"/>
                    <a:pt x="189" y="32"/>
                  </a:cubicBezTo>
                  <a:cubicBezTo>
                    <a:pt x="192" y="32"/>
                    <a:pt x="195" y="32"/>
                    <a:pt x="198" y="32"/>
                  </a:cubicBezTo>
                  <a:cubicBezTo>
                    <a:pt x="201" y="32"/>
                    <a:pt x="203" y="32"/>
                    <a:pt x="205" y="32"/>
                  </a:cubicBezTo>
                  <a:cubicBezTo>
                    <a:pt x="205" y="0"/>
                    <a:pt x="205" y="0"/>
                    <a:pt x="205" y="0"/>
                  </a:cubicBezTo>
                  <a:cubicBezTo>
                    <a:pt x="0" y="0"/>
                    <a:pt x="0" y="0"/>
                    <a:pt x="0" y="0"/>
                  </a:cubicBezTo>
                  <a:cubicBezTo>
                    <a:pt x="0" y="67"/>
                    <a:pt x="0" y="67"/>
                    <a:pt x="0" y="67"/>
                  </a:cubicBezTo>
                  <a:cubicBezTo>
                    <a:pt x="16" y="67"/>
                    <a:pt x="16" y="67"/>
                    <a:pt x="16" y="67"/>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37" name="Freeform 800"/>
            <p:cNvSpPr>
              <a:spLocks/>
            </p:cNvSpPr>
            <p:nvPr/>
          </p:nvSpPr>
          <p:spPr bwMode="auto">
            <a:xfrm>
              <a:off x="4489451" y="2252663"/>
              <a:ext cx="184150" cy="195263"/>
            </a:xfrm>
            <a:custGeom>
              <a:avLst/>
              <a:gdLst>
                <a:gd name="T0" fmla="*/ 0 w 49"/>
                <a:gd name="T1" fmla="*/ 26 h 52"/>
                <a:gd name="T2" fmla="*/ 25 w 49"/>
                <a:gd name="T3" fmla="*/ 52 h 52"/>
                <a:gd name="T4" fmla="*/ 38 w 49"/>
                <a:gd name="T5" fmla="*/ 50 h 52"/>
                <a:gd name="T6" fmla="*/ 49 w 49"/>
                <a:gd name="T7" fmla="*/ 25 h 52"/>
                <a:gd name="T8" fmla="*/ 25 w 49"/>
                <a:gd name="T9" fmla="*/ 0 h 52"/>
                <a:gd name="T10" fmla="*/ 0 w 49"/>
                <a:gd name="T11" fmla="*/ 26 h 52"/>
              </a:gdLst>
              <a:ahLst/>
              <a:cxnLst>
                <a:cxn ang="0">
                  <a:pos x="T0" y="T1"/>
                </a:cxn>
                <a:cxn ang="0">
                  <a:pos x="T2" y="T3"/>
                </a:cxn>
                <a:cxn ang="0">
                  <a:pos x="T4" y="T5"/>
                </a:cxn>
                <a:cxn ang="0">
                  <a:pos x="T6" y="T7"/>
                </a:cxn>
                <a:cxn ang="0">
                  <a:pos x="T8" y="T9"/>
                </a:cxn>
                <a:cxn ang="0">
                  <a:pos x="T10" y="T11"/>
                </a:cxn>
              </a:cxnLst>
              <a:rect l="0" t="0" r="r" b="b"/>
              <a:pathLst>
                <a:path w="49" h="52">
                  <a:moveTo>
                    <a:pt x="0" y="26"/>
                  </a:moveTo>
                  <a:cubicBezTo>
                    <a:pt x="0" y="45"/>
                    <a:pt x="7" y="52"/>
                    <a:pt x="25" y="52"/>
                  </a:cubicBezTo>
                  <a:cubicBezTo>
                    <a:pt x="30" y="52"/>
                    <a:pt x="35" y="52"/>
                    <a:pt x="38" y="50"/>
                  </a:cubicBezTo>
                  <a:cubicBezTo>
                    <a:pt x="39" y="39"/>
                    <a:pt x="43" y="30"/>
                    <a:pt x="49" y="25"/>
                  </a:cubicBezTo>
                  <a:cubicBezTo>
                    <a:pt x="49" y="7"/>
                    <a:pt x="42" y="0"/>
                    <a:pt x="25" y="0"/>
                  </a:cubicBezTo>
                  <a:cubicBezTo>
                    <a:pt x="7" y="0"/>
                    <a:pt x="0" y="7"/>
                    <a:pt x="0" y="2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38" name="Freeform 801"/>
            <p:cNvSpPr>
              <a:spLocks/>
            </p:cNvSpPr>
            <p:nvPr/>
          </p:nvSpPr>
          <p:spPr bwMode="auto">
            <a:xfrm>
              <a:off x="4402138" y="2478088"/>
              <a:ext cx="282575" cy="665163"/>
            </a:xfrm>
            <a:custGeom>
              <a:avLst/>
              <a:gdLst>
                <a:gd name="T0" fmla="*/ 61 w 75"/>
                <a:gd name="T1" fmla="*/ 77 h 177"/>
                <a:gd name="T2" fmla="*/ 61 w 75"/>
                <a:gd name="T3" fmla="*/ 0 h 177"/>
                <a:gd name="T4" fmla="*/ 48 w 75"/>
                <a:gd name="T5" fmla="*/ 0 h 177"/>
                <a:gd name="T6" fmla="*/ 20 w 75"/>
                <a:gd name="T7" fmla="*/ 0 h 177"/>
                <a:gd name="T8" fmla="*/ 0 w 75"/>
                <a:gd name="T9" fmla="*/ 21 h 177"/>
                <a:gd name="T10" fmla="*/ 0 w 75"/>
                <a:gd name="T11" fmla="*/ 24 h 177"/>
                <a:gd name="T12" fmla="*/ 0 w 75"/>
                <a:gd name="T13" fmla="*/ 40 h 177"/>
                <a:gd name="T14" fmla="*/ 0 w 75"/>
                <a:gd name="T15" fmla="*/ 55 h 177"/>
                <a:gd name="T16" fmla="*/ 0 w 75"/>
                <a:gd name="T17" fmla="*/ 83 h 177"/>
                <a:gd name="T18" fmla="*/ 0 w 75"/>
                <a:gd name="T19" fmla="*/ 83 h 177"/>
                <a:gd name="T20" fmla="*/ 8 w 75"/>
                <a:gd name="T21" fmla="*/ 91 h 177"/>
                <a:gd name="T22" fmla="*/ 16 w 75"/>
                <a:gd name="T23" fmla="*/ 84 h 177"/>
                <a:gd name="T24" fmla="*/ 16 w 75"/>
                <a:gd name="T25" fmla="*/ 83 h 177"/>
                <a:gd name="T26" fmla="*/ 16 w 75"/>
                <a:gd name="T27" fmla="*/ 27 h 177"/>
                <a:gd name="T28" fmla="*/ 18 w 75"/>
                <a:gd name="T29" fmla="*/ 25 h 177"/>
                <a:gd name="T30" fmla="*/ 20 w 75"/>
                <a:gd name="T31" fmla="*/ 27 h 177"/>
                <a:gd name="T32" fmla="*/ 20 w 75"/>
                <a:gd name="T33" fmla="*/ 87 h 177"/>
                <a:gd name="T34" fmla="*/ 20 w 75"/>
                <a:gd name="T35" fmla="*/ 95 h 177"/>
                <a:gd name="T36" fmla="*/ 20 w 75"/>
                <a:gd name="T37" fmla="*/ 96 h 177"/>
                <a:gd name="T38" fmla="*/ 20 w 75"/>
                <a:gd name="T39" fmla="*/ 96 h 177"/>
                <a:gd name="T40" fmla="*/ 27 w 75"/>
                <a:gd name="T41" fmla="*/ 163 h 177"/>
                <a:gd name="T42" fmla="*/ 40 w 75"/>
                <a:gd name="T43" fmla="*/ 177 h 177"/>
                <a:gd name="T44" fmla="*/ 48 w 75"/>
                <a:gd name="T45" fmla="*/ 177 h 177"/>
                <a:gd name="T46" fmla="*/ 55 w 75"/>
                <a:gd name="T47" fmla="*/ 177 h 177"/>
                <a:gd name="T48" fmla="*/ 69 w 75"/>
                <a:gd name="T49" fmla="*/ 163 h 177"/>
                <a:gd name="T50" fmla="*/ 75 w 75"/>
                <a:gd name="T51" fmla="*/ 96 h 177"/>
                <a:gd name="T52" fmla="*/ 75 w 75"/>
                <a:gd name="T53" fmla="*/ 96 h 177"/>
                <a:gd name="T54" fmla="*/ 75 w 75"/>
                <a:gd name="T55" fmla="*/ 95 h 177"/>
                <a:gd name="T56" fmla="*/ 75 w 75"/>
                <a:gd name="T57" fmla="*/ 95 h 177"/>
                <a:gd name="T58" fmla="*/ 61 w 75"/>
                <a:gd name="T59" fmla="*/ 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5" h="177">
                  <a:moveTo>
                    <a:pt x="61" y="77"/>
                  </a:moveTo>
                  <a:cubicBezTo>
                    <a:pt x="61" y="0"/>
                    <a:pt x="61" y="0"/>
                    <a:pt x="61" y="0"/>
                  </a:cubicBezTo>
                  <a:cubicBezTo>
                    <a:pt x="48" y="0"/>
                    <a:pt x="48" y="0"/>
                    <a:pt x="48" y="0"/>
                  </a:cubicBezTo>
                  <a:cubicBezTo>
                    <a:pt x="20" y="0"/>
                    <a:pt x="20" y="0"/>
                    <a:pt x="20" y="0"/>
                  </a:cubicBezTo>
                  <a:cubicBezTo>
                    <a:pt x="7" y="0"/>
                    <a:pt x="0" y="6"/>
                    <a:pt x="0" y="21"/>
                  </a:cubicBezTo>
                  <a:cubicBezTo>
                    <a:pt x="0" y="24"/>
                    <a:pt x="0" y="24"/>
                    <a:pt x="0" y="24"/>
                  </a:cubicBezTo>
                  <a:cubicBezTo>
                    <a:pt x="0" y="40"/>
                    <a:pt x="0" y="40"/>
                    <a:pt x="0" y="40"/>
                  </a:cubicBezTo>
                  <a:cubicBezTo>
                    <a:pt x="0" y="55"/>
                    <a:pt x="0" y="55"/>
                    <a:pt x="0" y="55"/>
                  </a:cubicBezTo>
                  <a:cubicBezTo>
                    <a:pt x="0" y="83"/>
                    <a:pt x="0" y="83"/>
                    <a:pt x="0" y="83"/>
                  </a:cubicBezTo>
                  <a:cubicBezTo>
                    <a:pt x="0" y="83"/>
                    <a:pt x="0" y="83"/>
                    <a:pt x="0" y="83"/>
                  </a:cubicBezTo>
                  <a:cubicBezTo>
                    <a:pt x="0" y="88"/>
                    <a:pt x="4" y="91"/>
                    <a:pt x="8" y="91"/>
                  </a:cubicBezTo>
                  <a:cubicBezTo>
                    <a:pt x="12" y="91"/>
                    <a:pt x="15" y="88"/>
                    <a:pt x="16" y="84"/>
                  </a:cubicBezTo>
                  <a:cubicBezTo>
                    <a:pt x="16" y="84"/>
                    <a:pt x="16" y="84"/>
                    <a:pt x="16" y="83"/>
                  </a:cubicBezTo>
                  <a:cubicBezTo>
                    <a:pt x="16" y="27"/>
                    <a:pt x="16" y="27"/>
                    <a:pt x="16" y="27"/>
                  </a:cubicBezTo>
                  <a:cubicBezTo>
                    <a:pt x="16" y="26"/>
                    <a:pt x="17" y="25"/>
                    <a:pt x="18" y="25"/>
                  </a:cubicBezTo>
                  <a:cubicBezTo>
                    <a:pt x="19" y="25"/>
                    <a:pt x="20" y="26"/>
                    <a:pt x="20" y="27"/>
                  </a:cubicBezTo>
                  <a:cubicBezTo>
                    <a:pt x="20" y="87"/>
                    <a:pt x="20" y="87"/>
                    <a:pt x="20" y="87"/>
                  </a:cubicBezTo>
                  <a:cubicBezTo>
                    <a:pt x="20" y="87"/>
                    <a:pt x="20" y="92"/>
                    <a:pt x="20" y="95"/>
                  </a:cubicBezTo>
                  <a:cubicBezTo>
                    <a:pt x="20" y="96"/>
                    <a:pt x="20" y="96"/>
                    <a:pt x="20" y="96"/>
                  </a:cubicBezTo>
                  <a:cubicBezTo>
                    <a:pt x="20" y="96"/>
                    <a:pt x="20" y="96"/>
                    <a:pt x="20" y="96"/>
                  </a:cubicBezTo>
                  <a:cubicBezTo>
                    <a:pt x="27" y="163"/>
                    <a:pt x="27" y="163"/>
                    <a:pt x="27" y="163"/>
                  </a:cubicBezTo>
                  <a:cubicBezTo>
                    <a:pt x="28" y="173"/>
                    <a:pt x="31" y="177"/>
                    <a:pt x="40" y="177"/>
                  </a:cubicBezTo>
                  <a:cubicBezTo>
                    <a:pt x="48" y="177"/>
                    <a:pt x="48" y="177"/>
                    <a:pt x="48" y="177"/>
                  </a:cubicBezTo>
                  <a:cubicBezTo>
                    <a:pt x="55" y="177"/>
                    <a:pt x="55" y="177"/>
                    <a:pt x="55" y="177"/>
                  </a:cubicBezTo>
                  <a:cubicBezTo>
                    <a:pt x="64" y="177"/>
                    <a:pt x="68" y="173"/>
                    <a:pt x="69" y="163"/>
                  </a:cubicBezTo>
                  <a:cubicBezTo>
                    <a:pt x="75" y="96"/>
                    <a:pt x="75" y="96"/>
                    <a:pt x="75" y="96"/>
                  </a:cubicBezTo>
                  <a:cubicBezTo>
                    <a:pt x="75" y="96"/>
                    <a:pt x="75" y="96"/>
                    <a:pt x="75" y="96"/>
                  </a:cubicBezTo>
                  <a:cubicBezTo>
                    <a:pt x="75" y="95"/>
                    <a:pt x="75" y="95"/>
                    <a:pt x="75" y="95"/>
                  </a:cubicBezTo>
                  <a:cubicBezTo>
                    <a:pt x="75" y="95"/>
                    <a:pt x="75" y="95"/>
                    <a:pt x="75" y="95"/>
                  </a:cubicBezTo>
                  <a:cubicBezTo>
                    <a:pt x="67" y="93"/>
                    <a:pt x="61" y="85"/>
                    <a:pt x="61" y="7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39" name="Freeform 802"/>
            <p:cNvSpPr>
              <a:spLocks/>
            </p:cNvSpPr>
            <p:nvPr/>
          </p:nvSpPr>
          <p:spPr bwMode="auto">
            <a:xfrm>
              <a:off x="4662488" y="2346326"/>
              <a:ext cx="481013" cy="895350"/>
            </a:xfrm>
            <a:custGeom>
              <a:avLst/>
              <a:gdLst>
                <a:gd name="T0" fmla="*/ 101 w 128"/>
                <a:gd name="T1" fmla="*/ 0 h 238"/>
                <a:gd name="T2" fmla="*/ 64 w 128"/>
                <a:gd name="T3" fmla="*/ 0 h 238"/>
                <a:gd name="T4" fmla="*/ 27 w 128"/>
                <a:gd name="T5" fmla="*/ 0 h 238"/>
                <a:gd name="T6" fmla="*/ 0 w 128"/>
                <a:gd name="T7" fmla="*/ 29 h 238"/>
                <a:gd name="T8" fmla="*/ 0 w 128"/>
                <a:gd name="T9" fmla="*/ 32 h 238"/>
                <a:gd name="T10" fmla="*/ 0 w 128"/>
                <a:gd name="T11" fmla="*/ 54 h 238"/>
                <a:gd name="T12" fmla="*/ 0 w 128"/>
                <a:gd name="T13" fmla="*/ 74 h 238"/>
                <a:gd name="T14" fmla="*/ 0 w 128"/>
                <a:gd name="T15" fmla="*/ 112 h 238"/>
                <a:gd name="T16" fmla="*/ 0 w 128"/>
                <a:gd name="T17" fmla="*/ 112 h 238"/>
                <a:gd name="T18" fmla="*/ 11 w 128"/>
                <a:gd name="T19" fmla="*/ 122 h 238"/>
                <a:gd name="T20" fmla="*/ 21 w 128"/>
                <a:gd name="T21" fmla="*/ 113 h 238"/>
                <a:gd name="T22" fmla="*/ 21 w 128"/>
                <a:gd name="T23" fmla="*/ 112 h 238"/>
                <a:gd name="T24" fmla="*/ 21 w 128"/>
                <a:gd name="T25" fmla="*/ 36 h 238"/>
                <a:gd name="T26" fmla="*/ 24 w 128"/>
                <a:gd name="T27" fmla="*/ 33 h 238"/>
                <a:gd name="T28" fmla="*/ 27 w 128"/>
                <a:gd name="T29" fmla="*/ 36 h 238"/>
                <a:gd name="T30" fmla="*/ 27 w 128"/>
                <a:gd name="T31" fmla="*/ 116 h 238"/>
                <a:gd name="T32" fmla="*/ 27 w 128"/>
                <a:gd name="T33" fmla="*/ 128 h 238"/>
                <a:gd name="T34" fmla="*/ 27 w 128"/>
                <a:gd name="T35" fmla="*/ 128 h 238"/>
                <a:gd name="T36" fmla="*/ 27 w 128"/>
                <a:gd name="T37" fmla="*/ 128 h 238"/>
                <a:gd name="T38" fmla="*/ 36 w 128"/>
                <a:gd name="T39" fmla="*/ 219 h 238"/>
                <a:gd name="T40" fmla="*/ 54 w 128"/>
                <a:gd name="T41" fmla="*/ 238 h 238"/>
                <a:gd name="T42" fmla="*/ 64 w 128"/>
                <a:gd name="T43" fmla="*/ 238 h 238"/>
                <a:gd name="T44" fmla="*/ 74 w 128"/>
                <a:gd name="T45" fmla="*/ 238 h 238"/>
                <a:gd name="T46" fmla="*/ 92 w 128"/>
                <a:gd name="T47" fmla="*/ 219 h 238"/>
                <a:gd name="T48" fmla="*/ 101 w 128"/>
                <a:gd name="T49" fmla="*/ 128 h 238"/>
                <a:gd name="T50" fmla="*/ 101 w 128"/>
                <a:gd name="T51" fmla="*/ 128 h 238"/>
                <a:gd name="T52" fmla="*/ 101 w 128"/>
                <a:gd name="T53" fmla="*/ 128 h 238"/>
                <a:gd name="T54" fmla="*/ 101 w 128"/>
                <a:gd name="T55" fmla="*/ 116 h 238"/>
                <a:gd name="T56" fmla="*/ 101 w 128"/>
                <a:gd name="T57" fmla="*/ 36 h 238"/>
                <a:gd name="T58" fmla="*/ 104 w 128"/>
                <a:gd name="T59" fmla="*/ 33 h 238"/>
                <a:gd name="T60" fmla="*/ 106 w 128"/>
                <a:gd name="T61" fmla="*/ 36 h 238"/>
                <a:gd name="T62" fmla="*/ 106 w 128"/>
                <a:gd name="T63" fmla="*/ 112 h 238"/>
                <a:gd name="T64" fmla="*/ 107 w 128"/>
                <a:gd name="T65" fmla="*/ 113 h 238"/>
                <a:gd name="T66" fmla="*/ 117 w 128"/>
                <a:gd name="T67" fmla="*/ 122 h 238"/>
                <a:gd name="T68" fmla="*/ 128 w 128"/>
                <a:gd name="T69" fmla="*/ 112 h 238"/>
                <a:gd name="T70" fmla="*/ 128 w 128"/>
                <a:gd name="T71" fmla="*/ 112 h 238"/>
                <a:gd name="T72" fmla="*/ 128 w 128"/>
                <a:gd name="T73" fmla="*/ 54 h 238"/>
                <a:gd name="T74" fmla="*/ 128 w 128"/>
                <a:gd name="T75" fmla="*/ 32 h 238"/>
                <a:gd name="T76" fmla="*/ 128 w 128"/>
                <a:gd name="T77" fmla="*/ 29 h 238"/>
                <a:gd name="T78" fmla="*/ 101 w 128"/>
                <a:gd name="T79"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238">
                  <a:moveTo>
                    <a:pt x="101" y="0"/>
                  </a:moveTo>
                  <a:cubicBezTo>
                    <a:pt x="64" y="0"/>
                    <a:pt x="64" y="0"/>
                    <a:pt x="64" y="0"/>
                  </a:cubicBezTo>
                  <a:cubicBezTo>
                    <a:pt x="27" y="0"/>
                    <a:pt x="27" y="0"/>
                    <a:pt x="27" y="0"/>
                  </a:cubicBezTo>
                  <a:cubicBezTo>
                    <a:pt x="10" y="0"/>
                    <a:pt x="0" y="8"/>
                    <a:pt x="0" y="29"/>
                  </a:cubicBezTo>
                  <a:cubicBezTo>
                    <a:pt x="0" y="32"/>
                    <a:pt x="0" y="32"/>
                    <a:pt x="0" y="32"/>
                  </a:cubicBezTo>
                  <a:cubicBezTo>
                    <a:pt x="0" y="54"/>
                    <a:pt x="0" y="54"/>
                    <a:pt x="0" y="54"/>
                  </a:cubicBezTo>
                  <a:cubicBezTo>
                    <a:pt x="0" y="74"/>
                    <a:pt x="0" y="74"/>
                    <a:pt x="0" y="74"/>
                  </a:cubicBezTo>
                  <a:cubicBezTo>
                    <a:pt x="0" y="112"/>
                    <a:pt x="0" y="112"/>
                    <a:pt x="0" y="112"/>
                  </a:cubicBezTo>
                  <a:cubicBezTo>
                    <a:pt x="0" y="112"/>
                    <a:pt x="0" y="112"/>
                    <a:pt x="0" y="112"/>
                  </a:cubicBezTo>
                  <a:cubicBezTo>
                    <a:pt x="0" y="118"/>
                    <a:pt x="5" y="122"/>
                    <a:pt x="11" y="122"/>
                  </a:cubicBezTo>
                  <a:cubicBezTo>
                    <a:pt x="16" y="122"/>
                    <a:pt x="20" y="119"/>
                    <a:pt x="21" y="113"/>
                  </a:cubicBezTo>
                  <a:cubicBezTo>
                    <a:pt x="21" y="113"/>
                    <a:pt x="21" y="112"/>
                    <a:pt x="21" y="112"/>
                  </a:cubicBezTo>
                  <a:cubicBezTo>
                    <a:pt x="21" y="36"/>
                    <a:pt x="21" y="36"/>
                    <a:pt x="21" y="36"/>
                  </a:cubicBezTo>
                  <a:cubicBezTo>
                    <a:pt x="21" y="34"/>
                    <a:pt x="23" y="33"/>
                    <a:pt x="24" y="33"/>
                  </a:cubicBezTo>
                  <a:cubicBezTo>
                    <a:pt x="26" y="33"/>
                    <a:pt x="27" y="34"/>
                    <a:pt x="27" y="36"/>
                  </a:cubicBezTo>
                  <a:cubicBezTo>
                    <a:pt x="27" y="116"/>
                    <a:pt x="27" y="116"/>
                    <a:pt x="27" y="116"/>
                  </a:cubicBezTo>
                  <a:cubicBezTo>
                    <a:pt x="27" y="116"/>
                    <a:pt x="27" y="123"/>
                    <a:pt x="27" y="128"/>
                  </a:cubicBezTo>
                  <a:cubicBezTo>
                    <a:pt x="27" y="128"/>
                    <a:pt x="27" y="128"/>
                    <a:pt x="27" y="128"/>
                  </a:cubicBezTo>
                  <a:cubicBezTo>
                    <a:pt x="27" y="128"/>
                    <a:pt x="27" y="128"/>
                    <a:pt x="27" y="128"/>
                  </a:cubicBezTo>
                  <a:cubicBezTo>
                    <a:pt x="36" y="219"/>
                    <a:pt x="36" y="219"/>
                    <a:pt x="36" y="219"/>
                  </a:cubicBezTo>
                  <a:cubicBezTo>
                    <a:pt x="37" y="233"/>
                    <a:pt x="42" y="238"/>
                    <a:pt x="54" y="238"/>
                  </a:cubicBezTo>
                  <a:cubicBezTo>
                    <a:pt x="64" y="238"/>
                    <a:pt x="64" y="238"/>
                    <a:pt x="64" y="238"/>
                  </a:cubicBezTo>
                  <a:cubicBezTo>
                    <a:pt x="74" y="238"/>
                    <a:pt x="74" y="238"/>
                    <a:pt x="74" y="238"/>
                  </a:cubicBezTo>
                  <a:cubicBezTo>
                    <a:pt x="86" y="238"/>
                    <a:pt x="91" y="233"/>
                    <a:pt x="92" y="219"/>
                  </a:cubicBezTo>
                  <a:cubicBezTo>
                    <a:pt x="101" y="128"/>
                    <a:pt x="101" y="128"/>
                    <a:pt x="101" y="128"/>
                  </a:cubicBezTo>
                  <a:cubicBezTo>
                    <a:pt x="101" y="128"/>
                    <a:pt x="101" y="128"/>
                    <a:pt x="101" y="128"/>
                  </a:cubicBezTo>
                  <a:cubicBezTo>
                    <a:pt x="101" y="128"/>
                    <a:pt x="101" y="128"/>
                    <a:pt x="101" y="128"/>
                  </a:cubicBezTo>
                  <a:cubicBezTo>
                    <a:pt x="101" y="123"/>
                    <a:pt x="101" y="116"/>
                    <a:pt x="101" y="116"/>
                  </a:cubicBezTo>
                  <a:cubicBezTo>
                    <a:pt x="101" y="36"/>
                    <a:pt x="101" y="36"/>
                    <a:pt x="101" y="36"/>
                  </a:cubicBezTo>
                  <a:cubicBezTo>
                    <a:pt x="101" y="34"/>
                    <a:pt x="102" y="33"/>
                    <a:pt x="104" y="33"/>
                  </a:cubicBezTo>
                  <a:cubicBezTo>
                    <a:pt x="105" y="33"/>
                    <a:pt x="106" y="34"/>
                    <a:pt x="106" y="36"/>
                  </a:cubicBezTo>
                  <a:cubicBezTo>
                    <a:pt x="106" y="112"/>
                    <a:pt x="106" y="112"/>
                    <a:pt x="106" y="112"/>
                  </a:cubicBezTo>
                  <a:cubicBezTo>
                    <a:pt x="106" y="112"/>
                    <a:pt x="107" y="113"/>
                    <a:pt x="107" y="113"/>
                  </a:cubicBezTo>
                  <a:cubicBezTo>
                    <a:pt x="107" y="119"/>
                    <a:pt x="112" y="122"/>
                    <a:pt x="117" y="122"/>
                  </a:cubicBezTo>
                  <a:cubicBezTo>
                    <a:pt x="123" y="122"/>
                    <a:pt x="128" y="118"/>
                    <a:pt x="128" y="112"/>
                  </a:cubicBezTo>
                  <a:cubicBezTo>
                    <a:pt x="128" y="112"/>
                    <a:pt x="128" y="112"/>
                    <a:pt x="128" y="112"/>
                  </a:cubicBezTo>
                  <a:cubicBezTo>
                    <a:pt x="128" y="54"/>
                    <a:pt x="128" y="54"/>
                    <a:pt x="128" y="54"/>
                  </a:cubicBezTo>
                  <a:cubicBezTo>
                    <a:pt x="128" y="32"/>
                    <a:pt x="128" y="32"/>
                    <a:pt x="128" y="32"/>
                  </a:cubicBezTo>
                  <a:cubicBezTo>
                    <a:pt x="128" y="29"/>
                    <a:pt x="128" y="29"/>
                    <a:pt x="128" y="29"/>
                  </a:cubicBezTo>
                  <a:cubicBezTo>
                    <a:pt x="128" y="8"/>
                    <a:pt x="118" y="0"/>
                    <a:pt x="10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nvGrpSpPr>
          <p:cNvPr id="452" name="Group 451"/>
          <p:cNvGrpSpPr/>
          <p:nvPr/>
        </p:nvGrpSpPr>
        <p:grpSpPr>
          <a:xfrm>
            <a:off x="2756746" y="4588742"/>
            <a:ext cx="1540924" cy="480994"/>
            <a:chOff x="2541226" y="2809769"/>
            <a:chExt cx="1282879" cy="399811"/>
          </a:xfrm>
        </p:grpSpPr>
        <p:grpSp>
          <p:nvGrpSpPr>
            <p:cNvPr id="440" name="Group 439"/>
            <p:cNvGrpSpPr/>
            <p:nvPr/>
          </p:nvGrpSpPr>
          <p:grpSpPr>
            <a:xfrm>
              <a:off x="2541226" y="2809769"/>
              <a:ext cx="399347" cy="399811"/>
              <a:chOff x="3879851" y="1882776"/>
              <a:chExt cx="1368425" cy="1370013"/>
            </a:xfrm>
            <a:solidFill>
              <a:srgbClr val="000000"/>
            </a:solidFill>
          </p:grpSpPr>
          <p:sp>
            <p:nvSpPr>
              <p:cNvPr id="441" name="Freeform 513"/>
              <p:cNvSpPr>
                <a:spLocks noEditPoints="1"/>
              </p:cNvSpPr>
              <p:nvPr/>
            </p:nvSpPr>
            <p:spPr bwMode="auto">
              <a:xfrm>
                <a:off x="3879851" y="1882776"/>
                <a:ext cx="1368425" cy="1370013"/>
              </a:xfrm>
              <a:custGeom>
                <a:avLst/>
                <a:gdLst>
                  <a:gd name="T0" fmla="*/ 342 w 364"/>
                  <a:gd name="T1" fmla="*/ 0 h 364"/>
                  <a:gd name="T2" fmla="*/ 0 w 364"/>
                  <a:gd name="T3" fmla="*/ 0 h 364"/>
                  <a:gd name="T4" fmla="*/ 0 w 364"/>
                  <a:gd name="T5" fmla="*/ 341 h 364"/>
                  <a:gd name="T6" fmla="*/ 22 w 364"/>
                  <a:gd name="T7" fmla="*/ 364 h 364"/>
                  <a:gd name="T8" fmla="*/ 364 w 364"/>
                  <a:gd name="T9" fmla="*/ 364 h 364"/>
                  <a:gd name="T10" fmla="*/ 364 w 364"/>
                  <a:gd name="T11" fmla="*/ 25 h 364"/>
                  <a:gd name="T12" fmla="*/ 342 w 364"/>
                  <a:gd name="T13" fmla="*/ 0 h 364"/>
                  <a:gd name="T14" fmla="*/ 255 w 364"/>
                  <a:gd name="T15" fmla="*/ 259 h 364"/>
                  <a:gd name="T16" fmla="*/ 242 w 364"/>
                  <a:gd name="T17" fmla="*/ 280 h 364"/>
                  <a:gd name="T18" fmla="*/ 219 w 364"/>
                  <a:gd name="T19" fmla="*/ 292 h 364"/>
                  <a:gd name="T20" fmla="*/ 188 w 364"/>
                  <a:gd name="T21" fmla="*/ 296 h 364"/>
                  <a:gd name="T22" fmla="*/ 185 w 364"/>
                  <a:gd name="T23" fmla="*/ 330 h 364"/>
                  <a:gd name="T24" fmla="*/ 168 w 364"/>
                  <a:gd name="T25" fmla="*/ 330 h 364"/>
                  <a:gd name="T26" fmla="*/ 161 w 364"/>
                  <a:gd name="T27" fmla="*/ 327 h 364"/>
                  <a:gd name="T28" fmla="*/ 159 w 364"/>
                  <a:gd name="T29" fmla="*/ 320 h 364"/>
                  <a:gd name="T30" fmla="*/ 161 w 364"/>
                  <a:gd name="T31" fmla="*/ 296 h 364"/>
                  <a:gd name="T32" fmla="*/ 140 w 364"/>
                  <a:gd name="T33" fmla="*/ 294 h 364"/>
                  <a:gd name="T34" fmla="*/ 124 w 364"/>
                  <a:gd name="T35" fmla="*/ 290 h 364"/>
                  <a:gd name="T36" fmla="*/ 114 w 364"/>
                  <a:gd name="T37" fmla="*/ 284 h 364"/>
                  <a:gd name="T38" fmla="*/ 111 w 364"/>
                  <a:gd name="T39" fmla="*/ 275 h 364"/>
                  <a:gd name="T40" fmla="*/ 111 w 364"/>
                  <a:gd name="T41" fmla="*/ 251 h 364"/>
                  <a:gd name="T42" fmla="*/ 124 w 364"/>
                  <a:gd name="T43" fmla="*/ 252 h 364"/>
                  <a:gd name="T44" fmla="*/ 138 w 364"/>
                  <a:gd name="T45" fmla="*/ 252 h 364"/>
                  <a:gd name="T46" fmla="*/ 152 w 364"/>
                  <a:gd name="T47" fmla="*/ 253 h 364"/>
                  <a:gd name="T48" fmla="*/ 165 w 364"/>
                  <a:gd name="T49" fmla="*/ 253 h 364"/>
                  <a:gd name="T50" fmla="*/ 169 w 364"/>
                  <a:gd name="T51" fmla="*/ 202 h 364"/>
                  <a:gd name="T52" fmla="*/ 141 w 364"/>
                  <a:gd name="T53" fmla="*/ 191 h 364"/>
                  <a:gd name="T54" fmla="*/ 122 w 364"/>
                  <a:gd name="T55" fmla="*/ 176 h 364"/>
                  <a:gd name="T56" fmla="*/ 112 w 364"/>
                  <a:gd name="T57" fmla="*/ 159 h 364"/>
                  <a:gd name="T58" fmla="*/ 109 w 364"/>
                  <a:gd name="T59" fmla="*/ 137 h 364"/>
                  <a:gd name="T60" fmla="*/ 114 w 364"/>
                  <a:gd name="T61" fmla="*/ 106 h 364"/>
                  <a:gd name="T62" fmla="*/ 128 w 364"/>
                  <a:gd name="T63" fmla="*/ 85 h 364"/>
                  <a:gd name="T64" fmla="*/ 150 w 364"/>
                  <a:gd name="T65" fmla="*/ 74 h 364"/>
                  <a:gd name="T66" fmla="*/ 179 w 364"/>
                  <a:gd name="T67" fmla="*/ 69 h 364"/>
                  <a:gd name="T68" fmla="*/ 181 w 364"/>
                  <a:gd name="T69" fmla="*/ 37 h 364"/>
                  <a:gd name="T70" fmla="*/ 198 w 364"/>
                  <a:gd name="T71" fmla="*/ 37 h 364"/>
                  <a:gd name="T72" fmla="*/ 206 w 364"/>
                  <a:gd name="T73" fmla="*/ 40 h 364"/>
                  <a:gd name="T74" fmla="*/ 207 w 364"/>
                  <a:gd name="T75" fmla="*/ 48 h 364"/>
                  <a:gd name="T76" fmla="*/ 206 w 364"/>
                  <a:gd name="T77" fmla="*/ 69 h 364"/>
                  <a:gd name="T78" fmla="*/ 226 w 364"/>
                  <a:gd name="T79" fmla="*/ 71 h 364"/>
                  <a:gd name="T80" fmla="*/ 240 w 364"/>
                  <a:gd name="T81" fmla="*/ 75 h 364"/>
                  <a:gd name="T82" fmla="*/ 250 w 364"/>
                  <a:gd name="T83" fmla="*/ 83 h 364"/>
                  <a:gd name="T84" fmla="*/ 252 w 364"/>
                  <a:gd name="T85" fmla="*/ 93 h 364"/>
                  <a:gd name="T86" fmla="*/ 252 w 364"/>
                  <a:gd name="T87" fmla="*/ 114 h 364"/>
                  <a:gd name="T88" fmla="*/ 227 w 364"/>
                  <a:gd name="T89" fmla="*/ 112 h 364"/>
                  <a:gd name="T90" fmla="*/ 202 w 364"/>
                  <a:gd name="T91" fmla="*/ 111 h 364"/>
                  <a:gd name="T92" fmla="*/ 198 w 364"/>
                  <a:gd name="T93" fmla="*/ 161 h 364"/>
                  <a:gd name="T94" fmla="*/ 227 w 364"/>
                  <a:gd name="T95" fmla="*/ 173 h 364"/>
                  <a:gd name="T96" fmla="*/ 246 w 364"/>
                  <a:gd name="T97" fmla="*/ 185 h 364"/>
                  <a:gd name="T98" fmla="*/ 257 w 364"/>
                  <a:gd name="T99" fmla="*/ 203 h 364"/>
                  <a:gd name="T100" fmla="*/ 260 w 364"/>
                  <a:gd name="T101" fmla="*/ 227 h 364"/>
                  <a:gd name="T102" fmla="*/ 255 w 364"/>
                  <a:gd name="T103" fmla="*/ 25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4" h="364">
                    <a:moveTo>
                      <a:pt x="342" y="0"/>
                    </a:moveTo>
                    <a:cubicBezTo>
                      <a:pt x="0" y="0"/>
                      <a:pt x="0" y="0"/>
                      <a:pt x="0" y="0"/>
                    </a:cubicBezTo>
                    <a:cubicBezTo>
                      <a:pt x="0" y="341"/>
                      <a:pt x="0" y="341"/>
                      <a:pt x="0" y="341"/>
                    </a:cubicBezTo>
                    <a:cubicBezTo>
                      <a:pt x="0" y="354"/>
                      <a:pt x="10" y="364"/>
                      <a:pt x="22" y="364"/>
                    </a:cubicBezTo>
                    <a:cubicBezTo>
                      <a:pt x="364" y="364"/>
                      <a:pt x="364" y="364"/>
                      <a:pt x="364" y="364"/>
                    </a:cubicBezTo>
                    <a:cubicBezTo>
                      <a:pt x="364" y="25"/>
                      <a:pt x="364" y="25"/>
                      <a:pt x="364" y="25"/>
                    </a:cubicBezTo>
                    <a:cubicBezTo>
                      <a:pt x="364" y="12"/>
                      <a:pt x="354" y="0"/>
                      <a:pt x="342" y="0"/>
                    </a:cubicBezTo>
                    <a:moveTo>
                      <a:pt x="255" y="259"/>
                    </a:moveTo>
                    <a:cubicBezTo>
                      <a:pt x="252" y="267"/>
                      <a:pt x="248" y="274"/>
                      <a:pt x="242" y="280"/>
                    </a:cubicBezTo>
                    <a:cubicBezTo>
                      <a:pt x="236" y="285"/>
                      <a:pt x="228" y="289"/>
                      <a:pt x="219" y="292"/>
                    </a:cubicBezTo>
                    <a:cubicBezTo>
                      <a:pt x="210" y="294"/>
                      <a:pt x="200" y="296"/>
                      <a:pt x="188" y="296"/>
                    </a:cubicBezTo>
                    <a:cubicBezTo>
                      <a:pt x="185" y="330"/>
                      <a:pt x="185" y="330"/>
                      <a:pt x="185" y="330"/>
                    </a:cubicBezTo>
                    <a:cubicBezTo>
                      <a:pt x="168" y="330"/>
                      <a:pt x="168" y="330"/>
                      <a:pt x="168" y="330"/>
                    </a:cubicBezTo>
                    <a:cubicBezTo>
                      <a:pt x="164" y="330"/>
                      <a:pt x="162" y="329"/>
                      <a:pt x="161" y="327"/>
                    </a:cubicBezTo>
                    <a:cubicBezTo>
                      <a:pt x="160" y="325"/>
                      <a:pt x="159" y="323"/>
                      <a:pt x="159" y="320"/>
                    </a:cubicBezTo>
                    <a:cubicBezTo>
                      <a:pt x="161" y="296"/>
                      <a:pt x="161" y="296"/>
                      <a:pt x="161" y="296"/>
                    </a:cubicBezTo>
                    <a:cubicBezTo>
                      <a:pt x="153" y="296"/>
                      <a:pt x="146" y="295"/>
                      <a:pt x="140" y="294"/>
                    </a:cubicBezTo>
                    <a:cubicBezTo>
                      <a:pt x="133" y="293"/>
                      <a:pt x="128" y="292"/>
                      <a:pt x="124" y="290"/>
                    </a:cubicBezTo>
                    <a:cubicBezTo>
                      <a:pt x="119" y="288"/>
                      <a:pt x="116" y="286"/>
                      <a:pt x="114" y="284"/>
                    </a:cubicBezTo>
                    <a:cubicBezTo>
                      <a:pt x="112" y="281"/>
                      <a:pt x="111" y="278"/>
                      <a:pt x="111" y="275"/>
                    </a:cubicBezTo>
                    <a:cubicBezTo>
                      <a:pt x="111" y="251"/>
                      <a:pt x="111" y="251"/>
                      <a:pt x="111" y="251"/>
                    </a:cubicBezTo>
                    <a:cubicBezTo>
                      <a:pt x="115" y="251"/>
                      <a:pt x="119" y="251"/>
                      <a:pt x="124" y="252"/>
                    </a:cubicBezTo>
                    <a:cubicBezTo>
                      <a:pt x="129" y="252"/>
                      <a:pt x="134" y="252"/>
                      <a:pt x="138" y="252"/>
                    </a:cubicBezTo>
                    <a:cubicBezTo>
                      <a:pt x="143" y="252"/>
                      <a:pt x="148" y="253"/>
                      <a:pt x="152" y="253"/>
                    </a:cubicBezTo>
                    <a:cubicBezTo>
                      <a:pt x="157" y="253"/>
                      <a:pt x="161" y="253"/>
                      <a:pt x="165" y="253"/>
                    </a:cubicBezTo>
                    <a:cubicBezTo>
                      <a:pt x="169" y="202"/>
                      <a:pt x="169" y="202"/>
                      <a:pt x="169" y="202"/>
                    </a:cubicBezTo>
                    <a:cubicBezTo>
                      <a:pt x="158" y="198"/>
                      <a:pt x="149" y="195"/>
                      <a:pt x="141" y="191"/>
                    </a:cubicBezTo>
                    <a:cubicBezTo>
                      <a:pt x="133" y="186"/>
                      <a:pt x="127" y="182"/>
                      <a:pt x="122" y="176"/>
                    </a:cubicBezTo>
                    <a:cubicBezTo>
                      <a:pt x="117" y="171"/>
                      <a:pt x="114" y="165"/>
                      <a:pt x="112" y="159"/>
                    </a:cubicBezTo>
                    <a:cubicBezTo>
                      <a:pt x="110" y="152"/>
                      <a:pt x="109" y="145"/>
                      <a:pt x="109" y="137"/>
                    </a:cubicBezTo>
                    <a:cubicBezTo>
                      <a:pt x="109" y="124"/>
                      <a:pt x="110" y="114"/>
                      <a:pt x="114" y="106"/>
                    </a:cubicBezTo>
                    <a:cubicBezTo>
                      <a:pt x="117" y="97"/>
                      <a:pt x="122" y="90"/>
                      <a:pt x="128" y="85"/>
                    </a:cubicBezTo>
                    <a:cubicBezTo>
                      <a:pt x="134" y="80"/>
                      <a:pt x="142" y="76"/>
                      <a:pt x="150" y="74"/>
                    </a:cubicBezTo>
                    <a:cubicBezTo>
                      <a:pt x="159" y="71"/>
                      <a:pt x="168" y="70"/>
                      <a:pt x="179" y="69"/>
                    </a:cubicBezTo>
                    <a:cubicBezTo>
                      <a:pt x="181" y="37"/>
                      <a:pt x="181" y="37"/>
                      <a:pt x="181" y="37"/>
                    </a:cubicBezTo>
                    <a:cubicBezTo>
                      <a:pt x="198" y="37"/>
                      <a:pt x="198" y="37"/>
                      <a:pt x="198" y="37"/>
                    </a:cubicBezTo>
                    <a:cubicBezTo>
                      <a:pt x="202" y="37"/>
                      <a:pt x="205" y="38"/>
                      <a:pt x="206" y="40"/>
                    </a:cubicBezTo>
                    <a:cubicBezTo>
                      <a:pt x="207" y="42"/>
                      <a:pt x="207" y="45"/>
                      <a:pt x="207" y="48"/>
                    </a:cubicBezTo>
                    <a:cubicBezTo>
                      <a:pt x="206" y="69"/>
                      <a:pt x="206" y="69"/>
                      <a:pt x="206" y="69"/>
                    </a:cubicBezTo>
                    <a:cubicBezTo>
                      <a:pt x="213" y="69"/>
                      <a:pt x="220" y="70"/>
                      <a:pt x="226" y="71"/>
                    </a:cubicBezTo>
                    <a:cubicBezTo>
                      <a:pt x="231" y="73"/>
                      <a:pt x="236" y="74"/>
                      <a:pt x="240" y="75"/>
                    </a:cubicBezTo>
                    <a:cubicBezTo>
                      <a:pt x="246" y="78"/>
                      <a:pt x="249" y="80"/>
                      <a:pt x="250" y="83"/>
                    </a:cubicBezTo>
                    <a:cubicBezTo>
                      <a:pt x="251" y="87"/>
                      <a:pt x="252" y="90"/>
                      <a:pt x="252" y="93"/>
                    </a:cubicBezTo>
                    <a:cubicBezTo>
                      <a:pt x="252" y="114"/>
                      <a:pt x="252" y="114"/>
                      <a:pt x="252" y="114"/>
                    </a:cubicBezTo>
                    <a:cubicBezTo>
                      <a:pt x="244" y="113"/>
                      <a:pt x="236" y="112"/>
                      <a:pt x="227" y="112"/>
                    </a:cubicBezTo>
                    <a:cubicBezTo>
                      <a:pt x="219" y="112"/>
                      <a:pt x="211" y="111"/>
                      <a:pt x="202" y="111"/>
                    </a:cubicBezTo>
                    <a:cubicBezTo>
                      <a:pt x="198" y="161"/>
                      <a:pt x="198" y="161"/>
                      <a:pt x="198" y="161"/>
                    </a:cubicBezTo>
                    <a:cubicBezTo>
                      <a:pt x="210" y="165"/>
                      <a:pt x="219" y="169"/>
                      <a:pt x="227" y="173"/>
                    </a:cubicBezTo>
                    <a:cubicBezTo>
                      <a:pt x="235" y="176"/>
                      <a:pt x="241" y="180"/>
                      <a:pt x="246" y="185"/>
                    </a:cubicBezTo>
                    <a:cubicBezTo>
                      <a:pt x="251" y="190"/>
                      <a:pt x="254" y="196"/>
                      <a:pt x="257" y="203"/>
                    </a:cubicBezTo>
                    <a:cubicBezTo>
                      <a:pt x="259" y="209"/>
                      <a:pt x="260" y="218"/>
                      <a:pt x="260" y="227"/>
                    </a:cubicBezTo>
                    <a:cubicBezTo>
                      <a:pt x="260" y="240"/>
                      <a:pt x="258" y="250"/>
                      <a:pt x="255" y="2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42" name="Freeform 514"/>
              <p:cNvSpPr>
                <a:spLocks/>
              </p:cNvSpPr>
              <p:nvPr/>
            </p:nvSpPr>
            <p:spPr bwMode="auto">
              <a:xfrm>
                <a:off x="4459288" y="2305051"/>
                <a:ext cx="79375" cy="165100"/>
              </a:xfrm>
              <a:custGeom>
                <a:avLst/>
                <a:gdLst>
                  <a:gd name="T0" fmla="*/ 4 w 21"/>
                  <a:gd name="T1" fmla="*/ 6 h 44"/>
                  <a:gd name="T2" fmla="*/ 0 w 21"/>
                  <a:gd name="T3" fmla="*/ 22 h 44"/>
                  <a:gd name="T4" fmla="*/ 4 w 21"/>
                  <a:gd name="T5" fmla="*/ 36 h 44"/>
                  <a:gd name="T6" fmla="*/ 18 w 21"/>
                  <a:gd name="T7" fmla="*/ 44 h 44"/>
                  <a:gd name="T8" fmla="*/ 21 w 21"/>
                  <a:gd name="T9" fmla="*/ 0 h 44"/>
                  <a:gd name="T10" fmla="*/ 4 w 21"/>
                  <a:gd name="T11" fmla="*/ 6 h 44"/>
                </a:gdLst>
                <a:ahLst/>
                <a:cxnLst>
                  <a:cxn ang="0">
                    <a:pos x="T0" y="T1"/>
                  </a:cxn>
                  <a:cxn ang="0">
                    <a:pos x="T2" y="T3"/>
                  </a:cxn>
                  <a:cxn ang="0">
                    <a:pos x="T4" y="T5"/>
                  </a:cxn>
                  <a:cxn ang="0">
                    <a:pos x="T6" y="T7"/>
                  </a:cxn>
                  <a:cxn ang="0">
                    <a:pos x="T8" y="T9"/>
                  </a:cxn>
                  <a:cxn ang="0">
                    <a:pos x="T10" y="T11"/>
                  </a:cxn>
                </a:cxnLst>
                <a:rect l="0" t="0" r="r" b="b"/>
                <a:pathLst>
                  <a:path w="21" h="44">
                    <a:moveTo>
                      <a:pt x="4" y="6"/>
                    </a:moveTo>
                    <a:cubicBezTo>
                      <a:pt x="1" y="10"/>
                      <a:pt x="0" y="15"/>
                      <a:pt x="0" y="22"/>
                    </a:cubicBezTo>
                    <a:cubicBezTo>
                      <a:pt x="0" y="28"/>
                      <a:pt x="1" y="33"/>
                      <a:pt x="4" y="36"/>
                    </a:cubicBezTo>
                    <a:cubicBezTo>
                      <a:pt x="7" y="39"/>
                      <a:pt x="11" y="42"/>
                      <a:pt x="18" y="44"/>
                    </a:cubicBezTo>
                    <a:cubicBezTo>
                      <a:pt x="21" y="0"/>
                      <a:pt x="21" y="0"/>
                      <a:pt x="21" y="0"/>
                    </a:cubicBezTo>
                    <a:cubicBezTo>
                      <a:pt x="13" y="0"/>
                      <a:pt x="7" y="3"/>
                      <a:pt x="4"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43" name="Freeform 515"/>
              <p:cNvSpPr>
                <a:spLocks/>
              </p:cNvSpPr>
              <p:nvPr/>
            </p:nvSpPr>
            <p:spPr bwMode="auto">
              <a:xfrm>
                <a:off x="4598988" y="2662238"/>
                <a:ext cx="82550" cy="173038"/>
              </a:xfrm>
              <a:custGeom>
                <a:avLst/>
                <a:gdLst>
                  <a:gd name="T0" fmla="*/ 4 w 22"/>
                  <a:gd name="T1" fmla="*/ 0 h 46"/>
                  <a:gd name="T2" fmla="*/ 0 w 22"/>
                  <a:gd name="T3" fmla="*/ 46 h 46"/>
                  <a:gd name="T4" fmla="*/ 18 w 22"/>
                  <a:gd name="T5" fmla="*/ 39 h 46"/>
                  <a:gd name="T6" fmla="*/ 22 w 22"/>
                  <a:gd name="T7" fmla="*/ 23 h 46"/>
                  <a:gd name="T8" fmla="*/ 18 w 22"/>
                  <a:gd name="T9" fmla="*/ 7 h 46"/>
                  <a:gd name="T10" fmla="*/ 4 w 22"/>
                  <a:gd name="T11" fmla="*/ 0 h 46"/>
                </a:gdLst>
                <a:ahLst/>
                <a:cxnLst>
                  <a:cxn ang="0">
                    <a:pos x="T0" y="T1"/>
                  </a:cxn>
                  <a:cxn ang="0">
                    <a:pos x="T2" y="T3"/>
                  </a:cxn>
                  <a:cxn ang="0">
                    <a:pos x="T4" y="T5"/>
                  </a:cxn>
                  <a:cxn ang="0">
                    <a:pos x="T6" y="T7"/>
                  </a:cxn>
                  <a:cxn ang="0">
                    <a:pos x="T8" y="T9"/>
                  </a:cxn>
                  <a:cxn ang="0">
                    <a:pos x="T10" y="T11"/>
                  </a:cxn>
                </a:cxnLst>
                <a:rect l="0" t="0" r="r" b="b"/>
                <a:pathLst>
                  <a:path w="22" h="46">
                    <a:moveTo>
                      <a:pt x="4" y="0"/>
                    </a:moveTo>
                    <a:cubicBezTo>
                      <a:pt x="0" y="46"/>
                      <a:pt x="0" y="46"/>
                      <a:pt x="0" y="46"/>
                    </a:cubicBezTo>
                    <a:cubicBezTo>
                      <a:pt x="9" y="45"/>
                      <a:pt x="14" y="43"/>
                      <a:pt x="18" y="39"/>
                    </a:cubicBezTo>
                    <a:cubicBezTo>
                      <a:pt x="21" y="35"/>
                      <a:pt x="22" y="30"/>
                      <a:pt x="22" y="23"/>
                    </a:cubicBezTo>
                    <a:cubicBezTo>
                      <a:pt x="22" y="15"/>
                      <a:pt x="21" y="10"/>
                      <a:pt x="18" y="7"/>
                    </a:cubicBezTo>
                    <a:cubicBezTo>
                      <a:pt x="15" y="5"/>
                      <a:pt x="10"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nvGrpSpPr>
            <p:cNvPr id="444" name="Group 443"/>
            <p:cNvGrpSpPr/>
            <p:nvPr/>
          </p:nvGrpSpPr>
          <p:grpSpPr>
            <a:xfrm>
              <a:off x="2982992" y="2809769"/>
              <a:ext cx="399347" cy="399811"/>
              <a:chOff x="3879851" y="1882776"/>
              <a:chExt cx="1368425" cy="1370013"/>
            </a:xfrm>
            <a:solidFill>
              <a:srgbClr val="000000"/>
            </a:solidFill>
          </p:grpSpPr>
          <p:sp>
            <p:nvSpPr>
              <p:cNvPr id="445" name="Freeform 513"/>
              <p:cNvSpPr>
                <a:spLocks noEditPoints="1"/>
              </p:cNvSpPr>
              <p:nvPr/>
            </p:nvSpPr>
            <p:spPr bwMode="auto">
              <a:xfrm>
                <a:off x="3879851" y="1882776"/>
                <a:ext cx="1368425" cy="1370013"/>
              </a:xfrm>
              <a:custGeom>
                <a:avLst/>
                <a:gdLst>
                  <a:gd name="T0" fmla="*/ 342 w 364"/>
                  <a:gd name="T1" fmla="*/ 0 h 364"/>
                  <a:gd name="T2" fmla="*/ 0 w 364"/>
                  <a:gd name="T3" fmla="*/ 0 h 364"/>
                  <a:gd name="T4" fmla="*/ 0 w 364"/>
                  <a:gd name="T5" fmla="*/ 341 h 364"/>
                  <a:gd name="T6" fmla="*/ 22 w 364"/>
                  <a:gd name="T7" fmla="*/ 364 h 364"/>
                  <a:gd name="T8" fmla="*/ 364 w 364"/>
                  <a:gd name="T9" fmla="*/ 364 h 364"/>
                  <a:gd name="T10" fmla="*/ 364 w 364"/>
                  <a:gd name="T11" fmla="*/ 25 h 364"/>
                  <a:gd name="T12" fmla="*/ 342 w 364"/>
                  <a:gd name="T13" fmla="*/ 0 h 364"/>
                  <a:gd name="T14" fmla="*/ 255 w 364"/>
                  <a:gd name="T15" fmla="*/ 259 h 364"/>
                  <a:gd name="T16" fmla="*/ 242 w 364"/>
                  <a:gd name="T17" fmla="*/ 280 h 364"/>
                  <a:gd name="T18" fmla="*/ 219 w 364"/>
                  <a:gd name="T19" fmla="*/ 292 h 364"/>
                  <a:gd name="T20" fmla="*/ 188 w 364"/>
                  <a:gd name="T21" fmla="*/ 296 h 364"/>
                  <a:gd name="T22" fmla="*/ 185 w 364"/>
                  <a:gd name="T23" fmla="*/ 330 h 364"/>
                  <a:gd name="T24" fmla="*/ 168 w 364"/>
                  <a:gd name="T25" fmla="*/ 330 h 364"/>
                  <a:gd name="T26" fmla="*/ 161 w 364"/>
                  <a:gd name="T27" fmla="*/ 327 h 364"/>
                  <a:gd name="T28" fmla="*/ 159 w 364"/>
                  <a:gd name="T29" fmla="*/ 320 h 364"/>
                  <a:gd name="T30" fmla="*/ 161 w 364"/>
                  <a:gd name="T31" fmla="*/ 296 h 364"/>
                  <a:gd name="T32" fmla="*/ 140 w 364"/>
                  <a:gd name="T33" fmla="*/ 294 h 364"/>
                  <a:gd name="T34" fmla="*/ 124 w 364"/>
                  <a:gd name="T35" fmla="*/ 290 h 364"/>
                  <a:gd name="T36" fmla="*/ 114 w 364"/>
                  <a:gd name="T37" fmla="*/ 284 h 364"/>
                  <a:gd name="T38" fmla="*/ 111 w 364"/>
                  <a:gd name="T39" fmla="*/ 275 h 364"/>
                  <a:gd name="T40" fmla="*/ 111 w 364"/>
                  <a:gd name="T41" fmla="*/ 251 h 364"/>
                  <a:gd name="T42" fmla="*/ 124 w 364"/>
                  <a:gd name="T43" fmla="*/ 252 h 364"/>
                  <a:gd name="T44" fmla="*/ 138 w 364"/>
                  <a:gd name="T45" fmla="*/ 252 h 364"/>
                  <a:gd name="T46" fmla="*/ 152 w 364"/>
                  <a:gd name="T47" fmla="*/ 253 h 364"/>
                  <a:gd name="T48" fmla="*/ 165 w 364"/>
                  <a:gd name="T49" fmla="*/ 253 h 364"/>
                  <a:gd name="T50" fmla="*/ 169 w 364"/>
                  <a:gd name="T51" fmla="*/ 202 h 364"/>
                  <a:gd name="T52" fmla="*/ 141 w 364"/>
                  <a:gd name="T53" fmla="*/ 191 h 364"/>
                  <a:gd name="T54" fmla="*/ 122 w 364"/>
                  <a:gd name="T55" fmla="*/ 176 h 364"/>
                  <a:gd name="T56" fmla="*/ 112 w 364"/>
                  <a:gd name="T57" fmla="*/ 159 h 364"/>
                  <a:gd name="T58" fmla="*/ 109 w 364"/>
                  <a:gd name="T59" fmla="*/ 137 h 364"/>
                  <a:gd name="T60" fmla="*/ 114 w 364"/>
                  <a:gd name="T61" fmla="*/ 106 h 364"/>
                  <a:gd name="T62" fmla="*/ 128 w 364"/>
                  <a:gd name="T63" fmla="*/ 85 h 364"/>
                  <a:gd name="T64" fmla="*/ 150 w 364"/>
                  <a:gd name="T65" fmla="*/ 74 h 364"/>
                  <a:gd name="T66" fmla="*/ 179 w 364"/>
                  <a:gd name="T67" fmla="*/ 69 h 364"/>
                  <a:gd name="T68" fmla="*/ 181 w 364"/>
                  <a:gd name="T69" fmla="*/ 37 h 364"/>
                  <a:gd name="T70" fmla="*/ 198 w 364"/>
                  <a:gd name="T71" fmla="*/ 37 h 364"/>
                  <a:gd name="T72" fmla="*/ 206 w 364"/>
                  <a:gd name="T73" fmla="*/ 40 h 364"/>
                  <a:gd name="T74" fmla="*/ 207 w 364"/>
                  <a:gd name="T75" fmla="*/ 48 h 364"/>
                  <a:gd name="T76" fmla="*/ 206 w 364"/>
                  <a:gd name="T77" fmla="*/ 69 h 364"/>
                  <a:gd name="T78" fmla="*/ 226 w 364"/>
                  <a:gd name="T79" fmla="*/ 71 h 364"/>
                  <a:gd name="T80" fmla="*/ 240 w 364"/>
                  <a:gd name="T81" fmla="*/ 75 h 364"/>
                  <a:gd name="T82" fmla="*/ 250 w 364"/>
                  <a:gd name="T83" fmla="*/ 83 h 364"/>
                  <a:gd name="T84" fmla="*/ 252 w 364"/>
                  <a:gd name="T85" fmla="*/ 93 h 364"/>
                  <a:gd name="T86" fmla="*/ 252 w 364"/>
                  <a:gd name="T87" fmla="*/ 114 h 364"/>
                  <a:gd name="T88" fmla="*/ 227 w 364"/>
                  <a:gd name="T89" fmla="*/ 112 h 364"/>
                  <a:gd name="T90" fmla="*/ 202 w 364"/>
                  <a:gd name="T91" fmla="*/ 111 h 364"/>
                  <a:gd name="T92" fmla="*/ 198 w 364"/>
                  <a:gd name="T93" fmla="*/ 161 h 364"/>
                  <a:gd name="T94" fmla="*/ 227 w 364"/>
                  <a:gd name="T95" fmla="*/ 173 h 364"/>
                  <a:gd name="T96" fmla="*/ 246 w 364"/>
                  <a:gd name="T97" fmla="*/ 185 h 364"/>
                  <a:gd name="T98" fmla="*/ 257 w 364"/>
                  <a:gd name="T99" fmla="*/ 203 h 364"/>
                  <a:gd name="T100" fmla="*/ 260 w 364"/>
                  <a:gd name="T101" fmla="*/ 227 h 364"/>
                  <a:gd name="T102" fmla="*/ 255 w 364"/>
                  <a:gd name="T103" fmla="*/ 25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4" h="364">
                    <a:moveTo>
                      <a:pt x="342" y="0"/>
                    </a:moveTo>
                    <a:cubicBezTo>
                      <a:pt x="0" y="0"/>
                      <a:pt x="0" y="0"/>
                      <a:pt x="0" y="0"/>
                    </a:cubicBezTo>
                    <a:cubicBezTo>
                      <a:pt x="0" y="341"/>
                      <a:pt x="0" y="341"/>
                      <a:pt x="0" y="341"/>
                    </a:cubicBezTo>
                    <a:cubicBezTo>
                      <a:pt x="0" y="354"/>
                      <a:pt x="10" y="364"/>
                      <a:pt x="22" y="364"/>
                    </a:cubicBezTo>
                    <a:cubicBezTo>
                      <a:pt x="364" y="364"/>
                      <a:pt x="364" y="364"/>
                      <a:pt x="364" y="364"/>
                    </a:cubicBezTo>
                    <a:cubicBezTo>
                      <a:pt x="364" y="25"/>
                      <a:pt x="364" y="25"/>
                      <a:pt x="364" y="25"/>
                    </a:cubicBezTo>
                    <a:cubicBezTo>
                      <a:pt x="364" y="12"/>
                      <a:pt x="354" y="0"/>
                      <a:pt x="342" y="0"/>
                    </a:cubicBezTo>
                    <a:moveTo>
                      <a:pt x="255" y="259"/>
                    </a:moveTo>
                    <a:cubicBezTo>
                      <a:pt x="252" y="267"/>
                      <a:pt x="248" y="274"/>
                      <a:pt x="242" y="280"/>
                    </a:cubicBezTo>
                    <a:cubicBezTo>
                      <a:pt x="236" y="285"/>
                      <a:pt x="228" y="289"/>
                      <a:pt x="219" y="292"/>
                    </a:cubicBezTo>
                    <a:cubicBezTo>
                      <a:pt x="210" y="294"/>
                      <a:pt x="200" y="296"/>
                      <a:pt x="188" y="296"/>
                    </a:cubicBezTo>
                    <a:cubicBezTo>
                      <a:pt x="185" y="330"/>
                      <a:pt x="185" y="330"/>
                      <a:pt x="185" y="330"/>
                    </a:cubicBezTo>
                    <a:cubicBezTo>
                      <a:pt x="168" y="330"/>
                      <a:pt x="168" y="330"/>
                      <a:pt x="168" y="330"/>
                    </a:cubicBezTo>
                    <a:cubicBezTo>
                      <a:pt x="164" y="330"/>
                      <a:pt x="162" y="329"/>
                      <a:pt x="161" y="327"/>
                    </a:cubicBezTo>
                    <a:cubicBezTo>
                      <a:pt x="160" y="325"/>
                      <a:pt x="159" y="323"/>
                      <a:pt x="159" y="320"/>
                    </a:cubicBezTo>
                    <a:cubicBezTo>
                      <a:pt x="161" y="296"/>
                      <a:pt x="161" y="296"/>
                      <a:pt x="161" y="296"/>
                    </a:cubicBezTo>
                    <a:cubicBezTo>
                      <a:pt x="153" y="296"/>
                      <a:pt x="146" y="295"/>
                      <a:pt x="140" y="294"/>
                    </a:cubicBezTo>
                    <a:cubicBezTo>
                      <a:pt x="133" y="293"/>
                      <a:pt x="128" y="292"/>
                      <a:pt x="124" y="290"/>
                    </a:cubicBezTo>
                    <a:cubicBezTo>
                      <a:pt x="119" y="288"/>
                      <a:pt x="116" y="286"/>
                      <a:pt x="114" y="284"/>
                    </a:cubicBezTo>
                    <a:cubicBezTo>
                      <a:pt x="112" y="281"/>
                      <a:pt x="111" y="278"/>
                      <a:pt x="111" y="275"/>
                    </a:cubicBezTo>
                    <a:cubicBezTo>
                      <a:pt x="111" y="251"/>
                      <a:pt x="111" y="251"/>
                      <a:pt x="111" y="251"/>
                    </a:cubicBezTo>
                    <a:cubicBezTo>
                      <a:pt x="115" y="251"/>
                      <a:pt x="119" y="251"/>
                      <a:pt x="124" y="252"/>
                    </a:cubicBezTo>
                    <a:cubicBezTo>
                      <a:pt x="129" y="252"/>
                      <a:pt x="134" y="252"/>
                      <a:pt x="138" y="252"/>
                    </a:cubicBezTo>
                    <a:cubicBezTo>
                      <a:pt x="143" y="252"/>
                      <a:pt x="148" y="253"/>
                      <a:pt x="152" y="253"/>
                    </a:cubicBezTo>
                    <a:cubicBezTo>
                      <a:pt x="157" y="253"/>
                      <a:pt x="161" y="253"/>
                      <a:pt x="165" y="253"/>
                    </a:cubicBezTo>
                    <a:cubicBezTo>
                      <a:pt x="169" y="202"/>
                      <a:pt x="169" y="202"/>
                      <a:pt x="169" y="202"/>
                    </a:cubicBezTo>
                    <a:cubicBezTo>
                      <a:pt x="158" y="198"/>
                      <a:pt x="149" y="195"/>
                      <a:pt x="141" y="191"/>
                    </a:cubicBezTo>
                    <a:cubicBezTo>
                      <a:pt x="133" y="186"/>
                      <a:pt x="127" y="182"/>
                      <a:pt x="122" y="176"/>
                    </a:cubicBezTo>
                    <a:cubicBezTo>
                      <a:pt x="117" y="171"/>
                      <a:pt x="114" y="165"/>
                      <a:pt x="112" y="159"/>
                    </a:cubicBezTo>
                    <a:cubicBezTo>
                      <a:pt x="110" y="152"/>
                      <a:pt x="109" y="145"/>
                      <a:pt x="109" y="137"/>
                    </a:cubicBezTo>
                    <a:cubicBezTo>
                      <a:pt x="109" y="124"/>
                      <a:pt x="110" y="114"/>
                      <a:pt x="114" y="106"/>
                    </a:cubicBezTo>
                    <a:cubicBezTo>
                      <a:pt x="117" y="97"/>
                      <a:pt x="122" y="90"/>
                      <a:pt x="128" y="85"/>
                    </a:cubicBezTo>
                    <a:cubicBezTo>
                      <a:pt x="134" y="80"/>
                      <a:pt x="142" y="76"/>
                      <a:pt x="150" y="74"/>
                    </a:cubicBezTo>
                    <a:cubicBezTo>
                      <a:pt x="159" y="71"/>
                      <a:pt x="168" y="70"/>
                      <a:pt x="179" y="69"/>
                    </a:cubicBezTo>
                    <a:cubicBezTo>
                      <a:pt x="181" y="37"/>
                      <a:pt x="181" y="37"/>
                      <a:pt x="181" y="37"/>
                    </a:cubicBezTo>
                    <a:cubicBezTo>
                      <a:pt x="198" y="37"/>
                      <a:pt x="198" y="37"/>
                      <a:pt x="198" y="37"/>
                    </a:cubicBezTo>
                    <a:cubicBezTo>
                      <a:pt x="202" y="37"/>
                      <a:pt x="205" y="38"/>
                      <a:pt x="206" y="40"/>
                    </a:cubicBezTo>
                    <a:cubicBezTo>
                      <a:pt x="207" y="42"/>
                      <a:pt x="207" y="45"/>
                      <a:pt x="207" y="48"/>
                    </a:cubicBezTo>
                    <a:cubicBezTo>
                      <a:pt x="206" y="69"/>
                      <a:pt x="206" y="69"/>
                      <a:pt x="206" y="69"/>
                    </a:cubicBezTo>
                    <a:cubicBezTo>
                      <a:pt x="213" y="69"/>
                      <a:pt x="220" y="70"/>
                      <a:pt x="226" y="71"/>
                    </a:cubicBezTo>
                    <a:cubicBezTo>
                      <a:pt x="231" y="73"/>
                      <a:pt x="236" y="74"/>
                      <a:pt x="240" y="75"/>
                    </a:cubicBezTo>
                    <a:cubicBezTo>
                      <a:pt x="246" y="78"/>
                      <a:pt x="249" y="80"/>
                      <a:pt x="250" y="83"/>
                    </a:cubicBezTo>
                    <a:cubicBezTo>
                      <a:pt x="251" y="87"/>
                      <a:pt x="252" y="90"/>
                      <a:pt x="252" y="93"/>
                    </a:cubicBezTo>
                    <a:cubicBezTo>
                      <a:pt x="252" y="114"/>
                      <a:pt x="252" y="114"/>
                      <a:pt x="252" y="114"/>
                    </a:cubicBezTo>
                    <a:cubicBezTo>
                      <a:pt x="244" y="113"/>
                      <a:pt x="236" y="112"/>
                      <a:pt x="227" y="112"/>
                    </a:cubicBezTo>
                    <a:cubicBezTo>
                      <a:pt x="219" y="112"/>
                      <a:pt x="211" y="111"/>
                      <a:pt x="202" y="111"/>
                    </a:cubicBezTo>
                    <a:cubicBezTo>
                      <a:pt x="198" y="161"/>
                      <a:pt x="198" y="161"/>
                      <a:pt x="198" y="161"/>
                    </a:cubicBezTo>
                    <a:cubicBezTo>
                      <a:pt x="210" y="165"/>
                      <a:pt x="219" y="169"/>
                      <a:pt x="227" y="173"/>
                    </a:cubicBezTo>
                    <a:cubicBezTo>
                      <a:pt x="235" y="176"/>
                      <a:pt x="241" y="180"/>
                      <a:pt x="246" y="185"/>
                    </a:cubicBezTo>
                    <a:cubicBezTo>
                      <a:pt x="251" y="190"/>
                      <a:pt x="254" y="196"/>
                      <a:pt x="257" y="203"/>
                    </a:cubicBezTo>
                    <a:cubicBezTo>
                      <a:pt x="259" y="209"/>
                      <a:pt x="260" y="218"/>
                      <a:pt x="260" y="227"/>
                    </a:cubicBezTo>
                    <a:cubicBezTo>
                      <a:pt x="260" y="240"/>
                      <a:pt x="258" y="250"/>
                      <a:pt x="255" y="2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46" name="Freeform 514"/>
              <p:cNvSpPr>
                <a:spLocks/>
              </p:cNvSpPr>
              <p:nvPr/>
            </p:nvSpPr>
            <p:spPr bwMode="auto">
              <a:xfrm>
                <a:off x="4459288" y="2305051"/>
                <a:ext cx="79375" cy="165100"/>
              </a:xfrm>
              <a:custGeom>
                <a:avLst/>
                <a:gdLst>
                  <a:gd name="T0" fmla="*/ 4 w 21"/>
                  <a:gd name="T1" fmla="*/ 6 h 44"/>
                  <a:gd name="T2" fmla="*/ 0 w 21"/>
                  <a:gd name="T3" fmla="*/ 22 h 44"/>
                  <a:gd name="T4" fmla="*/ 4 w 21"/>
                  <a:gd name="T5" fmla="*/ 36 h 44"/>
                  <a:gd name="T6" fmla="*/ 18 w 21"/>
                  <a:gd name="T7" fmla="*/ 44 h 44"/>
                  <a:gd name="T8" fmla="*/ 21 w 21"/>
                  <a:gd name="T9" fmla="*/ 0 h 44"/>
                  <a:gd name="T10" fmla="*/ 4 w 21"/>
                  <a:gd name="T11" fmla="*/ 6 h 44"/>
                </a:gdLst>
                <a:ahLst/>
                <a:cxnLst>
                  <a:cxn ang="0">
                    <a:pos x="T0" y="T1"/>
                  </a:cxn>
                  <a:cxn ang="0">
                    <a:pos x="T2" y="T3"/>
                  </a:cxn>
                  <a:cxn ang="0">
                    <a:pos x="T4" y="T5"/>
                  </a:cxn>
                  <a:cxn ang="0">
                    <a:pos x="T6" y="T7"/>
                  </a:cxn>
                  <a:cxn ang="0">
                    <a:pos x="T8" y="T9"/>
                  </a:cxn>
                  <a:cxn ang="0">
                    <a:pos x="T10" y="T11"/>
                  </a:cxn>
                </a:cxnLst>
                <a:rect l="0" t="0" r="r" b="b"/>
                <a:pathLst>
                  <a:path w="21" h="44">
                    <a:moveTo>
                      <a:pt x="4" y="6"/>
                    </a:moveTo>
                    <a:cubicBezTo>
                      <a:pt x="1" y="10"/>
                      <a:pt x="0" y="15"/>
                      <a:pt x="0" y="22"/>
                    </a:cubicBezTo>
                    <a:cubicBezTo>
                      <a:pt x="0" y="28"/>
                      <a:pt x="1" y="33"/>
                      <a:pt x="4" y="36"/>
                    </a:cubicBezTo>
                    <a:cubicBezTo>
                      <a:pt x="7" y="39"/>
                      <a:pt x="11" y="42"/>
                      <a:pt x="18" y="44"/>
                    </a:cubicBezTo>
                    <a:cubicBezTo>
                      <a:pt x="21" y="0"/>
                      <a:pt x="21" y="0"/>
                      <a:pt x="21" y="0"/>
                    </a:cubicBezTo>
                    <a:cubicBezTo>
                      <a:pt x="13" y="0"/>
                      <a:pt x="7" y="3"/>
                      <a:pt x="4"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47" name="Freeform 515"/>
              <p:cNvSpPr>
                <a:spLocks/>
              </p:cNvSpPr>
              <p:nvPr/>
            </p:nvSpPr>
            <p:spPr bwMode="auto">
              <a:xfrm>
                <a:off x="4598988" y="2662238"/>
                <a:ext cx="82550" cy="173038"/>
              </a:xfrm>
              <a:custGeom>
                <a:avLst/>
                <a:gdLst>
                  <a:gd name="T0" fmla="*/ 4 w 22"/>
                  <a:gd name="T1" fmla="*/ 0 h 46"/>
                  <a:gd name="T2" fmla="*/ 0 w 22"/>
                  <a:gd name="T3" fmla="*/ 46 h 46"/>
                  <a:gd name="T4" fmla="*/ 18 w 22"/>
                  <a:gd name="T5" fmla="*/ 39 h 46"/>
                  <a:gd name="T6" fmla="*/ 22 w 22"/>
                  <a:gd name="T7" fmla="*/ 23 h 46"/>
                  <a:gd name="T8" fmla="*/ 18 w 22"/>
                  <a:gd name="T9" fmla="*/ 7 h 46"/>
                  <a:gd name="T10" fmla="*/ 4 w 22"/>
                  <a:gd name="T11" fmla="*/ 0 h 46"/>
                </a:gdLst>
                <a:ahLst/>
                <a:cxnLst>
                  <a:cxn ang="0">
                    <a:pos x="T0" y="T1"/>
                  </a:cxn>
                  <a:cxn ang="0">
                    <a:pos x="T2" y="T3"/>
                  </a:cxn>
                  <a:cxn ang="0">
                    <a:pos x="T4" y="T5"/>
                  </a:cxn>
                  <a:cxn ang="0">
                    <a:pos x="T6" y="T7"/>
                  </a:cxn>
                  <a:cxn ang="0">
                    <a:pos x="T8" y="T9"/>
                  </a:cxn>
                  <a:cxn ang="0">
                    <a:pos x="T10" y="T11"/>
                  </a:cxn>
                </a:cxnLst>
                <a:rect l="0" t="0" r="r" b="b"/>
                <a:pathLst>
                  <a:path w="22" h="46">
                    <a:moveTo>
                      <a:pt x="4" y="0"/>
                    </a:moveTo>
                    <a:cubicBezTo>
                      <a:pt x="0" y="46"/>
                      <a:pt x="0" y="46"/>
                      <a:pt x="0" y="46"/>
                    </a:cubicBezTo>
                    <a:cubicBezTo>
                      <a:pt x="9" y="45"/>
                      <a:pt x="14" y="43"/>
                      <a:pt x="18" y="39"/>
                    </a:cubicBezTo>
                    <a:cubicBezTo>
                      <a:pt x="21" y="35"/>
                      <a:pt x="22" y="30"/>
                      <a:pt x="22" y="23"/>
                    </a:cubicBezTo>
                    <a:cubicBezTo>
                      <a:pt x="22" y="15"/>
                      <a:pt x="21" y="10"/>
                      <a:pt x="18" y="7"/>
                    </a:cubicBezTo>
                    <a:cubicBezTo>
                      <a:pt x="15" y="5"/>
                      <a:pt x="10"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nvGrpSpPr>
            <p:cNvPr id="448" name="Group 447"/>
            <p:cNvGrpSpPr/>
            <p:nvPr/>
          </p:nvGrpSpPr>
          <p:grpSpPr>
            <a:xfrm>
              <a:off x="3424758" y="2809769"/>
              <a:ext cx="399347" cy="399811"/>
              <a:chOff x="3879851" y="1882776"/>
              <a:chExt cx="1368425" cy="1370013"/>
            </a:xfrm>
            <a:solidFill>
              <a:srgbClr val="000000"/>
            </a:solidFill>
          </p:grpSpPr>
          <p:sp>
            <p:nvSpPr>
              <p:cNvPr id="449" name="Freeform 513"/>
              <p:cNvSpPr>
                <a:spLocks noEditPoints="1"/>
              </p:cNvSpPr>
              <p:nvPr/>
            </p:nvSpPr>
            <p:spPr bwMode="auto">
              <a:xfrm>
                <a:off x="3879851" y="1882776"/>
                <a:ext cx="1368425" cy="1370013"/>
              </a:xfrm>
              <a:custGeom>
                <a:avLst/>
                <a:gdLst>
                  <a:gd name="T0" fmla="*/ 342 w 364"/>
                  <a:gd name="T1" fmla="*/ 0 h 364"/>
                  <a:gd name="T2" fmla="*/ 0 w 364"/>
                  <a:gd name="T3" fmla="*/ 0 h 364"/>
                  <a:gd name="T4" fmla="*/ 0 w 364"/>
                  <a:gd name="T5" fmla="*/ 341 h 364"/>
                  <a:gd name="T6" fmla="*/ 22 w 364"/>
                  <a:gd name="T7" fmla="*/ 364 h 364"/>
                  <a:gd name="T8" fmla="*/ 364 w 364"/>
                  <a:gd name="T9" fmla="*/ 364 h 364"/>
                  <a:gd name="T10" fmla="*/ 364 w 364"/>
                  <a:gd name="T11" fmla="*/ 25 h 364"/>
                  <a:gd name="T12" fmla="*/ 342 w 364"/>
                  <a:gd name="T13" fmla="*/ 0 h 364"/>
                  <a:gd name="T14" fmla="*/ 255 w 364"/>
                  <a:gd name="T15" fmla="*/ 259 h 364"/>
                  <a:gd name="T16" fmla="*/ 242 w 364"/>
                  <a:gd name="T17" fmla="*/ 280 h 364"/>
                  <a:gd name="T18" fmla="*/ 219 w 364"/>
                  <a:gd name="T19" fmla="*/ 292 h 364"/>
                  <a:gd name="T20" fmla="*/ 188 w 364"/>
                  <a:gd name="T21" fmla="*/ 296 h 364"/>
                  <a:gd name="T22" fmla="*/ 185 w 364"/>
                  <a:gd name="T23" fmla="*/ 330 h 364"/>
                  <a:gd name="T24" fmla="*/ 168 w 364"/>
                  <a:gd name="T25" fmla="*/ 330 h 364"/>
                  <a:gd name="T26" fmla="*/ 161 w 364"/>
                  <a:gd name="T27" fmla="*/ 327 h 364"/>
                  <a:gd name="T28" fmla="*/ 159 w 364"/>
                  <a:gd name="T29" fmla="*/ 320 h 364"/>
                  <a:gd name="T30" fmla="*/ 161 w 364"/>
                  <a:gd name="T31" fmla="*/ 296 h 364"/>
                  <a:gd name="T32" fmla="*/ 140 w 364"/>
                  <a:gd name="T33" fmla="*/ 294 h 364"/>
                  <a:gd name="T34" fmla="*/ 124 w 364"/>
                  <a:gd name="T35" fmla="*/ 290 h 364"/>
                  <a:gd name="T36" fmla="*/ 114 w 364"/>
                  <a:gd name="T37" fmla="*/ 284 h 364"/>
                  <a:gd name="T38" fmla="*/ 111 w 364"/>
                  <a:gd name="T39" fmla="*/ 275 h 364"/>
                  <a:gd name="T40" fmla="*/ 111 w 364"/>
                  <a:gd name="T41" fmla="*/ 251 h 364"/>
                  <a:gd name="T42" fmla="*/ 124 w 364"/>
                  <a:gd name="T43" fmla="*/ 252 h 364"/>
                  <a:gd name="T44" fmla="*/ 138 w 364"/>
                  <a:gd name="T45" fmla="*/ 252 h 364"/>
                  <a:gd name="T46" fmla="*/ 152 w 364"/>
                  <a:gd name="T47" fmla="*/ 253 h 364"/>
                  <a:gd name="T48" fmla="*/ 165 w 364"/>
                  <a:gd name="T49" fmla="*/ 253 h 364"/>
                  <a:gd name="T50" fmla="*/ 169 w 364"/>
                  <a:gd name="T51" fmla="*/ 202 h 364"/>
                  <a:gd name="T52" fmla="*/ 141 w 364"/>
                  <a:gd name="T53" fmla="*/ 191 h 364"/>
                  <a:gd name="T54" fmla="*/ 122 w 364"/>
                  <a:gd name="T55" fmla="*/ 176 h 364"/>
                  <a:gd name="T56" fmla="*/ 112 w 364"/>
                  <a:gd name="T57" fmla="*/ 159 h 364"/>
                  <a:gd name="T58" fmla="*/ 109 w 364"/>
                  <a:gd name="T59" fmla="*/ 137 h 364"/>
                  <a:gd name="T60" fmla="*/ 114 w 364"/>
                  <a:gd name="T61" fmla="*/ 106 h 364"/>
                  <a:gd name="T62" fmla="*/ 128 w 364"/>
                  <a:gd name="T63" fmla="*/ 85 h 364"/>
                  <a:gd name="T64" fmla="*/ 150 w 364"/>
                  <a:gd name="T65" fmla="*/ 74 h 364"/>
                  <a:gd name="T66" fmla="*/ 179 w 364"/>
                  <a:gd name="T67" fmla="*/ 69 h 364"/>
                  <a:gd name="T68" fmla="*/ 181 w 364"/>
                  <a:gd name="T69" fmla="*/ 37 h 364"/>
                  <a:gd name="T70" fmla="*/ 198 w 364"/>
                  <a:gd name="T71" fmla="*/ 37 h 364"/>
                  <a:gd name="T72" fmla="*/ 206 w 364"/>
                  <a:gd name="T73" fmla="*/ 40 h 364"/>
                  <a:gd name="T74" fmla="*/ 207 w 364"/>
                  <a:gd name="T75" fmla="*/ 48 h 364"/>
                  <a:gd name="T76" fmla="*/ 206 w 364"/>
                  <a:gd name="T77" fmla="*/ 69 h 364"/>
                  <a:gd name="T78" fmla="*/ 226 w 364"/>
                  <a:gd name="T79" fmla="*/ 71 h 364"/>
                  <a:gd name="T80" fmla="*/ 240 w 364"/>
                  <a:gd name="T81" fmla="*/ 75 h 364"/>
                  <a:gd name="T82" fmla="*/ 250 w 364"/>
                  <a:gd name="T83" fmla="*/ 83 h 364"/>
                  <a:gd name="T84" fmla="*/ 252 w 364"/>
                  <a:gd name="T85" fmla="*/ 93 h 364"/>
                  <a:gd name="T86" fmla="*/ 252 w 364"/>
                  <a:gd name="T87" fmla="*/ 114 h 364"/>
                  <a:gd name="T88" fmla="*/ 227 w 364"/>
                  <a:gd name="T89" fmla="*/ 112 h 364"/>
                  <a:gd name="T90" fmla="*/ 202 w 364"/>
                  <a:gd name="T91" fmla="*/ 111 h 364"/>
                  <a:gd name="T92" fmla="*/ 198 w 364"/>
                  <a:gd name="T93" fmla="*/ 161 h 364"/>
                  <a:gd name="T94" fmla="*/ 227 w 364"/>
                  <a:gd name="T95" fmla="*/ 173 h 364"/>
                  <a:gd name="T96" fmla="*/ 246 w 364"/>
                  <a:gd name="T97" fmla="*/ 185 h 364"/>
                  <a:gd name="T98" fmla="*/ 257 w 364"/>
                  <a:gd name="T99" fmla="*/ 203 h 364"/>
                  <a:gd name="T100" fmla="*/ 260 w 364"/>
                  <a:gd name="T101" fmla="*/ 227 h 364"/>
                  <a:gd name="T102" fmla="*/ 255 w 364"/>
                  <a:gd name="T103" fmla="*/ 25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4" h="364">
                    <a:moveTo>
                      <a:pt x="342" y="0"/>
                    </a:moveTo>
                    <a:cubicBezTo>
                      <a:pt x="0" y="0"/>
                      <a:pt x="0" y="0"/>
                      <a:pt x="0" y="0"/>
                    </a:cubicBezTo>
                    <a:cubicBezTo>
                      <a:pt x="0" y="341"/>
                      <a:pt x="0" y="341"/>
                      <a:pt x="0" y="341"/>
                    </a:cubicBezTo>
                    <a:cubicBezTo>
                      <a:pt x="0" y="354"/>
                      <a:pt x="10" y="364"/>
                      <a:pt x="22" y="364"/>
                    </a:cubicBezTo>
                    <a:cubicBezTo>
                      <a:pt x="364" y="364"/>
                      <a:pt x="364" y="364"/>
                      <a:pt x="364" y="364"/>
                    </a:cubicBezTo>
                    <a:cubicBezTo>
                      <a:pt x="364" y="25"/>
                      <a:pt x="364" y="25"/>
                      <a:pt x="364" y="25"/>
                    </a:cubicBezTo>
                    <a:cubicBezTo>
                      <a:pt x="364" y="12"/>
                      <a:pt x="354" y="0"/>
                      <a:pt x="342" y="0"/>
                    </a:cubicBezTo>
                    <a:moveTo>
                      <a:pt x="255" y="259"/>
                    </a:moveTo>
                    <a:cubicBezTo>
                      <a:pt x="252" y="267"/>
                      <a:pt x="248" y="274"/>
                      <a:pt x="242" y="280"/>
                    </a:cubicBezTo>
                    <a:cubicBezTo>
                      <a:pt x="236" y="285"/>
                      <a:pt x="228" y="289"/>
                      <a:pt x="219" y="292"/>
                    </a:cubicBezTo>
                    <a:cubicBezTo>
                      <a:pt x="210" y="294"/>
                      <a:pt x="200" y="296"/>
                      <a:pt x="188" y="296"/>
                    </a:cubicBezTo>
                    <a:cubicBezTo>
                      <a:pt x="185" y="330"/>
                      <a:pt x="185" y="330"/>
                      <a:pt x="185" y="330"/>
                    </a:cubicBezTo>
                    <a:cubicBezTo>
                      <a:pt x="168" y="330"/>
                      <a:pt x="168" y="330"/>
                      <a:pt x="168" y="330"/>
                    </a:cubicBezTo>
                    <a:cubicBezTo>
                      <a:pt x="164" y="330"/>
                      <a:pt x="162" y="329"/>
                      <a:pt x="161" y="327"/>
                    </a:cubicBezTo>
                    <a:cubicBezTo>
                      <a:pt x="160" y="325"/>
                      <a:pt x="159" y="323"/>
                      <a:pt x="159" y="320"/>
                    </a:cubicBezTo>
                    <a:cubicBezTo>
                      <a:pt x="161" y="296"/>
                      <a:pt x="161" y="296"/>
                      <a:pt x="161" y="296"/>
                    </a:cubicBezTo>
                    <a:cubicBezTo>
                      <a:pt x="153" y="296"/>
                      <a:pt x="146" y="295"/>
                      <a:pt x="140" y="294"/>
                    </a:cubicBezTo>
                    <a:cubicBezTo>
                      <a:pt x="133" y="293"/>
                      <a:pt x="128" y="292"/>
                      <a:pt x="124" y="290"/>
                    </a:cubicBezTo>
                    <a:cubicBezTo>
                      <a:pt x="119" y="288"/>
                      <a:pt x="116" y="286"/>
                      <a:pt x="114" y="284"/>
                    </a:cubicBezTo>
                    <a:cubicBezTo>
                      <a:pt x="112" y="281"/>
                      <a:pt x="111" y="278"/>
                      <a:pt x="111" y="275"/>
                    </a:cubicBezTo>
                    <a:cubicBezTo>
                      <a:pt x="111" y="251"/>
                      <a:pt x="111" y="251"/>
                      <a:pt x="111" y="251"/>
                    </a:cubicBezTo>
                    <a:cubicBezTo>
                      <a:pt x="115" y="251"/>
                      <a:pt x="119" y="251"/>
                      <a:pt x="124" y="252"/>
                    </a:cubicBezTo>
                    <a:cubicBezTo>
                      <a:pt x="129" y="252"/>
                      <a:pt x="134" y="252"/>
                      <a:pt x="138" y="252"/>
                    </a:cubicBezTo>
                    <a:cubicBezTo>
                      <a:pt x="143" y="252"/>
                      <a:pt x="148" y="253"/>
                      <a:pt x="152" y="253"/>
                    </a:cubicBezTo>
                    <a:cubicBezTo>
                      <a:pt x="157" y="253"/>
                      <a:pt x="161" y="253"/>
                      <a:pt x="165" y="253"/>
                    </a:cubicBezTo>
                    <a:cubicBezTo>
                      <a:pt x="169" y="202"/>
                      <a:pt x="169" y="202"/>
                      <a:pt x="169" y="202"/>
                    </a:cubicBezTo>
                    <a:cubicBezTo>
                      <a:pt x="158" y="198"/>
                      <a:pt x="149" y="195"/>
                      <a:pt x="141" y="191"/>
                    </a:cubicBezTo>
                    <a:cubicBezTo>
                      <a:pt x="133" y="186"/>
                      <a:pt x="127" y="182"/>
                      <a:pt x="122" y="176"/>
                    </a:cubicBezTo>
                    <a:cubicBezTo>
                      <a:pt x="117" y="171"/>
                      <a:pt x="114" y="165"/>
                      <a:pt x="112" y="159"/>
                    </a:cubicBezTo>
                    <a:cubicBezTo>
                      <a:pt x="110" y="152"/>
                      <a:pt x="109" y="145"/>
                      <a:pt x="109" y="137"/>
                    </a:cubicBezTo>
                    <a:cubicBezTo>
                      <a:pt x="109" y="124"/>
                      <a:pt x="110" y="114"/>
                      <a:pt x="114" y="106"/>
                    </a:cubicBezTo>
                    <a:cubicBezTo>
                      <a:pt x="117" y="97"/>
                      <a:pt x="122" y="90"/>
                      <a:pt x="128" y="85"/>
                    </a:cubicBezTo>
                    <a:cubicBezTo>
                      <a:pt x="134" y="80"/>
                      <a:pt x="142" y="76"/>
                      <a:pt x="150" y="74"/>
                    </a:cubicBezTo>
                    <a:cubicBezTo>
                      <a:pt x="159" y="71"/>
                      <a:pt x="168" y="70"/>
                      <a:pt x="179" y="69"/>
                    </a:cubicBezTo>
                    <a:cubicBezTo>
                      <a:pt x="181" y="37"/>
                      <a:pt x="181" y="37"/>
                      <a:pt x="181" y="37"/>
                    </a:cubicBezTo>
                    <a:cubicBezTo>
                      <a:pt x="198" y="37"/>
                      <a:pt x="198" y="37"/>
                      <a:pt x="198" y="37"/>
                    </a:cubicBezTo>
                    <a:cubicBezTo>
                      <a:pt x="202" y="37"/>
                      <a:pt x="205" y="38"/>
                      <a:pt x="206" y="40"/>
                    </a:cubicBezTo>
                    <a:cubicBezTo>
                      <a:pt x="207" y="42"/>
                      <a:pt x="207" y="45"/>
                      <a:pt x="207" y="48"/>
                    </a:cubicBezTo>
                    <a:cubicBezTo>
                      <a:pt x="206" y="69"/>
                      <a:pt x="206" y="69"/>
                      <a:pt x="206" y="69"/>
                    </a:cubicBezTo>
                    <a:cubicBezTo>
                      <a:pt x="213" y="69"/>
                      <a:pt x="220" y="70"/>
                      <a:pt x="226" y="71"/>
                    </a:cubicBezTo>
                    <a:cubicBezTo>
                      <a:pt x="231" y="73"/>
                      <a:pt x="236" y="74"/>
                      <a:pt x="240" y="75"/>
                    </a:cubicBezTo>
                    <a:cubicBezTo>
                      <a:pt x="246" y="78"/>
                      <a:pt x="249" y="80"/>
                      <a:pt x="250" y="83"/>
                    </a:cubicBezTo>
                    <a:cubicBezTo>
                      <a:pt x="251" y="87"/>
                      <a:pt x="252" y="90"/>
                      <a:pt x="252" y="93"/>
                    </a:cubicBezTo>
                    <a:cubicBezTo>
                      <a:pt x="252" y="114"/>
                      <a:pt x="252" y="114"/>
                      <a:pt x="252" y="114"/>
                    </a:cubicBezTo>
                    <a:cubicBezTo>
                      <a:pt x="244" y="113"/>
                      <a:pt x="236" y="112"/>
                      <a:pt x="227" y="112"/>
                    </a:cubicBezTo>
                    <a:cubicBezTo>
                      <a:pt x="219" y="112"/>
                      <a:pt x="211" y="111"/>
                      <a:pt x="202" y="111"/>
                    </a:cubicBezTo>
                    <a:cubicBezTo>
                      <a:pt x="198" y="161"/>
                      <a:pt x="198" y="161"/>
                      <a:pt x="198" y="161"/>
                    </a:cubicBezTo>
                    <a:cubicBezTo>
                      <a:pt x="210" y="165"/>
                      <a:pt x="219" y="169"/>
                      <a:pt x="227" y="173"/>
                    </a:cubicBezTo>
                    <a:cubicBezTo>
                      <a:pt x="235" y="176"/>
                      <a:pt x="241" y="180"/>
                      <a:pt x="246" y="185"/>
                    </a:cubicBezTo>
                    <a:cubicBezTo>
                      <a:pt x="251" y="190"/>
                      <a:pt x="254" y="196"/>
                      <a:pt x="257" y="203"/>
                    </a:cubicBezTo>
                    <a:cubicBezTo>
                      <a:pt x="259" y="209"/>
                      <a:pt x="260" y="218"/>
                      <a:pt x="260" y="227"/>
                    </a:cubicBezTo>
                    <a:cubicBezTo>
                      <a:pt x="260" y="240"/>
                      <a:pt x="258" y="250"/>
                      <a:pt x="255" y="2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50" name="Freeform 514"/>
              <p:cNvSpPr>
                <a:spLocks/>
              </p:cNvSpPr>
              <p:nvPr/>
            </p:nvSpPr>
            <p:spPr bwMode="auto">
              <a:xfrm>
                <a:off x="4459288" y="2305051"/>
                <a:ext cx="79375" cy="165100"/>
              </a:xfrm>
              <a:custGeom>
                <a:avLst/>
                <a:gdLst>
                  <a:gd name="T0" fmla="*/ 4 w 21"/>
                  <a:gd name="T1" fmla="*/ 6 h 44"/>
                  <a:gd name="T2" fmla="*/ 0 w 21"/>
                  <a:gd name="T3" fmla="*/ 22 h 44"/>
                  <a:gd name="T4" fmla="*/ 4 w 21"/>
                  <a:gd name="T5" fmla="*/ 36 h 44"/>
                  <a:gd name="T6" fmla="*/ 18 w 21"/>
                  <a:gd name="T7" fmla="*/ 44 h 44"/>
                  <a:gd name="T8" fmla="*/ 21 w 21"/>
                  <a:gd name="T9" fmla="*/ 0 h 44"/>
                  <a:gd name="T10" fmla="*/ 4 w 21"/>
                  <a:gd name="T11" fmla="*/ 6 h 44"/>
                </a:gdLst>
                <a:ahLst/>
                <a:cxnLst>
                  <a:cxn ang="0">
                    <a:pos x="T0" y="T1"/>
                  </a:cxn>
                  <a:cxn ang="0">
                    <a:pos x="T2" y="T3"/>
                  </a:cxn>
                  <a:cxn ang="0">
                    <a:pos x="T4" y="T5"/>
                  </a:cxn>
                  <a:cxn ang="0">
                    <a:pos x="T6" y="T7"/>
                  </a:cxn>
                  <a:cxn ang="0">
                    <a:pos x="T8" y="T9"/>
                  </a:cxn>
                  <a:cxn ang="0">
                    <a:pos x="T10" y="T11"/>
                  </a:cxn>
                </a:cxnLst>
                <a:rect l="0" t="0" r="r" b="b"/>
                <a:pathLst>
                  <a:path w="21" h="44">
                    <a:moveTo>
                      <a:pt x="4" y="6"/>
                    </a:moveTo>
                    <a:cubicBezTo>
                      <a:pt x="1" y="10"/>
                      <a:pt x="0" y="15"/>
                      <a:pt x="0" y="22"/>
                    </a:cubicBezTo>
                    <a:cubicBezTo>
                      <a:pt x="0" y="28"/>
                      <a:pt x="1" y="33"/>
                      <a:pt x="4" y="36"/>
                    </a:cubicBezTo>
                    <a:cubicBezTo>
                      <a:pt x="7" y="39"/>
                      <a:pt x="11" y="42"/>
                      <a:pt x="18" y="44"/>
                    </a:cubicBezTo>
                    <a:cubicBezTo>
                      <a:pt x="21" y="0"/>
                      <a:pt x="21" y="0"/>
                      <a:pt x="21" y="0"/>
                    </a:cubicBezTo>
                    <a:cubicBezTo>
                      <a:pt x="13" y="0"/>
                      <a:pt x="7" y="3"/>
                      <a:pt x="4"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51" name="Freeform 515"/>
              <p:cNvSpPr>
                <a:spLocks/>
              </p:cNvSpPr>
              <p:nvPr/>
            </p:nvSpPr>
            <p:spPr bwMode="auto">
              <a:xfrm>
                <a:off x="4598988" y="2662238"/>
                <a:ext cx="82550" cy="173038"/>
              </a:xfrm>
              <a:custGeom>
                <a:avLst/>
                <a:gdLst>
                  <a:gd name="T0" fmla="*/ 4 w 22"/>
                  <a:gd name="T1" fmla="*/ 0 h 46"/>
                  <a:gd name="T2" fmla="*/ 0 w 22"/>
                  <a:gd name="T3" fmla="*/ 46 h 46"/>
                  <a:gd name="T4" fmla="*/ 18 w 22"/>
                  <a:gd name="T5" fmla="*/ 39 h 46"/>
                  <a:gd name="T6" fmla="*/ 22 w 22"/>
                  <a:gd name="T7" fmla="*/ 23 h 46"/>
                  <a:gd name="T8" fmla="*/ 18 w 22"/>
                  <a:gd name="T9" fmla="*/ 7 h 46"/>
                  <a:gd name="T10" fmla="*/ 4 w 22"/>
                  <a:gd name="T11" fmla="*/ 0 h 46"/>
                </a:gdLst>
                <a:ahLst/>
                <a:cxnLst>
                  <a:cxn ang="0">
                    <a:pos x="T0" y="T1"/>
                  </a:cxn>
                  <a:cxn ang="0">
                    <a:pos x="T2" y="T3"/>
                  </a:cxn>
                  <a:cxn ang="0">
                    <a:pos x="T4" y="T5"/>
                  </a:cxn>
                  <a:cxn ang="0">
                    <a:pos x="T6" y="T7"/>
                  </a:cxn>
                  <a:cxn ang="0">
                    <a:pos x="T8" y="T9"/>
                  </a:cxn>
                  <a:cxn ang="0">
                    <a:pos x="T10" y="T11"/>
                  </a:cxn>
                </a:cxnLst>
                <a:rect l="0" t="0" r="r" b="b"/>
                <a:pathLst>
                  <a:path w="22" h="46">
                    <a:moveTo>
                      <a:pt x="4" y="0"/>
                    </a:moveTo>
                    <a:cubicBezTo>
                      <a:pt x="0" y="46"/>
                      <a:pt x="0" y="46"/>
                      <a:pt x="0" y="46"/>
                    </a:cubicBezTo>
                    <a:cubicBezTo>
                      <a:pt x="9" y="45"/>
                      <a:pt x="14" y="43"/>
                      <a:pt x="18" y="39"/>
                    </a:cubicBezTo>
                    <a:cubicBezTo>
                      <a:pt x="21" y="35"/>
                      <a:pt x="22" y="30"/>
                      <a:pt x="22" y="23"/>
                    </a:cubicBezTo>
                    <a:cubicBezTo>
                      <a:pt x="22" y="15"/>
                      <a:pt x="21" y="10"/>
                      <a:pt x="18" y="7"/>
                    </a:cubicBezTo>
                    <a:cubicBezTo>
                      <a:pt x="15" y="5"/>
                      <a:pt x="10"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sp>
        <p:nvSpPr>
          <p:cNvPr id="453" name="TextBox 452"/>
          <p:cNvSpPr txBox="1"/>
          <p:nvPr/>
        </p:nvSpPr>
        <p:spPr>
          <a:xfrm>
            <a:off x="8313785" y="3523523"/>
            <a:ext cx="2028685" cy="408176"/>
          </a:xfrm>
          <a:prstGeom prst="rect">
            <a:avLst/>
          </a:prstGeom>
          <a:noFill/>
        </p:spPr>
        <p:txBody>
          <a:bodyPr wrap="square" lIns="129909" tIns="64954" rIns="129909" bIns="64954" rtlCol="0">
            <a:spAutoFit/>
          </a:bodyPr>
          <a:lstStyle/>
          <a:p>
            <a:pPr defTabSz="611204">
              <a:spcAft>
                <a:spcPts val="568"/>
              </a:spcAft>
              <a:buSzPct val="100000"/>
            </a:pPr>
            <a:r>
              <a:rPr lang="zh-CN" altLang="en-US" sz="1800" b="1" dirty="0" smtClean="0">
                <a:solidFill>
                  <a:srgbClr val="002060"/>
                </a:solidFill>
                <a:latin typeface="微软雅黑" pitchFamily="34" charset="-122"/>
                <a:ea typeface="微软雅黑" pitchFamily="34" charset="-122"/>
                <a:cs typeface="HP Simplified" pitchFamily="34" charset="0"/>
              </a:rPr>
              <a:t>我们的企业</a:t>
            </a:r>
            <a:endParaRPr lang="en-US" sz="1800" b="1" dirty="0" smtClean="0">
              <a:solidFill>
                <a:srgbClr val="002060"/>
              </a:solidFill>
              <a:latin typeface="微软雅黑" pitchFamily="34" charset="-122"/>
              <a:ea typeface="微软雅黑" pitchFamily="34" charset="-122"/>
              <a:cs typeface="HP Simplified" pitchFamily="34" charset="0"/>
            </a:endParaRPr>
          </a:p>
        </p:txBody>
      </p:sp>
      <p:sp>
        <p:nvSpPr>
          <p:cNvPr id="455" name="TextBox 454"/>
          <p:cNvSpPr txBox="1"/>
          <p:nvPr/>
        </p:nvSpPr>
        <p:spPr>
          <a:xfrm>
            <a:off x="2641694" y="3523524"/>
            <a:ext cx="2462650" cy="377398"/>
          </a:xfrm>
          <a:prstGeom prst="rect">
            <a:avLst/>
          </a:prstGeom>
          <a:noFill/>
        </p:spPr>
        <p:txBody>
          <a:bodyPr wrap="square" lIns="129909" tIns="64954" rIns="129909" bIns="64954" rtlCol="0">
            <a:spAutoFit/>
          </a:bodyPr>
          <a:lstStyle/>
          <a:p>
            <a:pPr defTabSz="611204">
              <a:spcAft>
                <a:spcPts val="568"/>
              </a:spcAft>
              <a:buSzPct val="100000"/>
            </a:pPr>
            <a:r>
              <a:rPr lang="zh-CN" altLang="en-US" b="1" dirty="0" smtClean="0">
                <a:solidFill>
                  <a:srgbClr val="000000"/>
                </a:solidFill>
                <a:latin typeface="微软雅黑" pitchFamily="34" charset="-122"/>
                <a:ea typeface="微软雅黑" pitchFamily="34" charset="-122"/>
                <a:cs typeface="HP Simplified" pitchFamily="34" charset="0"/>
              </a:rPr>
              <a:t>对手的生态系统</a:t>
            </a:r>
            <a:endParaRPr lang="en-US" b="1" dirty="0" smtClean="0">
              <a:solidFill>
                <a:srgbClr val="000000"/>
              </a:solidFill>
              <a:latin typeface="微软雅黑" pitchFamily="34" charset="-122"/>
              <a:ea typeface="微软雅黑" pitchFamily="34" charset="-122"/>
              <a:cs typeface="HP Simplified" pitchFamily="34" charset="0"/>
            </a:endParaRPr>
          </a:p>
        </p:txBody>
      </p:sp>
      <p:grpSp>
        <p:nvGrpSpPr>
          <p:cNvPr id="2" name="Group 1"/>
          <p:cNvGrpSpPr/>
          <p:nvPr/>
        </p:nvGrpSpPr>
        <p:grpSpPr>
          <a:xfrm>
            <a:off x="5395404" y="1084107"/>
            <a:ext cx="510443" cy="5578311"/>
            <a:chOff x="5326950" y="727538"/>
            <a:chExt cx="385877" cy="4210312"/>
          </a:xfrm>
          <a:solidFill>
            <a:schemeClr val="accent3"/>
          </a:solidFill>
        </p:grpSpPr>
        <p:grpSp>
          <p:nvGrpSpPr>
            <p:cNvPr id="206" name="Group 205"/>
            <p:cNvGrpSpPr/>
            <p:nvPr/>
          </p:nvGrpSpPr>
          <p:grpSpPr>
            <a:xfrm>
              <a:off x="5478169" y="960699"/>
              <a:ext cx="83439" cy="3576577"/>
              <a:chOff x="5396292" y="1038173"/>
              <a:chExt cx="120650" cy="3594099"/>
            </a:xfrm>
            <a:grpFill/>
          </p:grpSpPr>
          <p:sp>
            <p:nvSpPr>
              <p:cNvPr id="219" name="Rectangle 218"/>
              <p:cNvSpPr/>
              <p:nvPr/>
            </p:nvSpPr>
            <p:spPr bwMode="gray">
              <a:xfrm>
                <a:off x="5396292" y="1038173"/>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0" name="Rectangle 219"/>
              <p:cNvSpPr/>
              <p:nvPr/>
            </p:nvSpPr>
            <p:spPr bwMode="gray">
              <a:xfrm>
                <a:off x="5396292" y="1281202"/>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1" name="Rectangle 220"/>
              <p:cNvSpPr/>
              <p:nvPr/>
            </p:nvSpPr>
            <p:spPr bwMode="gray">
              <a:xfrm>
                <a:off x="5396292" y="1524231"/>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2" name="Rectangle 221"/>
              <p:cNvSpPr/>
              <p:nvPr/>
            </p:nvSpPr>
            <p:spPr bwMode="gray">
              <a:xfrm>
                <a:off x="5396292" y="1767260"/>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3" name="Rectangle 222"/>
              <p:cNvSpPr/>
              <p:nvPr/>
            </p:nvSpPr>
            <p:spPr bwMode="gray">
              <a:xfrm>
                <a:off x="5396292" y="2010289"/>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4" name="Rectangle 223"/>
              <p:cNvSpPr/>
              <p:nvPr/>
            </p:nvSpPr>
            <p:spPr bwMode="gray">
              <a:xfrm>
                <a:off x="5396292" y="2253319"/>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5" name="Rectangle 224"/>
              <p:cNvSpPr/>
              <p:nvPr/>
            </p:nvSpPr>
            <p:spPr bwMode="gray">
              <a:xfrm>
                <a:off x="5396292" y="2496349"/>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6" name="Rectangle 225"/>
              <p:cNvSpPr/>
              <p:nvPr/>
            </p:nvSpPr>
            <p:spPr bwMode="gray">
              <a:xfrm>
                <a:off x="5396292" y="2739379"/>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7" name="Rectangle 226"/>
              <p:cNvSpPr/>
              <p:nvPr/>
            </p:nvSpPr>
            <p:spPr bwMode="gray">
              <a:xfrm>
                <a:off x="5396292" y="2982408"/>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8" name="Rectangle 227"/>
              <p:cNvSpPr/>
              <p:nvPr/>
            </p:nvSpPr>
            <p:spPr bwMode="gray">
              <a:xfrm>
                <a:off x="5396292" y="3225437"/>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9" name="Rectangle 228"/>
              <p:cNvSpPr/>
              <p:nvPr/>
            </p:nvSpPr>
            <p:spPr bwMode="gray">
              <a:xfrm>
                <a:off x="5396292" y="3468466"/>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30" name="Rectangle 229"/>
              <p:cNvSpPr/>
              <p:nvPr/>
            </p:nvSpPr>
            <p:spPr bwMode="gray">
              <a:xfrm>
                <a:off x="5396292" y="3711496"/>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31" name="Rectangle 230"/>
              <p:cNvSpPr/>
              <p:nvPr/>
            </p:nvSpPr>
            <p:spPr bwMode="gray">
              <a:xfrm>
                <a:off x="5396292" y="3954526"/>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41" name="Rectangle 240"/>
              <p:cNvSpPr/>
              <p:nvPr/>
            </p:nvSpPr>
            <p:spPr bwMode="gray">
              <a:xfrm>
                <a:off x="5396292" y="4197555"/>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42" name="Rectangle 241"/>
              <p:cNvSpPr/>
              <p:nvPr/>
            </p:nvSpPr>
            <p:spPr bwMode="gray">
              <a:xfrm>
                <a:off x="5396292" y="4440581"/>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grpSp>
        <p:sp>
          <p:nvSpPr>
            <p:cNvPr id="457" name="Freeform 745"/>
            <p:cNvSpPr>
              <a:spLocks noEditPoints="1"/>
            </p:cNvSpPr>
            <p:nvPr/>
          </p:nvSpPr>
          <p:spPr bwMode="auto">
            <a:xfrm>
              <a:off x="5326950" y="727538"/>
              <a:ext cx="385877" cy="460375"/>
            </a:xfrm>
            <a:custGeom>
              <a:avLst/>
              <a:gdLst>
                <a:gd name="T0" fmla="*/ 259 w 280"/>
                <a:gd name="T1" fmla="*/ 153 h 334"/>
                <a:gd name="T2" fmla="*/ 238 w 280"/>
                <a:gd name="T3" fmla="*/ 153 h 334"/>
                <a:gd name="T4" fmla="*/ 238 w 280"/>
                <a:gd name="T5" fmla="*/ 99 h 334"/>
                <a:gd name="T6" fmla="*/ 138 w 280"/>
                <a:gd name="T7" fmla="*/ 0 h 334"/>
                <a:gd name="T8" fmla="*/ 39 w 280"/>
                <a:gd name="T9" fmla="*/ 99 h 334"/>
                <a:gd name="T10" fmla="*/ 39 w 280"/>
                <a:gd name="T11" fmla="*/ 153 h 334"/>
                <a:gd name="T12" fmla="*/ 0 w 280"/>
                <a:gd name="T13" fmla="*/ 153 h 334"/>
                <a:gd name="T14" fmla="*/ 0 w 280"/>
                <a:gd name="T15" fmla="*/ 312 h 334"/>
                <a:gd name="T16" fmla="*/ 21 w 280"/>
                <a:gd name="T17" fmla="*/ 334 h 334"/>
                <a:gd name="T18" fmla="*/ 280 w 280"/>
                <a:gd name="T19" fmla="*/ 334 h 334"/>
                <a:gd name="T20" fmla="*/ 280 w 280"/>
                <a:gd name="T21" fmla="*/ 174 h 334"/>
                <a:gd name="T22" fmla="*/ 259 w 280"/>
                <a:gd name="T23" fmla="*/ 153 h 334"/>
                <a:gd name="T24" fmla="*/ 81 w 280"/>
                <a:gd name="T25" fmla="*/ 99 h 334"/>
                <a:gd name="T26" fmla="*/ 138 w 280"/>
                <a:gd name="T27" fmla="*/ 43 h 334"/>
                <a:gd name="T28" fmla="*/ 195 w 280"/>
                <a:gd name="T29" fmla="*/ 99 h 334"/>
                <a:gd name="T30" fmla="*/ 195 w 280"/>
                <a:gd name="T31" fmla="*/ 153 h 334"/>
                <a:gd name="T32" fmla="*/ 81 w 280"/>
                <a:gd name="T33" fmla="*/ 153 h 334"/>
                <a:gd name="T34" fmla="*/ 81 w 280"/>
                <a:gd name="T35" fmla="*/ 9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0" h="334">
                  <a:moveTo>
                    <a:pt x="259" y="153"/>
                  </a:moveTo>
                  <a:cubicBezTo>
                    <a:pt x="238" y="153"/>
                    <a:pt x="238" y="153"/>
                    <a:pt x="238" y="153"/>
                  </a:cubicBezTo>
                  <a:cubicBezTo>
                    <a:pt x="238" y="99"/>
                    <a:pt x="238" y="99"/>
                    <a:pt x="238" y="99"/>
                  </a:cubicBezTo>
                  <a:cubicBezTo>
                    <a:pt x="238" y="45"/>
                    <a:pt x="193" y="0"/>
                    <a:pt x="138" y="0"/>
                  </a:cubicBezTo>
                  <a:cubicBezTo>
                    <a:pt x="83" y="0"/>
                    <a:pt x="39" y="45"/>
                    <a:pt x="39" y="99"/>
                  </a:cubicBezTo>
                  <a:cubicBezTo>
                    <a:pt x="39" y="153"/>
                    <a:pt x="39" y="153"/>
                    <a:pt x="39" y="153"/>
                  </a:cubicBezTo>
                  <a:cubicBezTo>
                    <a:pt x="0" y="153"/>
                    <a:pt x="0" y="153"/>
                    <a:pt x="0" y="153"/>
                  </a:cubicBezTo>
                  <a:cubicBezTo>
                    <a:pt x="0" y="312"/>
                    <a:pt x="0" y="312"/>
                    <a:pt x="0" y="312"/>
                  </a:cubicBezTo>
                  <a:cubicBezTo>
                    <a:pt x="0" y="324"/>
                    <a:pt x="9" y="334"/>
                    <a:pt x="21" y="334"/>
                  </a:cubicBezTo>
                  <a:cubicBezTo>
                    <a:pt x="280" y="334"/>
                    <a:pt x="280" y="334"/>
                    <a:pt x="280" y="334"/>
                  </a:cubicBezTo>
                  <a:cubicBezTo>
                    <a:pt x="280" y="174"/>
                    <a:pt x="280" y="174"/>
                    <a:pt x="280" y="174"/>
                  </a:cubicBezTo>
                  <a:cubicBezTo>
                    <a:pt x="280" y="162"/>
                    <a:pt x="271" y="153"/>
                    <a:pt x="259" y="153"/>
                  </a:cubicBezTo>
                  <a:moveTo>
                    <a:pt x="81" y="99"/>
                  </a:moveTo>
                  <a:cubicBezTo>
                    <a:pt x="81" y="68"/>
                    <a:pt x="107" y="43"/>
                    <a:pt x="138" y="43"/>
                  </a:cubicBezTo>
                  <a:cubicBezTo>
                    <a:pt x="169" y="43"/>
                    <a:pt x="195" y="68"/>
                    <a:pt x="195" y="99"/>
                  </a:cubicBezTo>
                  <a:cubicBezTo>
                    <a:pt x="195" y="153"/>
                    <a:pt x="195" y="153"/>
                    <a:pt x="195" y="153"/>
                  </a:cubicBezTo>
                  <a:cubicBezTo>
                    <a:pt x="81" y="153"/>
                    <a:pt x="81" y="153"/>
                    <a:pt x="81" y="153"/>
                  </a:cubicBezTo>
                  <a:lnTo>
                    <a:pt x="81" y="99"/>
                  </a:ln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216" name="Freeform 745"/>
            <p:cNvSpPr>
              <a:spLocks noEditPoints="1"/>
            </p:cNvSpPr>
            <p:nvPr/>
          </p:nvSpPr>
          <p:spPr bwMode="auto">
            <a:xfrm>
              <a:off x="5326950" y="4477475"/>
              <a:ext cx="385877" cy="460375"/>
            </a:xfrm>
            <a:custGeom>
              <a:avLst/>
              <a:gdLst>
                <a:gd name="T0" fmla="*/ 259 w 280"/>
                <a:gd name="T1" fmla="*/ 153 h 334"/>
                <a:gd name="T2" fmla="*/ 238 w 280"/>
                <a:gd name="T3" fmla="*/ 153 h 334"/>
                <a:gd name="T4" fmla="*/ 238 w 280"/>
                <a:gd name="T5" fmla="*/ 99 h 334"/>
                <a:gd name="T6" fmla="*/ 138 w 280"/>
                <a:gd name="T7" fmla="*/ 0 h 334"/>
                <a:gd name="T8" fmla="*/ 39 w 280"/>
                <a:gd name="T9" fmla="*/ 99 h 334"/>
                <a:gd name="T10" fmla="*/ 39 w 280"/>
                <a:gd name="T11" fmla="*/ 153 h 334"/>
                <a:gd name="T12" fmla="*/ 0 w 280"/>
                <a:gd name="T13" fmla="*/ 153 h 334"/>
                <a:gd name="T14" fmla="*/ 0 w 280"/>
                <a:gd name="T15" fmla="*/ 312 h 334"/>
                <a:gd name="T16" fmla="*/ 21 w 280"/>
                <a:gd name="T17" fmla="*/ 334 h 334"/>
                <a:gd name="T18" fmla="*/ 280 w 280"/>
                <a:gd name="T19" fmla="*/ 334 h 334"/>
                <a:gd name="T20" fmla="*/ 280 w 280"/>
                <a:gd name="T21" fmla="*/ 174 h 334"/>
                <a:gd name="T22" fmla="*/ 259 w 280"/>
                <a:gd name="T23" fmla="*/ 153 h 334"/>
                <a:gd name="T24" fmla="*/ 81 w 280"/>
                <a:gd name="T25" fmla="*/ 99 h 334"/>
                <a:gd name="T26" fmla="*/ 138 w 280"/>
                <a:gd name="T27" fmla="*/ 43 h 334"/>
                <a:gd name="T28" fmla="*/ 195 w 280"/>
                <a:gd name="T29" fmla="*/ 99 h 334"/>
                <a:gd name="T30" fmla="*/ 195 w 280"/>
                <a:gd name="T31" fmla="*/ 153 h 334"/>
                <a:gd name="T32" fmla="*/ 81 w 280"/>
                <a:gd name="T33" fmla="*/ 153 h 334"/>
                <a:gd name="T34" fmla="*/ 81 w 280"/>
                <a:gd name="T35" fmla="*/ 9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0" h="334">
                  <a:moveTo>
                    <a:pt x="259" y="153"/>
                  </a:moveTo>
                  <a:cubicBezTo>
                    <a:pt x="238" y="153"/>
                    <a:pt x="238" y="153"/>
                    <a:pt x="238" y="153"/>
                  </a:cubicBezTo>
                  <a:cubicBezTo>
                    <a:pt x="238" y="99"/>
                    <a:pt x="238" y="99"/>
                    <a:pt x="238" y="99"/>
                  </a:cubicBezTo>
                  <a:cubicBezTo>
                    <a:pt x="238" y="45"/>
                    <a:pt x="193" y="0"/>
                    <a:pt x="138" y="0"/>
                  </a:cubicBezTo>
                  <a:cubicBezTo>
                    <a:pt x="83" y="0"/>
                    <a:pt x="39" y="45"/>
                    <a:pt x="39" y="99"/>
                  </a:cubicBezTo>
                  <a:cubicBezTo>
                    <a:pt x="39" y="153"/>
                    <a:pt x="39" y="153"/>
                    <a:pt x="39" y="153"/>
                  </a:cubicBezTo>
                  <a:cubicBezTo>
                    <a:pt x="0" y="153"/>
                    <a:pt x="0" y="153"/>
                    <a:pt x="0" y="153"/>
                  </a:cubicBezTo>
                  <a:cubicBezTo>
                    <a:pt x="0" y="312"/>
                    <a:pt x="0" y="312"/>
                    <a:pt x="0" y="312"/>
                  </a:cubicBezTo>
                  <a:cubicBezTo>
                    <a:pt x="0" y="324"/>
                    <a:pt x="9" y="334"/>
                    <a:pt x="21" y="334"/>
                  </a:cubicBezTo>
                  <a:cubicBezTo>
                    <a:pt x="280" y="334"/>
                    <a:pt x="280" y="334"/>
                    <a:pt x="280" y="334"/>
                  </a:cubicBezTo>
                  <a:cubicBezTo>
                    <a:pt x="280" y="174"/>
                    <a:pt x="280" y="174"/>
                    <a:pt x="280" y="174"/>
                  </a:cubicBezTo>
                  <a:cubicBezTo>
                    <a:pt x="280" y="162"/>
                    <a:pt x="271" y="153"/>
                    <a:pt x="259" y="153"/>
                  </a:cubicBezTo>
                  <a:moveTo>
                    <a:pt x="81" y="99"/>
                  </a:moveTo>
                  <a:cubicBezTo>
                    <a:pt x="81" y="68"/>
                    <a:pt x="107" y="43"/>
                    <a:pt x="138" y="43"/>
                  </a:cubicBezTo>
                  <a:cubicBezTo>
                    <a:pt x="169" y="43"/>
                    <a:pt x="195" y="68"/>
                    <a:pt x="195" y="99"/>
                  </a:cubicBezTo>
                  <a:cubicBezTo>
                    <a:pt x="195" y="153"/>
                    <a:pt x="195" y="153"/>
                    <a:pt x="195" y="153"/>
                  </a:cubicBezTo>
                  <a:cubicBezTo>
                    <a:pt x="81" y="153"/>
                    <a:pt x="81" y="153"/>
                    <a:pt x="81" y="153"/>
                  </a:cubicBezTo>
                  <a:lnTo>
                    <a:pt x="81" y="99"/>
                  </a:ln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nvGrpSpPr>
          <p:cNvPr id="4" name="Group 3"/>
          <p:cNvGrpSpPr/>
          <p:nvPr/>
        </p:nvGrpSpPr>
        <p:grpSpPr>
          <a:xfrm>
            <a:off x="2850414" y="2650350"/>
            <a:ext cx="1008667" cy="701163"/>
            <a:chOff x="3687587" y="1770927"/>
            <a:chExt cx="710346" cy="493005"/>
          </a:xfrm>
        </p:grpSpPr>
        <p:grpSp>
          <p:nvGrpSpPr>
            <p:cNvPr id="217" name="Group 216"/>
            <p:cNvGrpSpPr/>
            <p:nvPr/>
          </p:nvGrpSpPr>
          <p:grpSpPr>
            <a:xfrm>
              <a:off x="3687587" y="1770927"/>
              <a:ext cx="197202" cy="493005"/>
              <a:chOff x="4305301" y="1846263"/>
              <a:chExt cx="568325" cy="1420813"/>
            </a:xfrm>
            <a:solidFill>
              <a:srgbClr val="000000"/>
            </a:solidFill>
          </p:grpSpPr>
          <p:sp>
            <p:nvSpPr>
              <p:cNvPr id="218" name="Oval 633"/>
              <p:cNvSpPr>
                <a:spLocks noChangeArrowheads="1"/>
              </p:cNvSpPr>
              <p:nvPr/>
            </p:nvSpPr>
            <p:spPr bwMode="auto">
              <a:xfrm>
                <a:off x="4440238" y="1846263"/>
                <a:ext cx="296863" cy="3111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232" name="Freeform 634"/>
              <p:cNvSpPr>
                <a:spLocks/>
              </p:cNvSpPr>
              <p:nvPr/>
            </p:nvSpPr>
            <p:spPr bwMode="auto">
              <a:xfrm>
                <a:off x="4305301" y="2203451"/>
                <a:ext cx="568325" cy="1063625"/>
              </a:xfrm>
              <a:custGeom>
                <a:avLst/>
                <a:gdLst>
                  <a:gd name="T0" fmla="*/ 119 w 151"/>
                  <a:gd name="T1" fmla="*/ 0 h 283"/>
                  <a:gd name="T2" fmla="*/ 75 w 151"/>
                  <a:gd name="T3" fmla="*/ 0 h 283"/>
                  <a:gd name="T4" fmla="*/ 32 w 151"/>
                  <a:gd name="T5" fmla="*/ 0 h 283"/>
                  <a:gd name="T6" fmla="*/ 0 w 151"/>
                  <a:gd name="T7" fmla="*/ 34 h 283"/>
                  <a:gd name="T8" fmla="*/ 0 w 151"/>
                  <a:gd name="T9" fmla="*/ 39 h 283"/>
                  <a:gd name="T10" fmla="*/ 0 w 151"/>
                  <a:gd name="T11" fmla="*/ 65 h 283"/>
                  <a:gd name="T12" fmla="*/ 0 w 151"/>
                  <a:gd name="T13" fmla="*/ 88 h 283"/>
                  <a:gd name="T14" fmla="*/ 0 w 151"/>
                  <a:gd name="T15" fmla="*/ 133 h 283"/>
                  <a:gd name="T16" fmla="*/ 0 w 151"/>
                  <a:gd name="T17" fmla="*/ 133 h 283"/>
                  <a:gd name="T18" fmla="*/ 12 w 151"/>
                  <a:gd name="T19" fmla="*/ 145 h 283"/>
                  <a:gd name="T20" fmla="*/ 25 w 151"/>
                  <a:gd name="T21" fmla="*/ 135 h 283"/>
                  <a:gd name="T22" fmla="*/ 25 w 151"/>
                  <a:gd name="T23" fmla="*/ 133 h 283"/>
                  <a:gd name="T24" fmla="*/ 25 w 151"/>
                  <a:gd name="T25" fmla="*/ 43 h 283"/>
                  <a:gd name="T26" fmla="*/ 28 w 151"/>
                  <a:gd name="T27" fmla="*/ 39 h 283"/>
                  <a:gd name="T28" fmla="*/ 31 w 151"/>
                  <a:gd name="T29" fmla="*/ 43 h 283"/>
                  <a:gd name="T30" fmla="*/ 31 w 151"/>
                  <a:gd name="T31" fmla="*/ 138 h 283"/>
                  <a:gd name="T32" fmla="*/ 32 w 151"/>
                  <a:gd name="T33" fmla="*/ 152 h 283"/>
                  <a:gd name="T34" fmla="*/ 32 w 151"/>
                  <a:gd name="T35" fmla="*/ 152 h 283"/>
                  <a:gd name="T36" fmla="*/ 32 w 151"/>
                  <a:gd name="T37" fmla="*/ 152 h 283"/>
                  <a:gd name="T38" fmla="*/ 42 w 151"/>
                  <a:gd name="T39" fmla="*/ 260 h 283"/>
                  <a:gd name="T40" fmla="*/ 64 w 151"/>
                  <a:gd name="T41" fmla="*/ 283 h 283"/>
                  <a:gd name="T42" fmla="*/ 75 w 151"/>
                  <a:gd name="T43" fmla="*/ 283 h 283"/>
                  <a:gd name="T44" fmla="*/ 87 w 151"/>
                  <a:gd name="T45" fmla="*/ 283 h 283"/>
                  <a:gd name="T46" fmla="*/ 109 w 151"/>
                  <a:gd name="T47" fmla="*/ 260 h 283"/>
                  <a:gd name="T48" fmla="*/ 119 w 151"/>
                  <a:gd name="T49" fmla="*/ 152 h 283"/>
                  <a:gd name="T50" fmla="*/ 119 w 151"/>
                  <a:gd name="T51" fmla="*/ 152 h 283"/>
                  <a:gd name="T52" fmla="*/ 119 w 151"/>
                  <a:gd name="T53" fmla="*/ 152 h 283"/>
                  <a:gd name="T54" fmla="*/ 119 w 151"/>
                  <a:gd name="T55" fmla="*/ 138 h 283"/>
                  <a:gd name="T56" fmla="*/ 119 w 151"/>
                  <a:gd name="T57" fmla="*/ 43 h 283"/>
                  <a:gd name="T58" fmla="*/ 123 w 151"/>
                  <a:gd name="T59" fmla="*/ 39 h 283"/>
                  <a:gd name="T60" fmla="*/ 126 w 151"/>
                  <a:gd name="T61" fmla="*/ 43 h 283"/>
                  <a:gd name="T62" fmla="*/ 126 w 151"/>
                  <a:gd name="T63" fmla="*/ 133 h 283"/>
                  <a:gd name="T64" fmla="*/ 126 w 151"/>
                  <a:gd name="T65" fmla="*/ 135 h 283"/>
                  <a:gd name="T66" fmla="*/ 139 w 151"/>
                  <a:gd name="T67" fmla="*/ 145 h 283"/>
                  <a:gd name="T68" fmla="*/ 151 w 151"/>
                  <a:gd name="T69" fmla="*/ 133 h 283"/>
                  <a:gd name="T70" fmla="*/ 151 w 151"/>
                  <a:gd name="T71" fmla="*/ 133 h 283"/>
                  <a:gd name="T72" fmla="*/ 151 w 151"/>
                  <a:gd name="T73" fmla="*/ 65 h 283"/>
                  <a:gd name="T74" fmla="*/ 151 w 151"/>
                  <a:gd name="T75" fmla="*/ 39 h 283"/>
                  <a:gd name="T76" fmla="*/ 151 w 151"/>
                  <a:gd name="T77" fmla="*/ 34 h 283"/>
                  <a:gd name="T78" fmla="*/ 119 w 151"/>
                  <a:gd name="T79"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1" h="283">
                    <a:moveTo>
                      <a:pt x="119" y="0"/>
                    </a:moveTo>
                    <a:cubicBezTo>
                      <a:pt x="75" y="0"/>
                      <a:pt x="75" y="0"/>
                      <a:pt x="75" y="0"/>
                    </a:cubicBezTo>
                    <a:cubicBezTo>
                      <a:pt x="32" y="0"/>
                      <a:pt x="32" y="0"/>
                      <a:pt x="32" y="0"/>
                    </a:cubicBezTo>
                    <a:cubicBezTo>
                      <a:pt x="11" y="0"/>
                      <a:pt x="0" y="10"/>
                      <a:pt x="0" y="34"/>
                    </a:cubicBezTo>
                    <a:cubicBezTo>
                      <a:pt x="0" y="39"/>
                      <a:pt x="0" y="39"/>
                      <a:pt x="0" y="39"/>
                    </a:cubicBezTo>
                    <a:cubicBezTo>
                      <a:pt x="0" y="65"/>
                      <a:pt x="0" y="65"/>
                      <a:pt x="0" y="65"/>
                    </a:cubicBezTo>
                    <a:cubicBezTo>
                      <a:pt x="0" y="88"/>
                      <a:pt x="0" y="88"/>
                      <a:pt x="0" y="88"/>
                    </a:cubicBezTo>
                    <a:cubicBezTo>
                      <a:pt x="0" y="133"/>
                      <a:pt x="0" y="133"/>
                      <a:pt x="0" y="133"/>
                    </a:cubicBezTo>
                    <a:cubicBezTo>
                      <a:pt x="0" y="133"/>
                      <a:pt x="0" y="133"/>
                      <a:pt x="0" y="133"/>
                    </a:cubicBezTo>
                    <a:cubicBezTo>
                      <a:pt x="0" y="140"/>
                      <a:pt x="5" y="145"/>
                      <a:pt x="12" y="145"/>
                    </a:cubicBezTo>
                    <a:cubicBezTo>
                      <a:pt x="19" y="145"/>
                      <a:pt x="24" y="141"/>
                      <a:pt x="25" y="135"/>
                    </a:cubicBezTo>
                    <a:cubicBezTo>
                      <a:pt x="25" y="134"/>
                      <a:pt x="25" y="133"/>
                      <a:pt x="25" y="133"/>
                    </a:cubicBezTo>
                    <a:cubicBezTo>
                      <a:pt x="25" y="43"/>
                      <a:pt x="25" y="43"/>
                      <a:pt x="25" y="43"/>
                    </a:cubicBezTo>
                    <a:cubicBezTo>
                      <a:pt x="25" y="41"/>
                      <a:pt x="26" y="39"/>
                      <a:pt x="28" y="39"/>
                    </a:cubicBezTo>
                    <a:cubicBezTo>
                      <a:pt x="30" y="39"/>
                      <a:pt x="31" y="41"/>
                      <a:pt x="31" y="43"/>
                    </a:cubicBezTo>
                    <a:cubicBezTo>
                      <a:pt x="31" y="138"/>
                      <a:pt x="31" y="138"/>
                      <a:pt x="31" y="138"/>
                    </a:cubicBezTo>
                    <a:cubicBezTo>
                      <a:pt x="31" y="138"/>
                      <a:pt x="31" y="147"/>
                      <a:pt x="32" y="152"/>
                    </a:cubicBezTo>
                    <a:cubicBezTo>
                      <a:pt x="32" y="152"/>
                      <a:pt x="32" y="152"/>
                      <a:pt x="32" y="152"/>
                    </a:cubicBezTo>
                    <a:cubicBezTo>
                      <a:pt x="32" y="152"/>
                      <a:pt x="32" y="152"/>
                      <a:pt x="32" y="152"/>
                    </a:cubicBezTo>
                    <a:cubicBezTo>
                      <a:pt x="42" y="260"/>
                      <a:pt x="42" y="260"/>
                      <a:pt x="42" y="260"/>
                    </a:cubicBezTo>
                    <a:cubicBezTo>
                      <a:pt x="43" y="276"/>
                      <a:pt x="50" y="283"/>
                      <a:pt x="64" y="283"/>
                    </a:cubicBezTo>
                    <a:cubicBezTo>
                      <a:pt x="75" y="283"/>
                      <a:pt x="75" y="283"/>
                      <a:pt x="75" y="283"/>
                    </a:cubicBezTo>
                    <a:cubicBezTo>
                      <a:pt x="87" y="283"/>
                      <a:pt x="87" y="283"/>
                      <a:pt x="87" y="283"/>
                    </a:cubicBezTo>
                    <a:cubicBezTo>
                      <a:pt x="101" y="283"/>
                      <a:pt x="108" y="276"/>
                      <a:pt x="109" y="260"/>
                    </a:cubicBezTo>
                    <a:cubicBezTo>
                      <a:pt x="119" y="152"/>
                      <a:pt x="119" y="152"/>
                      <a:pt x="119" y="152"/>
                    </a:cubicBezTo>
                    <a:cubicBezTo>
                      <a:pt x="119" y="152"/>
                      <a:pt x="119" y="152"/>
                      <a:pt x="119" y="152"/>
                    </a:cubicBezTo>
                    <a:cubicBezTo>
                      <a:pt x="119" y="152"/>
                      <a:pt x="119" y="152"/>
                      <a:pt x="119" y="152"/>
                    </a:cubicBezTo>
                    <a:cubicBezTo>
                      <a:pt x="119" y="147"/>
                      <a:pt x="119" y="138"/>
                      <a:pt x="119" y="138"/>
                    </a:cubicBezTo>
                    <a:cubicBezTo>
                      <a:pt x="119" y="43"/>
                      <a:pt x="119" y="43"/>
                      <a:pt x="119" y="43"/>
                    </a:cubicBezTo>
                    <a:cubicBezTo>
                      <a:pt x="119" y="41"/>
                      <a:pt x="121" y="39"/>
                      <a:pt x="123" y="39"/>
                    </a:cubicBezTo>
                    <a:cubicBezTo>
                      <a:pt x="124" y="39"/>
                      <a:pt x="126" y="41"/>
                      <a:pt x="126" y="43"/>
                    </a:cubicBezTo>
                    <a:cubicBezTo>
                      <a:pt x="126" y="133"/>
                      <a:pt x="126" y="133"/>
                      <a:pt x="126" y="133"/>
                    </a:cubicBezTo>
                    <a:cubicBezTo>
                      <a:pt x="126" y="133"/>
                      <a:pt x="126" y="134"/>
                      <a:pt x="126" y="135"/>
                    </a:cubicBezTo>
                    <a:cubicBezTo>
                      <a:pt x="127" y="141"/>
                      <a:pt x="132" y="145"/>
                      <a:pt x="139" y="145"/>
                    </a:cubicBezTo>
                    <a:cubicBezTo>
                      <a:pt x="146" y="145"/>
                      <a:pt x="151" y="140"/>
                      <a:pt x="151" y="133"/>
                    </a:cubicBezTo>
                    <a:cubicBezTo>
                      <a:pt x="151" y="133"/>
                      <a:pt x="151" y="133"/>
                      <a:pt x="151" y="133"/>
                    </a:cubicBezTo>
                    <a:cubicBezTo>
                      <a:pt x="151" y="65"/>
                      <a:pt x="151" y="65"/>
                      <a:pt x="151" y="65"/>
                    </a:cubicBezTo>
                    <a:cubicBezTo>
                      <a:pt x="151" y="39"/>
                      <a:pt x="151" y="39"/>
                      <a:pt x="151" y="39"/>
                    </a:cubicBezTo>
                    <a:cubicBezTo>
                      <a:pt x="151" y="34"/>
                      <a:pt x="151" y="34"/>
                      <a:pt x="151" y="34"/>
                    </a:cubicBezTo>
                    <a:cubicBezTo>
                      <a:pt x="151" y="10"/>
                      <a:pt x="140" y="0"/>
                      <a:pt x="1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nvGrpSpPr>
            <p:cNvPr id="233" name="Group 232"/>
            <p:cNvGrpSpPr/>
            <p:nvPr/>
          </p:nvGrpSpPr>
          <p:grpSpPr>
            <a:xfrm>
              <a:off x="3944159" y="1770927"/>
              <a:ext cx="197202" cy="493005"/>
              <a:chOff x="4305301" y="1846263"/>
              <a:chExt cx="568325" cy="1420813"/>
            </a:xfrm>
            <a:solidFill>
              <a:srgbClr val="000000"/>
            </a:solidFill>
          </p:grpSpPr>
          <p:sp>
            <p:nvSpPr>
              <p:cNvPr id="234" name="Oval 633"/>
              <p:cNvSpPr>
                <a:spLocks noChangeArrowheads="1"/>
              </p:cNvSpPr>
              <p:nvPr/>
            </p:nvSpPr>
            <p:spPr bwMode="auto">
              <a:xfrm>
                <a:off x="4440238" y="1846263"/>
                <a:ext cx="296863" cy="3111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235" name="Freeform 634"/>
              <p:cNvSpPr>
                <a:spLocks/>
              </p:cNvSpPr>
              <p:nvPr/>
            </p:nvSpPr>
            <p:spPr bwMode="auto">
              <a:xfrm>
                <a:off x="4305301" y="2203451"/>
                <a:ext cx="568325" cy="1063625"/>
              </a:xfrm>
              <a:custGeom>
                <a:avLst/>
                <a:gdLst>
                  <a:gd name="T0" fmla="*/ 119 w 151"/>
                  <a:gd name="T1" fmla="*/ 0 h 283"/>
                  <a:gd name="T2" fmla="*/ 75 w 151"/>
                  <a:gd name="T3" fmla="*/ 0 h 283"/>
                  <a:gd name="T4" fmla="*/ 32 w 151"/>
                  <a:gd name="T5" fmla="*/ 0 h 283"/>
                  <a:gd name="T6" fmla="*/ 0 w 151"/>
                  <a:gd name="T7" fmla="*/ 34 h 283"/>
                  <a:gd name="T8" fmla="*/ 0 w 151"/>
                  <a:gd name="T9" fmla="*/ 39 h 283"/>
                  <a:gd name="T10" fmla="*/ 0 w 151"/>
                  <a:gd name="T11" fmla="*/ 65 h 283"/>
                  <a:gd name="T12" fmla="*/ 0 w 151"/>
                  <a:gd name="T13" fmla="*/ 88 h 283"/>
                  <a:gd name="T14" fmla="*/ 0 w 151"/>
                  <a:gd name="T15" fmla="*/ 133 h 283"/>
                  <a:gd name="T16" fmla="*/ 0 w 151"/>
                  <a:gd name="T17" fmla="*/ 133 h 283"/>
                  <a:gd name="T18" fmla="*/ 12 w 151"/>
                  <a:gd name="T19" fmla="*/ 145 h 283"/>
                  <a:gd name="T20" fmla="*/ 25 w 151"/>
                  <a:gd name="T21" fmla="*/ 135 h 283"/>
                  <a:gd name="T22" fmla="*/ 25 w 151"/>
                  <a:gd name="T23" fmla="*/ 133 h 283"/>
                  <a:gd name="T24" fmla="*/ 25 w 151"/>
                  <a:gd name="T25" fmla="*/ 43 h 283"/>
                  <a:gd name="T26" fmla="*/ 28 w 151"/>
                  <a:gd name="T27" fmla="*/ 39 h 283"/>
                  <a:gd name="T28" fmla="*/ 31 w 151"/>
                  <a:gd name="T29" fmla="*/ 43 h 283"/>
                  <a:gd name="T30" fmla="*/ 31 w 151"/>
                  <a:gd name="T31" fmla="*/ 138 h 283"/>
                  <a:gd name="T32" fmla="*/ 32 w 151"/>
                  <a:gd name="T33" fmla="*/ 152 h 283"/>
                  <a:gd name="T34" fmla="*/ 32 w 151"/>
                  <a:gd name="T35" fmla="*/ 152 h 283"/>
                  <a:gd name="T36" fmla="*/ 32 w 151"/>
                  <a:gd name="T37" fmla="*/ 152 h 283"/>
                  <a:gd name="T38" fmla="*/ 42 w 151"/>
                  <a:gd name="T39" fmla="*/ 260 h 283"/>
                  <a:gd name="T40" fmla="*/ 64 w 151"/>
                  <a:gd name="T41" fmla="*/ 283 h 283"/>
                  <a:gd name="T42" fmla="*/ 75 w 151"/>
                  <a:gd name="T43" fmla="*/ 283 h 283"/>
                  <a:gd name="T44" fmla="*/ 87 w 151"/>
                  <a:gd name="T45" fmla="*/ 283 h 283"/>
                  <a:gd name="T46" fmla="*/ 109 w 151"/>
                  <a:gd name="T47" fmla="*/ 260 h 283"/>
                  <a:gd name="T48" fmla="*/ 119 w 151"/>
                  <a:gd name="T49" fmla="*/ 152 h 283"/>
                  <a:gd name="T50" fmla="*/ 119 w 151"/>
                  <a:gd name="T51" fmla="*/ 152 h 283"/>
                  <a:gd name="T52" fmla="*/ 119 w 151"/>
                  <a:gd name="T53" fmla="*/ 152 h 283"/>
                  <a:gd name="T54" fmla="*/ 119 w 151"/>
                  <a:gd name="T55" fmla="*/ 138 h 283"/>
                  <a:gd name="T56" fmla="*/ 119 w 151"/>
                  <a:gd name="T57" fmla="*/ 43 h 283"/>
                  <a:gd name="T58" fmla="*/ 123 w 151"/>
                  <a:gd name="T59" fmla="*/ 39 h 283"/>
                  <a:gd name="T60" fmla="*/ 126 w 151"/>
                  <a:gd name="T61" fmla="*/ 43 h 283"/>
                  <a:gd name="T62" fmla="*/ 126 w 151"/>
                  <a:gd name="T63" fmla="*/ 133 h 283"/>
                  <a:gd name="T64" fmla="*/ 126 w 151"/>
                  <a:gd name="T65" fmla="*/ 135 h 283"/>
                  <a:gd name="T66" fmla="*/ 139 w 151"/>
                  <a:gd name="T67" fmla="*/ 145 h 283"/>
                  <a:gd name="T68" fmla="*/ 151 w 151"/>
                  <a:gd name="T69" fmla="*/ 133 h 283"/>
                  <a:gd name="T70" fmla="*/ 151 w 151"/>
                  <a:gd name="T71" fmla="*/ 133 h 283"/>
                  <a:gd name="T72" fmla="*/ 151 w 151"/>
                  <a:gd name="T73" fmla="*/ 65 h 283"/>
                  <a:gd name="T74" fmla="*/ 151 w 151"/>
                  <a:gd name="T75" fmla="*/ 39 h 283"/>
                  <a:gd name="T76" fmla="*/ 151 w 151"/>
                  <a:gd name="T77" fmla="*/ 34 h 283"/>
                  <a:gd name="T78" fmla="*/ 119 w 151"/>
                  <a:gd name="T79"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1" h="283">
                    <a:moveTo>
                      <a:pt x="119" y="0"/>
                    </a:moveTo>
                    <a:cubicBezTo>
                      <a:pt x="75" y="0"/>
                      <a:pt x="75" y="0"/>
                      <a:pt x="75" y="0"/>
                    </a:cubicBezTo>
                    <a:cubicBezTo>
                      <a:pt x="32" y="0"/>
                      <a:pt x="32" y="0"/>
                      <a:pt x="32" y="0"/>
                    </a:cubicBezTo>
                    <a:cubicBezTo>
                      <a:pt x="11" y="0"/>
                      <a:pt x="0" y="10"/>
                      <a:pt x="0" y="34"/>
                    </a:cubicBezTo>
                    <a:cubicBezTo>
                      <a:pt x="0" y="39"/>
                      <a:pt x="0" y="39"/>
                      <a:pt x="0" y="39"/>
                    </a:cubicBezTo>
                    <a:cubicBezTo>
                      <a:pt x="0" y="65"/>
                      <a:pt x="0" y="65"/>
                      <a:pt x="0" y="65"/>
                    </a:cubicBezTo>
                    <a:cubicBezTo>
                      <a:pt x="0" y="88"/>
                      <a:pt x="0" y="88"/>
                      <a:pt x="0" y="88"/>
                    </a:cubicBezTo>
                    <a:cubicBezTo>
                      <a:pt x="0" y="133"/>
                      <a:pt x="0" y="133"/>
                      <a:pt x="0" y="133"/>
                    </a:cubicBezTo>
                    <a:cubicBezTo>
                      <a:pt x="0" y="133"/>
                      <a:pt x="0" y="133"/>
                      <a:pt x="0" y="133"/>
                    </a:cubicBezTo>
                    <a:cubicBezTo>
                      <a:pt x="0" y="140"/>
                      <a:pt x="5" y="145"/>
                      <a:pt x="12" y="145"/>
                    </a:cubicBezTo>
                    <a:cubicBezTo>
                      <a:pt x="19" y="145"/>
                      <a:pt x="24" y="141"/>
                      <a:pt x="25" y="135"/>
                    </a:cubicBezTo>
                    <a:cubicBezTo>
                      <a:pt x="25" y="134"/>
                      <a:pt x="25" y="133"/>
                      <a:pt x="25" y="133"/>
                    </a:cubicBezTo>
                    <a:cubicBezTo>
                      <a:pt x="25" y="43"/>
                      <a:pt x="25" y="43"/>
                      <a:pt x="25" y="43"/>
                    </a:cubicBezTo>
                    <a:cubicBezTo>
                      <a:pt x="25" y="41"/>
                      <a:pt x="26" y="39"/>
                      <a:pt x="28" y="39"/>
                    </a:cubicBezTo>
                    <a:cubicBezTo>
                      <a:pt x="30" y="39"/>
                      <a:pt x="31" y="41"/>
                      <a:pt x="31" y="43"/>
                    </a:cubicBezTo>
                    <a:cubicBezTo>
                      <a:pt x="31" y="138"/>
                      <a:pt x="31" y="138"/>
                      <a:pt x="31" y="138"/>
                    </a:cubicBezTo>
                    <a:cubicBezTo>
                      <a:pt x="31" y="138"/>
                      <a:pt x="31" y="147"/>
                      <a:pt x="32" y="152"/>
                    </a:cubicBezTo>
                    <a:cubicBezTo>
                      <a:pt x="32" y="152"/>
                      <a:pt x="32" y="152"/>
                      <a:pt x="32" y="152"/>
                    </a:cubicBezTo>
                    <a:cubicBezTo>
                      <a:pt x="32" y="152"/>
                      <a:pt x="32" y="152"/>
                      <a:pt x="32" y="152"/>
                    </a:cubicBezTo>
                    <a:cubicBezTo>
                      <a:pt x="42" y="260"/>
                      <a:pt x="42" y="260"/>
                      <a:pt x="42" y="260"/>
                    </a:cubicBezTo>
                    <a:cubicBezTo>
                      <a:pt x="43" y="276"/>
                      <a:pt x="50" y="283"/>
                      <a:pt x="64" y="283"/>
                    </a:cubicBezTo>
                    <a:cubicBezTo>
                      <a:pt x="75" y="283"/>
                      <a:pt x="75" y="283"/>
                      <a:pt x="75" y="283"/>
                    </a:cubicBezTo>
                    <a:cubicBezTo>
                      <a:pt x="87" y="283"/>
                      <a:pt x="87" y="283"/>
                      <a:pt x="87" y="283"/>
                    </a:cubicBezTo>
                    <a:cubicBezTo>
                      <a:pt x="101" y="283"/>
                      <a:pt x="108" y="276"/>
                      <a:pt x="109" y="260"/>
                    </a:cubicBezTo>
                    <a:cubicBezTo>
                      <a:pt x="119" y="152"/>
                      <a:pt x="119" y="152"/>
                      <a:pt x="119" y="152"/>
                    </a:cubicBezTo>
                    <a:cubicBezTo>
                      <a:pt x="119" y="152"/>
                      <a:pt x="119" y="152"/>
                      <a:pt x="119" y="152"/>
                    </a:cubicBezTo>
                    <a:cubicBezTo>
                      <a:pt x="119" y="152"/>
                      <a:pt x="119" y="152"/>
                      <a:pt x="119" y="152"/>
                    </a:cubicBezTo>
                    <a:cubicBezTo>
                      <a:pt x="119" y="147"/>
                      <a:pt x="119" y="138"/>
                      <a:pt x="119" y="138"/>
                    </a:cubicBezTo>
                    <a:cubicBezTo>
                      <a:pt x="119" y="43"/>
                      <a:pt x="119" y="43"/>
                      <a:pt x="119" y="43"/>
                    </a:cubicBezTo>
                    <a:cubicBezTo>
                      <a:pt x="119" y="41"/>
                      <a:pt x="121" y="39"/>
                      <a:pt x="123" y="39"/>
                    </a:cubicBezTo>
                    <a:cubicBezTo>
                      <a:pt x="124" y="39"/>
                      <a:pt x="126" y="41"/>
                      <a:pt x="126" y="43"/>
                    </a:cubicBezTo>
                    <a:cubicBezTo>
                      <a:pt x="126" y="133"/>
                      <a:pt x="126" y="133"/>
                      <a:pt x="126" y="133"/>
                    </a:cubicBezTo>
                    <a:cubicBezTo>
                      <a:pt x="126" y="133"/>
                      <a:pt x="126" y="134"/>
                      <a:pt x="126" y="135"/>
                    </a:cubicBezTo>
                    <a:cubicBezTo>
                      <a:pt x="127" y="141"/>
                      <a:pt x="132" y="145"/>
                      <a:pt x="139" y="145"/>
                    </a:cubicBezTo>
                    <a:cubicBezTo>
                      <a:pt x="146" y="145"/>
                      <a:pt x="151" y="140"/>
                      <a:pt x="151" y="133"/>
                    </a:cubicBezTo>
                    <a:cubicBezTo>
                      <a:pt x="151" y="133"/>
                      <a:pt x="151" y="133"/>
                      <a:pt x="151" y="133"/>
                    </a:cubicBezTo>
                    <a:cubicBezTo>
                      <a:pt x="151" y="65"/>
                      <a:pt x="151" y="65"/>
                      <a:pt x="151" y="65"/>
                    </a:cubicBezTo>
                    <a:cubicBezTo>
                      <a:pt x="151" y="39"/>
                      <a:pt x="151" y="39"/>
                      <a:pt x="151" y="39"/>
                    </a:cubicBezTo>
                    <a:cubicBezTo>
                      <a:pt x="151" y="34"/>
                      <a:pt x="151" y="34"/>
                      <a:pt x="151" y="34"/>
                    </a:cubicBezTo>
                    <a:cubicBezTo>
                      <a:pt x="151" y="10"/>
                      <a:pt x="140" y="0"/>
                      <a:pt x="1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nvGrpSpPr>
            <p:cNvPr id="236" name="Group 235"/>
            <p:cNvGrpSpPr/>
            <p:nvPr/>
          </p:nvGrpSpPr>
          <p:grpSpPr>
            <a:xfrm>
              <a:off x="4200731" y="1770927"/>
              <a:ext cx="197202" cy="493005"/>
              <a:chOff x="4305301" y="1846263"/>
              <a:chExt cx="568325" cy="1420813"/>
            </a:xfrm>
            <a:solidFill>
              <a:srgbClr val="000000"/>
            </a:solidFill>
          </p:grpSpPr>
          <p:sp>
            <p:nvSpPr>
              <p:cNvPr id="237" name="Oval 633"/>
              <p:cNvSpPr>
                <a:spLocks noChangeArrowheads="1"/>
              </p:cNvSpPr>
              <p:nvPr/>
            </p:nvSpPr>
            <p:spPr bwMode="auto">
              <a:xfrm>
                <a:off x="4440238" y="1846263"/>
                <a:ext cx="296863" cy="3111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238" name="Freeform 634"/>
              <p:cNvSpPr>
                <a:spLocks/>
              </p:cNvSpPr>
              <p:nvPr/>
            </p:nvSpPr>
            <p:spPr bwMode="auto">
              <a:xfrm>
                <a:off x="4305301" y="2203451"/>
                <a:ext cx="568325" cy="1063625"/>
              </a:xfrm>
              <a:custGeom>
                <a:avLst/>
                <a:gdLst>
                  <a:gd name="T0" fmla="*/ 119 w 151"/>
                  <a:gd name="T1" fmla="*/ 0 h 283"/>
                  <a:gd name="T2" fmla="*/ 75 w 151"/>
                  <a:gd name="T3" fmla="*/ 0 h 283"/>
                  <a:gd name="T4" fmla="*/ 32 w 151"/>
                  <a:gd name="T5" fmla="*/ 0 h 283"/>
                  <a:gd name="T6" fmla="*/ 0 w 151"/>
                  <a:gd name="T7" fmla="*/ 34 h 283"/>
                  <a:gd name="T8" fmla="*/ 0 w 151"/>
                  <a:gd name="T9" fmla="*/ 39 h 283"/>
                  <a:gd name="T10" fmla="*/ 0 w 151"/>
                  <a:gd name="T11" fmla="*/ 65 h 283"/>
                  <a:gd name="T12" fmla="*/ 0 w 151"/>
                  <a:gd name="T13" fmla="*/ 88 h 283"/>
                  <a:gd name="T14" fmla="*/ 0 w 151"/>
                  <a:gd name="T15" fmla="*/ 133 h 283"/>
                  <a:gd name="T16" fmla="*/ 0 w 151"/>
                  <a:gd name="T17" fmla="*/ 133 h 283"/>
                  <a:gd name="T18" fmla="*/ 12 w 151"/>
                  <a:gd name="T19" fmla="*/ 145 h 283"/>
                  <a:gd name="T20" fmla="*/ 25 w 151"/>
                  <a:gd name="T21" fmla="*/ 135 h 283"/>
                  <a:gd name="T22" fmla="*/ 25 w 151"/>
                  <a:gd name="T23" fmla="*/ 133 h 283"/>
                  <a:gd name="T24" fmla="*/ 25 w 151"/>
                  <a:gd name="T25" fmla="*/ 43 h 283"/>
                  <a:gd name="T26" fmla="*/ 28 w 151"/>
                  <a:gd name="T27" fmla="*/ 39 h 283"/>
                  <a:gd name="T28" fmla="*/ 31 w 151"/>
                  <a:gd name="T29" fmla="*/ 43 h 283"/>
                  <a:gd name="T30" fmla="*/ 31 w 151"/>
                  <a:gd name="T31" fmla="*/ 138 h 283"/>
                  <a:gd name="T32" fmla="*/ 32 w 151"/>
                  <a:gd name="T33" fmla="*/ 152 h 283"/>
                  <a:gd name="T34" fmla="*/ 32 w 151"/>
                  <a:gd name="T35" fmla="*/ 152 h 283"/>
                  <a:gd name="T36" fmla="*/ 32 w 151"/>
                  <a:gd name="T37" fmla="*/ 152 h 283"/>
                  <a:gd name="T38" fmla="*/ 42 w 151"/>
                  <a:gd name="T39" fmla="*/ 260 h 283"/>
                  <a:gd name="T40" fmla="*/ 64 w 151"/>
                  <a:gd name="T41" fmla="*/ 283 h 283"/>
                  <a:gd name="T42" fmla="*/ 75 w 151"/>
                  <a:gd name="T43" fmla="*/ 283 h 283"/>
                  <a:gd name="T44" fmla="*/ 87 w 151"/>
                  <a:gd name="T45" fmla="*/ 283 h 283"/>
                  <a:gd name="T46" fmla="*/ 109 w 151"/>
                  <a:gd name="T47" fmla="*/ 260 h 283"/>
                  <a:gd name="T48" fmla="*/ 119 w 151"/>
                  <a:gd name="T49" fmla="*/ 152 h 283"/>
                  <a:gd name="T50" fmla="*/ 119 w 151"/>
                  <a:gd name="T51" fmla="*/ 152 h 283"/>
                  <a:gd name="T52" fmla="*/ 119 w 151"/>
                  <a:gd name="T53" fmla="*/ 152 h 283"/>
                  <a:gd name="T54" fmla="*/ 119 w 151"/>
                  <a:gd name="T55" fmla="*/ 138 h 283"/>
                  <a:gd name="T56" fmla="*/ 119 w 151"/>
                  <a:gd name="T57" fmla="*/ 43 h 283"/>
                  <a:gd name="T58" fmla="*/ 123 w 151"/>
                  <a:gd name="T59" fmla="*/ 39 h 283"/>
                  <a:gd name="T60" fmla="*/ 126 w 151"/>
                  <a:gd name="T61" fmla="*/ 43 h 283"/>
                  <a:gd name="T62" fmla="*/ 126 w 151"/>
                  <a:gd name="T63" fmla="*/ 133 h 283"/>
                  <a:gd name="T64" fmla="*/ 126 w 151"/>
                  <a:gd name="T65" fmla="*/ 135 h 283"/>
                  <a:gd name="T66" fmla="*/ 139 w 151"/>
                  <a:gd name="T67" fmla="*/ 145 h 283"/>
                  <a:gd name="T68" fmla="*/ 151 w 151"/>
                  <a:gd name="T69" fmla="*/ 133 h 283"/>
                  <a:gd name="T70" fmla="*/ 151 w 151"/>
                  <a:gd name="T71" fmla="*/ 133 h 283"/>
                  <a:gd name="T72" fmla="*/ 151 w 151"/>
                  <a:gd name="T73" fmla="*/ 65 h 283"/>
                  <a:gd name="T74" fmla="*/ 151 w 151"/>
                  <a:gd name="T75" fmla="*/ 39 h 283"/>
                  <a:gd name="T76" fmla="*/ 151 w 151"/>
                  <a:gd name="T77" fmla="*/ 34 h 283"/>
                  <a:gd name="T78" fmla="*/ 119 w 151"/>
                  <a:gd name="T79"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1" h="283">
                    <a:moveTo>
                      <a:pt x="119" y="0"/>
                    </a:moveTo>
                    <a:cubicBezTo>
                      <a:pt x="75" y="0"/>
                      <a:pt x="75" y="0"/>
                      <a:pt x="75" y="0"/>
                    </a:cubicBezTo>
                    <a:cubicBezTo>
                      <a:pt x="32" y="0"/>
                      <a:pt x="32" y="0"/>
                      <a:pt x="32" y="0"/>
                    </a:cubicBezTo>
                    <a:cubicBezTo>
                      <a:pt x="11" y="0"/>
                      <a:pt x="0" y="10"/>
                      <a:pt x="0" y="34"/>
                    </a:cubicBezTo>
                    <a:cubicBezTo>
                      <a:pt x="0" y="39"/>
                      <a:pt x="0" y="39"/>
                      <a:pt x="0" y="39"/>
                    </a:cubicBezTo>
                    <a:cubicBezTo>
                      <a:pt x="0" y="65"/>
                      <a:pt x="0" y="65"/>
                      <a:pt x="0" y="65"/>
                    </a:cubicBezTo>
                    <a:cubicBezTo>
                      <a:pt x="0" y="88"/>
                      <a:pt x="0" y="88"/>
                      <a:pt x="0" y="88"/>
                    </a:cubicBezTo>
                    <a:cubicBezTo>
                      <a:pt x="0" y="133"/>
                      <a:pt x="0" y="133"/>
                      <a:pt x="0" y="133"/>
                    </a:cubicBezTo>
                    <a:cubicBezTo>
                      <a:pt x="0" y="133"/>
                      <a:pt x="0" y="133"/>
                      <a:pt x="0" y="133"/>
                    </a:cubicBezTo>
                    <a:cubicBezTo>
                      <a:pt x="0" y="140"/>
                      <a:pt x="5" y="145"/>
                      <a:pt x="12" y="145"/>
                    </a:cubicBezTo>
                    <a:cubicBezTo>
                      <a:pt x="19" y="145"/>
                      <a:pt x="24" y="141"/>
                      <a:pt x="25" y="135"/>
                    </a:cubicBezTo>
                    <a:cubicBezTo>
                      <a:pt x="25" y="134"/>
                      <a:pt x="25" y="133"/>
                      <a:pt x="25" y="133"/>
                    </a:cubicBezTo>
                    <a:cubicBezTo>
                      <a:pt x="25" y="43"/>
                      <a:pt x="25" y="43"/>
                      <a:pt x="25" y="43"/>
                    </a:cubicBezTo>
                    <a:cubicBezTo>
                      <a:pt x="25" y="41"/>
                      <a:pt x="26" y="39"/>
                      <a:pt x="28" y="39"/>
                    </a:cubicBezTo>
                    <a:cubicBezTo>
                      <a:pt x="30" y="39"/>
                      <a:pt x="31" y="41"/>
                      <a:pt x="31" y="43"/>
                    </a:cubicBezTo>
                    <a:cubicBezTo>
                      <a:pt x="31" y="138"/>
                      <a:pt x="31" y="138"/>
                      <a:pt x="31" y="138"/>
                    </a:cubicBezTo>
                    <a:cubicBezTo>
                      <a:pt x="31" y="138"/>
                      <a:pt x="31" y="147"/>
                      <a:pt x="32" y="152"/>
                    </a:cubicBezTo>
                    <a:cubicBezTo>
                      <a:pt x="32" y="152"/>
                      <a:pt x="32" y="152"/>
                      <a:pt x="32" y="152"/>
                    </a:cubicBezTo>
                    <a:cubicBezTo>
                      <a:pt x="32" y="152"/>
                      <a:pt x="32" y="152"/>
                      <a:pt x="32" y="152"/>
                    </a:cubicBezTo>
                    <a:cubicBezTo>
                      <a:pt x="42" y="260"/>
                      <a:pt x="42" y="260"/>
                      <a:pt x="42" y="260"/>
                    </a:cubicBezTo>
                    <a:cubicBezTo>
                      <a:pt x="43" y="276"/>
                      <a:pt x="50" y="283"/>
                      <a:pt x="64" y="283"/>
                    </a:cubicBezTo>
                    <a:cubicBezTo>
                      <a:pt x="75" y="283"/>
                      <a:pt x="75" y="283"/>
                      <a:pt x="75" y="283"/>
                    </a:cubicBezTo>
                    <a:cubicBezTo>
                      <a:pt x="87" y="283"/>
                      <a:pt x="87" y="283"/>
                      <a:pt x="87" y="283"/>
                    </a:cubicBezTo>
                    <a:cubicBezTo>
                      <a:pt x="101" y="283"/>
                      <a:pt x="108" y="276"/>
                      <a:pt x="109" y="260"/>
                    </a:cubicBezTo>
                    <a:cubicBezTo>
                      <a:pt x="119" y="152"/>
                      <a:pt x="119" y="152"/>
                      <a:pt x="119" y="152"/>
                    </a:cubicBezTo>
                    <a:cubicBezTo>
                      <a:pt x="119" y="152"/>
                      <a:pt x="119" y="152"/>
                      <a:pt x="119" y="152"/>
                    </a:cubicBezTo>
                    <a:cubicBezTo>
                      <a:pt x="119" y="152"/>
                      <a:pt x="119" y="152"/>
                      <a:pt x="119" y="152"/>
                    </a:cubicBezTo>
                    <a:cubicBezTo>
                      <a:pt x="119" y="147"/>
                      <a:pt x="119" y="138"/>
                      <a:pt x="119" y="138"/>
                    </a:cubicBezTo>
                    <a:cubicBezTo>
                      <a:pt x="119" y="43"/>
                      <a:pt x="119" y="43"/>
                      <a:pt x="119" y="43"/>
                    </a:cubicBezTo>
                    <a:cubicBezTo>
                      <a:pt x="119" y="41"/>
                      <a:pt x="121" y="39"/>
                      <a:pt x="123" y="39"/>
                    </a:cubicBezTo>
                    <a:cubicBezTo>
                      <a:pt x="124" y="39"/>
                      <a:pt x="126" y="41"/>
                      <a:pt x="126" y="43"/>
                    </a:cubicBezTo>
                    <a:cubicBezTo>
                      <a:pt x="126" y="133"/>
                      <a:pt x="126" y="133"/>
                      <a:pt x="126" y="133"/>
                    </a:cubicBezTo>
                    <a:cubicBezTo>
                      <a:pt x="126" y="133"/>
                      <a:pt x="126" y="134"/>
                      <a:pt x="126" y="135"/>
                    </a:cubicBezTo>
                    <a:cubicBezTo>
                      <a:pt x="127" y="141"/>
                      <a:pt x="132" y="145"/>
                      <a:pt x="139" y="145"/>
                    </a:cubicBezTo>
                    <a:cubicBezTo>
                      <a:pt x="146" y="145"/>
                      <a:pt x="151" y="140"/>
                      <a:pt x="151" y="133"/>
                    </a:cubicBezTo>
                    <a:cubicBezTo>
                      <a:pt x="151" y="133"/>
                      <a:pt x="151" y="133"/>
                      <a:pt x="151" y="133"/>
                    </a:cubicBezTo>
                    <a:cubicBezTo>
                      <a:pt x="151" y="65"/>
                      <a:pt x="151" y="65"/>
                      <a:pt x="151" y="65"/>
                    </a:cubicBezTo>
                    <a:cubicBezTo>
                      <a:pt x="151" y="39"/>
                      <a:pt x="151" y="39"/>
                      <a:pt x="151" y="39"/>
                    </a:cubicBezTo>
                    <a:cubicBezTo>
                      <a:pt x="151" y="34"/>
                      <a:pt x="151" y="34"/>
                      <a:pt x="151" y="34"/>
                    </a:cubicBezTo>
                    <a:cubicBezTo>
                      <a:pt x="151" y="10"/>
                      <a:pt x="140" y="0"/>
                      <a:pt x="1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sp>
        <p:nvSpPr>
          <p:cNvPr id="240" name="Freeform 239"/>
          <p:cNvSpPr>
            <a:spLocks noEditPoints="1"/>
          </p:cNvSpPr>
          <p:nvPr/>
        </p:nvSpPr>
        <p:spPr bwMode="auto">
          <a:xfrm>
            <a:off x="8352326" y="1382790"/>
            <a:ext cx="1670532" cy="915954"/>
          </a:xfrm>
          <a:custGeom>
            <a:avLst/>
            <a:gdLst>
              <a:gd name="T0" fmla="*/ 77 w 427"/>
              <a:gd name="T1" fmla="*/ 234 h 234"/>
              <a:gd name="T2" fmla="*/ 47 w 427"/>
              <a:gd name="T3" fmla="*/ 227 h 234"/>
              <a:gd name="T4" fmla="*/ 0 w 427"/>
              <a:gd name="T5" fmla="*/ 156 h 234"/>
              <a:gd name="T6" fmla="*/ 7 w 427"/>
              <a:gd name="T7" fmla="*/ 125 h 234"/>
              <a:gd name="T8" fmla="*/ 78 w 427"/>
              <a:gd name="T9" fmla="*/ 79 h 234"/>
              <a:gd name="T10" fmla="*/ 79 w 427"/>
              <a:gd name="T11" fmla="*/ 79 h 234"/>
              <a:gd name="T12" fmla="*/ 84 w 427"/>
              <a:gd name="T13" fmla="*/ 62 h 234"/>
              <a:gd name="T14" fmla="*/ 179 w 427"/>
              <a:gd name="T15" fmla="*/ 0 h 234"/>
              <a:gd name="T16" fmla="*/ 220 w 427"/>
              <a:gd name="T17" fmla="*/ 8 h 234"/>
              <a:gd name="T18" fmla="*/ 277 w 427"/>
              <a:gd name="T19" fmla="*/ 70 h 234"/>
              <a:gd name="T20" fmla="*/ 301 w 427"/>
              <a:gd name="T21" fmla="*/ 67 h 234"/>
              <a:gd name="T22" fmla="*/ 334 w 427"/>
              <a:gd name="T23" fmla="*/ 74 h 234"/>
              <a:gd name="T24" fmla="*/ 382 w 427"/>
              <a:gd name="T25" fmla="*/ 133 h 234"/>
              <a:gd name="T26" fmla="*/ 397 w 427"/>
              <a:gd name="T27" fmla="*/ 137 h 234"/>
              <a:gd name="T28" fmla="*/ 397 w 427"/>
              <a:gd name="T29" fmla="*/ 137 h 234"/>
              <a:gd name="T30" fmla="*/ 427 w 427"/>
              <a:gd name="T31" fmla="*/ 183 h 234"/>
              <a:gd name="T32" fmla="*/ 423 w 427"/>
              <a:gd name="T33" fmla="*/ 203 h 234"/>
              <a:gd name="T34" fmla="*/ 382 w 427"/>
              <a:gd name="T35" fmla="*/ 234 h 234"/>
              <a:gd name="T36" fmla="*/ 77 w 427"/>
              <a:gd name="T37" fmla="*/ 234 h 234"/>
              <a:gd name="T38" fmla="*/ 404 w 427"/>
              <a:gd name="T39" fmla="*/ 195 h 234"/>
              <a:gd name="T40" fmla="*/ 407 w 427"/>
              <a:gd name="T41" fmla="*/ 183 h 234"/>
              <a:gd name="T42" fmla="*/ 389 w 427"/>
              <a:gd name="T43" fmla="*/ 155 h 234"/>
              <a:gd name="T44" fmla="*/ 389 w 427"/>
              <a:gd name="T45" fmla="*/ 155 h 234"/>
              <a:gd name="T46" fmla="*/ 377 w 427"/>
              <a:gd name="T47" fmla="*/ 153 h 234"/>
              <a:gd name="T48" fmla="*/ 375 w 427"/>
              <a:gd name="T49" fmla="*/ 153 h 234"/>
              <a:gd name="T50" fmla="*/ 364 w 427"/>
              <a:gd name="T51" fmla="*/ 144 h 234"/>
              <a:gd name="T52" fmla="*/ 326 w 427"/>
              <a:gd name="T53" fmla="*/ 92 h 234"/>
              <a:gd name="T54" fmla="*/ 301 w 427"/>
              <a:gd name="T55" fmla="*/ 87 h 234"/>
              <a:gd name="T56" fmla="*/ 274 w 427"/>
              <a:gd name="T57" fmla="*/ 93 h 234"/>
              <a:gd name="T58" fmla="*/ 261 w 427"/>
              <a:gd name="T59" fmla="*/ 86 h 234"/>
              <a:gd name="T60" fmla="*/ 212 w 427"/>
              <a:gd name="T61" fmla="*/ 27 h 234"/>
              <a:gd name="T62" fmla="*/ 179 w 427"/>
              <a:gd name="T63" fmla="*/ 20 h 234"/>
              <a:gd name="T64" fmla="*/ 103 w 427"/>
              <a:gd name="T65" fmla="*/ 70 h 234"/>
              <a:gd name="T66" fmla="*/ 97 w 427"/>
              <a:gd name="T67" fmla="*/ 91 h 234"/>
              <a:gd name="T68" fmla="*/ 86 w 427"/>
              <a:gd name="T69" fmla="*/ 99 h 234"/>
              <a:gd name="T70" fmla="*/ 78 w 427"/>
              <a:gd name="T71" fmla="*/ 99 h 234"/>
              <a:gd name="T72" fmla="*/ 25 w 427"/>
              <a:gd name="T73" fmla="*/ 133 h 234"/>
              <a:gd name="T74" fmla="*/ 20 w 427"/>
              <a:gd name="T75" fmla="*/ 156 h 234"/>
              <a:gd name="T76" fmla="*/ 55 w 427"/>
              <a:gd name="T77" fmla="*/ 209 h 234"/>
              <a:gd name="T78" fmla="*/ 78 w 427"/>
              <a:gd name="T79" fmla="*/ 214 h 234"/>
              <a:gd name="T80" fmla="*/ 78 w 427"/>
              <a:gd name="T81" fmla="*/ 214 h 234"/>
              <a:gd name="T82" fmla="*/ 380 w 427"/>
              <a:gd name="T83" fmla="*/ 21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234">
                <a:moveTo>
                  <a:pt x="77" y="234"/>
                </a:moveTo>
                <a:cubicBezTo>
                  <a:pt x="77" y="234"/>
                  <a:pt x="77" y="234"/>
                  <a:pt x="77" y="234"/>
                </a:cubicBezTo>
                <a:cubicBezTo>
                  <a:pt x="67" y="234"/>
                  <a:pt x="57" y="231"/>
                  <a:pt x="47" y="227"/>
                </a:cubicBezTo>
                <a:cubicBezTo>
                  <a:pt x="47" y="227"/>
                  <a:pt x="47" y="227"/>
                  <a:pt x="47" y="227"/>
                </a:cubicBezTo>
                <a:cubicBezTo>
                  <a:pt x="18" y="215"/>
                  <a:pt x="0" y="186"/>
                  <a:pt x="0" y="156"/>
                </a:cubicBezTo>
                <a:cubicBezTo>
                  <a:pt x="0" y="156"/>
                  <a:pt x="0" y="156"/>
                  <a:pt x="0" y="156"/>
                </a:cubicBezTo>
                <a:cubicBezTo>
                  <a:pt x="0" y="146"/>
                  <a:pt x="2" y="135"/>
                  <a:pt x="7" y="125"/>
                </a:cubicBezTo>
                <a:cubicBezTo>
                  <a:pt x="7" y="125"/>
                  <a:pt x="7" y="125"/>
                  <a:pt x="7" y="125"/>
                </a:cubicBezTo>
                <a:cubicBezTo>
                  <a:pt x="19" y="96"/>
                  <a:pt x="48" y="79"/>
                  <a:pt x="78" y="79"/>
                </a:cubicBezTo>
                <a:cubicBezTo>
                  <a:pt x="78" y="79"/>
                  <a:pt x="78" y="79"/>
                  <a:pt x="78" y="79"/>
                </a:cubicBezTo>
                <a:cubicBezTo>
                  <a:pt x="78" y="79"/>
                  <a:pt x="78" y="79"/>
                  <a:pt x="79" y="79"/>
                </a:cubicBezTo>
                <a:cubicBezTo>
                  <a:pt x="79" y="79"/>
                  <a:pt x="79" y="79"/>
                  <a:pt x="79" y="79"/>
                </a:cubicBezTo>
                <a:cubicBezTo>
                  <a:pt x="80" y="73"/>
                  <a:pt x="82" y="67"/>
                  <a:pt x="84" y="62"/>
                </a:cubicBezTo>
                <a:cubicBezTo>
                  <a:pt x="84" y="62"/>
                  <a:pt x="84" y="62"/>
                  <a:pt x="84" y="62"/>
                </a:cubicBezTo>
                <a:cubicBezTo>
                  <a:pt x="101" y="23"/>
                  <a:pt x="139" y="0"/>
                  <a:pt x="179" y="0"/>
                </a:cubicBezTo>
                <a:cubicBezTo>
                  <a:pt x="179" y="0"/>
                  <a:pt x="179" y="0"/>
                  <a:pt x="179" y="0"/>
                </a:cubicBezTo>
                <a:cubicBezTo>
                  <a:pt x="193" y="0"/>
                  <a:pt x="207" y="2"/>
                  <a:pt x="220" y="8"/>
                </a:cubicBezTo>
                <a:cubicBezTo>
                  <a:pt x="220" y="8"/>
                  <a:pt x="220" y="8"/>
                  <a:pt x="220" y="8"/>
                </a:cubicBezTo>
                <a:cubicBezTo>
                  <a:pt x="248" y="20"/>
                  <a:pt x="268" y="43"/>
                  <a:pt x="277" y="70"/>
                </a:cubicBezTo>
                <a:cubicBezTo>
                  <a:pt x="277" y="70"/>
                  <a:pt x="277" y="70"/>
                  <a:pt x="277" y="70"/>
                </a:cubicBezTo>
                <a:cubicBezTo>
                  <a:pt x="285" y="68"/>
                  <a:pt x="293" y="67"/>
                  <a:pt x="301" y="67"/>
                </a:cubicBezTo>
                <a:cubicBezTo>
                  <a:pt x="301" y="67"/>
                  <a:pt x="301" y="67"/>
                  <a:pt x="301" y="67"/>
                </a:cubicBezTo>
                <a:cubicBezTo>
                  <a:pt x="312" y="67"/>
                  <a:pt x="323" y="69"/>
                  <a:pt x="334" y="74"/>
                </a:cubicBezTo>
                <a:cubicBezTo>
                  <a:pt x="334" y="74"/>
                  <a:pt x="334" y="74"/>
                  <a:pt x="334" y="74"/>
                </a:cubicBezTo>
                <a:cubicBezTo>
                  <a:pt x="360" y="85"/>
                  <a:pt x="377" y="108"/>
                  <a:pt x="382" y="133"/>
                </a:cubicBezTo>
                <a:cubicBezTo>
                  <a:pt x="382" y="133"/>
                  <a:pt x="382" y="133"/>
                  <a:pt x="382" y="133"/>
                </a:cubicBezTo>
                <a:cubicBezTo>
                  <a:pt x="387" y="134"/>
                  <a:pt x="392" y="135"/>
                  <a:pt x="397" y="137"/>
                </a:cubicBezTo>
                <a:cubicBezTo>
                  <a:pt x="397" y="137"/>
                  <a:pt x="397" y="137"/>
                  <a:pt x="397" y="137"/>
                </a:cubicBezTo>
                <a:cubicBezTo>
                  <a:pt x="397" y="137"/>
                  <a:pt x="397" y="137"/>
                  <a:pt x="397" y="137"/>
                </a:cubicBezTo>
                <a:cubicBezTo>
                  <a:pt x="397" y="137"/>
                  <a:pt x="397" y="137"/>
                  <a:pt x="397" y="137"/>
                </a:cubicBezTo>
                <a:cubicBezTo>
                  <a:pt x="416" y="145"/>
                  <a:pt x="427" y="164"/>
                  <a:pt x="427" y="183"/>
                </a:cubicBezTo>
                <a:cubicBezTo>
                  <a:pt x="427" y="183"/>
                  <a:pt x="427" y="183"/>
                  <a:pt x="427" y="183"/>
                </a:cubicBezTo>
                <a:cubicBezTo>
                  <a:pt x="427" y="190"/>
                  <a:pt x="426" y="196"/>
                  <a:pt x="423" y="203"/>
                </a:cubicBezTo>
                <a:cubicBezTo>
                  <a:pt x="423" y="203"/>
                  <a:pt x="423" y="203"/>
                  <a:pt x="423" y="203"/>
                </a:cubicBezTo>
                <a:cubicBezTo>
                  <a:pt x="415" y="220"/>
                  <a:pt x="400" y="232"/>
                  <a:pt x="382" y="234"/>
                </a:cubicBezTo>
                <a:cubicBezTo>
                  <a:pt x="382" y="234"/>
                  <a:pt x="382" y="234"/>
                  <a:pt x="382" y="234"/>
                </a:cubicBezTo>
                <a:cubicBezTo>
                  <a:pt x="381" y="234"/>
                  <a:pt x="381" y="234"/>
                  <a:pt x="381" y="234"/>
                </a:cubicBezTo>
                <a:cubicBezTo>
                  <a:pt x="77" y="234"/>
                  <a:pt x="77" y="234"/>
                  <a:pt x="77" y="234"/>
                </a:cubicBezTo>
                <a:close/>
                <a:moveTo>
                  <a:pt x="380" y="214"/>
                </a:moveTo>
                <a:cubicBezTo>
                  <a:pt x="390" y="213"/>
                  <a:pt x="400" y="205"/>
                  <a:pt x="404" y="195"/>
                </a:cubicBezTo>
                <a:cubicBezTo>
                  <a:pt x="404" y="195"/>
                  <a:pt x="404" y="195"/>
                  <a:pt x="404" y="195"/>
                </a:cubicBezTo>
                <a:cubicBezTo>
                  <a:pt x="406" y="191"/>
                  <a:pt x="407" y="187"/>
                  <a:pt x="407" y="183"/>
                </a:cubicBezTo>
                <a:cubicBezTo>
                  <a:pt x="407" y="183"/>
                  <a:pt x="407" y="183"/>
                  <a:pt x="407" y="183"/>
                </a:cubicBezTo>
                <a:cubicBezTo>
                  <a:pt x="407" y="171"/>
                  <a:pt x="400" y="160"/>
                  <a:pt x="389" y="155"/>
                </a:cubicBezTo>
                <a:cubicBezTo>
                  <a:pt x="389" y="155"/>
                  <a:pt x="389" y="155"/>
                  <a:pt x="389" y="155"/>
                </a:cubicBezTo>
                <a:cubicBezTo>
                  <a:pt x="389" y="155"/>
                  <a:pt x="389" y="155"/>
                  <a:pt x="389" y="155"/>
                </a:cubicBezTo>
                <a:cubicBezTo>
                  <a:pt x="385" y="154"/>
                  <a:pt x="381" y="153"/>
                  <a:pt x="377" y="153"/>
                </a:cubicBezTo>
                <a:cubicBezTo>
                  <a:pt x="377" y="153"/>
                  <a:pt x="377" y="153"/>
                  <a:pt x="377" y="153"/>
                </a:cubicBezTo>
                <a:cubicBezTo>
                  <a:pt x="376" y="153"/>
                  <a:pt x="375" y="153"/>
                  <a:pt x="375" y="153"/>
                </a:cubicBezTo>
                <a:cubicBezTo>
                  <a:pt x="375" y="153"/>
                  <a:pt x="375" y="153"/>
                  <a:pt x="375" y="153"/>
                </a:cubicBezTo>
                <a:cubicBezTo>
                  <a:pt x="365" y="154"/>
                  <a:pt x="365" y="154"/>
                  <a:pt x="365" y="154"/>
                </a:cubicBezTo>
                <a:cubicBezTo>
                  <a:pt x="364" y="144"/>
                  <a:pt x="364" y="144"/>
                  <a:pt x="364" y="144"/>
                </a:cubicBezTo>
                <a:cubicBezTo>
                  <a:pt x="362" y="122"/>
                  <a:pt x="348" y="102"/>
                  <a:pt x="326" y="92"/>
                </a:cubicBezTo>
                <a:cubicBezTo>
                  <a:pt x="326" y="92"/>
                  <a:pt x="326" y="92"/>
                  <a:pt x="326" y="92"/>
                </a:cubicBezTo>
                <a:cubicBezTo>
                  <a:pt x="318" y="88"/>
                  <a:pt x="309" y="87"/>
                  <a:pt x="301" y="87"/>
                </a:cubicBezTo>
                <a:cubicBezTo>
                  <a:pt x="301" y="87"/>
                  <a:pt x="301" y="87"/>
                  <a:pt x="301" y="87"/>
                </a:cubicBezTo>
                <a:cubicBezTo>
                  <a:pt x="292" y="87"/>
                  <a:pt x="283" y="89"/>
                  <a:pt x="274" y="93"/>
                </a:cubicBezTo>
                <a:cubicBezTo>
                  <a:pt x="274" y="93"/>
                  <a:pt x="274" y="93"/>
                  <a:pt x="274" y="93"/>
                </a:cubicBezTo>
                <a:cubicBezTo>
                  <a:pt x="263" y="98"/>
                  <a:pt x="263" y="98"/>
                  <a:pt x="263" y="98"/>
                </a:cubicBezTo>
                <a:cubicBezTo>
                  <a:pt x="261" y="86"/>
                  <a:pt x="261" y="86"/>
                  <a:pt x="261" y="86"/>
                </a:cubicBezTo>
                <a:cubicBezTo>
                  <a:pt x="255" y="60"/>
                  <a:pt x="238" y="38"/>
                  <a:pt x="212" y="27"/>
                </a:cubicBezTo>
                <a:cubicBezTo>
                  <a:pt x="212" y="27"/>
                  <a:pt x="212" y="27"/>
                  <a:pt x="212" y="27"/>
                </a:cubicBezTo>
                <a:cubicBezTo>
                  <a:pt x="201" y="22"/>
                  <a:pt x="190" y="20"/>
                  <a:pt x="179" y="20"/>
                </a:cubicBezTo>
                <a:cubicBezTo>
                  <a:pt x="179" y="20"/>
                  <a:pt x="179" y="20"/>
                  <a:pt x="179" y="20"/>
                </a:cubicBezTo>
                <a:cubicBezTo>
                  <a:pt x="147" y="20"/>
                  <a:pt x="116" y="38"/>
                  <a:pt x="103" y="70"/>
                </a:cubicBezTo>
                <a:cubicBezTo>
                  <a:pt x="103" y="70"/>
                  <a:pt x="103" y="70"/>
                  <a:pt x="103" y="70"/>
                </a:cubicBezTo>
                <a:cubicBezTo>
                  <a:pt x="100" y="77"/>
                  <a:pt x="98" y="84"/>
                  <a:pt x="97" y="91"/>
                </a:cubicBezTo>
                <a:cubicBezTo>
                  <a:pt x="97" y="91"/>
                  <a:pt x="97" y="91"/>
                  <a:pt x="97" y="91"/>
                </a:cubicBezTo>
                <a:cubicBezTo>
                  <a:pt x="95" y="100"/>
                  <a:pt x="95" y="100"/>
                  <a:pt x="95" y="100"/>
                </a:cubicBezTo>
                <a:cubicBezTo>
                  <a:pt x="86" y="99"/>
                  <a:pt x="86" y="99"/>
                  <a:pt x="86" y="99"/>
                </a:cubicBezTo>
                <a:cubicBezTo>
                  <a:pt x="83" y="99"/>
                  <a:pt x="80" y="99"/>
                  <a:pt x="78" y="99"/>
                </a:cubicBezTo>
                <a:cubicBezTo>
                  <a:pt x="78" y="99"/>
                  <a:pt x="78" y="99"/>
                  <a:pt x="78" y="99"/>
                </a:cubicBezTo>
                <a:cubicBezTo>
                  <a:pt x="56" y="99"/>
                  <a:pt x="35" y="112"/>
                  <a:pt x="25" y="133"/>
                </a:cubicBezTo>
                <a:cubicBezTo>
                  <a:pt x="25" y="133"/>
                  <a:pt x="25" y="133"/>
                  <a:pt x="25" y="133"/>
                </a:cubicBezTo>
                <a:cubicBezTo>
                  <a:pt x="22" y="141"/>
                  <a:pt x="20" y="148"/>
                  <a:pt x="20" y="156"/>
                </a:cubicBezTo>
                <a:cubicBezTo>
                  <a:pt x="20" y="156"/>
                  <a:pt x="20" y="156"/>
                  <a:pt x="20" y="156"/>
                </a:cubicBezTo>
                <a:cubicBezTo>
                  <a:pt x="20" y="178"/>
                  <a:pt x="33" y="200"/>
                  <a:pt x="55" y="209"/>
                </a:cubicBezTo>
                <a:cubicBezTo>
                  <a:pt x="55" y="209"/>
                  <a:pt x="55" y="209"/>
                  <a:pt x="55" y="209"/>
                </a:cubicBezTo>
                <a:cubicBezTo>
                  <a:pt x="62" y="212"/>
                  <a:pt x="70" y="214"/>
                  <a:pt x="78" y="214"/>
                </a:cubicBezTo>
                <a:cubicBezTo>
                  <a:pt x="78" y="214"/>
                  <a:pt x="78" y="214"/>
                  <a:pt x="78" y="214"/>
                </a:cubicBezTo>
                <a:cubicBezTo>
                  <a:pt x="78" y="214"/>
                  <a:pt x="78" y="214"/>
                  <a:pt x="78" y="214"/>
                </a:cubicBezTo>
                <a:cubicBezTo>
                  <a:pt x="78" y="214"/>
                  <a:pt x="78" y="214"/>
                  <a:pt x="78" y="214"/>
                </a:cubicBezTo>
                <a:cubicBezTo>
                  <a:pt x="78" y="214"/>
                  <a:pt x="78" y="214"/>
                  <a:pt x="78" y="214"/>
                </a:cubicBezTo>
                <a:cubicBezTo>
                  <a:pt x="380" y="214"/>
                  <a:pt x="380" y="214"/>
                  <a:pt x="380" y="214"/>
                </a:cubicBezTo>
                <a:close/>
              </a:path>
            </a:pathLst>
          </a:custGeom>
          <a:solidFill>
            <a:schemeClr val="accent4">
              <a:lumMod val="40000"/>
              <a:lumOff val="60000"/>
            </a:schemeClr>
          </a:solidFill>
          <a:ln>
            <a:noFill/>
          </a:ln>
        </p:spPr>
        <p:txBody>
          <a:bodyPr vert="horz" wrap="square" lIns="129909" tIns="64954" rIns="129909" bIns="64954"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259" name="Freeform 137"/>
          <p:cNvSpPr>
            <a:spLocks noChangeAspect="1"/>
          </p:cNvSpPr>
          <p:nvPr/>
        </p:nvSpPr>
        <p:spPr bwMode="auto">
          <a:xfrm>
            <a:off x="8563428" y="2043290"/>
            <a:ext cx="1691370" cy="910336"/>
          </a:xfrm>
          <a:custGeom>
            <a:avLst/>
            <a:gdLst>
              <a:gd name="T0" fmla="*/ 414 w 446"/>
              <a:gd name="T1" fmla="*/ 158 h 240"/>
              <a:gd name="T2" fmla="*/ 394 w 446"/>
              <a:gd name="T3" fmla="*/ 155 h 240"/>
              <a:gd name="T4" fmla="*/ 348 w 446"/>
              <a:gd name="T5" fmla="*/ 91 h 240"/>
              <a:gd name="T6" fmla="*/ 285 w 446"/>
              <a:gd name="T7" fmla="*/ 92 h 240"/>
              <a:gd name="T8" fmla="*/ 228 w 446"/>
              <a:gd name="T9" fmla="*/ 22 h 240"/>
              <a:gd name="T10" fmla="*/ 98 w 446"/>
              <a:gd name="T11" fmla="*/ 73 h 240"/>
              <a:gd name="T12" fmla="*/ 91 w 446"/>
              <a:gd name="T13" fmla="*/ 98 h 240"/>
              <a:gd name="T14" fmla="*/ 16 w 446"/>
              <a:gd name="T15" fmla="*/ 140 h 240"/>
              <a:gd name="T16" fmla="*/ 53 w 446"/>
              <a:gd name="T17" fmla="*/ 234 h 240"/>
              <a:gd name="T18" fmla="*/ 81 w 446"/>
              <a:gd name="T19" fmla="*/ 240 h 240"/>
              <a:gd name="T20" fmla="*/ 402 w 446"/>
              <a:gd name="T21" fmla="*/ 240 h 240"/>
              <a:gd name="T22" fmla="*/ 436 w 446"/>
              <a:gd name="T23" fmla="*/ 214 h 240"/>
              <a:gd name="T24" fmla="*/ 414 w 446"/>
              <a:gd name="T25" fmla="*/ 15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6" h="240">
                <a:moveTo>
                  <a:pt x="414" y="158"/>
                </a:moveTo>
                <a:cubicBezTo>
                  <a:pt x="408" y="155"/>
                  <a:pt x="401" y="154"/>
                  <a:pt x="394" y="155"/>
                </a:cubicBezTo>
                <a:cubicBezTo>
                  <a:pt x="392" y="128"/>
                  <a:pt x="375" y="103"/>
                  <a:pt x="348" y="91"/>
                </a:cubicBezTo>
                <a:cubicBezTo>
                  <a:pt x="327" y="82"/>
                  <a:pt x="304" y="83"/>
                  <a:pt x="285" y="92"/>
                </a:cubicBezTo>
                <a:cubicBezTo>
                  <a:pt x="278" y="61"/>
                  <a:pt x="258" y="35"/>
                  <a:pt x="228" y="22"/>
                </a:cubicBezTo>
                <a:cubicBezTo>
                  <a:pt x="178" y="0"/>
                  <a:pt x="120" y="23"/>
                  <a:pt x="98" y="73"/>
                </a:cubicBezTo>
                <a:cubicBezTo>
                  <a:pt x="94" y="81"/>
                  <a:pt x="92" y="89"/>
                  <a:pt x="91" y="98"/>
                </a:cubicBezTo>
                <a:cubicBezTo>
                  <a:pt x="60" y="94"/>
                  <a:pt x="29" y="110"/>
                  <a:pt x="16" y="140"/>
                </a:cubicBezTo>
                <a:cubicBezTo>
                  <a:pt x="0" y="176"/>
                  <a:pt x="17" y="218"/>
                  <a:pt x="53" y="234"/>
                </a:cubicBezTo>
                <a:cubicBezTo>
                  <a:pt x="62" y="238"/>
                  <a:pt x="72" y="240"/>
                  <a:pt x="81" y="240"/>
                </a:cubicBezTo>
                <a:cubicBezTo>
                  <a:pt x="402" y="240"/>
                  <a:pt x="402" y="240"/>
                  <a:pt x="402" y="240"/>
                </a:cubicBezTo>
                <a:cubicBezTo>
                  <a:pt x="417" y="238"/>
                  <a:pt x="430" y="228"/>
                  <a:pt x="436" y="214"/>
                </a:cubicBezTo>
                <a:cubicBezTo>
                  <a:pt x="446" y="192"/>
                  <a:pt x="436" y="167"/>
                  <a:pt x="414" y="158"/>
                </a:cubicBezTo>
              </a:path>
            </a:pathLst>
          </a:custGeom>
          <a:solidFill>
            <a:schemeClr val="accent4">
              <a:lumMod val="40000"/>
              <a:lumOff val="60000"/>
            </a:schemeClr>
          </a:solidFill>
          <a:ln>
            <a:noFill/>
          </a:ln>
        </p:spPr>
        <p:txBody>
          <a:bodyPr vert="horz" wrap="square" lIns="129909" tIns="64954" rIns="129909" bIns="64954" numCol="1" anchor="t" anchorCtr="0" compatLnSpc="1">
            <a:prstTxWarp prst="textNoShape">
              <a:avLst/>
            </a:prstTxWarp>
          </a:bodyPr>
          <a:lstStyle/>
          <a:p>
            <a:endParaRPr lang="en-US">
              <a:latin typeface="微软雅黑" pitchFamily="34" charset="-122"/>
              <a:ea typeface="微软雅黑" pitchFamily="34" charset="-122"/>
            </a:endParaRPr>
          </a:p>
        </p:txBody>
      </p:sp>
      <p:grpSp>
        <p:nvGrpSpPr>
          <p:cNvPr id="10" name="Group 9"/>
          <p:cNvGrpSpPr/>
          <p:nvPr/>
        </p:nvGrpSpPr>
        <p:grpSpPr>
          <a:xfrm>
            <a:off x="3828664" y="2045487"/>
            <a:ext cx="3576545" cy="438764"/>
            <a:chOff x="2696308" y="1438233"/>
            <a:chExt cx="2518755" cy="308506"/>
          </a:xfrm>
        </p:grpSpPr>
        <p:sp>
          <p:nvSpPr>
            <p:cNvPr id="295" name="Oval 294"/>
            <p:cNvSpPr/>
            <p:nvPr/>
          </p:nvSpPr>
          <p:spPr>
            <a:xfrm>
              <a:off x="5012582" y="1493414"/>
              <a:ext cx="202481" cy="198146"/>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微软雅黑" pitchFamily="34" charset="-122"/>
                <a:ea typeface="微软雅黑" pitchFamily="34" charset="-122"/>
              </a:endParaRPr>
            </a:p>
          </p:txBody>
        </p:sp>
        <p:sp>
          <p:nvSpPr>
            <p:cNvPr id="430" name="Right Arrow 429"/>
            <p:cNvSpPr/>
            <p:nvPr/>
          </p:nvSpPr>
          <p:spPr>
            <a:xfrm>
              <a:off x="2696308" y="1438233"/>
              <a:ext cx="2323540" cy="308506"/>
            </a:xfrm>
            <a:prstGeom prst="rightArrow">
              <a:avLst>
                <a:gd name="adj1" fmla="val 42593"/>
                <a:gd name="adj2" fmla="val 87037"/>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微软雅黑" pitchFamily="34" charset="-122"/>
                <a:ea typeface="微软雅黑" pitchFamily="34" charset="-122"/>
              </a:endParaRPr>
            </a:p>
          </p:txBody>
        </p:sp>
      </p:grpSp>
      <p:grpSp>
        <p:nvGrpSpPr>
          <p:cNvPr id="262" name="Group 261"/>
          <p:cNvGrpSpPr/>
          <p:nvPr/>
        </p:nvGrpSpPr>
        <p:grpSpPr>
          <a:xfrm>
            <a:off x="4719599" y="2015746"/>
            <a:ext cx="1857816" cy="452001"/>
            <a:chOff x="171035" y="954157"/>
            <a:chExt cx="390949" cy="387626"/>
          </a:xfrm>
        </p:grpSpPr>
        <p:sp>
          <p:nvSpPr>
            <p:cNvPr id="263" name="Round Diagonal Corner Rectangle 262"/>
            <p:cNvSpPr/>
            <p:nvPr/>
          </p:nvSpPr>
          <p:spPr>
            <a:xfrm flipV="1">
              <a:off x="171035" y="954157"/>
              <a:ext cx="387626" cy="387626"/>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dirty="0">
                <a:latin typeface="微软雅黑" pitchFamily="34" charset="-122"/>
                <a:ea typeface="微软雅黑" pitchFamily="34" charset="-122"/>
              </a:endParaRPr>
            </a:p>
          </p:txBody>
        </p:sp>
        <p:sp>
          <p:nvSpPr>
            <p:cNvPr id="264" name="Round Diagonal Corner Rectangle 263"/>
            <p:cNvSpPr/>
            <p:nvPr/>
          </p:nvSpPr>
          <p:spPr>
            <a:xfrm>
              <a:off x="174358" y="954157"/>
              <a:ext cx="387626" cy="387626"/>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2300" dirty="0">
                  <a:latin typeface="微软雅黑" pitchFamily="34" charset="-122"/>
                  <a:ea typeface="微软雅黑" pitchFamily="34" charset="-122"/>
                </a:rPr>
                <a:t>渗透</a:t>
              </a:r>
              <a:endParaRPr lang="en-US" sz="2300" dirty="0">
                <a:latin typeface="微软雅黑" pitchFamily="34" charset="-122"/>
                <a:ea typeface="微软雅黑" pitchFamily="34" charset="-122"/>
              </a:endParaRPr>
            </a:p>
          </p:txBody>
        </p:sp>
      </p:grpSp>
      <p:sp>
        <p:nvSpPr>
          <p:cNvPr id="271" name="Freeform 310"/>
          <p:cNvSpPr>
            <a:spLocks/>
          </p:cNvSpPr>
          <p:nvPr/>
        </p:nvSpPr>
        <p:spPr bwMode="auto">
          <a:xfrm>
            <a:off x="6794108" y="5042495"/>
            <a:ext cx="42505" cy="113734"/>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solidFill>
            <a:srgbClr val="000000"/>
          </a:solidFill>
          <a:ln w="9525">
            <a:noFill/>
            <a:round/>
            <a:headEnd/>
            <a:tailEnd/>
          </a:ln>
        </p:spPr>
        <p:txBody>
          <a:bodyPr lIns="129909" tIns="64954" rIns="129909" bIns="64954"/>
          <a:lstStyle/>
          <a:p>
            <a:endParaRPr lang="en-US" sz="2000" dirty="0">
              <a:latin typeface="微软雅黑" pitchFamily="34" charset="-122"/>
              <a:ea typeface="微软雅黑" pitchFamily="34" charset="-122"/>
            </a:endParaRPr>
          </a:p>
        </p:txBody>
      </p:sp>
      <p:grpSp>
        <p:nvGrpSpPr>
          <p:cNvPr id="268" name="Group 267"/>
          <p:cNvGrpSpPr/>
          <p:nvPr/>
        </p:nvGrpSpPr>
        <p:grpSpPr>
          <a:xfrm>
            <a:off x="6521830" y="4318883"/>
            <a:ext cx="1481740" cy="457879"/>
            <a:chOff x="161386" y="954156"/>
            <a:chExt cx="314542" cy="387627"/>
          </a:xfrm>
        </p:grpSpPr>
        <p:sp>
          <p:nvSpPr>
            <p:cNvPr id="269" name="Round Diagonal Corner Rectangle 268"/>
            <p:cNvSpPr/>
            <p:nvPr/>
          </p:nvSpPr>
          <p:spPr>
            <a:xfrm flipV="1">
              <a:off x="171035" y="954156"/>
              <a:ext cx="291924" cy="387626"/>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00" dirty="0">
                <a:latin typeface="微软雅黑" pitchFamily="34" charset="-122"/>
                <a:ea typeface="微软雅黑" pitchFamily="34" charset="-122"/>
              </a:endParaRPr>
            </a:p>
          </p:txBody>
        </p:sp>
        <p:sp>
          <p:nvSpPr>
            <p:cNvPr id="270" name="Round Diagonal Corner Rectangle 269"/>
            <p:cNvSpPr/>
            <p:nvPr/>
          </p:nvSpPr>
          <p:spPr>
            <a:xfrm>
              <a:off x="161386" y="954157"/>
              <a:ext cx="314542" cy="387626"/>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2300" dirty="0">
                  <a:latin typeface="微软雅黑" pitchFamily="34" charset="-122"/>
                  <a:ea typeface="微软雅黑" pitchFamily="34" charset="-122"/>
                </a:rPr>
                <a:t>捕获</a:t>
              </a:r>
              <a:endParaRPr lang="en-US" sz="2300" dirty="0">
                <a:latin typeface="微软雅黑" pitchFamily="34" charset="-122"/>
                <a:ea typeface="微软雅黑" pitchFamily="34" charset="-122"/>
              </a:endParaRPr>
            </a:p>
          </p:txBody>
        </p:sp>
      </p:grpSp>
      <p:grpSp>
        <p:nvGrpSpPr>
          <p:cNvPr id="9" name="Group 8"/>
          <p:cNvGrpSpPr/>
          <p:nvPr/>
        </p:nvGrpSpPr>
        <p:grpSpPr>
          <a:xfrm>
            <a:off x="4325899" y="4805243"/>
            <a:ext cx="2399571" cy="1062370"/>
            <a:chOff x="3046482" y="3378686"/>
            <a:chExt cx="1689880" cy="746979"/>
          </a:xfrm>
        </p:grpSpPr>
        <p:sp>
          <p:nvSpPr>
            <p:cNvPr id="292" name="Freeform 94"/>
            <p:cNvSpPr>
              <a:spLocks noEditPoints="1"/>
            </p:cNvSpPr>
            <p:nvPr/>
          </p:nvSpPr>
          <p:spPr bwMode="auto">
            <a:xfrm rot="4109834">
              <a:off x="3606505" y="2818663"/>
              <a:ext cx="569834" cy="1689880"/>
            </a:xfrm>
            <a:custGeom>
              <a:avLst/>
              <a:gdLst/>
              <a:ahLst/>
              <a:cxnLst>
                <a:cxn ang="0">
                  <a:pos x="360" y="3404"/>
                </a:cxn>
                <a:cxn ang="0">
                  <a:pos x="358" y="3462"/>
                </a:cxn>
                <a:cxn ang="0">
                  <a:pos x="268" y="3158"/>
                </a:cxn>
                <a:cxn ang="0">
                  <a:pos x="402" y="3008"/>
                </a:cxn>
                <a:cxn ang="0">
                  <a:pos x="388" y="3050"/>
                </a:cxn>
                <a:cxn ang="0">
                  <a:pos x="422" y="2898"/>
                </a:cxn>
                <a:cxn ang="0">
                  <a:pos x="370" y="2872"/>
                </a:cxn>
                <a:cxn ang="0">
                  <a:pos x="432" y="2780"/>
                </a:cxn>
                <a:cxn ang="0">
                  <a:pos x="360" y="2742"/>
                </a:cxn>
                <a:cxn ang="0">
                  <a:pos x="456" y="2520"/>
                </a:cxn>
                <a:cxn ang="0">
                  <a:pos x="492" y="2382"/>
                </a:cxn>
                <a:cxn ang="0">
                  <a:pos x="496" y="2344"/>
                </a:cxn>
                <a:cxn ang="0">
                  <a:pos x="514" y="2088"/>
                </a:cxn>
                <a:cxn ang="0">
                  <a:pos x="560" y="1948"/>
                </a:cxn>
                <a:cxn ang="0">
                  <a:pos x="634" y="1680"/>
                </a:cxn>
                <a:cxn ang="0">
                  <a:pos x="630" y="1696"/>
                </a:cxn>
                <a:cxn ang="0">
                  <a:pos x="662" y="1540"/>
                </a:cxn>
                <a:cxn ang="0">
                  <a:pos x="700" y="1450"/>
                </a:cxn>
                <a:cxn ang="0">
                  <a:pos x="726" y="1406"/>
                </a:cxn>
                <a:cxn ang="0">
                  <a:pos x="728" y="1314"/>
                </a:cxn>
                <a:cxn ang="0">
                  <a:pos x="812" y="1120"/>
                </a:cxn>
                <a:cxn ang="0">
                  <a:pos x="880" y="862"/>
                </a:cxn>
                <a:cxn ang="0">
                  <a:pos x="808" y="840"/>
                </a:cxn>
                <a:cxn ang="0">
                  <a:pos x="800" y="712"/>
                </a:cxn>
                <a:cxn ang="0">
                  <a:pos x="828" y="456"/>
                </a:cxn>
                <a:cxn ang="0">
                  <a:pos x="986" y="164"/>
                </a:cxn>
                <a:cxn ang="0">
                  <a:pos x="976" y="182"/>
                </a:cxn>
                <a:cxn ang="0">
                  <a:pos x="850" y="34"/>
                </a:cxn>
                <a:cxn ang="0">
                  <a:pos x="142" y="3294"/>
                </a:cxn>
                <a:cxn ang="0">
                  <a:pos x="158" y="3160"/>
                </a:cxn>
                <a:cxn ang="0">
                  <a:pos x="96" y="3144"/>
                </a:cxn>
                <a:cxn ang="0">
                  <a:pos x="90" y="2900"/>
                </a:cxn>
                <a:cxn ang="0">
                  <a:pos x="178" y="2918"/>
                </a:cxn>
                <a:cxn ang="0">
                  <a:pos x="208" y="2792"/>
                </a:cxn>
                <a:cxn ang="0">
                  <a:pos x="202" y="2600"/>
                </a:cxn>
                <a:cxn ang="0">
                  <a:pos x="220" y="2654"/>
                </a:cxn>
                <a:cxn ang="0">
                  <a:pos x="310" y="2342"/>
                </a:cxn>
                <a:cxn ang="0">
                  <a:pos x="358" y="2258"/>
                </a:cxn>
                <a:cxn ang="0">
                  <a:pos x="452" y="2116"/>
                </a:cxn>
                <a:cxn ang="0">
                  <a:pos x="468" y="2084"/>
                </a:cxn>
                <a:cxn ang="0">
                  <a:pos x="576" y="1812"/>
                </a:cxn>
                <a:cxn ang="0">
                  <a:pos x="588" y="1788"/>
                </a:cxn>
                <a:cxn ang="0">
                  <a:pos x="648" y="1678"/>
                </a:cxn>
                <a:cxn ang="0">
                  <a:pos x="708" y="1506"/>
                </a:cxn>
                <a:cxn ang="0">
                  <a:pos x="704" y="1520"/>
                </a:cxn>
                <a:cxn ang="0">
                  <a:pos x="796" y="1366"/>
                </a:cxn>
                <a:cxn ang="0">
                  <a:pos x="798" y="1298"/>
                </a:cxn>
                <a:cxn ang="0">
                  <a:pos x="902" y="1160"/>
                </a:cxn>
                <a:cxn ang="0">
                  <a:pos x="908" y="1110"/>
                </a:cxn>
                <a:cxn ang="0">
                  <a:pos x="986" y="988"/>
                </a:cxn>
                <a:cxn ang="0">
                  <a:pos x="974" y="986"/>
                </a:cxn>
                <a:cxn ang="0">
                  <a:pos x="1042" y="842"/>
                </a:cxn>
                <a:cxn ang="0">
                  <a:pos x="1028" y="850"/>
                </a:cxn>
                <a:cxn ang="0">
                  <a:pos x="1092" y="708"/>
                </a:cxn>
                <a:cxn ang="0">
                  <a:pos x="1062" y="702"/>
                </a:cxn>
                <a:cxn ang="0">
                  <a:pos x="1134" y="592"/>
                </a:cxn>
                <a:cxn ang="0">
                  <a:pos x="1072" y="562"/>
                </a:cxn>
                <a:cxn ang="0">
                  <a:pos x="1152" y="482"/>
                </a:cxn>
                <a:cxn ang="0">
                  <a:pos x="1060" y="438"/>
                </a:cxn>
                <a:cxn ang="0">
                  <a:pos x="1100" y="210"/>
                </a:cxn>
                <a:cxn ang="0">
                  <a:pos x="1176" y="90"/>
                </a:cxn>
                <a:cxn ang="0">
                  <a:pos x="1144" y="20"/>
                </a:cxn>
              </a:cxnLst>
              <a:rect l="0" t="0" r="r" b="b"/>
              <a:pathLst>
                <a:path w="1226" h="3488">
                  <a:moveTo>
                    <a:pt x="320" y="3396"/>
                  </a:moveTo>
                  <a:lnTo>
                    <a:pt x="320" y="3396"/>
                  </a:lnTo>
                  <a:lnTo>
                    <a:pt x="304" y="3398"/>
                  </a:lnTo>
                  <a:lnTo>
                    <a:pt x="290" y="3400"/>
                  </a:lnTo>
                  <a:lnTo>
                    <a:pt x="276" y="3404"/>
                  </a:lnTo>
                  <a:lnTo>
                    <a:pt x="266" y="3408"/>
                  </a:lnTo>
                  <a:lnTo>
                    <a:pt x="258" y="3416"/>
                  </a:lnTo>
                  <a:lnTo>
                    <a:pt x="252" y="3424"/>
                  </a:lnTo>
                  <a:lnTo>
                    <a:pt x="248" y="3432"/>
                  </a:lnTo>
                  <a:lnTo>
                    <a:pt x="248" y="3444"/>
                  </a:lnTo>
                  <a:lnTo>
                    <a:pt x="248" y="3444"/>
                  </a:lnTo>
                  <a:lnTo>
                    <a:pt x="248" y="3452"/>
                  </a:lnTo>
                  <a:lnTo>
                    <a:pt x="252" y="3462"/>
                  </a:lnTo>
                  <a:lnTo>
                    <a:pt x="258" y="3470"/>
                  </a:lnTo>
                  <a:lnTo>
                    <a:pt x="264" y="3476"/>
                  </a:lnTo>
                  <a:lnTo>
                    <a:pt x="274" y="3480"/>
                  </a:lnTo>
                  <a:lnTo>
                    <a:pt x="286" y="3484"/>
                  </a:lnTo>
                  <a:lnTo>
                    <a:pt x="300" y="3488"/>
                  </a:lnTo>
                  <a:lnTo>
                    <a:pt x="316" y="3488"/>
                  </a:lnTo>
                  <a:lnTo>
                    <a:pt x="316" y="3488"/>
                  </a:lnTo>
                  <a:lnTo>
                    <a:pt x="332" y="3488"/>
                  </a:lnTo>
                  <a:lnTo>
                    <a:pt x="346" y="3484"/>
                  </a:lnTo>
                  <a:lnTo>
                    <a:pt x="358" y="3480"/>
                  </a:lnTo>
                  <a:lnTo>
                    <a:pt x="368" y="3476"/>
                  </a:lnTo>
                  <a:lnTo>
                    <a:pt x="376" y="3468"/>
                  </a:lnTo>
                  <a:lnTo>
                    <a:pt x="382" y="3460"/>
                  </a:lnTo>
                  <a:lnTo>
                    <a:pt x="386" y="3452"/>
                  </a:lnTo>
                  <a:lnTo>
                    <a:pt x="386" y="3442"/>
                  </a:lnTo>
                  <a:lnTo>
                    <a:pt x="386" y="3442"/>
                  </a:lnTo>
                  <a:lnTo>
                    <a:pt x="386" y="3432"/>
                  </a:lnTo>
                  <a:lnTo>
                    <a:pt x="382" y="3422"/>
                  </a:lnTo>
                  <a:lnTo>
                    <a:pt x="378" y="3414"/>
                  </a:lnTo>
                  <a:lnTo>
                    <a:pt x="370" y="3408"/>
                  </a:lnTo>
                  <a:lnTo>
                    <a:pt x="360" y="3404"/>
                  </a:lnTo>
                  <a:lnTo>
                    <a:pt x="348" y="3400"/>
                  </a:lnTo>
                  <a:lnTo>
                    <a:pt x="336" y="3398"/>
                  </a:lnTo>
                  <a:lnTo>
                    <a:pt x="320" y="3396"/>
                  </a:lnTo>
                  <a:lnTo>
                    <a:pt x="320" y="3396"/>
                  </a:lnTo>
                  <a:close/>
                  <a:moveTo>
                    <a:pt x="316" y="3470"/>
                  </a:moveTo>
                  <a:lnTo>
                    <a:pt x="316" y="3470"/>
                  </a:lnTo>
                  <a:lnTo>
                    <a:pt x="292" y="3468"/>
                  </a:lnTo>
                  <a:lnTo>
                    <a:pt x="284" y="3466"/>
                  </a:lnTo>
                  <a:lnTo>
                    <a:pt x="276" y="3462"/>
                  </a:lnTo>
                  <a:lnTo>
                    <a:pt x="270" y="3458"/>
                  </a:lnTo>
                  <a:lnTo>
                    <a:pt x="266" y="3454"/>
                  </a:lnTo>
                  <a:lnTo>
                    <a:pt x="262" y="3448"/>
                  </a:lnTo>
                  <a:lnTo>
                    <a:pt x="262" y="3442"/>
                  </a:lnTo>
                  <a:lnTo>
                    <a:pt x="262" y="3442"/>
                  </a:lnTo>
                  <a:lnTo>
                    <a:pt x="262" y="3436"/>
                  </a:lnTo>
                  <a:lnTo>
                    <a:pt x="266" y="3430"/>
                  </a:lnTo>
                  <a:lnTo>
                    <a:pt x="270" y="3426"/>
                  </a:lnTo>
                  <a:lnTo>
                    <a:pt x="278" y="3422"/>
                  </a:lnTo>
                  <a:lnTo>
                    <a:pt x="286" y="3418"/>
                  </a:lnTo>
                  <a:lnTo>
                    <a:pt x="296" y="3416"/>
                  </a:lnTo>
                  <a:lnTo>
                    <a:pt x="318" y="3414"/>
                  </a:lnTo>
                  <a:lnTo>
                    <a:pt x="318" y="3414"/>
                  </a:lnTo>
                  <a:lnTo>
                    <a:pt x="340" y="3416"/>
                  </a:lnTo>
                  <a:lnTo>
                    <a:pt x="350" y="3418"/>
                  </a:lnTo>
                  <a:lnTo>
                    <a:pt x="358" y="3422"/>
                  </a:lnTo>
                  <a:lnTo>
                    <a:pt x="364" y="3426"/>
                  </a:lnTo>
                  <a:lnTo>
                    <a:pt x="370" y="3430"/>
                  </a:lnTo>
                  <a:lnTo>
                    <a:pt x="372" y="3436"/>
                  </a:lnTo>
                  <a:lnTo>
                    <a:pt x="372" y="3442"/>
                  </a:lnTo>
                  <a:lnTo>
                    <a:pt x="372" y="3442"/>
                  </a:lnTo>
                  <a:lnTo>
                    <a:pt x="372" y="3448"/>
                  </a:lnTo>
                  <a:lnTo>
                    <a:pt x="370" y="3454"/>
                  </a:lnTo>
                  <a:lnTo>
                    <a:pt x="364" y="3458"/>
                  </a:lnTo>
                  <a:lnTo>
                    <a:pt x="358" y="3462"/>
                  </a:lnTo>
                  <a:lnTo>
                    <a:pt x="350" y="3466"/>
                  </a:lnTo>
                  <a:lnTo>
                    <a:pt x="340" y="3468"/>
                  </a:lnTo>
                  <a:lnTo>
                    <a:pt x="316" y="3470"/>
                  </a:lnTo>
                  <a:lnTo>
                    <a:pt x="316" y="3470"/>
                  </a:lnTo>
                  <a:close/>
                  <a:moveTo>
                    <a:pt x="256" y="3310"/>
                  </a:moveTo>
                  <a:lnTo>
                    <a:pt x="372" y="3310"/>
                  </a:lnTo>
                  <a:lnTo>
                    <a:pt x="372" y="3310"/>
                  </a:lnTo>
                  <a:lnTo>
                    <a:pt x="372" y="3312"/>
                  </a:lnTo>
                  <a:lnTo>
                    <a:pt x="372" y="3312"/>
                  </a:lnTo>
                  <a:lnTo>
                    <a:pt x="358" y="3334"/>
                  </a:lnTo>
                  <a:lnTo>
                    <a:pt x="358" y="3334"/>
                  </a:lnTo>
                  <a:lnTo>
                    <a:pt x="372" y="3338"/>
                  </a:lnTo>
                  <a:lnTo>
                    <a:pt x="372" y="3338"/>
                  </a:lnTo>
                  <a:lnTo>
                    <a:pt x="388" y="3308"/>
                  </a:lnTo>
                  <a:lnTo>
                    <a:pt x="388" y="3308"/>
                  </a:lnTo>
                  <a:lnTo>
                    <a:pt x="388" y="3294"/>
                  </a:lnTo>
                  <a:lnTo>
                    <a:pt x="256" y="3294"/>
                  </a:lnTo>
                  <a:lnTo>
                    <a:pt x="256" y="3294"/>
                  </a:lnTo>
                  <a:lnTo>
                    <a:pt x="256" y="3310"/>
                  </a:lnTo>
                  <a:lnTo>
                    <a:pt x="256" y="3310"/>
                  </a:lnTo>
                  <a:close/>
                  <a:moveTo>
                    <a:pt x="266" y="3174"/>
                  </a:moveTo>
                  <a:lnTo>
                    <a:pt x="380" y="3174"/>
                  </a:lnTo>
                  <a:lnTo>
                    <a:pt x="380" y="3174"/>
                  </a:lnTo>
                  <a:lnTo>
                    <a:pt x="380" y="3176"/>
                  </a:lnTo>
                  <a:lnTo>
                    <a:pt x="380" y="3176"/>
                  </a:lnTo>
                  <a:lnTo>
                    <a:pt x="366" y="3198"/>
                  </a:lnTo>
                  <a:lnTo>
                    <a:pt x="366" y="3198"/>
                  </a:lnTo>
                  <a:lnTo>
                    <a:pt x="378" y="3202"/>
                  </a:lnTo>
                  <a:lnTo>
                    <a:pt x="378" y="3202"/>
                  </a:lnTo>
                  <a:lnTo>
                    <a:pt x="396" y="3172"/>
                  </a:lnTo>
                  <a:lnTo>
                    <a:pt x="396" y="3172"/>
                  </a:lnTo>
                  <a:lnTo>
                    <a:pt x="396" y="3158"/>
                  </a:lnTo>
                  <a:lnTo>
                    <a:pt x="268" y="3158"/>
                  </a:lnTo>
                  <a:lnTo>
                    <a:pt x="268" y="3158"/>
                  </a:lnTo>
                  <a:lnTo>
                    <a:pt x="266" y="3174"/>
                  </a:lnTo>
                  <a:lnTo>
                    <a:pt x="266" y="3174"/>
                  </a:lnTo>
                  <a:close/>
                  <a:moveTo>
                    <a:pt x="354" y="2988"/>
                  </a:moveTo>
                  <a:lnTo>
                    <a:pt x="354" y="2988"/>
                  </a:lnTo>
                  <a:lnTo>
                    <a:pt x="340" y="2990"/>
                  </a:lnTo>
                  <a:lnTo>
                    <a:pt x="326" y="2992"/>
                  </a:lnTo>
                  <a:lnTo>
                    <a:pt x="314" y="2996"/>
                  </a:lnTo>
                  <a:lnTo>
                    <a:pt x="304" y="3002"/>
                  </a:lnTo>
                  <a:lnTo>
                    <a:pt x="296" y="3008"/>
                  </a:lnTo>
                  <a:lnTo>
                    <a:pt x="290" y="3016"/>
                  </a:lnTo>
                  <a:lnTo>
                    <a:pt x="284" y="3026"/>
                  </a:lnTo>
                  <a:lnTo>
                    <a:pt x="282" y="3036"/>
                  </a:lnTo>
                  <a:lnTo>
                    <a:pt x="282" y="3036"/>
                  </a:lnTo>
                  <a:lnTo>
                    <a:pt x="282" y="3046"/>
                  </a:lnTo>
                  <a:lnTo>
                    <a:pt x="284" y="3054"/>
                  </a:lnTo>
                  <a:lnTo>
                    <a:pt x="288" y="3062"/>
                  </a:lnTo>
                  <a:lnTo>
                    <a:pt x="294" y="3068"/>
                  </a:lnTo>
                  <a:lnTo>
                    <a:pt x="304" y="3074"/>
                  </a:lnTo>
                  <a:lnTo>
                    <a:pt x="314" y="3078"/>
                  </a:lnTo>
                  <a:lnTo>
                    <a:pt x="326" y="3080"/>
                  </a:lnTo>
                  <a:lnTo>
                    <a:pt x="340" y="3080"/>
                  </a:lnTo>
                  <a:lnTo>
                    <a:pt x="340" y="3080"/>
                  </a:lnTo>
                  <a:lnTo>
                    <a:pt x="356" y="3080"/>
                  </a:lnTo>
                  <a:lnTo>
                    <a:pt x="368" y="3078"/>
                  </a:lnTo>
                  <a:lnTo>
                    <a:pt x="380" y="3074"/>
                  </a:lnTo>
                  <a:lnTo>
                    <a:pt x="390" y="3068"/>
                  </a:lnTo>
                  <a:lnTo>
                    <a:pt x="396" y="3060"/>
                  </a:lnTo>
                  <a:lnTo>
                    <a:pt x="402" y="3052"/>
                  </a:lnTo>
                  <a:lnTo>
                    <a:pt x="406" y="3044"/>
                  </a:lnTo>
                  <a:lnTo>
                    <a:pt x="408" y="3034"/>
                  </a:lnTo>
                  <a:lnTo>
                    <a:pt x="408" y="3034"/>
                  </a:lnTo>
                  <a:lnTo>
                    <a:pt x="408" y="3024"/>
                  </a:lnTo>
                  <a:lnTo>
                    <a:pt x="406" y="3014"/>
                  </a:lnTo>
                  <a:lnTo>
                    <a:pt x="402" y="3008"/>
                  </a:lnTo>
                  <a:lnTo>
                    <a:pt x="396" y="3000"/>
                  </a:lnTo>
                  <a:lnTo>
                    <a:pt x="388" y="2996"/>
                  </a:lnTo>
                  <a:lnTo>
                    <a:pt x="378" y="2992"/>
                  </a:lnTo>
                  <a:lnTo>
                    <a:pt x="366" y="2990"/>
                  </a:lnTo>
                  <a:lnTo>
                    <a:pt x="354" y="2988"/>
                  </a:lnTo>
                  <a:lnTo>
                    <a:pt x="354" y="2988"/>
                  </a:lnTo>
                  <a:close/>
                  <a:moveTo>
                    <a:pt x="342" y="3062"/>
                  </a:moveTo>
                  <a:lnTo>
                    <a:pt x="342" y="3062"/>
                  </a:lnTo>
                  <a:lnTo>
                    <a:pt x="322" y="3060"/>
                  </a:lnTo>
                  <a:lnTo>
                    <a:pt x="314" y="3058"/>
                  </a:lnTo>
                  <a:lnTo>
                    <a:pt x="306" y="3054"/>
                  </a:lnTo>
                  <a:lnTo>
                    <a:pt x="300" y="3050"/>
                  </a:lnTo>
                  <a:lnTo>
                    <a:pt x="298" y="3046"/>
                  </a:lnTo>
                  <a:lnTo>
                    <a:pt x="296" y="3040"/>
                  </a:lnTo>
                  <a:lnTo>
                    <a:pt x="296" y="3034"/>
                  </a:lnTo>
                  <a:lnTo>
                    <a:pt x="296" y="3034"/>
                  </a:lnTo>
                  <a:lnTo>
                    <a:pt x="298" y="3028"/>
                  </a:lnTo>
                  <a:lnTo>
                    <a:pt x="300" y="3022"/>
                  </a:lnTo>
                  <a:lnTo>
                    <a:pt x="306" y="3018"/>
                  </a:lnTo>
                  <a:lnTo>
                    <a:pt x="312" y="3014"/>
                  </a:lnTo>
                  <a:lnTo>
                    <a:pt x="330" y="3008"/>
                  </a:lnTo>
                  <a:lnTo>
                    <a:pt x="350" y="3008"/>
                  </a:lnTo>
                  <a:lnTo>
                    <a:pt x="350" y="3008"/>
                  </a:lnTo>
                  <a:lnTo>
                    <a:pt x="370" y="3008"/>
                  </a:lnTo>
                  <a:lnTo>
                    <a:pt x="378" y="3010"/>
                  </a:lnTo>
                  <a:lnTo>
                    <a:pt x="384" y="3014"/>
                  </a:lnTo>
                  <a:lnTo>
                    <a:pt x="390" y="3018"/>
                  </a:lnTo>
                  <a:lnTo>
                    <a:pt x="394" y="3022"/>
                  </a:lnTo>
                  <a:lnTo>
                    <a:pt x="396" y="3028"/>
                  </a:lnTo>
                  <a:lnTo>
                    <a:pt x="396" y="3034"/>
                  </a:lnTo>
                  <a:lnTo>
                    <a:pt x="396" y="3034"/>
                  </a:lnTo>
                  <a:lnTo>
                    <a:pt x="394" y="3040"/>
                  </a:lnTo>
                  <a:lnTo>
                    <a:pt x="392" y="3046"/>
                  </a:lnTo>
                  <a:lnTo>
                    <a:pt x="388" y="3050"/>
                  </a:lnTo>
                  <a:lnTo>
                    <a:pt x="382" y="3054"/>
                  </a:lnTo>
                  <a:lnTo>
                    <a:pt x="374" y="3058"/>
                  </a:lnTo>
                  <a:lnTo>
                    <a:pt x="364" y="3060"/>
                  </a:lnTo>
                  <a:lnTo>
                    <a:pt x="342" y="3062"/>
                  </a:lnTo>
                  <a:lnTo>
                    <a:pt x="342" y="3062"/>
                  </a:lnTo>
                  <a:close/>
                  <a:moveTo>
                    <a:pt x="374" y="2854"/>
                  </a:moveTo>
                  <a:lnTo>
                    <a:pt x="374" y="2854"/>
                  </a:lnTo>
                  <a:lnTo>
                    <a:pt x="360" y="2854"/>
                  </a:lnTo>
                  <a:lnTo>
                    <a:pt x="348" y="2856"/>
                  </a:lnTo>
                  <a:lnTo>
                    <a:pt x="336" y="2860"/>
                  </a:lnTo>
                  <a:lnTo>
                    <a:pt x="326" y="2866"/>
                  </a:lnTo>
                  <a:lnTo>
                    <a:pt x="318" y="2872"/>
                  </a:lnTo>
                  <a:lnTo>
                    <a:pt x="312" y="2880"/>
                  </a:lnTo>
                  <a:lnTo>
                    <a:pt x="308" y="2890"/>
                  </a:lnTo>
                  <a:lnTo>
                    <a:pt x="304" y="2900"/>
                  </a:lnTo>
                  <a:lnTo>
                    <a:pt x="304" y="2900"/>
                  </a:lnTo>
                  <a:lnTo>
                    <a:pt x="304" y="2910"/>
                  </a:lnTo>
                  <a:lnTo>
                    <a:pt x="306" y="2918"/>
                  </a:lnTo>
                  <a:lnTo>
                    <a:pt x="310" y="2926"/>
                  </a:lnTo>
                  <a:lnTo>
                    <a:pt x="316" y="2932"/>
                  </a:lnTo>
                  <a:lnTo>
                    <a:pt x="322" y="2938"/>
                  </a:lnTo>
                  <a:lnTo>
                    <a:pt x="332" y="2942"/>
                  </a:lnTo>
                  <a:lnTo>
                    <a:pt x="344" y="2944"/>
                  </a:lnTo>
                  <a:lnTo>
                    <a:pt x="358" y="2944"/>
                  </a:lnTo>
                  <a:lnTo>
                    <a:pt x="358" y="2944"/>
                  </a:lnTo>
                  <a:lnTo>
                    <a:pt x="372" y="2944"/>
                  </a:lnTo>
                  <a:lnTo>
                    <a:pt x="384" y="2942"/>
                  </a:lnTo>
                  <a:lnTo>
                    <a:pt x="394" y="2938"/>
                  </a:lnTo>
                  <a:lnTo>
                    <a:pt x="404" y="2932"/>
                  </a:lnTo>
                  <a:lnTo>
                    <a:pt x="410" y="2924"/>
                  </a:lnTo>
                  <a:lnTo>
                    <a:pt x="416" y="2916"/>
                  </a:lnTo>
                  <a:lnTo>
                    <a:pt x="420" y="2908"/>
                  </a:lnTo>
                  <a:lnTo>
                    <a:pt x="422" y="2898"/>
                  </a:lnTo>
                  <a:lnTo>
                    <a:pt x="422" y="2898"/>
                  </a:lnTo>
                  <a:lnTo>
                    <a:pt x="422" y="2888"/>
                  </a:lnTo>
                  <a:lnTo>
                    <a:pt x="420" y="2878"/>
                  </a:lnTo>
                  <a:lnTo>
                    <a:pt x="418" y="2872"/>
                  </a:lnTo>
                  <a:lnTo>
                    <a:pt x="412" y="2864"/>
                  </a:lnTo>
                  <a:lnTo>
                    <a:pt x="404" y="2860"/>
                  </a:lnTo>
                  <a:lnTo>
                    <a:pt x="396" y="2856"/>
                  </a:lnTo>
                  <a:lnTo>
                    <a:pt x="386" y="2854"/>
                  </a:lnTo>
                  <a:lnTo>
                    <a:pt x="374" y="2854"/>
                  </a:lnTo>
                  <a:lnTo>
                    <a:pt x="374" y="2854"/>
                  </a:lnTo>
                  <a:close/>
                  <a:moveTo>
                    <a:pt x="410" y="2898"/>
                  </a:moveTo>
                  <a:lnTo>
                    <a:pt x="410" y="2898"/>
                  </a:lnTo>
                  <a:lnTo>
                    <a:pt x="410" y="2904"/>
                  </a:lnTo>
                  <a:lnTo>
                    <a:pt x="406" y="2910"/>
                  </a:lnTo>
                  <a:lnTo>
                    <a:pt x="402" y="2914"/>
                  </a:lnTo>
                  <a:lnTo>
                    <a:pt x="396" y="2918"/>
                  </a:lnTo>
                  <a:lnTo>
                    <a:pt x="390" y="2922"/>
                  </a:lnTo>
                  <a:lnTo>
                    <a:pt x="382" y="2924"/>
                  </a:lnTo>
                  <a:lnTo>
                    <a:pt x="360" y="2926"/>
                  </a:lnTo>
                  <a:lnTo>
                    <a:pt x="360" y="2926"/>
                  </a:lnTo>
                  <a:lnTo>
                    <a:pt x="340" y="2924"/>
                  </a:lnTo>
                  <a:lnTo>
                    <a:pt x="332" y="2922"/>
                  </a:lnTo>
                  <a:lnTo>
                    <a:pt x="326" y="2920"/>
                  </a:lnTo>
                  <a:lnTo>
                    <a:pt x="322" y="2916"/>
                  </a:lnTo>
                  <a:lnTo>
                    <a:pt x="318" y="2910"/>
                  </a:lnTo>
                  <a:lnTo>
                    <a:pt x="316" y="2906"/>
                  </a:lnTo>
                  <a:lnTo>
                    <a:pt x="318" y="2900"/>
                  </a:lnTo>
                  <a:lnTo>
                    <a:pt x="318" y="2900"/>
                  </a:lnTo>
                  <a:lnTo>
                    <a:pt x="320" y="2892"/>
                  </a:lnTo>
                  <a:lnTo>
                    <a:pt x="322" y="2886"/>
                  </a:lnTo>
                  <a:lnTo>
                    <a:pt x="328" y="2882"/>
                  </a:lnTo>
                  <a:lnTo>
                    <a:pt x="334" y="2878"/>
                  </a:lnTo>
                  <a:lnTo>
                    <a:pt x="350" y="2874"/>
                  </a:lnTo>
                  <a:lnTo>
                    <a:pt x="370" y="2872"/>
                  </a:lnTo>
                  <a:lnTo>
                    <a:pt x="370" y="2872"/>
                  </a:lnTo>
                  <a:lnTo>
                    <a:pt x="388" y="2874"/>
                  </a:lnTo>
                  <a:lnTo>
                    <a:pt x="396" y="2876"/>
                  </a:lnTo>
                  <a:lnTo>
                    <a:pt x="402" y="2878"/>
                  </a:lnTo>
                  <a:lnTo>
                    <a:pt x="406" y="2882"/>
                  </a:lnTo>
                  <a:lnTo>
                    <a:pt x="408" y="2886"/>
                  </a:lnTo>
                  <a:lnTo>
                    <a:pt x="410" y="2892"/>
                  </a:lnTo>
                  <a:lnTo>
                    <a:pt x="410" y="2898"/>
                  </a:lnTo>
                  <a:lnTo>
                    <a:pt x="410" y="2898"/>
                  </a:lnTo>
                  <a:close/>
                  <a:moveTo>
                    <a:pt x="396" y="2718"/>
                  </a:moveTo>
                  <a:lnTo>
                    <a:pt x="396" y="2718"/>
                  </a:lnTo>
                  <a:lnTo>
                    <a:pt x="384" y="2718"/>
                  </a:lnTo>
                  <a:lnTo>
                    <a:pt x="372" y="2720"/>
                  </a:lnTo>
                  <a:lnTo>
                    <a:pt x="362" y="2724"/>
                  </a:lnTo>
                  <a:lnTo>
                    <a:pt x="354" y="2730"/>
                  </a:lnTo>
                  <a:lnTo>
                    <a:pt x="346" y="2736"/>
                  </a:lnTo>
                  <a:lnTo>
                    <a:pt x="340" y="2744"/>
                  </a:lnTo>
                  <a:lnTo>
                    <a:pt x="334" y="2754"/>
                  </a:lnTo>
                  <a:lnTo>
                    <a:pt x="332" y="2764"/>
                  </a:lnTo>
                  <a:lnTo>
                    <a:pt x="332" y="2764"/>
                  </a:lnTo>
                  <a:lnTo>
                    <a:pt x="330" y="2774"/>
                  </a:lnTo>
                  <a:lnTo>
                    <a:pt x="332" y="2782"/>
                  </a:lnTo>
                  <a:lnTo>
                    <a:pt x="334" y="2790"/>
                  </a:lnTo>
                  <a:lnTo>
                    <a:pt x="340" y="2796"/>
                  </a:lnTo>
                  <a:lnTo>
                    <a:pt x="346" y="2802"/>
                  </a:lnTo>
                  <a:lnTo>
                    <a:pt x="356" y="2806"/>
                  </a:lnTo>
                  <a:lnTo>
                    <a:pt x="366" y="2808"/>
                  </a:lnTo>
                  <a:lnTo>
                    <a:pt x="378" y="2810"/>
                  </a:lnTo>
                  <a:lnTo>
                    <a:pt x="378" y="2810"/>
                  </a:lnTo>
                  <a:lnTo>
                    <a:pt x="392" y="2808"/>
                  </a:lnTo>
                  <a:lnTo>
                    <a:pt x="402" y="2806"/>
                  </a:lnTo>
                  <a:lnTo>
                    <a:pt x="412" y="2802"/>
                  </a:lnTo>
                  <a:lnTo>
                    <a:pt x="420" y="2796"/>
                  </a:lnTo>
                  <a:lnTo>
                    <a:pt x="428" y="2790"/>
                  </a:lnTo>
                  <a:lnTo>
                    <a:pt x="432" y="2780"/>
                  </a:lnTo>
                  <a:lnTo>
                    <a:pt x="436" y="2772"/>
                  </a:lnTo>
                  <a:lnTo>
                    <a:pt x="438" y="2762"/>
                  </a:lnTo>
                  <a:lnTo>
                    <a:pt x="438" y="2762"/>
                  </a:lnTo>
                  <a:lnTo>
                    <a:pt x="438" y="2752"/>
                  </a:lnTo>
                  <a:lnTo>
                    <a:pt x="438" y="2744"/>
                  </a:lnTo>
                  <a:lnTo>
                    <a:pt x="434" y="2736"/>
                  </a:lnTo>
                  <a:lnTo>
                    <a:pt x="430" y="2728"/>
                  </a:lnTo>
                  <a:lnTo>
                    <a:pt x="424" y="2724"/>
                  </a:lnTo>
                  <a:lnTo>
                    <a:pt x="416" y="2720"/>
                  </a:lnTo>
                  <a:lnTo>
                    <a:pt x="408" y="2718"/>
                  </a:lnTo>
                  <a:lnTo>
                    <a:pt x="396" y="2718"/>
                  </a:lnTo>
                  <a:lnTo>
                    <a:pt x="396" y="2718"/>
                  </a:lnTo>
                  <a:close/>
                  <a:moveTo>
                    <a:pt x="428" y="2764"/>
                  </a:moveTo>
                  <a:lnTo>
                    <a:pt x="428" y="2764"/>
                  </a:lnTo>
                  <a:lnTo>
                    <a:pt x="426" y="2768"/>
                  </a:lnTo>
                  <a:lnTo>
                    <a:pt x="424" y="2774"/>
                  </a:lnTo>
                  <a:lnTo>
                    <a:pt x="420" y="2778"/>
                  </a:lnTo>
                  <a:lnTo>
                    <a:pt x="414" y="2782"/>
                  </a:lnTo>
                  <a:lnTo>
                    <a:pt x="408" y="2786"/>
                  </a:lnTo>
                  <a:lnTo>
                    <a:pt x="400" y="2788"/>
                  </a:lnTo>
                  <a:lnTo>
                    <a:pt x="382" y="2790"/>
                  </a:lnTo>
                  <a:lnTo>
                    <a:pt x="382" y="2790"/>
                  </a:lnTo>
                  <a:lnTo>
                    <a:pt x="364" y="2788"/>
                  </a:lnTo>
                  <a:lnTo>
                    <a:pt x="356" y="2786"/>
                  </a:lnTo>
                  <a:lnTo>
                    <a:pt x="350" y="2784"/>
                  </a:lnTo>
                  <a:lnTo>
                    <a:pt x="346" y="2780"/>
                  </a:lnTo>
                  <a:lnTo>
                    <a:pt x="344" y="2774"/>
                  </a:lnTo>
                  <a:lnTo>
                    <a:pt x="342" y="2770"/>
                  </a:lnTo>
                  <a:lnTo>
                    <a:pt x="342" y="2764"/>
                  </a:lnTo>
                  <a:lnTo>
                    <a:pt x="342" y="2764"/>
                  </a:lnTo>
                  <a:lnTo>
                    <a:pt x="346" y="2756"/>
                  </a:lnTo>
                  <a:lnTo>
                    <a:pt x="348" y="2752"/>
                  </a:lnTo>
                  <a:lnTo>
                    <a:pt x="354" y="2746"/>
                  </a:lnTo>
                  <a:lnTo>
                    <a:pt x="360" y="2742"/>
                  </a:lnTo>
                  <a:lnTo>
                    <a:pt x="374" y="2738"/>
                  </a:lnTo>
                  <a:lnTo>
                    <a:pt x="392" y="2736"/>
                  </a:lnTo>
                  <a:lnTo>
                    <a:pt x="392" y="2736"/>
                  </a:lnTo>
                  <a:lnTo>
                    <a:pt x="408" y="2738"/>
                  </a:lnTo>
                  <a:lnTo>
                    <a:pt x="416" y="2740"/>
                  </a:lnTo>
                  <a:lnTo>
                    <a:pt x="420" y="2742"/>
                  </a:lnTo>
                  <a:lnTo>
                    <a:pt x="424" y="2746"/>
                  </a:lnTo>
                  <a:lnTo>
                    <a:pt x="428" y="2750"/>
                  </a:lnTo>
                  <a:lnTo>
                    <a:pt x="428" y="2756"/>
                  </a:lnTo>
                  <a:lnTo>
                    <a:pt x="428" y="2764"/>
                  </a:lnTo>
                  <a:lnTo>
                    <a:pt x="428" y="2764"/>
                  </a:lnTo>
                  <a:close/>
                  <a:moveTo>
                    <a:pt x="362" y="2632"/>
                  </a:moveTo>
                  <a:lnTo>
                    <a:pt x="444" y="2632"/>
                  </a:lnTo>
                  <a:lnTo>
                    <a:pt x="444" y="2632"/>
                  </a:lnTo>
                  <a:lnTo>
                    <a:pt x="444" y="2632"/>
                  </a:lnTo>
                  <a:lnTo>
                    <a:pt x="444" y="2632"/>
                  </a:lnTo>
                  <a:lnTo>
                    <a:pt x="432" y="2656"/>
                  </a:lnTo>
                  <a:lnTo>
                    <a:pt x="432" y="2656"/>
                  </a:lnTo>
                  <a:lnTo>
                    <a:pt x="440" y="2660"/>
                  </a:lnTo>
                  <a:lnTo>
                    <a:pt x="440" y="2660"/>
                  </a:lnTo>
                  <a:lnTo>
                    <a:pt x="456" y="2630"/>
                  </a:lnTo>
                  <a:lnTo>
                    <a:pt x="456" y="2630"/>
                  </a:lnTo>
                  <a:lnTo>
                    <a:pt x="458" y="2614"/>
                  </a:lnTo>
                  <a:lnTo>
                    <a:pt x="368" y="2614"/>
                  </a:lnTo>
                  <a:lnTo>
                    <a:pt x="368" y="2614"/>
                  </a:lnTo>
                  <a:lnTo>
                    <a:pt x="362" y="2632"/>
                  </a:lnTo>
                  <a:lnTo>
                    <a:pt x="362" y="2632"/>
                  </a:lnTo>
                  <a:close/>
                  <a:moveTo>
                    <a:pt x="396" y="2496"/>
                  </a:moveTo>
                  <a:lnTo>
                    <a:pt x="468" y="2496"/>
                  </a:lnTo>
                  <a:lnTo>
                    <a:pt x="468" y="2496"/>
                  </a:lnTo>
                  <a:lnTo>
                    <a:pt x="468" y="2496"/>
                  </a:lnTo>
                  <a:lnTo>
                    <a:pt x="468" y="2496"/>
                  </a:lnTo>
                  <a:lnTo>
                    <a:pt x="456" y="2520"/>
                  </a:lnTo>
                  <a:lnTo>
                    <a:pt x="456" y="2520"/>
                  </a:lnTo>
                  <a:lnTo>
                    <a:pt x="464" y="2524"/>
                  </a:lnTo>
                  <a:lnTo>
                    <a:pt x="464" y="2524"/>
                  </a:lnTo>
                  <a:lnTo>
                    <a:pt x="476" y="2494"/>
                  </a:lnTo>
                  <a:lnTo>
                    <a:pt x="476" y="2494"/>
                  </a:lnTo>
                  <a:lnTo>
                    <a:pt x="480" y="2478"/>
                  </a:lnTo>
                  <a:lnTo>
                    <a:pt x="402" y="2478"/>
                  </a:lnTo>
                  <a:lnTo>
                    <a:pt x="402" y="2478"/>
                  </a:lnTo>
                  <a:lnTo>
                    <a:pt x="396" y="2496"/>
                  </a:lnTo>
                  <a:lnTo>
                    <a:pt x="396" y="2496"/>
                  </a:lnTo>
                  <a:close/>
                  <a:moveTo>
                    <a:pt x="482" y="2310"/>
                  </a:moveTo>
                  <a:lnTo>
                    <a:pt x="482" y="2310"/>
                  </a:lnTo>
                  <a:lnTo>
                    <a:pt x="474" y="2310"/>
                  </a:lnTo>
                  <a:lnTo>
                    <a:pt x="466" y="2312"/>
                  </a:lnTo>
                  <a:lnTo>
                    <a:pt x="460" y="2316"/>
                  </a:lnTo>
                  <a:lnTo>
                    <a:pt x="452" y="2322"/>
                  </a:lnTo>
                  <a:lnTo>
                    <a:pt x="446" y="2328"/>
                  </a:lnTo>
                  <a:lnTo>
                    <a:pt x="442" y="2336"/>
                  </a:lnTo>
                  <a:lnTo>
                    <a:pt x="436" y="2346"/>
                  </a:lnTo>
                  <a:lnTo>
                    <a:pt x="432" y="2356"/>
                  </a:lnTo>
                  <a:lnTo>
                    <a:pt x="432" y="2356"/>
                  </a:lnTo>
                  <a:lnTo>
                    <a:pt x="430" y="2366"/>
                  </a:lnTo>
                  <a:lnTo>
                    <a:pt x="430" y="2374"/>
                  </a:lnTo>
                  <a:lnTo>
                    <a:pt x="432" y="2382"/>
                  </a:lnTo>
                  <a:lnTo>
                    <a:pt x="434" y="2390"/>
                  </a:lnTo>
                  <a:lnTo>
                    <a:pt x="438" y="2394"/>
                  </a:lnTo>
                  <a:lnTo>
                    <a:pt x="444" y="2398"/>
                  </a:lnTo>
                  <a:lnTo>
                    <a:pt x="452" y="2400"/>
                  </a:lnTo>
                  <a:lnTo>
                    <a:pt x="460" y="2402"/>
                  </a:lnTo>
                  <a:lnTo>
                    <a:pt x="460" y="2402"/>
                  </a:lnTo>
                  <a:lnTo>
                    <a:pt x="468" y="2400"/>
                  </a:lnTo>
                  <a:lnTo>
                    <a:pt x="476" y="2398"/>
                  </a:lnTo>
                  <a:lnTo>
                    <a:pt x="482" y="2394"/>
                  </a:lnTo>
                  <a:lnTo>
                    <a:pt x="488" y="2388"/>
                  </a:lnTo>
                  <a:lnTo>
                    <a:pt x="492" y="2382"/>
                  </a:lnTo>
                  <a:lnTo>
                    <a:pt x="496" y="2374"/>
                  </a:lnTo>
                  <a:lnTo>
                    <a:pt x="500" y="2354"/>
                  </a:lnTo>
                  <a:lnTo>
                    <a:pt x="500" y="2354"/>
                  </a:lnTo>
                  <a:lnTo>
                    <a:pt x="502" y="2336"/>
                  </a:lnTo>
                  <a:lnTo>
                    <a:pt x="502" y="2328"/>
                  </a:lnTo>
                  <a:lnTo>
                    <a:pt x="500" y="2322"/>
                  </a:lnTo>
                  <a:lnTo>
                    <a:pt x="498" y="2316"/>
                  </a:lnTo>
                  <a:lnTo>
                    <a:pt x="494" y="2312"/>
                  </a:lnTo>
                  <a:lnTo>
                    <a:pt x="488" y="2310"/>
                  </a:lnTo>
                  <a:lnTo>
                    <a:pt x="482" y="2310"/>
                  </a:lnTo>
                  <a:lnTo>
                    <a:pt x="482" y="2310"/>
                  </a:lnTo>
                  <a:close/>
                  <a:moveTo>
                    <a:pt x="496" y="2356"/>
                  </a:moveTo>
                  <a:lnTo>
                    <a:pt x="496" y="2356"/>
                  </a:lnTo>
                  <a:lnTo>
                    <a:pt x="492" y="2366"/>
                  </a:lnTo>
                  <a:lnTo>
                    <a:pt x="486" y="2376"/>
                  </a:lnTo>
                  <a:lnTo>
                    <a:pt x="476" y="2382"/>
                  </a:lnTo>
                  <a:lnTo>
                    <a:pt x="464" y="2384"/>
                  </a:lnTo>
                  <a:lnTo>
                    <a:pt x="464" y="2384"/>
                  </a:lnTo>
                  <a:lnTo>
                    <a:pt x="452" y="2382"/>
                  </a:lnTo>
                  <a:lnTo>
                    <a:pt x="448" y="2378"/>
                  </a:lnTo>
                  <a:lnTo>
                    <a:pt x="444" y="2376"/>
                  </a:lnTo>
                  <a:lnTo>
                    <a:pt x="442" y="2372"/>
                  </a:lnTo>
                  <a:lnTo>
                    <a:pt x="440" y="2368"/>
                  </a:lnTo>
                  <a:lnTo>
                    <a:pt x="442" y="2356"/>
                  </a:lnTo>
                  <a:lnTo>
                    <a:pt x="442" y="2356"/>
                  </a:lnTo>
                  <a:lnTo>
                    <a:pt x="446" y="2344"/>
                  </a:lnTo>
                  <a:lnTo>
                    <a:pt x="454" y="2334"/>
                  </a:lnTo>
                  <a:lnTo>
                    <a:pt x="466" y="2330"/>
                  </a:lnTo>
                  <a:lnTo>
                    <a:pt x="476" y="2328"/>
                  </a:lnTo>
                  <a:lnTo>
                    <a:pt x="476" y="2328"/>
                  </a:lnTo>
                  <a:lnTo>
                    <a:pt x="486" y="2330"/>
                  </a:lnTo>
                  <a:lnTo>
                    <a:pt x="490" y="2332"/>
                  </a:lnTo>
                  <a:lnTo>
                    <a:pt x="494" y="2334"/>
                  </a:lnTo>
                  <a:lnTo>
                    <a:pt x="496" y="2344"/>
                  </a:lnTo>
                  <a:lnTo>
                    <a:pt x="496" y="2356"/>
                  </a:lnTo>
                  <a:lnTo>
                    <a:pt x="496" y="2356"/>
                  </a:lnTo>
                  <a:close/>
                  <a:moveTo>
                    <a:pt x="472" y="2224"/>
                  </a:moveTo>
                  <a:lnTo>
                    <a:pt x="518" y="2224"/>
                  </a:lnTo>
                  <a:lnTo>
                    <a:pt x="518" y="2224"/>
                  </a:lnTo>
                  <a:lnTo>
                    <a:pt x="518" y="2224"/>
                  </a:lnTo>
                  <a:lnTo>
                    <a:pt x="518" y="2224"/>
                  </a:lnTo>
                  <a:lnTo>
                    <a:pt x="510" y="2248"/>
                  </a:lnTo>
                  <a:lnTo>
                    <a:pt x="510" y="2248"/>
                  </a:lnTo>
                  <a:lnTo>
                    <a:pt x="514" y="2252"/>
                  </a:lnTo>
                  <a:lnTo>
                    <a:pt x="514" y="2252"/>
                  </a:lnTo>
                  <a:lnTo>
                    <a:pt x="524" y="2222"/>
                  </a:lnTo>
                  <a:lnTo>
                    <a:pt x="524" y="2222"/>
                  </a:lnTo>
                  <a:lnTo>
                    <a:pt x="526" y="2206"/>
                  </a:lnTo>
                  <a:lnTo>
                    <a:pt x="478" y="2206"/>
                  </a:lnTo>
                  <a:lnTo>
                    <a:pt x="478" y="2206"/>
                  </a:lnTo>
                  <a:lnTo>
                    <a:pt x="472" y="2224"/>
                  </a:lnTo>
                  <a:lnTo>
                    <a:pt x="472" y="2224"/>
                  </a:lnTo>
                  <a:close/>
                  <a:moveTo>
                    <a:pt x="514" y="2088"/>
                  </a:moveTo>
                  <a:lnTo>
                    <a:pt x="546" y="2088"/>
                  </a:lnTo>
                  <a:lnTo>
                    <a:pt x="546" y="2088"/>
                  </a:lnTo>
                  <a:lnTo>
                    <a:pt x="546" y="2088"/>
                  </a:lnTo>
                  <a:lnTo>
                    <a:pt x="546" y="2088"/>
                  </a:lnTo>
                  <a:lnTo>
                    <a:pt x="538" y="2112"/>
                  </a:lnTo>
                  <a:lnTo>
                    <a:pt x="538" y="2112"/>
                  </a:lnTo>
                  <a:lnTo>
                    <a:pt x="542" y="2116"/>
                  </a:lnTo>
                  <a:lnTo>
                    <a:pt x="542" y="2116"/>
                  </a:lnTo>
                  <a:lnTo>
                    <a:pt x="550" y="2086"/>
                  </a:lnTo>
                  <a:lnTo>
                    <a:pt x="550" y="2086"/>
                  </a:lnTo>
                  <a:lnTo>
                    <a:pt x="552" y="2070"/>
                  </a:lnTo>
                  <a:lnTo>
                    <a:pt x="518" y="2070"/>
                  </a:lnTo>
                  <a:lnTo>
                    <a:pt x="518" y="2070"/>
                  </a:lnTo>
                  <a:lnTo>
                    <a:pt x="514" y="2088"/>
                  </a:lnTo>
                  <a:lnTo>
                    <a:pt x="514" y="2088"/>
                  </a:lnTo>
                  <a:close/>
                  <a:moveTo>
                    <a:pt x="582" y="1902"/>
                  </a:moveTo>
                  <a:lnTo>
                    <a:pt x="582" y="1902"/>
                  </a:lnTo>
                  <a:lnTo>
                    <a:pt x="578" y="1906"/>
                  </a:lnTo>
                  <a:lnTo>
                    <a:pt x="570" y="1914"/>
                  </a:lnTo>
                  <a:lnTo>
                    <a:pt x="564" y="1930"/>
                  </a:lnTo>
                  <a:lnTo>
                    <a:pt x="556" y="1950"/>
                  </a:lnTo>
                  <a:lnTo>
                    <a:pt x="556" y="1950"/>
                  </a:lnTo>
                  <a:lnTo>
                    <a:pt x="552" y="1968"/>
                  </a:lnTo>
                  <a:lnTo>
                    <a:pt x="550" y="1982"/>
                  </a:lnTo>
                  <a:lnTo>
                    <a:pt x="554" y="1990"/>
                  </a:lnTo>
                  <a:lnTo>
                    <a:pt x="556" y="1994"/>
                  </a:lnTo>
                  <a:lnTo>
                    <a:pt x="558" y="1994"/>
                  </a:lnTo>
                  <a:lnTo>
                    <a:pt x="558" y="1994"/>
                  </a:lnTo>
                  <a:lnTo>
                    <a:pt x="562" y="1994"/>
                  </a:lnTo>
                  <a:lnTo>
                    <a:pt x="564" y="1990"/>
                  </a:lnTo>
                  <a:lnTo>
                    <a:pt x="570" y="1980"/>
                  </a:lnTo>
                  <a:lnTo>
                    <a:pt x="574" y="1966"/>
                  </a:lnTo>
                  <a:lnTo>
                    <a:pt x="576" y="1948"/>
                  </a:lnTo>
                  <a:lnTo>
                    <a:pt x="576" y="1948"/>
                  </a:lnTo>
                  <a:lnTo>
                    <a:pt x="584" y="1914"/>
                  </a:lnTo>
                  <a:lnTo>
                    <a:pt x="584" y="1906"/>
                  </a:lnTo>
                  <a:lnTo>
                    <a:pt x="584" y="1904"/>
                  </a:lnTo>
                  <a:lnTo>
                    <a:pt x="582" y="1902"/>
                  </a:lnTo>
                  <a:lnTo>
                    <a:pt x="582" y="1902"/>
                  </a:lnTo>
                  <a:close/>
                  <a:moveTo>
                    <a:pt x="576" y="1948"/>
                  </a:moveTo>
                  <a:lnTo>
                    <a:pt x="576" y="1948"/>
                  </a:lnTo>
                  <a:lnTo>
                    <a:pt x="572" y="1968"/>
                  </a:lnTo>
                  <a:lnTo>
                    <a:pt x="568" y="1974"/>
                  </a:lnTo>
                  <a:lnTo>
                    <a:pt x="564" y="1976"/>
                  </a:lnTo>
                  <a:lnTo>
                    <a:pt x="564" y="1976"/>
                  </a:lnTo>
                  <a:lnTo>
                    <a:pt x="560" y="1974"/>
                  </a:lnTo>
                  <a:lnTo>
                    <a:pt x="558" y="1968"/>
                  </a:lnTo>
                  <a:lnTo>
                    <a:pt x="558" y="1960"/>
                  </a:lnTo>
                  <a:lnTo>
                    <a:pt x="560" y="1948"/>
                  </a:lnTo>
                  <a:lnTo>
                    <a:pt x="560" y="1948"/>
                  </a:lnTo>
                  <a:lnTo>
                    <a:pt x="564" y="1936"/>
                  </a:lnTo>
                  <a:lnTo>
                    <a:pt x="570" y="1928"/>
                  </a:lnTo>
                  <a:lnTo>
                    <a:pt x="574" y="1922"/>
                  </a:lnTo>
                  <a:lnTo>
                    <a:pt x="578" y="1920"/>
                  </a:lnTo>
                  <a:lnTo>
                    <a:pt x="578" y="1920"/>
                  </a:lnTo>
                  <a:lnTo>
                    <a:pt x="580" y="1922"/>
                  </a:lnTo>
                  <a:lnTo>
                    <a:pt x="580" y="1928"/>
                  </a:lnTo>
                  <a:lnTo>
                    <a:pt x="576" y="1948"/>
                  </a:lnTo>
                  <a:lnTo>
                    <a:pt x="576" y="1948"/>
                  </a:lnTo>
                  <a:close/>
                  <a:moveTo>
                    <a:pt x="600" y="1840"/>
                  </a:moveTo>
                  <a:lnTo>
                    <a:pt x="600" y="1840"/>
                  </a:lnTo>
                  <a:lnTo>
                    <a:pt x="604" y="1818"/>
                  </a:lnTo>
                  <a:lnTo>
                    <a:pt x="604" y="1818"/>
                  </a:lnTo>
                  <a:lnTo>
                    <a:pt x="604" y="1816"/>
                  </a:lnTo>
                  <a:lnTo>
                    <a:pt x="602" y="1816"/>
                  </a:lnTo>
                  <a:lnTo>
                    <a:pt x="602" y="1816"/>
                  </a:lnTo>
                  <a:lnTo>
                    <a:pt x="598" y="1844"/>
                  </a:lnTo>
                  <a:lnTo>
                    <a:pt x="598" y="1844"/>
                  </a:lnTo>
                  <a:lnTo>
                    <a:pt x="600" y="1840"/>
                  </a:lnTo>
                  <a:lnTo>
                    <a:pt x="600" y="1840"/>
                  </a:lnTo>
                  <a:close/>
                  <a:moveTo>
                    <a:pt x="606" y="1800"/>
                  </a:moveTo>
                  <a:lnTo>
                    <a:pt x="604" y="1800"/>
                  </a:lnTo>
                  <a:lnTo>
                    <a:pt x="604" y="1800"/>
                  </a:lnTo>
                  <a:lnTo>
                    <a:pt x="598" y="1816"/>
                  </a:lnTo>
                  <a:lnTo>
                    <a:pt x="602" y="1816"/>
                  </a:lnTo>
                  <a:lnTo>
                    <a:pt x="602" y="1816"/>
                  </a:lnTo>
                  <a:lnTo>
                    <a:pt x="604" y="1814"/>
                  </a:lnTo>
                  <a:lnTo>
                    <a:pt x="604" y="1814"/>
                  </a:lnTo>
                  <a:lnTo>
                    <a:pt x="606" y="1800"/>
                  </a:lnTo>
                  <a:lnTo>
                    <a:pt x="606" y="1800"/>
                  </a:lnTo>
                  <a:close/>
                  <a:moveTo>
                    <a:pt x="634" y="1682"/>
                  </a:moveTo>
                  <a:lnTo>
                    <a:pt x="634" y="1682"/>
                  </a:lnTo>
                  <a:lnTo>
                    <a:pt x="634" y="1680"/>
                  </a:lnTo>
                  <a:lnTo>
                    <a:pt x="636" y="1680"/>
                  </a:lnTo>
                  <a:lnTo>
                    <a:pt x="636" y="1680"/>
                  </a:lnTo>
                  <a:lnTo>
                    <a:pt x="638" y="1676"/>
                  </a:lnTo>
                  <a:lnTo>
                    <a:pt x="638" y="1676"/>
                  </a:lnTo>
                  <a:lnTo>
                    <a:pt x="642" y="1664"/>
                  </a:lnTo>
                  <a:lnTo>
                    <a:pt x="634" y="1664"/>
                  </a:lnTo>
                  <a:lnTo>
                    <a:pt x="634" y="1664"/>
                  </a:lnTo>
                  <a:lnTo>
                    <a:pt x="630" y="1678"/>
                  </a:lnTo>
                  <a:lnTo>
                    <a:pt x="630" y="1678"/>
                  </a:lnTo>
                  <a:lnTo>
                    <a:pt x="630" y="1694"/>
                  </a:lnTo>
                  <a:lnTo>
                    <a:pt x="630" y="1694"/>
                  </a:lnTo>
                  <a:lnTo>
                    <a:pt x="634" y="1684"/>
                  </a:lnTo>
                  <a:lnTo>
                    <a:pt x="634" y="1684"/>
                  </a:lnTo>
                  <a:lnTo>
                    <a:pt x="634" y="1682"/>
                  </a:lnTo>
                  <a:lnTo>
                    <a:pt x="634" y="1682"/>
                  </a:lnTo>
                  <a:close/>
                  <a:moveTo>
                    <a:pt x="648" y="1664"/>
                  </a:moveTo>
                  <a:lnTo>
                    <a:pt x="642" y="1664"/>
                  </a:lnTo>
                  <a:lnTo>
                    <a:pt x="642" y="1664"/>
                  </a:lnTo>
                  <a:lnTo>
                    <a:pt x="638" y="1676"/>
                  </a:lnTo>
                  <a:lnTo>
                    <a:pt x="638" y="1676"/>
                  </a:lnTo>
                  <a:lnTo>
                    <a:pt x="636" y="1680"/>
                  </a:lnTo>
                  <a:lnTo>
                    <a:pt x="642" y="1680"/>
                  </a:lnTo>
                  <a:lnTo>
                    <a:pt x="642" y="1680"/>
                  </a:lnTo>
                  <a:lnTo>
                    <a:pt x="648" y="1664"/>
                  </a:lnTo>
                  <a:lnTo>
                    <a:pt x="648" y="1664"/>
                  </a:lnTo>
                  <a:close/>
                  <a:moveTo>
                    <a:pt x="630" y="1696"/>
                  </a:moveTo>
                  <a:lnTo>
                    <a:pt x="630" y="1696"/>
                  </a:lnTo>
                  <a:lnTo>
                    <a:pt x="628" y="1702"/>
                  </a:lnTo>
                  <a:lnTo>
                    <a:pt x="628" y="1702"/>
                  </a:lnTo>
                  <a:lnTo>
                    <a:pt x="632" y="1698"/>
                  </a:lnTo>
                  <a:lnTo>
                    <a:pt x="632" y="1698"/>
                  </a:lnTo>
                  <a:lnTo>
                    <a:pt x="634" y="1686"/>
                  </a:lnTo>
                  <a:lnTo>
                    <a:pt x="634" y="1686"/>
                  </a:lnTo>
                  <a:lnTo>
                    <a:pt x="630" y="1696"/>
                  </a:lnTo>
                  <a:lnTo>
                    <a:pt x="630" y="1696"/>
                  </a:lnTo>
                  <a:close/>
                  <a:moveTo>
                    <a:pt x="688" y="1494"/>
                  </a:moveTo>
                  <a:lnTo>
                    <a:pt x="688" y="1494"/>
                  </a:lnTo>
                  <a:lnTo>
                    <a:pt x="684" y="1496"/>
                  </a:lnTo>
                  <a:lnTo>
                    <a:pt x="680" y="1498"/>
                  </a:lnTo>
                  <a:lnTo>
                    <a:pt x="672" y="1506"/>
                  </a:lnTo>
                  <a:lnTo>
                    <a:pt x="664" y="1520"/>
                  </a:lnTo>
                  <a:lnTo>
                    <a:pt x="658" y="1540"/>
                  </a:lnTo>
                  <a:lnTo>
                    <a:pt x="658" y="1540"/>
                  </a:lnTo>
                  <a:lnTo>
                    <a:pt x="656" y="1558"/>
                  </a:lnTo>
                  <a:lnTo>
                    <a:pt x="656" y="1574"/>
                  </a:lnTo>
                  <a:lnTo>
                    <a:pt x="660" y="1584"/>
                  </a:lnTo>
                  <a:lnTo>
                    <a:pt x="662" y="1586"/>
                  </a:lnTo>
                  <a:lnTo>
                    <a:pt x="666" y="1586"/>
                  </a:lnTo>
                  <a:lnTo>
                    <a:pt x="666" y="1586"/>
                  </a:lnTo>
                  <a:lnTo>
                    <a:pt x="668" y="1586"/>
                  </a:lnTo>
                  <a:lnTo>
                    <a:pt x="670" y="1584"/>
                  </a:lnTo>
                  <a:lnTo>
                    <a:pt x="674" y="1574"/>
                  </a:lnTo>
                  <a:lnTo>
                    <a:pt x="686" y="1542"/>
                  </a:lnTo>
                  <a:lnTo>
                    <a:pt x="686" y="1542"/>
                  </a:lnTo>
                  <a:lnTo>
                    <a:pt x="692" y="1522"/>
                  </a:lnTo>
                  <a:lnTo>
                    <a:pt x="694" y="1508"/>
                  </a:lnTo>
                  <a:lnTo>
                    <a:pt x="694" y="1502"/>
                  </a:lnTo>
                  <a:lnTo>
                    <a:pt x="694" y="1498"/>
                  </a:lnTo>
                  <a:lnTo>
                    <a:pt x="692" y="1496"/>
                  </a:lnTo>
                  <a:lnTo>
                    <a:pt x="688" y="1494"/>
                  </a:lnTo>
                  <a:lnTo>
                    <a:pt x="688" y="1494"/>
                  </a:lnTo>
                  <a:close/>
                  <a:moveTo>
                    <a:pt x="670" y="1568"/>
                  </a:moveTo>
                  <a:lnTo>
                    <a:pt x="670" y="1568"/>
                  </a:lnTo>
                  <a:lnTo>
                    <a:pt x="666" y="1566"/>
                  </a:lnTo>
                  <a:lnTo>
                    <a:pt x="662" y="1560"/>
                  </a:lnTo>
                  <a:lnTo>
                    <a:pt x="662" y="1552"/>
                  </a:lnTo>
                  <a:lnTo>
                    <a:pt x="662" y="1540"/>
                  </a:lnTo>
                  <a:lnTo>
                    <a:pt x="662" y="1540"/>
                  </a:lnTo>
                  <a:lnTo>
                    <a:pt x="666" y="1528"/>
                  </a:lnTo>
                  <a:lnTo>
                    <a:pt x="672" y="1520"/>
                  </a:lnTo>
                  <a:lnTo>
                    <a:pt x="678" y="1514"/>
                  </a:lnTo>
                  <a:lnTo>
                    <a:pt x="684" y="1514"/>
                  </a:lnTo>
                  <a:lnTo>
                    <a:pt x="684" y="1514"/>
                  </a:lnTo>
                  <a:lnTo>
                    <a:pt x="688" y="1514"/>
                  </a:lnTo>
                  <a:lnTo>
                    <a:pt x="690" y="1520"/>
                  </a:lnTo>
                  <a:lnTo>
                    <a:pt x="688" y="1528"/>
                  </a:lnTo>
                  <a:lnTo>
                    <a:pt x="684" y="1540"/>
                  </a:lnTo>
                  <a:lnTo>
                    <a:pt x="684" y="1540"/>
                  </a:lnTo>
                  <a:lnTo>
                    <a:pt x="678" y="1560"/>
                  </a:lnTo>
                  <a:lnTo>
                    <a:pt x="674" y="1566"/>
                  </a:lnTo>
                  <a:lnTo>
                    <a:pt x="670" y="1568"/>
                  </a:lnTo>
                  <a:lnTo>
                    <a:pt x="670" y="1568"/>
                  </a:lnTo>
                  <a:close/>
                  <a:moveTo>
                    <a:pt x="722" y="1360"/>
                  </a:moveTo>
                  <a:lnTo>
                    <a:pt x="722" y="1360"/>
                  </a:lnTo>
                  <a:lnTo>
                    <a:pt x="716" y="1360"/>
                  </a:lnTo>
                  <a:lnTo>
                    <a:pt x="710" y="1362"/>
                  </a:lnTo>
                  <a:lnTo>
                    <a:pt x="706" y="1366"/>
                  </a:lnTo>
                  <a:lnTo>
                    <a:pt x="700" y="1370"/>
                  </a:lnTo>
                  <a:lnTo>
                    <a:pt x="694" y="1378"/>
                  </a:lnTo>
                  <a:lnTo>
                    <a:pt x="690" y="1384"/>
                  </a:lnTo>
                  <a:lnTo>
                    <a:pt x="686" y="1394"/>
                  </a:lnTo>
                  <a:lnTo>
                    <a:pt x="684" y="1404"/>
                  </a:lnTo>
                  <a:lnTo>
                    <a:pt x="684" y="1404"/>
                  </a:lnTo>
                  <a:lnTo>
                    <a:pt x="682" y="1414"/>
                  </a:lnTo>
                  <a:lnTo>
                    <a:pt x="682" y="1422"/>
                  </a:lnTo>
                  <a:lnTo>
                    <a:pt x="684" y="1430"/>
                  </a:lnTo>
                  <a:lnTo>
                    <a:pt x="686" y="1438"/>
                  </a:lnTo>
                  <a:lnTo>
                    <a:pt x="688" y="1444"/>
                  </a:lnTo>
                  <a:lnTo>
                    <a:pt x="692" y="1448"/>
                  </a:lnTo>
                  <a:lnTo>
                    <a:pt x="696" y="1450"/>
                  </a:lnTo>
                  <a:lnTo>
                    <a:pt x="700" y="1450"/>
                  </a:lnTo>
                  <a:lnTo>
                    <a:pt x="700" y="1450"/>
                  </a:lnTo>
                  <a:lnTo>
                    <a:pt x="704" y="1450"/>
                  </a:lnTo>
                  <a:lnTo>
                    <a:pt x="708" y="1448"/>
                  </a:lnTo>
                  <a:lnTo>
                    <a:pt x="716" y="1438"/>
                  </a:lnTo>
                  <a:lnTo>
                    <a:pt x="722" y="1424"/>
                  </a:lnTo>
                  <a:lnTo>
                    <a:pt x="728" y="1406"/>
                  </a:lnTo>
                  <a:lnTo>
                    <a:pt x="728" y="1406"/>
                  </a:lnTo>
                  <a:lnTo>
                    <a:pt x="734" y="1386"/>
                  </a:lnTo>
                  <a:lnTo>
                    <a:pt x="734" y="1372"/>
                  </a:lnTo>
                  <a:lnTo>
                    <a:pt x="734" y="1366"/>
                  </a:lnTo>
                  <a:lnTo>
                    <a:pt x="732" y="1362"/>
                  </a:lnTo>
                  <a:lnTo>
                    <a:pt x="728" y="1360"/>
                  </a:lnTo>
                  <a:lnTo>
                    <a:pt x="722" y="1360"/>
                  </a:lnTo>
                  <a:lnTo>
                    <a:pt x="722" y="1360"/>
                  </a:lnTo>
                  <a:close/>
                  <a:moveTo>
                    <a:pt x="726" y="1406"/>
                  </a:moveTo>
                  <a:lnTo>
                    <a:pt x="726" y="1406"/>
                  </a:lnTo>
                  <a:lnTo>
                    <a:pt x="722" y="1416"/>
                  </a:lnTo>
                  <a:lnTo>
                    <a:pt x="718" y="1426"/>
                  </a:lnTo>
                  <a:lnTo>
                    <a:pt x="712" y="1430"/>
                  </a:lnTo>
                  <a:lnTo>
                    <a:pt x="704" y="1432"/>
                  </a:lnTo>
                  <a:lnTo>
                    <a:pt x="704" y="1432"/>
                  </a:lnTo>
                  <a:lnTo>
                    <a:pt x="698" y="1430"/>
                  </a:lnTo>
                  <a:lnTo>
                    <a:pt x="692" y="1424"/>
                  </a:lnTo>
                  <a:lnTo>
                    <a:pt x="690" y="1416"/>
                  </a:lnTo>
                  <a:lnTo>
                    <a:pt x="690" y="1404"/>
                  </a:lnTo>
                  <a:lnTo>
                    <a:pt x="690" y="1404"/>
                  </a:lnTo>
                  <a:lnTo>
                    <a:pt x="694" y="1392"/>
                  </a:lnTo>
                  <a:lnTo>
                    <a:pt x="702" y="1384"/>
                  </a:lnTo>
                  <a:lnTo>
                    <a:pt x="710" y="1380"/>
                  </a:lnTo>
                  <a:lnTo>
                    <a:pt x="718" y="1378"/>
                  </a:lnTo>
                  <a:lnTo>
                    <a:pt x="718" y="1378"/>
                  </a:lnTo>
                  <a:lnTo>
                    <a:pt x="726" y="1380"/>
                  </a:lnTo>
                  <a:lnTo>
                    <a:pt x="728" y="1384"/>
                  </a:lnTo>
                  <a:lnTo>
                    <a:pt x="728" y="1392"/>
                  </a:lnTo>
                  <a:lnTo>
                    <a:pt x="726" y="1406"/>
                  </a:lnTo>
                  <a:lnTo>
                    <a:pt x="726" y="1406"/>
                  </a:lnTo>
                  <a:close/>
                  <a:moveTo>
                    <a:pt x="734" y="1316"/>
                  </a:moveTo>
                  <a:lnTo>
                    <a:pt x="734" y="1316"/>
                  </a:lnTo>
                  <a:lnTo>
                    <a:pt x="740" y="1314"/>
                  </a:lnTo>
                  <a:lnTo>
                    <a:pt x="746" y="1312"/>
                  </a:lnTo>
                  <a:lnTo>
                    <a:pt x="750" y="1308"/>
                  </a:lnTo>
                  <a:lnTo>
                    <a:pt x="756" y="1302"/>
                  </a:lnTo>
                  <a:lnTo>
                    <a:pt x="762" y="1288"/>
                  </a:lnTo>
                  <a:lnTo>
                    <a:pt x="770" y="1270"/>
                  </a:lnTo>
                  <a:lnTo>
                    <a:pt x="770" y="1270"/>
                  </a:lnTo>
                  <a:lnTo>
                    <a:pt x="774" y="1250"/>
                  </a:lnTo>
                  <a:lnTo>
                    <a:pt x="774" y="1242"/>
                  </a:lnTo>
                  <a:lnTo>
                    <a:pt x="774" y="1236"/>
                  </a:lnTo>
                  <a:lnTo>
                    <a:pt x="772" y="1230"/>
                  </a:lnTo>
                  <a:lnTo>
                    <a:pt x="768" y="1226"/>
                  </a:lnTo>
                  <a:lnTo>
                    <a:pt x="762" y="1224"/>
                  </a:lnTo>
                  <a:lnTo>
                    <a:pt x="756" y="1224"/>
                  </a:lnTo>
                  <a:lnTo>
                    <a:pt x="756" y="1224"/>
                  </a:lnTo>
                  <a:lnTo>
                    <a:pt x="748" y="1224"/>
                  </a:lnTo>
                  <a:lnTo>
                    <a:pt x="740" y="1226"/>
                  </a:lnTo>
                  <a:lnTo>
                    <a:pt x="734" y="1230"/>
                  </a:lnTo>
                  <a:lnTo>
                    <a:pt x="726" y="1234"/>
                  </a:lnTo>
                  <a:lnTo>
                    <a:pt x="720" y="1242"/>
                  </a:lnTo>
                  <a:lnTo>
                    <a:pt x="716" y="1248"/>
                  </a:lnTo>
                  <a:lnTo>
                    <a:pt x="712" y="1258"/>
                  </a:lnTo>
                  <a:lnTo>
                    <a:pt x="708" y="1268"/>
                  </a:lnTo>
                  <a:lnTo>
                    <a:pt x="708" y="1268"/>
                  </a:lnTo>
                  <a:lnTo>
                    <a:pt x="708" y="1278"/>
                  </a:lnTo>
                  <a:lnTo>
                    <a:pt x="708" y="1286"/>
                  </a:lnTo>
                  <a:lnTo>
                    <a:pt x="710" y="1296"/>
                  </a:lnTo>
                  <a:lnTo>
                    <a:pt x="714" y="1302"/>
                  </a:lnTo>
                  <a:lnTo>
                    <a:pt x="718" y="1308"/>
                  </a:lnTo>
                  <a:lnTo>
                    <a:pt x="722" y="1312"/>
                  </a:lnTo>
                  <a:lnTo>
                    <a:pt x="728" y="1314"/>
                  </a:lnTo>
                  <a:lnTo>
                    <a:pt x="734" y="1316"/>
                  </a:lnTo>
                  <a:lnTo>
                    <a:pt x="734" y="1316"/>
                  </a:lnTo>
                  <a:close/>
                  <a:moveTo>
                    <a:pt x="718" y="1270"/>
                  </a:moveTo>
                  <a:lnTo>
                    <a:pt x="718" y="1270"/>
                  </a:lnTo>
                  <a:lnTo>
                    <a:pt x="720" y="1262"/>
                  </a:lnTo>
                  <a:lnTo>
                    <a:pt x="722" y="1256"/>
                  </a:lnTo>
                  <a:lnTo>
                    <a:pt x="730" y="1248"/>
                  </a:lnTo>
                  <a:lnTo>
                    <a:pt x="740" y="1244"/>
                  </a:lnTo>
                  <a:lnTo>
                    <a:pt x="752" y="1242"/>
                  </a:lnTo>
                  <a:lnTo>
                    <a:pt x="752" y="1242"/>
                  </a:lnTo>
                  <a:lnTo>
                    <a:pt x="762" y="1244"/>
                  </a:lnTo>
                  <a:lnTo>
                    <a:pt x="764" y="1246"/>
                  </a:lnTo>
                  <a:lnTo>
                    <a:pt x="766" y="1248"/>
                  </a:lnTo>
                  <a:lnTo>
                    <a:pt x="768" y="1258"/>
                  </a:lnTo>
                  <a:lnTo>
                    <a:pt x="766" y="1270"/>
                  </a:lnTo>
                  <a:lnTo>
                    <a:pt x="766" y="1270"/>
                  </a:lnTo>
                  <a:lnTo>
                    <a:pt x="762" y="1280"/>
                  </a:lnTo>
                  <a:lnTo>
                    <a:pt x="756" y="1290"/>
                  </a:lnTo>
                  <a:lnTo>
                    <a:pt x="748" y="1294"/>
                  </a:lnTo>
                  <a:lnTo>
                    <a:pt x="738" y="1296"/>
                  </a:lnTo>
                  <a:lnTo>
                    <a:pt x="738" y="1296"/>
                  </a:lnTo>
                  <a:lnTo>
                    <a:pt x="728" y="1294"/>
                  </a:lnTo>
                  <a:lnTo>
                    <a:pt x="722" y="1288"/>
                  </a:lnTo>
                  <a:lnTo>
                    <a:pt x="718" y="1280"/>
                  </a:lnTo>
                  <a:lnTo>
                    <a:pt x="718" y="1270"/>
                  </a:lnTo>
                  <a:lnTo>
                    <a:pt x="718" y="1270"/>
                  </a:lnTo>
                  <a:close/>
                  <a:moveTo>
                    <a:pt x="750" y="1162"/>
                  </a:moveTo>
                  <a:lnTo>
                    <a:pt x="750" y="1162"/>
                  </a:lnTo>
                  <a:lnTo>
                    <a:pt x="746" y="1138"/>
                  </a:lnTo>
                  <a:lnTo>
                    <a:pt x="746" y="1138"/>
                  </a:lnTo>
                  <a:lnTo>
                    <a:pt x="746" y="1138"/>
                  </a:lnTo>
                  <a:lnTo>
                    <a:pt x="806" y="1138"/>
                  </a:lnTo>
                  <a:lnTo>
                    <a:pt x="806" y="1138"/>
                  </a:lnTo>
                  <a:lnTo>
                    <a:pt x="812" y="1120"/>
                  </a:lnTo>
                  <a:lnTo>
                    <a:pt x="738" y="1120"/>
                  </a:lnTo>
                  <a:lnTo>
                    <a:pt x="738" y="1120"/>
                  </a:lnTo>
                  <a:lnTo>
                    <a:pt x="734" y="1136"/>
                  </a:lnTo>
                  <a:lnTo>
                    <a:pt x="734" y="1136"/>
                  </a:lnTo>
                  <a:lnTo>
                    <a:pt x="740" y="1166"/>
                  </a:lnTo>
                  <a:lnTo>
                    <a:pt x="740" y="1166"/>
                  </a:lnTo>
                  <a:lnTo>
                    <a:pt x="750" y="1162"/>
                  </a:lnTo>
                  <a:lnTo>
                    <a:pt x="750" y="1162"/>
                  </a:lnTo>
                  <a:close/>
                  <a:moveTo>
                    <a:pt x="776" y="1026"/>
                  </a:moveTo>
                  <a:lnTo>
                    <a:pt x="776" y="1026"/>
                  </a:lnTo>
                  <a:lnTo>
                    <a:pt x="772" y="1002"/>
                  </a:lnTo>
                  <a:lnTo>
                    <a:pt x="772" y="1002"/>
                  </a:lnTo>
                  <a:lnTo>
                    <a:pt x="772" y="1002"/>
                  </a:lnTo>
                  <a:lnTo>
                    <a:pt x="844" y="1002"/>
                  </a:lnTo>
                  <a:lnTo>
                    <a:pt x="844" y="1002"/>
                  </a:lnTo>
                  <a:lnTo>
                    <a:pt x="848" y="984"/>
                  </a:lnTo>
                  <a:lnTo>
                    <a:pt x="760" y="984"/>
                  </a:lnTo>
                  <a:lnTo>
                    <a:pt x="760" y="984"/>
                  </a:lnTo>
                  <a:lnTo>
                    <a:pt x="758" y="1000"/>
                  </a:lnTo>
                  <a:lnTo>
                    <a:pt x="758" y="1000"/>
                  </a:lnTo>
                  <a:lnTo>
                    <a:pt x="766" y="1030"/>
                  </a:lnTo>
                  <a:lnTo>
                    <a:pt x="766" y="1030"/>
                  </a:lnTo>
                  <a:lnTo>
                    <a:pt x="776" y="1026"/>
                  </a:lnTo>
                  <a:lnTo>
                    <a:pt x="776" y="1026"/>
                  </a:lnTo>
                  <a:close/>
                  <a:moveTo>
                    <a:pt x="826" y="908"/>
                  </a:moveTo>
                  <a:lnTo>
                    <a:pt x="826" y="908"/>
                  </a:lnTo>
                  <a:lnTo>
                    <a:pt x="838" y="906"/>
                  </a:lnTo>
                  <a:lnTo>
                    <a:pt x="848" y="904"/>
                  </a:lnTo>
                  <a:lnTo>
                    <a:pt x="856" y="900"/>
                  </a:lnTo>
                  <a:lnTo>
                    <a:pt x="862" y="896"/>
                  </a:lnTo>
                  <a:lnTo>
                    <a:pt x="868" y="888"/>
                  </a:lnTo>
                  <a:lnTo>
                    <a:pt x="872" y="880"/>
                  </a:lnTo>
                  <a:lnTo>
                    <a:pt x="876" y="872"/>
                  </a:lnTo>
                  <a:lnTo>
                    <a:pt x="880" y="862"/>
                  </a:lnTo>
                  <a:lnTo>
                    <a:pt x="880" y="862"/>
                  </a:lnTo>
                  <a:lnTo>
                    <a:pt x="882" y="852"/>
                  </a:lnTo>
                  <a:lnTo>
                    <a:pt x="882" y="842"/>
                  </a:lnTo>
                  <a:lnTo>
                    <a:pt x="880" y="834"/>
                  </a:lnTo>
                  <a:lnTo>
                    <a:pt x="878" y="828"/>
                  </a:lnTo>
                  <a:lnTo>
                    <a:pt x="872" y="822"/>
                  </a:lnTo>
                  <a:lnTo>
                    <a:pt x="864" y="818"/>
                  </a:lnTo>
                  <a:lnTo>
                    <a:pt x="856" y="816"/>
                  </a:lnTo>
                  <a:lnTo>
                    <a:pt x="844" y="816"/>
                  </a:lnTo>
                  <a:lnTo>
                    <a:pt x="844" y="816"/>
                  </a:lnTo>
                  <a:lnTo>
                    <a:pt x="832" y="816"/>
                  </a:lnTo>
                  <a:lnTo>
                    <a:pt x="820" y="818"/>
                  </a:lnTo>
                  <a:lnTo>
                    <a:pt x="810" y="822"/>
                  </a:lnTo>
                  <a:lnTo>
                    <a:pt x="800" y="828"/>
                  </a:lnTo>
                  <a:lnTo>
                    <a:pt x="792" y="834"/>
                  </a:lnTo>
                  <a:lnTo>
                    <a:pt x="784" y="842"/>
                  </a:lnTo>
                  <a:lnTo>
                    <a:pt x="780" y="850"/>
                  </a:lnTo>
                  <a:lnTo>
                    <a:pt x="776" y="860"/>
                  </a:lnTo>
                  <a:lnTo>
                    <a:pt x="776" y="860"/>
                  </a:lnTo>
                  <a:lnTo>
                    <a:pt x="776" y="870"/>
                  </a:lnTo>
                  <a:lnTo>
                    <a:pt x="778" y="880"/>
                  </a:lnTo>
                  <a:lnTo>
                    <a:pt x="782" y="888"/>
                  </a:lnTo>
                  <a:lnTo>
                    <a:pt x="788" y="894"/>
                  </a:lnTo>
                  <a:lnTo>
                    <a:pt x="796" y="900"/>
                  </a:lnTo>
                  <a:lnTo>
                    <a:pt x="806" y="904"/>
                  </a:lnTo>
                  <a:lnTo>
                    <a:pt x="816" y="906"/>
                  </a:lnTo>
                  <a:lnTo>
                    <a:pt x="826" y="908"/>
                  </a:lnTo>
                  <a:lnTo>
                    <a:pt x="826" y="908"/>
                  </a:lnTo>
                  <a:close/>
                  <a:moveTo>
                    <a:pt x="790" y="862"/>
                  </a:moveTo>
                  <a:lnTo>
                    <a:pt x="790" y="862"/>
                  </a:lnTo>
                  <a:lnTo>
                    <a:pt x="792" y="854"/>
                  </a:lnTo>
                  <a:lnTo>
                    <a:pt x="796" y="850"/>
                  </a:lnTo>
                  <a:lnTo>
                    <a:pt x="802" y="844"/>
                  </a:lnTo>
                  <a:lnTo>
                    <a:pt x="808" y="840"/>
                  </a:lnTo>
                  <a:lnTo>
                    <a:pt x="822" y="836"/>
                  </a:lnTo>
                  <a:lnTo>
                    <a:pt x="840" y="834"/>
                  </a:lnTo>
                  <a:lnTo>
                    <a:pt x="840" y="834"/>
                  </a:lnTo>
                  <a:lnTo>
                    <a:pt x="856" y="836"/>
                  </a:lnTo>
                  <a:lnTo>
                    <a:pt x="862" y="838"/>
                  </a:lnTo>
                  <a:lnTo>
                    <a:pt x="868" y="840"/>
                  </a:lnTo>
                  <a:lnTo>
                    <a:pt x="870" y="844"/>
                  </a:lnTo>
                  <a:lnTo>
                    <a:pt x="872" y="850"/>
                  </a:lnTo>
                  <a:lnTo>
                    <a:pt x="872" y="856"/>
                  </a:lnTo>
                  <a:lnTo>
                    <a:pt x="872" y="862"/>
                  </a:lnTo>
                  <a:lnTo>
                    <a:pt x="872" y="862"/>
                  </a:lnTo>
                  <a:lnTo>
                    <a:pt x="868" y="874"/>
                  </a:lnTo>
                  <a:lnTo>
                    <a:pt x="858" y="882"/>
                  </a:lnTo>
                  <a:lnTo>
                    <a:pt x="854" y="884"/>
                  </a:lnTo>
                  <a:lnTo>
                    <a:pt x="846" y="888"/>
                  </a:lnTo>
                  <a:lnTo>
                    <a:pt x="830" y="890"/>
                  </a:lnTo>
                  <a:lnTo>
                    <a:pt x="830" y="890"/>
                  </a:lnTo>
                  <a:lnTo>
                    <a:pt x="814" y="888"/>
                  </a:lnTo>
                  <a:lnTo>
                    <a:pt x="806" y="884"/>
                  </a:lnTo>
                  <a:lnTo>
                    <a:pt x="800" y="882"/>
                  </a:lnTo>
                  <a:lnTo>
                    <a:pt x="796" y="878"/>
                  </a:lnTo>
                  <a:lnTo>
                    <a:pt x="792" y="872"/>
                  </a:lnTo>
                  <a:lnTo>
                    <a:pt x="790" y="868"/>
                  </a:lnTo>
                  <a:lnTo>
                    <a:pt x="790" y="862"/>
                  </a:lnTo>
                  <a:lnTo>
                    <a:pt x="790" y="862"/>
                  </a:lnTo>
                  <a:close/>
                  <a:moveTo>
                    <a:pt x="824" y="754"/>
                  </a:moveTo>
                  <a:lnTo>
                    <a:pt x="824" y="754"/>
                  </a:lnTo>
                  <a:lnTo>
                    <a:pt x="816" y="730"/>
                  </a:lnTo>
                  <a:lnTo>
                    <a:pt x="816" y="730"/>
                  </a:lnTo>
                  <a:lnTo>
                    <a:pt x="816" y="730"/>
                  </a:lnTo>
                  <a:lnTo>
                    <a:pt x="908" y="730"/>
                  </a:lnTo>
                  <a:lnTo>
                    <a:pt x="908" y="730"/>
                  </a:lnTo>
                  <a:lnTo>
                    <a:pt x="912" y="712"/>
                  </a:lnTo>
                  <a:lnTo>
                    <a:pt x="800" y="712"/>
                  </a:lnTo>
                  <a:lnTo>
                    <a:pt x="800" y="712"/>
                  </a:lnTo>
                  <a:lnTo>
                    <a:pt x="798" y="728"/>
                  </a:lnTo>
                  <a:lnTo>
                    <a:pt x="798" y="728"/>
                  </a:lnTo>
                  <a:lnTo>
                    <a:pt x="810" y="758"/>
                  </a:lnTo>
                  <a:lnTo>
                    <a:pt x="810" y="758"/>
                  </a:lnTo>
                  <a:lnTo>
                    <a:pt x="824" y="754"/>
                  </a:lnTo>
                  <a:lnTo>
                    <a:pt x="824" y="754"/>
                  </a:lnTo>
                  <a:close/>
                  <a:moveTo>
                    <a:pt x="844" y="618"/>
                  </a:moveTo>
                  <a:lnTo>
                    <a:pt x="844" y="618"/>
                  </a:lnTo>
                  <a:lnTo>
                    <a:pt x="834" y="594"/>
                  </a:lnTo>
                  <a:lnTo>
                    <a:pt x="834" y="594"/>
                  </a:lnTo>
                  <a:lnTo>
                    <a:pt x="834" y="594"/>
                  </a:lnTo>
                  <a:lnTo>
                    <a:pt x="934" y="594"/>
                  </a:lnTo>
                  <a:lnTo>
                    <a:pt x="934" y="594"/>
                  </a:lnTo>
                  <a:lnTo>
                    <a:pt x="938" y="576"/>
                  </a:lnTo>
                  <a:lnTo>
                    <a:pt x="816" y="576"/>
                  </a:lnTo>
                  <a:lnTo>
                    <a:pt x="816" y="576"/>
                  </a:lnTo>
                  <a:lnTo>
                    <a:pt x="814" y="592"/>
                  </a:lnTo>
                  <a:lnTo>
                    <a:pt x="814" y="592"/>
                  </a:lnTo>
                  <a:lnTo>
                    <a:pt x="828" y="622"/>
                  </a:lnTo>
                  <a:lnTo>
                    <a:pt x="828" y="622"/>
                  </a:lnTo>
                  <a:lnTo>
                    <a:pt x="844" y="618"/>
                  </a:lnTo>
                  <a:lnTo>
                    <a:pt x="844" y="618"/>
                  </a:lnTo>
                  <a:close/>
                  <a:moveTo>
                    <a:pt x="860" y="482"/>
                  </a:moveTo>
                  <a:lnTo>
                    <a:pt x="860" y="482"/>
                  </a:lnTo>
                  <a:lnTo>
                    <a:pt x="848" y="458"/>
                  </a:lnTo>
                  <a:lnTo>
                    <a:pt x="848" y="458"/>
                  </a:lnTo>
                  <a:lnTo>
                    <a:pt x="848" y="458"/>
                  </a:lnTo>
                  <a:lnTo>
                    <a:pt x="958" y="458"/>
                  </a:lnTo>
                  <a:lnTo>
                    <a:pt x="958" y="458"/>
                  </a:lnTo>
                  <a:lnTo>
                    <a:pt x="960" y="440"/>
                  </a:lnTo>
                  <a:lnTo>
                    <a:pt x="830" y="440"/>
                  </a:lnTo>
                  <a:lnTo>
                    <a:pt x="830" y="440"/>
                  </a:lnTo>
                  <a:lnTo>
                    <a:pt x="828" y="456"/>
                  </a:lnTo>
                  <a:lnTo>
                    <a:pt x="828" y="456"/>
                  </a:lnTo>
                  <a:lnTo>
                    <a:pt x="844" y="486"/>
                  </a:lnTo>
                  <a:lnTo>
                    <a:pt x="844" y="486"/>
                  </a:lnTo>
                  <a:lnTo>
                    <a:pt x="860" y="482"/>
                  </a:lnTo>
                  <a:lnTo>
                    <a:pt x="860" y="482"/>
                  </a:lnTo>
                  <a:close/>
                  <a:moveTo>
                    <a:pt x="874" y="346"/>
                  </a:moveTo>
                  <a:lnTo>
                    <a:pt x="874" y="346"/>
                  </a:lnTo>
                  <a:lnTo>
                    <a:pt x="860" y="324"/>
                  </a:lnTo>
                  <a:lnTo>
                    <a:pt x="860" y="324"/>
                  </a:lnTo>
                  <a:lnTo>
                    <a:pt x="860" y="322"/>
                  </a:lnTo>
                  <a:lnTo>
                    <a:pt x="974" y="322"/>
                  </a:lnTo>
                  <a:lnTo>
                    <a:pt x="974" y="322"/>
                  </a:lnTo>
                  <a:lnTo>
                    <a:pt x="976" y="304"/>
                  </a:lnTo>
                  <a:lnTo>
                    <a:pt x="840" y="304"/>
                  </a:lnTo>
                  <a:lnTo>
                    <a:pt x="840" y="304"/>
                  </a:lnTo>
                  <a:lnTo>
                    <a:pt x="840" y="320"/>
                  </a:lnTo>
                  <a:lnTo>
                    <a:pt x="840" y="320"/>
                  </a:lnTo>
                  <a:lnTo>
                    <a:pt x="856" y="350"/>
                  </a:lnTo>
                  <a:lnTo>
                    <a:pt x="856" y="350"/>
                  </a:lnTo>
                  <a:lnTo>
                    <a:pt x="874" y="346"/>
                  </a:lnTo>
                  <a:lnTo>
                    <a:pt x="874" y="346"/>
                  </a:lnTo>
                  <a:close/>
                  <a:moveTo>
                    <a:pt x="922" y="228"/>
                  </a:moveTo>
                  <a:lnTo>
                    <a:pt x="922" y="228"/>
                  </a:lnTo>
                  <a:lnTo>
                    <a:pt x="938" y="228"/>
                  </a:lnTo>
                  <a:lnTo>
                    <a:pt x="952" y="226"/>
                  </a:lnTo>
                  <a:lnTo>
                    <a:pt x="962" y="222"/>
                  </a:lnTo>
                  <a:lnTo>
                    <a:pt x="972" y="216"/>
                  </a:lnTo>
                  <a:lnTo>
                    <a:pt x="978" y="210"/>
                  </a:lnTo>
                  <a:lnTo>
                    <a:pt x="984" y="202"/>
                  </a:lnTo>
                  <a:lnTo>
                    <a:pt x="988" y="194"/>
                  </a:lnTo>
                  <a:lnTo>
                    <a:pt x="988" y="184"/>
                  </a:lnTo>
                  <a:lnTo>
                    <a:pt x="988" y="184"/>
                  </a:lnTo>
                  <a:lnTo>
                    <a:pt x="988" y="174"/>
                  </a:lnTo>
                  <a:lnTo>
                    <a:pt x="986" y="164"/>
                  </a:lnTo>
                  <a:lnTo>
                    <a:pt x="982" y="156"/>
                  </a:lnTo>
                  <a:lnTo>
                    <a:pt x="976" y="148"/>
                  </a:lnTo>
                  <a:lnTo>
                    <a:pt x="968" y="144"/>
                  </a:lnTo>
                  <a:lnTo>
                    <a:pt x="956" y="140"/>
                  </a:lnTo>
                  <a:lnTo>
                    <a:pt x="942" y="138"/>
                  </a:lnTo>
                  <a:lnTo>
                    <a:pt x="926" y="136"/>
                  </a:lnTo>
                  <a:lnTo>
                    <a:pt x="926" y="136"/>
                  </a:lnTo>
                  <a:lnTo>
                    <a:pt x="910" y="138"/>
                  </a:lnTo>
                  <a:lnTo>
                    <a:pt x="894" y="140"/>
                  </a:lnTo>
                  <a:lnTo>
                    <a:pt x="880" y="144"/>
                  </a:lnTo>
                  <a:lnTo>
                    <a:pt x="868" y="148"/>
                  </a:lnTo>
                  <a:lnTo>
                    <a:pt x="858" y="154"/>
                  </a:lnTo>
                  <a:lnTo>
                    <a:pt x="850" y="162"/>
                  </a:lnTo>
                  <a:lnTo>
                    <a:pt x="846" y="172"/>
                  </a:lnTo>
                  <a:lnTo>
                    <a:pt x="844" y="182"/>
                  </a:lnTo>
                  <a:lnTo>
                    <a:pt x="844" y="182"/>
                  </a:lnTo>
                  <a:lnTo>
                    <a:pt x="844" y="192"/>
                  </a:lnTo>
                  <a:lnTo>
                    <a:pt x="850" y="200"/>
                  </a:lnTo>
                  <a:lnTo>
                    <a:pt x="856" y="208"/>
                  </a:lnTo>
                  <a:lnTo>
                    <a:pt x="866" y="216"/>
                  </a:lnTo>
                  <a:lnTo>
                    <a:pt x="878" y="220"/>
                  </a:lnTo>
                  <a:lnTo>
                    <a:pt x="892" y="226"/>
                  </a:lnTo>
                  <a:lnTo>
                    <a:pt x="906" y="228"/>
                  </a:lnTo>
                  <a:lnTo>
                    <a:pt x="922" y="228"/>
                  </a:lnTo>
                  <a:lnTo>
                    <a:pt x="922" y="228"/>
                  </a:lnTo>
                  <a:close/>
                  <a:moveTo>
                    <a:pt x="926" y="156"/>
                  </a:moveTo>
                  <a:lnTo>
                    <a:pt x="926" y="156"/>
                  </a:lnTo>
                  <a:lnTo>
                    <a:pt x="950" y="156"/>
                  </a:lnTo>
                  <a:lnTo>
                    <a:pt x="958" y="158"/>
                  </a:lnTo>
                  <a:lnTo>
                    <a:pt x="966" y="162"/>
                  </a:lnTo>
                  <a:lnTo>
                    <a:pt x="970" y="166"/>
                  </a:lnTo>
                  <a:lnTo>
                    <a:pt x="974" y="170"/>
                  </a:lnTo>
                  <a:lnTo>
                    <a:pt x="976" y="176"/>
                  </a:lnTo>
                  <a:lnTo>
                    <a:pt x="976" y="182"/>
                  </a:lnTo>
                  <a:lnTo>
                    <a:pt x="976" y="182"/>
                  </a:lnTo>
                  <a:lnTo>
                    <a:pt x="976" y="188"/>
                  </a:lnTo>
                  <a:lnTo>
                    <a:pt x="974" y="194"/>
                  </a:lnTo>
                  <a:lnTo>
                    <a:pt x="970" y="198"/>
                  </a:lnTo>
                  <a:lnTo>
                    <a:pt x="964" y="202"/>
                  </a:lnTo>
                  <a:lnTo>
                    <a:pt x="956" y="206"/>
                  </a:lnTo>
                  <a:lnTo>
                    <a:pt x="948" y="208"/>
                  </a:lnTo>
                  <a:lnTo>
                    <a:pt x="924" y="210"/>
                  </a:lnTo>
                  <a:lnTo>
                    <a:pt x="924" y="210"/>
                  </a:lnTo>
                  <a:lnTo>
                    <a:pt x="898" y="208"/>
                  </a:lnTo>
                  <a:lnTo>
                    <a:pt x="888" y="206"/>
                  </a:lnTo>
                  <a:lnTo>
                    <a:pt x="880" y="202"/>
                  </a:lnTo>
                  <a:lnTo>
                    <a:pt x="872" y="198"/>
                  </a:lnTo>
                  <a:lnTo>
                    <a:pt x="866" y="194"/>
                  </a:lnTo>
                  <a:lnTo>
                    <a:pt x="862" y="188"/>
                  </a:lnTo>
                  <a:lnTo>
                    <a:pt x="862" y="182"/>
                  </a:lnTo>
                  <a:lnTo>
                    <a:pt x="862" y="182"/>
                  </a:lnTo>
                  <a:lnTo>
                    <a:pt x="864" y="176"/>
                  </a:lnTo>
                  <a:lnTo>
                    <a:pt x="868" y="170"/>
                  </a:lnTo>
                  <a:lnTo>
                    <a:pt x="874" y="166"/>
                  </a:lnTo>
                  <a:lnTo>
                    <a:pt x="882" y="162"/>
                  </a:lnTo>
                  <a:lnTo>
                    <a:pt x="902" y="156"/>
                  </a:lnTo>
                  <a:lnTo>
                    <a:pt x="926" y="156"/>
                  </a:lnTo>
                  <a:lnTo>
                    <a:pt x="926" y="156"/>
                  </a:lnTo>
                  <a:close/>
                  <a:moveTo>
                    <a:pt x="888" y="74"/>
                  </a:moveTo>
                  <a:lnTo>
                    <a:pt x="888" y="74"/>
                  </a:lnTo>
                  <a:lnTo>
                    <a:pt x="872" y="52"/>
                  </a:lnTo>
                  <a:lnTo>
                    <a:pt x="872" y="52"/>
                  </a:lnTo>
                  <a:lnTo>
                    <a:pt x="872" y="52"/>
                  </a:lnTo>
                  <a:lnTo>
                    <a:pt x="992" y="52"/>
                  </a:lnTo>
                  <a:lnTo>
                    <a:pt x="992" y="52"/>
                  </a:lnTo>
                  <a:lnTo>
                    <a:pt x="992" y="34"/>
                  </a:lnTo>
                  <a:lnTo>
                    <a:pt x="850" y="34"/>
                  </a:lnTo>
                  <a:lnTo>
                    <a:pt x="850" y="34"/>
                  </a:lnTo>
                  <a:lnTo>
                    <a:pt x="850" y="48"/>
                  </a:lnTo>
                  <a:lnTo>
                    <a:pt x="850" y="48"/>
                  </a:lnTo>
                  <a:lnTo>
                    <a:pt x="870" y="78"/>
                  </a:lnTo>
                  <a:lnTo>
                    <a:pt x="870" y="78"/>
                  </a:lnTo>
                  <a:lnTo>
                    <a:pt x="888" y="74"/>
                  </a:lnTo>
                  <a:lnTo>
                    <a:pt x="888" y="74"/>
                  </a:lnTo>
                  <a:close/>
                  <a:moveTo>
                    <a:pt x="0" y="3446"/>
                  </a:moveTo>
                  <a:lnTo>
                    <a:pt x="118" y="3446"/>
                  </a:lnTo>
                  <a:lnTo>
                    <a:pt x="118" y="3446"/>
                  </a:lnTo>
                  <a:lnTo>
                    <a:pt x="118" y="3446"/>
                  </a:lnTo>
                  <a:lnTo>
                    <a:pt x="118" y="3446"/>
                  </a:lnTo>
                  <a:lnTo>
                    <a:pt x="106" y="3470"/>
                  </a:lnTo>
                  <a:lnTo>
                    <a:pt x="106" y="3470"/>
                  </a:lnTo>
                  <a:lnTo>
                    <a:pt x="118" y="3474"/>
                  </a:lnTo>
                  <a:lnTo>
                    <a:pt x="118" y="3474"/>
                  </a:lnTo>
                  <a:lnTo>
                    <a:pt x="136" y="3444"/>
                  </a:lnTo>
                  <a:lnTo>
                    <a:pt x="136" y="3444"/>
                  </a:lnTo>
                  <a:lnTo>
                    <a:pt x="136" y="3428"/>
                  </a:lnTo>
                  <a:lnTo>
                    <a:pt x="0" y="3428"/>
                  </a:lnTo>
                  <a:lnTo>
                    <a:pt x="0" y="3428"/>
                  </a:lnTo>
                  <a:lnTo>
                    <a:pt x="0" y="3446"/>
                  </a:lnTo>
                  <a:lnTo>
                    <a:pt x="0" y="3446"/>
                  </a:lnTo>
                  <a:close/>
                  <a:moveTo>
                    <a:pt x="8" y="3310"/>
                  </a:moveTo>
                  <a:lnTo>
                    <a:pt x="124" y="3310"/>
                  </a:lnTo>
                  <a:lnTo>
                    <a:pt x="124" y="3310"/>
                  </a:lnTo>
                  <a:lnTo>
                    <a:pt x="124" y="3312"/>
                  </a:lnTo>
                  <a:lnTo>
                    <a:pt x="124" y="3312"/>
                  </a:lnTo>
                  <a:lnTo>
                    <a:pt x="110" y="3334"/>
                  </a:lnTo>
                  <a:lnTo>
                    <a:pt x="110" y="3334"/>
                  </a:lnTo>
                  <a:lnTo>
                    <a:pt x="124" y="3338"/>
                  </a:lnTo>
                  <a:lnTo>
                    <a:pt x="124" y="3338"/>
                  </a:lnTo>
                  <a:lnTo>
                    <a:pt x="142" y="3308"/>
                  </a:lnTo>
                  <a:lnTo>
                    <a:pt x="142" y="3308"/>
                  </a:lnTo>
                  <a:lnTo>
                    <a:pt x="142" y="3294"/>
                  </a:lnTo>
                  <a:lnTo>
                    <a:pt x="10" y="3294"/>
                  </a:lnTo>
                  <a:lnTo>
                    <a:pt x="10" y="3294"/>
                  </a:lnTo>
                  <a:lnTo>
                    <a:pt x="8" y="3310"/>
                  </a:lnTo>
                  <a:lnTo>
                    <a:pt x="8" y="3310"/>
                  </a:lnTo>
                  <a:close/>
                  <a:moveTo>
                    <a:pt x="100" y="3124"/>
                  </a:moveTo>
                  <a:lnTo>
                    <a:pt x="100" y="3124"/>
                  </a:lnTo>
                  <a:lnTo>
                    <a:pt x="84" y="3126"/>
                  </a:lnTo>
                  <a:lnTo>
                    <a:pt x="72" y="3128"/>
                  </a:lnTo>
                  <a:lnTo>
                    <a:pt x="60" y="3132"/>
                  </a:lnTo>
                  <a:lnTo>
                    <a:pt x="48" y="3138"/>
                  </a:lnTo>
                  <a:lnTo>
                    <a:pt x="40" y="3144"/>
                  </a:lnTo>
                  <a:lnTo>
                    <a:pt x="34" y="3152"/>
                  </a:lnTo>
                  <a:lnTo>
                    <a:pt x="28" y="3162"/>
                  </a:lnTo>
                  <a:lnTo>
                    <a:pt x="26" y="3172"/>
                  </a:lnTo>
                  <a:lnTo>
                    <a:pt x="26" y="3172"/>
                  </a:lnTo>
                  <a:lnTo>
                    <a:pt x="26" y="3182"/>
                  </a:lnTo>
                  <a:lnTo>
                    <a:pt x="28" y="3190"/>
                  </a:lnTo>
                  <a:lnTo>
                    <a:pt x="32" y="3198"/>
                  </a:lnTo>
                  <a:lnTo>
                    <a:pt x="38" y="3204"/>
                  </a:lnTo>
                  <a:lnTo>
                    <a:pt x="46" y="3210"/>
                  </a:lnTo>
                  <a:lnTo>
                    <a:pt x="56" y="3214"/>
                  </a:lnTo>
                  <a:lnTo>
                    <a:pt x="70" y="3216"/>
                  </a:lnTo>
                  <a:lnTo>
                    <a:pt x="84" y="3216"/>
                  </a:lnTo>
                  <a:lnTo>
                    <a:pt x="84" y="3216"/>
                  </a:lnTo>
                  <a:lnTo>
                    <a:pt x="100" y="3216"/>
                  </a:lnTo>
                  <a:lnTo>
                    <a:pt x="114" y="3214"/>
                  </a:lnTo>
                  <a:lnTo>
                    <a:pt x="126" y="3208"/>
                  </a:lnTo>
                  <a:lnTo>
                    <a:pt x="136" y="3204"/>
                  </a:lnTo>
                  <a:lnTo>
                    <a:pt x="146" y="3196"/>
                  </a:lnTo>
                  <a:lnTo>
                    <a:pt x="152" y="3188"/>
                  </a:lnTo>
                  <a:lnTo>
                    <a:pt x="156" y="3180"/>
                  </a:lnTo>
                  <a:lnTo>
                    <a:pt x="158" y="3170"/>
                  </a:lnTo>
                  <a:lnTo>
                    <a:pt x="158" y="3170"/>
                  </a:lnTo>
                  <a:lnTo>
                    <a:pt x="158" y="3160"/>
                  </a:lnTo>
                  <a:lnTo>
                    <a:pt x="156" y="3150"/>
                  </a:lnTo>
                  <a:lnTo>
                    <a:pt x="152" y="3142"/>
                  </a:lnTo>
                  <a:lnTo>
                    <a:pt x="146" y="3136"/>
                  </a:lnTo>
                  <a:lnTo>
                    <a:pt x="138" y="3132"/>
                  </a:lnTo>
                  <a:lnTo>
                    <a:pt x="126" y="3128"/>
                  </a:lnTo>
                  <a:lnTo>
                    <a:pt x="114" y="3126"/>
                  </a:lnTo>
                  <a:lnTo>
                    <a:pt x="100" y="3124"/>
                  </a:lnTo>
                  <a:lnTo>
                    <a:pt x="100" y="3124"/>
                  </a:lnTo>
                  <a:close/>
                  <a:moveTo>
                    <a:pt x="144" y="3170"/>
                  </a:moveTo>
                  <a:lnTo>
                    <a:pt x="144" y="3170"/>
                  </a:lnTo>
                  <a:lnTo>
                    <a:pt x="144" y="3176"/>
                  </a:lnTo>
                  <a:lnTo>
                    <a:pt x="140" y="3182"/>
                  </a:lnTo>
                  <a:lnTo>
                    <a:pt x="134" y="3186"/>
                  </a:lnTo>
                  <a:lnTo>
                    <a:pt x="128" y="3190"/>
                  </a:lnTo>
                  <a:lnTo>
                    <a:pt x="120" y="3194"/>
                  </a:lnTo>
                  <a:lnTo>
                    <a:pt x="110" y="3196"/>
                  </a:lnTo>
                  <a:lnTo>
                    <a:pt x="86" y="3198"/>
                  </a:lnTo>
                  <a:lnTo>
                    <a:pt x="86" y="3198"/>
                  </a:lnTo>
                  <a:lnTo>
                    <a:pt x="64" y="3196"/>
                  </a:lnTo>
                  <a:lnTo>
                    <a:pt x="56" y="3194"/>
                  </a:lnTo>
                  <a:lnTo>
                    <a:pt x="50" y="3190"/>
                  </a:lnTo>
                  <a:lnTo>
                    <a:pt x="44" y="3186"/>
                  </a:lnTo>
                  <a:lnTo>
                    <a:pt x="40" y="3182"/>
                  </a:lnTo>
                  <a:lnTo>
                    <a:pt x="38" y="3176"/>
                  </a:lnTo>
                  <a:lnTo>
                    <a:pt x="40" y="3170"/>
                  </a:lnTo>
                  <a:lnTo>
                    <a:pt x="40" y="3170"/>
                  </a:lnTo>
                  <a:lnTo>
                    <a:pt x="42" y="3164"/>
                  </a:lnTo>
                  <a:lnTo>
                    <a:pt x="44" y="3158"/>
                  </a:lnTo>
                  <a:lnTo>
                    <a:pt x="50" y="3154"/>
                  </a:lnTo>
                  <a:lnTo>
                    <a:pt x="56" y="3150"/>
                  </a:lnTo>
                  <a:lnTo>
                    <a:pt x="64" y="3146"/>
                  </a:lnTo>
                  <a:lnTo>
                    <a:pt x="74" y="3144"/>
                  </a:lnTo>
                  <a:lnTo>
                    <a:pt x="96" y="3144"/>
                  </a:lnTo>
                  <a:lnTo>
                    <a:pt x="96" y="3144"/>
                  </a:lnTo>
                  <a:lnTo>
                    <a:pt x="118" y="3144"/>
                  </a:lnTo>
                  <a:lnTo>
                    <a:pt x="126" y="3146"/>
                  </a:lnTo>
                  <a:lnTo>
                    <a:pt x="134" y="3150"/>
                  </a:lnTo>
                  <a:lnTo>
                    <a:pt x="138" y="3154"/>
                  </a:lnTo>
                  <a:lnTo>
                    <a:pt x="142" y="3158"/>
                  </a:lnTo>
                  <a:lnTo>
                    <a:pt x="144" y="3164"/>
                  </a:lnTo>
                  <a:lnTo>
                    <a:pt x="144" y="3170"/>
                  </a:lnTo>
                  <a:lnTo>
                    <a:pt x="144" y="3170"/>
                  </a:lnTo>
                  <a:close/>
                  <a:moveTo>
                    <a:pt x="56" y="3040"/>
                  </a:moveTo>
                  <a:lnTo>
                    <a:pt x="162" y="3040"/>
                  </a:lnTo>
                  <a:lnTo>
                    <a:pt x="162" y="3040"/>
                  </a:lnTo>
                  <a:lnTo>
                    <a:pt x="162" y="3040"/>
                  </a:lnTo>
                  <a:lnTo>
                    <a:pt x="162" y="3040"/>
                  </a:lnTo>
                  <a:lnTo>
                    <a:pt x="146" y="3062"/>
                  </a:lnTo>
                  <a:lnTo>
                    <a:pt x="146" y="3062"/>
                  </a:lnTo>
                  <a:lnTo>
                    <a:pt x="158" y="3066"/>
                  </a:lnTo>
                  <a:lnTo>
                    <a:pt x="158" y="3066"/>
                  </a:lnTo>
                  <a:lnTo>
                    <a:pt x="178" y="3036"/>
                  </a:lnTo>
                  <a:lnTo>
                    <a:pt x="178" y="3036"/>
                  </a:lnTo>
                  <a:lnTo>
                    <a:pt x="180" y="3022"/>
                  </a:lnTo>
                  <a:lnTo>
                    <a:pt x="60" y="3022"/>
                  </a:lnTo>
                  <a:lnTo>
                    <a:pt x="60" y="3022"/>
                  </a:lnTo>
                  <a:lnTo>
                    <a:pt x="56" y="3040"/>
                  </a:lnTo>
                  <a:lnTo>
                    <a:pt x="56" y="3040"/>
                  </a:lnTo>
                  <a:close/>
                  <a:moveTo>
                    <a:pt x="162" y="2854"/>
                  </a:moveTo>
                  <a:lnTo>
                    <a:pt x="162" y="2854"/>
                  </a:lnTo>
                  <a:lnTo>
                    <a:pt x="148" y="2854"/>
                  </a:lnTo>
                  <a:lnTo>
                    <a:pt x="136" y="2856"/>
                  </a:lnTo>
                  <a:lnTo>
                    <a:pt x="124" y="2860"/>
                  </a:lnTo>
                  <a:lnTo>
                    <a:pt x="116" y="2866"/>
                  </a:lnTo>
                  <a:lnTo>
                    <a:pt x="106" y="2872"/>
                  </a:lnTo>
                  <a:lnTo>
                    <a:pt x="100" y="2880"/>
                  </a:lnTo>
                  <a:lnTo>
                    <a:pt x="94" y="2890"/>
                  </a:lnTo>
                  <a:lnTo>
                    <a:pt x="90" y="2900"/>
                  </a:lnTo>
                  <a:lnTo>
                    <a:pt x="90" y="2900"/>
                  </a:lnTo>
                  <a:lnTo>
                    <a:pt x="88" y="2910"/>
                  </a:lnTo>
                  <a:lnTo>
                    <a:pt x="88" y="2918"/>
                  </a:lnTo>
                  <a:lnTo>
                    <a:pt x="92" y="2926"/>
                  </a:lnTo>
                  <a:lnTo>
                    <a:pt x="96" y="2932"/>
                  </a:lnTo>
                  <a:lnTo>
                    <a:pt x="102" y="2938"/>
                  </a:lnTo>
                  <a:lnTo>
                    <a:pt x="112" y="2942"/>
                  </a:lnTo>
                  <a:lnTo>
                    <a:pt x="122" y="2944"/>
                  </a:lnTo>
                  <a:lnTo>
                    <a:pt x="136" y="2944"/>
                  </a:lnTo>
                  <a:lnTo>
                    <a:pt x="136" y="2944"/>
                  </a:lnTo>
                  <a:lnTo>
                    <a:pt x="150" y="2944"/>
                  </a:lnTo>
                  <a:lnTo>
                    <a:pt x="162" y="2942"/>
                  </a:lnTo>
                  <a:lnTo>
                    <a:pt x="174" y="2938"/>
                  </a:lnTo>
                  <a:lnTo>
                    <a:pt x="184" y="2932"/>
                  </a:lnTo>
                  <a:lnTo>
                    <a:pt x="192" y="2924"/>
                  </a:lnTo>
                  <a:lnTo>
                    <a:pt x="200" y="2916"/>
                  </a:lnTo>
                  <a:lnTo>
                    <a:pt x="206" y="2908"/>
                  </a:lnTo>
                  <a:lnTo>
                    <a:pt x="208" y="2898"/>
                  </a:lnTo>
                  <a:lnTo>
                    <a:pt x="208" y="2898"/>
                  </a:lnTo>
                  <a:lnTo>
                    <a:pt x="210" y="2888"/>
                  </a:lnTo>
                  <a:lnTo>
                    <a:pt x="208" y="2878"/>
                  </a:lnTo>
                  <a:lnTo>
                    <a:pt x="206" y="2872"/>
                  </a:lnTo>
                  <a:lnTo>
                    <a:pt x="200" y="2864"/>
                  </a:lnTo>
                  <a:lnTo>
                    <a:pt x="194" y="2860"/>
                  </a:lnTo>
                  <a:lnTo>
                    <a:pt x="184" y="2856"/>
                  </a:lnTo>
                  <a:lnTo>
                    <a:pt x="174" y="2854"/>
                  </a:lnTo>
                  <a:lnTo>
                    <a:pt x="162" y="2854"/>
                  </a:lnTo>
                  <a:lnTo>
                    <a:pt x="162" y="2854"/>
                  </a:lnTo>
                  <a:close/>
                  <a:moveTo>
                    <a:pt x="196" y="2898"/>
                  </a:moveTo>
                  <a:lnTo>
                    <a:pt x="196" y="2898"/>
                  </a:lnTo>
                  <a:lnTo>
                    <a:pt x="194" y="2904"/>
                  </a:lnTo>
                  <a:lnTo>
                    <a:pt x="190" y="2910"/>
                  </a:lnTo>
                  <a:lnTo>
                    <a:pt x="184" y="2914"/>
                  </a:lnTo>
                  <a:lnTo>
                    <a:pt x="178" y="2918"/>
                  </a:lnTo>
                  <a:lnTo>
                    <a:pt x="170" y="2922"/>
                  </a:lnTo>
                  <a:lnTo>
                    <a:pt x="162" y="2924"/>
                  </a:lnTo>
                  <a:lnTo>
                    <a:pt x="140" y="2926"/>
                  </a:lnTo>
                  <a:lnTo>
                    <a:pt x="140" y="2926"/>
                  </a:lnTo>
                  <a:lnTo>
                    <a:pt x="120" y="2924"/>
                  </a:lnTo>
                  <a:lnTo>
                    <a:pt x="114" y="2922"/>
                  </a:lnTo>
                  <a:lnTo>
                    <a:pt x="108" y="2920"/>
                  </a:lnTo>
                  <a:lnTo>
                    <a:pt x="104" y="2916"/>
                  </a:lnTo>
                  <a:lnTo>
                    <a:pt x="102" y="2910"/>
                  </a:lnTo>
                  <a:lnTo>
                    <a:pt x="100" y="2906"/>
                  </a:lnTo>
                  <a:lnTo>
                    <a:pt x="102" y="2900"/>
                  </a:lnTo>
                  <a:lnTo>
                    <a:pt x="102" y="2900"/>
                  </a:lnTo>
                  <a:lnTo>
                    <a:pt x="104" y="2892"/>
                  </a:lnTo>
                  <a:lnTo>
                    <a:pt x="108" y="2886"/>
                  </a:lnTo>
                  <a:lnTo>
                    <a:pt x="114" y="2882"/>
                  </a:lnTo>
                  <a:lnTo>
                    <a:pt x="120" y="2878"/>
                  </a:lnTo>
                  <a:lnTo>
                    <a:pt x="136" y="2874"/>
                  </a:lnTo>
                  <a:lnTo>
                    <a:pt x="156" y="2872"/>
                  </a:lnTo>
                  <a:lnTo>
                    <a:pt x="156" y="2872"/>
                  </a:lnTo>
                  <a:lnTo>
                    <a:pt x="174" y="2874"/>
                  </a:lnTo>
                  <a:lnTo>
                    <a:pt x="182" y="2876"/>
                  </a:lnTo>
                  <a:lnTo>
                    <a:pt x="188" y="2878"/>
                  </a:lnTo>
                  <a:lnTo>
                    <a:pt x="192" y="2882"/>
                  </a:lnTo>
                  <a:lnTo>
                    <a:pt x="196" y="2886"/>
                  </a:lnTo>
                  <a:lnTo>
                    <a:pt x="196" y="2892"/>
                  </a:lnTo>
                  <a:lnTo>
                    <a:pt x="196" y="2898"/>
                  </a:lnTo>
                  <a:lnTo>
                    <a:pt x="196" y="2898"/>
                  </a:lnTo>
                  <a:close/>
                  <a:moveTo>
                    <a:pt x="134" y="2768"/>
                  </a:moveTo>
                  <a:lnTo>
                    <a:pt x="226" y="2768"/>
                  </a:lnTo>
                  <a:lnTo>
                    <a:pt x="226" y="2768"/>
                  </a:lnTo>
                  <a:lnTo>
                    <a:pt x="224" y="2768"/>
                  </a:lnTo>
                  <a:lnTo>
                    <a:pt x="224" y="2768"/>
                  </a:lnTo>
                  <a:lnTo>
                    <a:pt x="208" y="2792"/>
                  </a:lnTo>
                  <a:lnTo>
                    <a:pt x="208" y="2792"/>
                  </a:lnTo>
                  <a:lnTo>
                    <a:pt x="218" y="2794"/>
                  </a:lnTo>
                  <a:lnTo>
                    <a:pt x="218" y="2794"/>
                  </a:lnTo>
                  <a:lnTo>
                    <a:pt x="240" y="2766"/>
                  </a:lnTo>
                  <a:lnTo>
                    <a:pt x="240" y="2766"/>
                  </a:lnTo>
                  <a:lnTo>
                    <a:pt x="244" y="2750"/>
                  </a:lnTo>
                  <a:lnTo>
                    <a:pt x="140" y="2750"/>
                  </a:lnTo>
                  <a:lnTo>
                    <a:pt x="140" y="2750"/>
                  </a:lnTo>
                  <a:lnTo>
                    <a:pt x="134" y="2768"/>
                  </a:lnTo>
                  <a:lnTo>
                    <a:pt x="134" y="2768"/>
                  </a:lnTo>
                  <a:close/>
                  <a:moveTo>
                    <a:pt x="214" y="2674"/>
                  </a:moveTo>
                  <a:lnTo>
                    <a:pt x="214" y="2674"/>
                  </a:lnTo>
                  <a:lnTo>
                    <a:pt x="226" y="2672"/>
                  </a:lnTo>
                  <a:lnTo>
                    <a:pt x="238" y="2670"/>
                  </a:lnTo>
                  <a:lnTo>
                    <a:pt x="248" y="2666"/>
                  </a:lnTo>
                  <a:lnTo>
                    <a:pt x="256" y="2660"/>
                  </a:lnTo>
                  <a:lnTo>
                    <a:pt x="264" y="2654"/>
                  </a:lnTo>
                  <a:lnTo>
                    <a:pt x="272" y="2646"/>
                  </a:lnTo>
                  <a:lnTo>
                    <a:pt x="278" y="2636"/>
                  </a:lnTo>
                  <a:lnTo>
                    <a:pt x="280" y="2626"/>
                  </a:lnTo>
                  <a:lnTo>
                    <a:pt x="280" y="2626"/>
                  </a:lnTo>
                  <a:lnTo>
                    <a:pt x="284" y="2616"/>
                  </a:lnTo>
                  <a:lnTo>
                    <a:pt x="284" y="2608"/>
                  </a:lnTo>
                  <a:lnTo>
                    <a:pt x="282" y="2600"/>
                  </a:lnTo>
                  <a:lnTo>
                    <a:pt x="278" y="2594"/>
                  </a:lnTo>
                  <a:lnTo>
                    <a:pt x="272" y="2588"/>
                  </a:lnTo>
                  <a:lnTo>
                    <a:pt x="266" y="2584"/>
                  </a:lnTo>
                  <a:lnTo>
                    <a:pt x="258" y="2582"/>
                  </a:lnTo>
                  <a:lnTo>
                    <a:pt x="248" y="2582"/>
                  </a:lnTo>
                  <a:lnTo>
                    <a:pt x="248" y="2582"/>
                  </a:lnTo>
                  <a:lnTo>
                    <a:pt x="236" y="2582"/>
                  </a:lnTo>
                  <a:lnTo>
                    <a:pt x="226" y="2584"/>
                  </a:lnTo>
                  <a:lnTo>
                    <a:pt x="218" y="2588"/>
                  </a:lnTo>
                  <a:lnTo>
                    <a:pt x="210" y="2594"/>
                  </a:lnTo>
                  <a:lnTo>
                    <a:pt x="202" y="2600"/>
                  </a:lnTo>
                  <a:lnTo>
                    <a:pt x="196" y="2608"/>
                  </a:lnTo>
                  <a:lnTo>
                    <a:pt x="190" y="2618"/>
                  </a:lnTo>
                  <a:lnTo>
                    <a:pt x="184" y="2628"/>
                  </a:lnTo>
                  <a:lnTo>
                    <a:pt x="184" y="2628"/>
                  </a:lnTo>
                  <a:lnTo>
                    <a:pt x="182" y="2638"/>
                  </a:lnTo>
                  <a:lnTo>
                    <a:pt x="180" y="2646"/>
                  </a:lnTo>
                  <a:lnTo>
                    <a:pt x="182" y="2654"/>
                  </a:lnTo>
                  <a:lnTo>
                    <a:pt x="184" y="2660"/>
                  </a:lnTo>
                  <a:lnTo>
                    <a:pt x="188" y="2666"/>
                  </a:lnTo>
                  <a:lnTo>
                    <a:pt x="196" y="2670"/>
                  </a:lnTo>
                  <a:lnTo>
                    <a:pt x="204" y="2672"/>
                  </a:lnTo>
                  <a:lnTo>
                    <a:pt x="214" y="2674"/>
                  </a:lnTo>
                  <a:lnTo>
                    <a:pt x="214" y="2674"/>
                  </a:lnTo>
                  <a:close/>
                  <a:moveTo>
                    <a:pt x="194" y="2628"/>
                  </a:moveTo>
                  <a:lnTo>
                    <a:pt x="194" y="2628"/>
                  </a:lnTo>
                  <a:lnTo>
                    <a:pt x="200" y="2616"/>
                  </a:lnTo>
                  <a:lnTo>
                    <a:pt x="212" y="2606"/>
                  </a:lnTo>
                  <a:lnTo>
                    <a:pt x="224" y="2602"/>
                  </a:lnTo>
                  <a:lnTo>
                    <a:pt x="240" y="2600"/>
                  </a:lnTo>
                  <a:lnTo>
                    <a:pt x="240" y="2600"/>
                  </a:lnTo>
                  <a:lnTo>
                    <a:pt x="256" y="2602"/>
                  </a:lnTo>
                  <a:lnTo>
                    <a:pt x="262" y="2604"/>
                  </a:lnTo>
                  <a:lnTo>
                    <a:pt x="266" y="2606"/>
                  </a:lnTo>
                  <a:lnTo>
                    <a:pt x="270" y="2610"/>
                  </a:lnTo>
                  <a:lnTo>
                    <a:pt x="272" y="2614"/>
                  </a:lnTo>
                  <a:lnTo>
                    <a:pt x="272" y="2620"/>
                  </a:lnTo>
                  <a:lnTo>
                    <a:pt x="270" y="2628"/>
                  </a:lnTo>
                  <a:lnTo>
                    <a:pt x="270" y="2628"/>
                  </a:lnTo>
                  <a:lnTo>
                    <a:pt x="268" y="2634"/>
                  </a:lnTo>
                  <a:lnTo>
                    <a:pt x="264" y="2638"/>
                  </a:lnTo>
                  <a:lnTo>
                    <a:pt x="254" y="2648"/>
                  </a:lnTo>
                  <a:lnTo>
                    <a:pt x="238" y="2652"/>
                  </a:lnTo>
                  <a:lnTo>
                    <a:pt x="220" y="2654"/>
                  </a:lnTo>
                  <a:lnTo>
                    <a:pt x="220" y="2654"/>
                  </a:lnTo>
                  <a:lnTo>
                    <a:pt x="206" y="2652"/>
                  </a:lnTo>
                  <a:lnTo>
                    <a:pt x="200" y="2650"/>
                  </a:lnTo>
                  <a:lnTo>
                    <a:pt x="196" y="2648"/>
                  </a:lnTo>
                  <a:lnTo>
                    <a:pt x="192" y="2644"/>
                  </a:lnTo>
                  <a:lnTo>
                    <a:pt x="192" y="2638"/>
                  </a:lnTo>
                  <a:lnTo>
                    <a:pt x="192" y="2634"/>
                  </a:lnTo>
                  <a:lnTo>
                    <a:pt x="194" y="2628"/>
                  </a:lnTo>
                  <a:lnTo>
                    <a:pt x="194" y="2628"/>
                  </a:lnTo>
                  <a:close/>
                  <a:moveTo>
                    <a:pt x="310" y="2496"/>
                  </a:moveTo>
                  <a:lnTo>
                    <a:pt x="310" y="2496"/>
                  </a:lnTo>
                  <a:lnTo>
                    <a:pt x="294" y="2520"/>
                  </a:lnTo>
                  <a:lnTo>
                    <a:pt x="294" y="2520"/>
                  </a:lnTo>
                  <a:lnTo>
                    <a:pt x="302" y="2524"/>
                  </a:lnTo>
                  <a:lnTo>
                    <a:pt x="302" y="2524"/>
                  </a:lnTo>
                  <a:lnTo>
                    <a:pt x="322" y="2494"/>
                  </a:lnTo>
                  <a:lnTo>
                    <a:pt x="322" y="2494"/>
                  </a:lnTo>
                  <a:lnTo>
                    <a:pt x="326" y="2478"/>
                  </a:lnTo>
                  <a:lnTo>
                    <a:pt x="248" y="2478"/>
                  </a:lnTo>
                  <a:lnTo>
                    <a:pt x="248" y="2478"/>
                  </a:lnTo>
                  <a:lnTo>
                    <a:pt x="240" y="2496"/>
                  </a:lnTo>
                  <a:lnTo>
                    <a:pt x="310" y="2496"/>
                  </a:lnTo>
                  <a:lnTo>
                    <a:pt x="310" y="2496"/>
                  </a:lnTo>
                  <a:lnTo>
                    <a:pt x="310" y="2496"/>
                  </a:lnTo>
                  <a:lnTo>
                    <a:pt x="310" y="2496"/>
                  </a:lnTo>
                  <a:close/>
                  <a:moveTo>
                    <a:pt x="358" y="2360"/>
                  </a:moveTo>
                  <a:lnTo>
                    <a:pt x="358" y="2360"/>
                  </a:lnTo>
                  <a:lnTo>
                    <a:pt x="342" y="2384"/>
                  </a:lnTo>
                  <a:lnTo>
                    <a:pt x="342" y="2384"/>
                  </a:lnTo>
                  <a:lnTo>
                    <a:pt x="350" y="2388"/>
                  </a:lnTo>
                  <a:lnTo>
                    <a:pt x="350" y="2388"/>
                  </a:lnTo>
                  <a:lnTo>
                    <a:pt x="368" y="2358"/>
                  </a:lnTo>
                  <a:lnTo>
                    <a:pt x="368" y="2358"/>
                  </a:lnTo>
                  <a:lnTo>
                    <a:pt x="374" y="2342"/>
                  </a:lnTo>
                  <a:lnTo>
                    <a:pt x="310" y="2342"/>
                  </a:lnTo>
                  <a:lnTo>
                    <a:pt x="310" y="2342"/>
                  </a:lnTo>
                  <a:lnTo>
                    <a:pt x="302" y="2360"/>
                  </a:lnTo>
                  <a:lnTo>
                    <a:pt x="358" y="2360"/>
                  </a:lnTo>
                  <a:lnTo>
                    <a:pt x="358" y="2360"/>
                  </a:lnTo>
                  <a:lnTo>
                    <a:pt x="358" y="2360"/>
                  </a:lnTo>
                  <a:lnTo>
                    <a:pt x="358" y="2360"/>
                  </a:lnTo>
                  <a:close/>
                  <a:moveTo>
                    <a:pt x="370" y="2266"/>
                  </a:moveTo>
                  <a:lnTo>
                    <a:pt x="370" y="2266"/>
                  </a:lnTo>
                  <a:lnTo>
                    <a:pt x="378" y="2264"/>
                  </a:lnTo>
                  <a:lnTo>
                    <a:pt x="386" y="2262"/>
                  </a:lnTo>
                  <a:lnTo>
                    <a:pt x="392" y="2258"/>
                  </a:lnTo>
                  <a:lnTo>
                    <a:pt x="400" y="2252"/>
                  </a:lnTo>
                  <a:lnTo>
                    <a:pt x="412" y="2238"/>
                  </a:lnTo>
                  <a:lnTo>
                    <a:pt x="422" y="2218"/>
                  </a:lnTo>
                  <a:lnTo>
                    <a:pt x="422" y="2218"/>
                  </a:lnTo>
                  <a:lnTo>
                    <a:pt x="426" y="2200"/>
                  </a:lnTo>
                  <a:lnTo>
                    <a:pt x="426" y="2192"/>
                  </a:lnTo>
                  <a:lnTo>
                    <a:pt x="426" y="2186"/>
                  </a:lnTo>
                  <a:lnTo>
                    <a:pt x="424" y="2180"/>
                  </a:lnTo>
                  <a:lnTo>
                    <a:pt x="420" y="2178"/>
                  </a:lnTo>
                  <a:lnTo>
                    <a:pt x="416" y="2174"/>
                  </a:lnTo>
                  <a:lnTo>
                    <a:pt x="410" y="2174"/>
                  </a:lnTo>
                  <a:lnTo>
                    <a:pt x="410" y="2174"/>
                  </a:lnTo>
                  <a:lnTo>
                    <a:pt x="404" y="2174"/>
                  </a:lnTo>
                  <a:lnTo>
                    <a:pt x="400" y="2178"/>
                  </a:lnTo>
                  <a:lnTo>
                    <a:pt x="394" y="2182"/>
                  </a:lnTo>
                  <a:lnTo>
                    <a:pt x="388" y="2186"/>
                  </a:lnTo>
                  <a:lnTo>
                    <a:pt x="378" y="2202"/>
                  </a:lnTo>
                  <a:lnTo>
                    <a:pt x="366" y="2222"/>
                  </a:lnTo>
                  <a:lnTo>
                    <a:pt x="366" y="2222"/>
                  </a:lnTo>
                  <a:lnTo>
                    <a:pt x="360" y="2240"/>
                  </a:lnTo>
                  <a:lnTo>
                    <a:pt x="358" y="2246"/>
                  </a:lnTo>
                  <a:lnTo>
                    <a:pt x="356" y="2254"/>
                  </a:lnTo>
                  <a:lnTo>
                    <a:pt x="358" y="2258"/>
                  </a:lnTo>
                  <a:lnTo>
                    <a:pt x="360" y="2262"/>
                  </a:lnTo>
                  <a:lnTo>
                    <a:pt x="364" y="2264"/>
                  </a:lnTo>
                  <a:lnTo>
                    <a:pt x="370" y="2266"/>
                  </a:lnTo>
                  <a:lnTo>
                    <a:pt x="370" y="2266"/>
                  </a:lnTo>
                  <a:close/>
                  <a:moveTo>
                    <a:pt x="372" y="2220"/>
                  </a:moveTo>
                  <a:lnTo>
                    <a:pt x="372" y="2220"/>
                  </a:lnTo>
                  <a:lnTo>
                    <a:pt x="378" y="2208"/>
                  </a:lnTo>
                  <a:lnTo>
                    <a:pt x="386" y="2200"/>
                  </a:lnTo>
                  <a:lnTo>
                    <a:pt x="394" y="2194"/>
                  </a:lnTo>
                  <a:lnTo>
                    <a:pt x="402" y="2192"/>
                  </a:lnTo>
                  <a:lnTo>
                    <a:pt x="402" y="2192"/>
                  </a:lnTo>
                  <a:lnTo>
                    <a:pt x="410" y="2194"/>
                  </a:lnTo>
                  <a:lnTo>
                    <a:pt x="414" y="2196"/>
                  </a:lnTo>
                  <a:lnTo>
                    <a:pt x="416" y="2198"/>
                  </a:lnTo>
                  <a:lnTo>
                    <a:pt x="418" y="2208"/>
                  </a:lnTo>
                  <a:lnTo>
                    <a:pt x="414" y="2220"/>
                  </a:lnTo>
                  <a:lnTo>
                    <a:pt x="414" y="2220"/>
                  </a:lnTo>
                  <a:lnTo>
                    <a:pt x="408" y="2230"/>
                  </a:lnTo>
                  <a:lnTo>
                    <a:pt x="400" y="2240"/>
                  </a:lnTo>
                  <a:lnTo>
                    <a:pt x="390" y="2246"/>
                  </a:lnTo>
                  <a:lnTo>
                    <a:pt x="378" y="2248"/>
                  </a:lnTo>
                  <a:lnTo>
                    <a:pt x="378" y="2248"/>
                  </a:lnTo>
                  <a:lnTo>
                    <a:pt x="374" y="2246"/>
                  </a:lnTo>
                  <a:lnTo>
                    <a:pt x="370" y="2246"/>
                  </a:lnTo>
                  <a:lnTo>
                    <a:pt x="368" y="2244"/>
                  </a:lnTo>
                  <a:lnTo>
                    <a:pt x="366" y="2240"/>
                  </a:lnTo>
                  <a:lnTo>
                    <a:pt x="366" y="2232"/>
                  </a:lnTo>
                  <a:lnTo>
                    <a:pt x="372" y="2220"/>
                  </a:lnTo>
                  <a:lnTo>
                    <a:pt x="372" y="2220"/>
                  </a:lnTo>
                  <a:close/>
                  <a:moveTo>
                    <a:pt x="430" y="2130"/>
                  </a:moveTo>
                  <a:lnTo>
                    <a:pt x="430" y="2130"/>
                  </a:lnTo>
                  <a:lnTo>
                    <a:pt x="436" y="2130"/>
                  </a:lnTo>
                  <a:lnTo>
                    <a:pt x="442" y="2126"/>
                  </a:lnTo>
                  <a:lnTo>
                    <a:pt x="452" y="2116"/>
                  </a:lnTo>
                  <a:lnTo>
                    <a:pt x="464" y="2102"/>
                  </a:lnTo>
                  <a:lnTo>
                    <a:pt x="474" y="2082"/>
                  </a:lnTo>
                  <a:lnTo>
                    <a:pt x="474" y="2082"/>
                  </a:lnTo>
                  <a:lnTo>
                    <a:pt x="480" y="2064"/>
                  </a:lnTo>
                  <a:lnTo>
                    <a:pt x="480" y="2050"/>
                  </a:lnTo>
                  <a:lnTo>
                    <a:pt x="480" y="2044"/>
                  </a:lnTo>
                  <a:lnTo>
                    <a:pt x="478" y="2042"/>
                  </a:lnTo>
                  <a:lnTo>
                    <a:pt x="474" y="2038"/>
                  </a:lnTo>
                  <a:lnTo>
                    <a:pt x="472" y="2038"/>
                  </a:lnTo>
                  <a:lnTo>
                    <a:pt x="472" y="2038"/>
                  </a:lnTo>
                  <a:lnTo>
                    <a:pt x="468" y="2038"/>
                  </a:lnTo>
                  <a:lnTo>
                    <a:pt x="462" y="2042"/>
                  </a:lnTo>
                  <a:lnTo>
                    <a:pt x="454" y="2050"/>
                  </a:lnTo>
                  <a:lnTo>
                    <a:pt x="444" y="2066"/>
                  </a:lnTo>
                  <a:lnTo>
                    <a:pt x="434" y="2086"/>
                  </a:lnTo>
                  <a:lnTo>
                    <a:pt x="434" y="2086"/>
                  </a:lnTo>
                  <a:lnTo>
                    <a:pt x="426" y="2104"/>
                  </a:lnTo>
                  <a:lnTo>
                    <a:pt x="422" y="2118"/>
                  </a:lnTo>
                  <a:lnTo>
                    <a:pt x="422" y="2122"/>
                  </a:lnTo>
                  <a:lnTo>
                    <a:pt x="422" y="2126"/>
                  </a:lnTo>
                  <a:lnTo>
                    <a:pt x="426" y="2130"/>
                  </a:lnTo>
                  <a:lnTo>
                    <a:pt x="430" y="2130"/>
                  </a:lnTo>
                  <a:lnTo>
                    <a:pt x="430" y="2130"/>
                  </a:lnTo>
                  <a:close/>
                  <a:moveTo>
                    <a:pt x="438" y="2084"/>
                  </a:moveTo>
                  <a:lnTo>
                    <a:pt x="438" y="2084"/>
                  </a:lnTo>
                  <a:lnTo>
                    <a:pt x="444" y="2072"/>
                  </a:lnTo>
                  <a:lnTo>
                    <a:pt x="450" y="2064"/>
                  </a:lnTo>
                  <a:lnTo>
                    <a:pt x="456" y="2058"/>
                  </a:lnTo>
                  <a:lnTo>
                    <a:pt x="462" y="2056"/>
                  </a:lnTo>
                  <a:lnTo>
                    <a:pt x="462" y="2056"/>
                  </a:lnTo>
                  <a:lnTo>
                    <a:pt x="468" y="2058"/>
                  </a:lnTo>
                  <a:lnTo>
                    <a:pt x="472" y="2064"/>
                  </a:lnTo>
                  <a:lnTo>
                    <a:pt x="472" y="2072"/>
                  </a:lnTo>
                  <a:lnTo>
                    <a:pt x="468" y="2084"/>
                  </a:lnTo>
                  <a:lnTo>
                    <a:pt x="468" y="2084"/>
                  </a:lnTo>
                  <a:lnTo>
                    <a:pt x="462" y="2096"/>
                  </a:lnTo>
                  <a:lnTo>
                    <a:pt x="454" y="2104"/>
                  </a:lnTo>
                  <a:lnTo>
                    <a:pt x="446" y="2110"/>
                  </a:lnTo>
                  <a:lnTo>
                    <a:pt x="438" y="2112"/>
                  </a:lnTo>
                  <a:lnTo>
                    <a:pt x="438" y="2112"/>
                  </a:lnTo>
                  <a:lnTo>
                    <a:pt x="434" y="2112"/>
                  </a:lnTo>
                  <a:lnTo>
                    <a:pt x="432" y="2110"/>
                  </a:lnTo>
                  <a:lnTo>
                    <a:pt x="430" y="2104"/>
                  </a:lnTo>
                  <a:lnTo>
                    <a:pt x="432" y="2096"/>
                  </a:lnTo>
                  <a:lnTo>
                    <a:pt x="438" y="2084"/>
                  </a:lnTo>
                  <a:lnTo>
                    <a:pt x="438" y="2084"/>
                  </a:lnTo>
                  <a:close/>
                  <a:moveTo>
                    <a:pt x="520" y="1952"/>
                  </a:moveTo>
                  <a:lnTo>
                    <a:pt x="520" y="1952"/>
                  </a:lnTo>
                  <a:lnTo>
                    <a:pt x="508" y="1976"/>
                  </a:lnTo>
                  <a:lnTo>
                    <a:pt x="508" y="1976"/>
                  </a:lnTo>
                  <a:lnTo>
                    <a:pt x="510" y="1980"/>
                  </a:lnTo>
                  <a:lnTo>
                    <a:pt x="510" y="1980"/>
                  </a:lnTo>
                  <a:lnTo>
                    <a:pt x="526" y="1950"/>
                  </a:lnTo>
                  <a:lnTo>
                    <a:pt x="526" y="1950"/>
                  </a:lnTo>
                  <a:lnTo>
                    <a:pt x="532" y="1934"/>
                  </a:lnTo>
                  <a:lnTo>
                    <a:pt x="512" y="1934"/>
                  </a:lnTo>
                  <a:lnTo>
                    <a:pt x="512" y="1934"/>
                  </a:lnTo>
                  <a:lnTo>
                    <a:pt x="502" y="1952"/>
                  </a:lnTo>
                  <a:lnTo>
                    <a:pt x="520" y="1952"/>
                  </a:lnTo>
                  <a:lnTo>
                    <a:pt x="520" y="1952"/>
                  </a:lnTo>
                  <a:lnTo>
                    <a:pt x="520" y="1952"/>
                  </a:lnTo>
                  <a:lnTo>
                    <a:pt x="520" y="1952"/>
                  </a:lnTo>
                  <a:close/>
                  <a:moveTo>
                    <a:pt x="588" y="1788"/>
                  </a:moveTo>
                  <a:lnTo>
                    <a:pt x="588" y="1788"/>
                  </a:lnTo>
                  <a:lnTo>
                    <a:pt x="588" y="1784"/>
                  </a:lnTo>
                  <a:lnTo>
                    <a:pt x="588" y="1784"/>
                  </a:lnTo>
                  <a:lnTo>
                    <a:pt x="584" y="1792"/>
                  </a:lnTo>
                  <a:lnTo>
                    <a:pt x="576" y="1812"/>
                  </a:lnTo>
                  <a:lnTo>
                    <a:pt x="576" y="1812"/>
                  </a:lnTo>
                  <a:lnTo>
                    <a:pt x="566" y="1830"/>
                  </a:lnTo>
                  <a:lnTo>
                    <a:pt x="562" y="1840"/>
                  </a:lnTo>
                  <a:lnTo>
                    <a:pt x="562" y="1840"/>
                  </a:lnTo>
                  <a:lnTo>
                    <a:pt x="576" y="1814"/>
                  </a:lnTo>
                  <a:lnTo>
                    <a:pt x="576" y="1814"/>
                  </a:lnTo>
                  <a:lnTo>
                    <a:pt x="588" y="1788"/>
                  </a:lnTo>
                  <a:lnTo>
                    <a:pt x="588" y="1788"/>
                  </a:lnTo>
                  <a:close/>
                  <a:moveTo>
                    <a:pt x="588" y="1788"/>
                  </a:moveTo>
                  <a:lnTo>
                    <a:pt x="588" y="1788"/>
                  </a:lnTo>
                  <a:lnTo>
                    <a:pt x="586" y="1798"/>
                  </a:lnTo>
                  <a:lnTo>
                    <a:pt x="580" y="1812"/>
                  </a:lnTo>
                  <a:lnTo>
                    <a:pt x="580" y="1812"/>
                  </a:lnTo>
                  <a:lnTo>
                    <a:pt x="574" y="1824"/>
                  </a:lnTo>
                  <a:lnTo>
                    <a:pt x="570" y="1832"/>
                  </a:lnTo>
                  <a:lnTo>
                    <a:pt x="564" y="1838"/>
                  </a:lnTo>
                  <a:lnTo>
                    <a:pt x="562" y="1840"/>
                  </a:lnTo>
                  <a:lnTo>
                    <a:pt x="562" y="1840"/>
                  </a:lnTo>
                  <a:lnTo>
                    <a:pt x="562" y="1840"/>
                  </a:lnTo>
                  <a:lnTo>
                    <a:pt x="562" y="1840"/>
                  </a:lnTo>
                  <a:lnTo>
                    <a:pt x="554" y="1854"/>
                  </a:lnTo>
                  <a:lnTo>
                    <a:pt x="552" y="1856"/>
                  </a:lnTo>
                  <a:lnTo>
                    <a:pt x="554" y="1858"/>
                  </a:lnTo>
                  <a:lnTo>
                    <a:pt x="554" y="1858"/>
                  </a:lnTo>
                  <a:lnTo>
                    <a:pt x="558" y="1854"/>
                  </a:lnTo>
                  <a:lnTo>
                    <a:pt x="566" y="1846"/>
                  </a:lnTo>
                  <a:lnTo>
                    <a:pt x="574" y="1830"/>
                  </a:lnTo>
                  <a:lnTo>
                    <a:pt x="582" y="1812"/>
                  </a:lnTo>
                  <a:lnTo>
                    <a:pt x="582" y="1812"/>
                  </a:lnTo>
                  <a:lnTo>
                    <a:pt x="590" y="1792"/>
                  </a:lnTo>
                  <a:lnTo>
                    <a:pt x="594" y="1778"/>
                  </a:lnTo>
                  <a:lnTo>
                    <a:pt x="596" y="1766"/>
                  </a:lnTo>
                  <a:lnTo>
                    <a:pt x="596" y="1766"/>
                  </a:lnTo>
                  <a:lnTo>
                    <a:pt x="588" y="1788"/>
                  </a:lnTo>
                  <a:lnTo>
                    <a:pt x="588" y="1788"/>
                  </a:lnTo>
                  <a:close/>
                  <a:moveTo>
                    <a:pt x="660" y="1630"/>
                  </a:moveTo>
                  <a:lnTo>
                    <a:pt x="660" y="1630"/>
                  </a:lnTo>
                  <a:lnTo>
                    <a:pt x="656" y="1632"/>
                  </a:lnTo>
                  <a:lnTo>
                    <a:pt x="654" y="1638"/>
                  </a:lnTo>
                  <a:lnTo>
                    <a:pt x="646" y="1656"/>
                  </a:lnTo>
                  <a:lnTo>
                    <a:pt x="646" y="1656"/>
                  </a:lnTo>
                  <a:lnTo>
                    <a:pt x="648" y="1650"/>
                  </a:lnTo>
                  <a:lnTo>
                    <a:pt x="650" y="1650"/>
                  </a:lnTo>
                  <a:lnTo>
                    <a:pt x="650" y="1650"/>
                  </a:lnTo>
                  <a:lnTo>
                    <a:pt x="652" y="1650"/>
                  </a:lnTo>
                  <a:lnTo>
                    <a:pt x="652" y="1656"/>
                  </a:lnTo>
                  <a:lnTo>
                    <a:pt x="650" y="1664"/>
                  </a:lnTo>
                  <a:lnTo>
                    <a:pt x="646" y="1676"/>
                  </a:lnTo>
                  <a:lnTo>
                    <a:pt x="646" y="1676"/>
                  </a:lnTo>
                  <a:lnTo>
                    <a:pt x="638" y="1688"/>
                  </a:lnTo>
                  <a:lnTo>
                    <a:pt x="632" y="1698"/>
                  </a:lnTo>
                  <a:lnTo>
                    <a:pt x="632" y="1698"/>
                  </a:lnTo>
                  <a:lnTo>
                    <a:pt x="630" y="1704"/>
                  </a:lnTo>
                  <a:lnTo>
                    <a:pt x="630" y="1704"/>
                  </a:lnTo>
                  <a:lnTo>
                    <a:pt x="628" y="1708"/>
                  </a:lnTo>
                  <a:lnTo>
                    <a:pt x="628" y="1708"/>
                  </a:lnTo>
                  <a:lnTo>
                    <a:pt x="628" y="1702"/>
                  </a:lnTo>
                  <a:lnTo>
                    <a:pt x="628" y="1702"/>
                  </a:lnTo>
                  <a:lnTo>
                    <a:pt x="626" y="1704"/>
                  </a:lnTo>
                  <a:lnTo>
                    <a:pt x="626" y="1704"/>
                  </a:lnTo>
                  <a:lnTo>
                    <a:pt x="626" y="1704"/>
                  </a:lnTo>
                  <a:lnTo>
                    <a:pt x="626" y="1704"/>
                  </a:lnTo>
                  <a:lnTo>
                    <a:pt x="616" y="1722"/>
                  </a:lnTo>
                  <a:lnTo>
                    <a:pt x="616" y="1722"/>
                  </a:lnTo>
                  <a:lnTo>
                    <a:pt x="628" y="1710"/>
                  </a:lnTo>
                  <a:lnTo>
                    <a:pt x="638" y="1696"/>
                  </a:lnTo>
                  <a:lnTo>
                    <a:pt x="648" y="1678"/>
                  </a:lnTo>
                  <a:lnTo>
                    <a:pt x="648" y="1678"/>
                  </a:lnTo>
                  <a:lnTo>
                    <a:pt x="656" y="1658"/>
                  </a:lnTo>
                  <a:lnTo>
                    <a:pt x="662" y="1644"/>
                  </a:lnTo>
                  <a:lnTo>
                    <a:pt x="662" y="1634"/>
                  </a:lnTo>
                  <a:lnTo>
                    <a:pt x="660" y="1632"/>
                  </a:lnTo>
                  <a:lnTo>
                    <a:pt x="660" y="1630"/>
                  </a:lnTo>
                  <a:lnTo>
                    <a:pt x="660" y="1630"/>
                  </a:lnTo>
                  <a:close/>
                  <a:moveTo>
                    <a:pt x="630" y="1694"/>
                  </a:moveTo>
                  <a:lnTo>
                    <a:pt x="630" y="1694"/>
                  </a:lnTo>
                  <a:lnTo>
                    <a:pt x="626" y="1704"/>
                  </a:lnTo>
                  <a:lnTo>
                    <a:pt x="626" y="1704"/>
                  </a:lnTo>
                  <a:lnTo>
                    <a:pt x="630" y="1696"/>
                  </a:lnTo>
                  <a:lnTo>
                    <a:pt x="630" y="1696"/>
                  </a:lnTo>
                  <a:lnTo>
                    <a:pt x="630" y="1694"/>
                  </a:lnTo>
                  <a:lnTo>
                    <a:pt x="630" y="1694"/>
                  </a:lnTo>
                  <a:close/>
                  <a:moveTo>
                    <a:pt x="646" y="1656"/>
                  </a:moveTo>
                  <a:lnTo>
                    <a:pt x="646" y="1656"/>
                  </a:lnTo>
                  <a:lnTo>
                    <a:pt x="642" y="1664"/>
                  </a:lnTo>
                  <a:lnTo>
                    <a:pt x="642" y="1664"/>
                  </a:lnTo>
                  <a:lnTo>
                    <a:pt x="642" y="1664"/>
                  </a:lnTo>
                  <a:lnTo>
                    <a:pt x="646" y="1656"/>
                  </a:lnTo>
                  <a:lnTo>
                    <a:pt x="646" y="1656"/>
                  </a:lnTo>
                  <a:close/>
                  <a:moveTo>
                    <a:pt x="636" y="1680"/>
                  </a:moveTo>
                  <a:lnTo>
                    <a:pt x="636" y="1680"/>
                  </a:lnTo>
                  <a:lnTo>
                    <a:pt x="634" y="1684"/>
                  </a:lnTo>
                  <a:lnTo>
                    <a:pt x="634" y="1684"/>
                  </a:lnTo>
                  <a:lnTo>
                    <a:pt x="634" y="1686"/>
                  </a:lnTo>
                  <a:lnTo>
                    <a:pt x="634" y="1686"/>
                  </a:lnTo>
                  <a:lnTo>
                    <a:pt x="636" y="1680"/>
                  </a:lnTo>
                  <a:lnTo>
                    <a:pt x="636" y="1680"/>
                  </a:lnTo>
                  <a:close/>
                  <a:moveTo>
                    <a:pt x="722" y="1494"/>
                  </a:moveTo>
                  <a:lnTo>
                    <a:pt x="722" y="1494"/>
                  </a:lnTo>
                  <a:lnTo>
                    <a:pt x="718" y="1496"/>
                  </a:lnTo>
                  <a:lnTo>
                    <a:pt x="714" y="1498"/>
                  </a:lnTo>
                  <a:lnTo>
                    <a:pt x="708" y="1506"/>
                  </a:lnTo>
                  <a:lnTo>
                    <a:pt x="700" y="1520"/>
                  </a:lnTo>
                  <a:lnTo>
                    <a:pt x="692" y="1540"/>
                  </a:lnTo>
                  <a:lnTo>
                    <a:pt x="692" y="1540"/>
                  </a:lnTo>
                  <a:lnTo>
                    <a:pt x="680" y="1574"/>
                  </a:lnTo>
                  <a:lnTo>
                    <a:pt x="678" y="1584"/>
                  </a:lnTo>
                  <a:lnTo>
                    <a:pt x="678" y="1586"/>
                  </a:lnTo>
                  <a:lnTo>
                    <a:pt x="680" y="1586"/>
                  </a:lnTo>
                  <a:lnTo>
                    <a:pt x="680" y="1586"/>
                  </a:lnTo>
                  <a:lnTo>
                    <a:pt x="686" y="1584"/>
                  </a:lnTo>
                  <a:lnTo>
                    <a:pt x="696" y="1574"/>
                  </a:lnTo>
                  <a:lnTo>
                    <a:pt x="708" y="1560"/>
                  </a:lnTo>
                  <a:lnTo>
                    <a:pt x="720" y="1542"/>
                  </a:lnTo>
                  <a:lnTo>
                    <a:pt x="720" y="1542"/>
                  </a:lnTo>
                  <a:lnTo>
                    <a:pt x="728" y="1522"/>
                  </a:lnTo>
                  <a:lnTo>
                    <a:pt x="730" y="1508"/>
                  </a:lnTo>
                  <a:lnTo>
                    <a:pt x="730" y="1502"/>
                  </a:lnTo>
                  <a:lnTo>
                    <a:pt x="728" y="1498"/>
                  </a:lnTo>
                  <a:lnTo>
                    <a:pt x="724" y="1496"/>
                  </a:lnTo>
                  <a:lnTo>
                    <a:pt x="722" y="1494"/>
                  </a:lnTo>
                  <a:lnTo>
                    <a:pt x="722" y="1494"/>
                  </a:lnTo>
                  <a:close/>
                  <a:moveTo>
                    <a:pt x="714" y="1540"/>
                  </a:moveTo>
                  <a:lnTo>
                    <a:pt x="714" y="1540"/>
                  </a:lnTo>
                  <a:lnTo>
                    <a:pt x="708" y="1552"/>
                  </a:lnTo>
                  <a:lnTo>
                    <a:pt x="700" y="1560"/>
                  </a:lnTo>
                  <a:lnTo>
                    <a:pt x="694" y="1566"/>
                  </a:lnTo>
                  <a:lnTo>
                    <a:pt x="688" y="1568"/>
                  </a:lnTo>
                  <a:lnTo>
                    <a:pt x="688" y="1568"/>
                  </a:lnTo>
                  <a:lnTo>
                    <a:pt x="686" y="1568"/>
                  </a:lnTo>
                  <a:lnTo>
                    <a:pt x="686" y="1566"/>
                  </a:lnTo>
                  <a:lnTo>
                    <a:pt x="686" y="1560"/>
                  </a:lnTo>
                  <a:lnTo>
                    <a:pt x="694" y="1540"/>
                  </a:lnTo>
                  <a:lnTo>
                    <a:pt x="694" y="1540"/>
                  </a:lnTo>
                  <a:lnTo>
                    <a:pt x="700" y="1528"/>
                  </a:lnTo>
                  <a:lnTo>
                    <a:pt x="704" y="1520"/>
                  </a:lnTo>
                  <a:lnTo>
                    <a:pt x="708" y="1514"/>
                  </a:lnTo>
                  <a:lnTo>
                    <a:pt x="714" y="1514"/>
                  </a:lnTo>
                  <a:lnTo>
                    <a:pt x="714" y="1514"/>
                  </a:lnTo>
                  <a:lnTo>
                    <a:pt x="718" y="1514"/>
                  </a:lnTo>
                  <a:lnTo>
                    <a:pt x="720" y="1520"/>
                  </a:lnTo>
                  <a:lnTo>
                    <a:pt x="720" y="1528"/>
                  </a:lnTo>
                  <a:lnTo>
                    <a:pt x="714" y="1540"/>
                  </a:lnTo>
                  <a:lnTo>
                    <a:pt x="714" y="1540"/>
                  </a:lnTo>
                  <a:close/>
                  <a:moveTo>
                    <a:pt x="782" y="1360"/>
                  </a:moveTo>
                  <a:lnTo>
                    <a:pt x="782" y="1360"/>
                  </a:lnTo>
                  <a:lnTo>
                    <a:pt x="778" y="1360"/>
                  </a:lnTo>
                  <a:lnTo>
                    <a:pt x="772" y="1362"/>
                  </a:lnTo>
                  <a:lnTo>
                    <a:pt x="764" y="1370"/>
                  </a:lnTo>
                  <a:lnTo>
                    <a:pt x="756" y="1384"/>
                  </a:lnTo>
                  <a:lnTo>
                    <a:pt x="746" y="1404"/>
                  </a:lnTo>
                  <a:lnTo>
                    <a:pt x="746" y="1404"/>
                  </a:lnTo>
                  <a:lnTo>
                    <a:pt x="740" y="1422"/>
                  </a:lnTo>
                  <a:lnTo>
                    <a:pt x="736" y="1438"/>
                  </a:lnTo>
                  <a:lnTo>
                    <a:pt x="736" y="1444"/>
                  </a:lnTo>
                  <a:lnTo>
                    <a:pt x="736" y="1448"/>
                  </a:lnTo>
                  <a:lnTo>
                    <a:pt x="738" y="1450"/>
                  </a:lnTo>
                  <a:lnTo>
                    <a:pt x="742" y="1450"/>
                  </a:lnTo>
                  <a:lnTo>
                    <a:pt x="742" y="1450"/>
                  </a:lnTo>
                  <a:lnTo>
                    <a:pt x="746" y="1450"/>
                  </a:lnTo>
                  <a:lnTo>
                    <a:pt x="752" y="1448"/>
                  </a:lnTo>
                  <a:lnTo>
                    <a:pt x="764" y="1438"/>
                  </a:lnTo>
                  <a:lnTo>
                    <a:pt x="778" y="1424"/>
                  </a:lnTo>
                  <a:lnTo>
                    <a:pt x="790" y="1406"/>
                  </a:lnTo>
                  <a:lnTo>
                    <a:pt x="790" y="1406"/>
                  </a:lnTo>
                  <a:lnTo>
                    <a:pt x="794" y="1396"/>
                  </a:lnTo>
                  <a:lnTo>
                    <a:pt x="796" y="1386"/>
                  </a:lnTo>
                  <a:lnTo>
                    <a:pt x="798" y="1378"/>
                  </a:lnTo>
                  <a:lnTo>
                    <a:pt x="798" y="1372"/>
                  </a:lnTo>
                  <a:lnTo>
                    <a:pt x="796" y="1366"/>
                  </a:lnTo>
                  <a:lnTo>
                    <a:pt x="792" y="1362"/>
                  </a:lnTo>
                  <a:lnTo>
                    <a:pt x="788" y="1360"/>
                  </a:lnTo>
                  <a:lnTo>
                    <a:pt x="782" y="1360"/>
                  </a:lnTo>
                  <a:lnTo>
                    <a:pt x="782" y="1360"/>
                  </a:lnTo>
                  <a:close/>
                  <a:moveTo>
                    <a:pt x="784" y="1406"/>
                  </a:moveTo>
                  <a:lnTo>
                    <a:pt x="784" y="1406"/>
                  </a:lnTo>
                  <a:lnTo>
                    <a:pt x="776" y="1416"/>
                  </a:lnTo>
                  <a:lnTo>
                    <a:pt x="768" y="1426"/>
                  </a:lnTo>
                  <a:lnTo>
                    <a:pt x="758" y="1430"/>
                  </a:lnTo>
                  <a:lnTo>
                    <a:pt x="750" y="1432"/>
                  </a:lnTo>
                  <a:lnTo>
                    <a:pt x="750" y="1432"/>
                  </a:lnTo>
                  <a:lnTo>
                    <a:pt x="748" y="1432"/>
                  </a:lnTo>
                  <a:lnTo>
                    <a:pt x="746" y="1430"/>
                  </a:lnTo>
                  <a:lnTo>
                    <a:pt x="744" y="1424"/>
                  </a:lnTo>
                  <a:lnTo>
                    <a:pt x="746" y="1416"/>
                  </a:lnTo>
                  <a:lnTo>
                    <a:pt x="750" y="1404"/>
                  </a:lnTo>
                  <a:lnTo>
                    <a:pt x="750" y="1404"/>
                  </a:lnTo>
                  <a:lnTo>
                    <a:pt x="754" y="1392"/>
                  </a:lnTo>
                  <a:lnTo>
                    <a:pt x="760" y="1384"/>
                  </a:lnTo>
                  <a:lnTo>
                    <a:pt x="768" y="1380"/>
                  </a:lnTo>
                  <a:lnTo>
                    <a:pt x="774" y="1378"/>
                  </a:lnTo>
                  <a:lnTo>
                    <a:pt x="774" y="1378"/>
                  </a:lnTo>
                  <a:lnTo>
                    <a:pt x="782" y="1380"/>
                  </a:lnTo>
                  <a:lnTo>
                    <a:pt x="784" y="1382"/>
                  </a:lnTo>
                  <a:lnTo>
                    <a:pt x="786" y="1384"/>
                  </a:lnTo>
                  <a:lnTo>
                    <a:pt x="788" y="1388"/>
                  </a:lnTo>
                  <a:lnTo>
                    <a:pt x="788" y="1392"/>
                  </a:lnTo>
                  <a:lnTo>
                    <a:pt x="784" y="1406"/>
                  </a:lnTo>
                  <a:lnTo>
                    <a:pt x="784" y="1406"/>
                  </a:lnTo>
                  <a:close/>
                  <a:moveTo>
                    <a:pt x="798" y="1272"/>
                  </a:moveTo>
                  <a:lnTo>
                    <a:pt x="798" y="1272"/>
                  </a:lnTo>
                  <a:lnTo>
                    <a:pt x="792" y="1300"/>
                  </a:lnTo>
                  <a:lnTo>
                    <a:pt x="792" y="1300"/>
                  </a:lnTo>
                  <a:lnTo>
                    <a:pt x="798" y="1298"/>
                  </a:lnTo>
                  <a:lnTo>
                    <a:pt x="798" y="1298"/>
                  </a:lnTo>
                  <a:lnTo>
                    <a:pt x="802" y="1274"/>
                  </a:lnTo>
                  <a:lnTo>
                    <a:pt x="802" y="1274"/>
                  </a:lnTo>
                  <a:lnTo>
                    <a:pt x="802" y="1274"/>
                  </a:lnTo>
                  <a:lnTo>
                    <a:pt x="854" y="1274"/>
                  </a:lnTo>
                  <a:lnTo>
                    <a:pt x="854" y="1274"/>
                  </a:lnTo>
                  <a:lnTo>
                    <a:pt x="862" y="1256"/>
                  </a:lnTo>
                  <a:lnTo>
                    <a:pt x="804" y="1256"/>
                  </a:lnTo>
                  <a:lnTo>
                    <a:pt x="804" y="1256"/>
                  </a:lnTo>
                  <a:lnTo>
                    <a:pt x="798" y="1272"/>
                  </a:lnTo>
                  <a:lnTo>
                    <a:pt x="798" y="1272"/>
                  </a:lnTo>
                  <a:close/>
                  <a:moveTo>
                    <a:pt x="898" y="1088"/>
                  </a:moveTo>
                  <a:lnTo>
                    <a:pt x="898" y="1088"/>
                  </a:lnTo>
                  <a:lnTo>
                    <a:pt x="888" y="1088"/>
                  </a:lnTo>
                  <a:lnTo>
                    <a:pt x="882" y="1090"/>
                  </a:lnTo>
                  <a:lnTo>
                    <a:pt x="874" y="1094"/>
                  </a:lnTo>
                  <a:lnTo>
                    <a:pt x="868" y="1100"/>
                  </a:lnTo>
                  <a:lnTo>
                    <a:pt x="862" y="1106"/>
                  </a:lnTo>
                  <a:lnTo>
                    <a:pt x="858" y="1114"/>
                  </a:lnTo>
                  <a:lnTo>
                    <a:pt x="850" y="1132"/>
                  </a:lnTo>
                  <a:lnTo>
                    <a:pt x="850" y="1132"/>
                  </a:lnTo>
                  <a:lnTo>
                    <a:pt x="844" y="1152"/>
                  </a:lnTo>
                  <a:lnTo>
                    <a:pt x="842" y="1160"/>
                  </a:lnTo>
                  <a:lnTo>
                    <a:pt x="844" y="1166"/>
                  </a:lnTo>
                  <a:lnTo>
                    <a:pt x="846" y="1172"/>
                  </a:lnTo>
                  <a:lnTo>
                    <a:pt x="848" y="1176"/>
                  </a:lnTo>
                  <a:lnTo>
                    <a:pt x="854" y="1178"/>
                  </a:lnTo>
                  <a:lnTo>
                    <a:pt x="860" y="1180"/>
                  </a:lnTo>
                  <a:lnTo>
                    <a:pt x="860" y="1180"/>
                  </a:lnTo>
                  <a:lnTo>
                    <a:pt x="868" y="1178"/>
                  </a:lnTo>
                  <a:lnTo>
                    <a:pt x="878" y="1176"/>
                  </a:lnTo>
                  <a:lnTo>
                    <a:pt x="886" y="1172"/>
                  </a:lnTo>
                  <a:lnTo>
                    <a:pt x="894" y="1166"/>
                  </a:lnTo>
                  <a:lnTo>
                    <a:pt x="902" y="1160"/>
                  </a:lnTo>
                  <a:lnTo>
                    <a:pt x="910" y="1152"/>
                  </a:lnTo>
                  <a:lnTo>
                    <a:pt x="916" y="1144"/>
                  </a:lnTo>
                  <a:lnTo>
                    <a:pt x="922" y="1134"/>
                  </a:lnTo>
                  <a:lnTo>
                    <a:pt x="922" y="1134"/>
                  </a:lnTo>
                  <a:lnTo>
                    <a:pt x="926" y="1124"/>
                  </a:lnTo>
                  <a:lnTo>
                    <a:pt x="928" y="1114"/>
                  </a:lnTo>
                  <a:lnTo>
                    <a:pt x="926" y="1106"/>
                  </a:lnTo>
                  <a:lnTo>
                    <a:pt x="924" y="1100"/>
                  </a:lnTo>
                  <a:lnTo>
                    <a:pt x="920" y="1094"/>
                  </a:lnTo>
                  <a:lnTo>
                    <a:pt x="914" y="1090"/>
                  </a:lnTo>
                  <a:lnTo>
                    <a:pt x="906" y="1088"/>
                  </a:lnTo>
                  <a:lnTo>
                    <a:pt x="898" y="1088"/>
                  </a:lnTo>
                  <a:lnTo>
                    <a:pt x="898" y="1088"/>
                  </a:lnTo>
                  <a:close/>
                  <a:moveTo>
                    <a:pt x="912" y="1134"/>
                  </a:moveTo>
                  <a:lnTo>
                    <a:pt x="912" y="1134"/>
                  </a:lnTo>
                  <a:lnTo>
                    <a:pt x="904" y="1144"/>
                  </a:lnTo>
                  <a:lnTo>
                    <a:pt x="894" y="1154"/>
                  </a:lnTo>
                  <a:lnTo>
                    <a:pt x="882" y="1158"/>
                  </a:lnTo>
                  <a:lnTo>
                    <a:pt x="868" y="1160"/>
                  </a:lnTo>
                  <a:lnTo>
                    <a:pt x="868" y="1160"/>
                  </a:lnTo>
                  <a:lnTo>
                    <a:pt x="862" y="1160"/>
                  </a:lnTo>
                  <a:lnTo>
                    <a:pt x="858" y="1158"/>
                  </a:lnTo>
                  <a:lnTo>
                    <a:pt x="854" y="1156"/>
                  </a:lnTo>
                  <a:lnTo>
                    <a:pt x="852" y="1154"/>
                  </a:lnTo>
                  <a:lnTo>
                    <a:pt x="852" y="1144"/>
                  </a:lnTo>
                  <a:lnTo>
                    <a:pt x="854" y="1134"/>
                  </a:lnTo>
                  <a:lnTo>
                    <a:pt x="854" y="1134"/>
                  </a:lnTo>
                  <a:lnTo>
                    <a:pt x="860" y="1120"/>
                  </a:lnTo>
                  <a:lnTo>
                    <a:pt x="868" y="1112"/>
                  </a:lnTo>
                  <a:lnTo>
                    <a:pt x="878" y="1108"/>
                  </a:lnTo>
                  <a:lnTo>
                    <a:pt x="890" y="1106"/>
                  </a:lnTo>
                  <a:lnTo>
                    <a:pt x="890" y="1106"/>
                  </a:lnTo>
                  <a:lnTo>
                    <a:pt x="902" y="1108"/>
                  </a:lnTo>
                  <a:lnTo>
                    <a:pt x="908" y="1110"/>
                  </a:lnTo>
                  <a:lnTo>
                    <a:pt x="912" y="1112"/>
                  </a:lnTo>
                  <a:lnTo>
                    <a:pt x="914" y="1116"/>
                  </a:lnTo>
                  <a:lnTo>
                    <a:pt x="916" y="1122"/>
                  </a:lnTo>
                  <a:lnTo>
                    <a:pt x="914" y="1126"/>
                  </a:lnTo>
                  <a:lnTo>
                    <a:pt x="912" y="1134"/>
                  </a:lnTo>
                  <a:lnTo>
                    <a:pt x="912" y="1134"/>
                  </a:lnTo>
                  <a:close/>
                  <a:moveTo>
                    <a:pt x="950" y="952"/>
                  </a:moveTo>
                  <a:lnTo>
                    <a:pt x="950" y="952"/>
                  </a:lnTo>
                  <a:lnTo>
                    <a:pt x="940" y="952"/>
                  </a:lnTo>
                  <a:lnTo>
                    <a:pt x="930" y="954"/>
                  </a:lnTo>
                  <a:lnTo>
                    <a:pt x="922" y="958"/>
                  </a:lnTo>
                  <a:lnTo>
                    <a:pt x="916" y="964"/>
                  </a:lnTo>
                  <a:lnTo>
                    <a:pt x="910" y="970"/>
                  </a:lnTo>
                  <a:lnTo>
                    <a:pt x="904" y="978"/>
                  </a:lnTo>
                  <a:lnTo>
                    <a:pt x="896" y="996"/>
                  </a:lnTo>
                  <a:lnTo>
                    <a:pt x="896" y="996"/>
                  </a:lnTo>
                  <a:lnTo>
                    <a:pt x="892" y="1016"/>
                  </a:lnTo>
                  <a:lnTo>
                    <a:pt x="892" y="1024"/>
                  </a:lnTo>
                  <a:lnTo>
                    <a:pt x="892" y="1030"/>
                  </a:lnTo>
                  <a:lnTo>
                    <a:pt x="896" y="1036"/>
                  </a:lnTo>
                  <a:lnTo>
                    <a:pt x="900" y="1040"/>
                  </a:lnTo>
                  <a:lnTo>
                    <a:pt x="906" y="1042"/>
                  </a:lnTo>
                  <a:lnTo>
                    <a:pt x="916" y="1044"/>
                  </a:lnTo>
                  <a:lnTo>
                    <a:pt x="916" y="1044"/>
                  </a:lnTo>
                  <a:lnTo>
                    <a:pt x="926" y="1042"/>
                  </a:lnTo>
                  <a:lnTo>
                    <a:pt x="936" y="1040"/>
                  </a:lnTo>
                  <a:lnTo>
                    <a:pt x="946" y="1036"/>
                  </a:lnTo>
                  <a:lnTo>
                    <a:pt x="954" y="1030"/>
                  </a:lnTo>
                  <a:lnTo>
                    <a:pt x="964" y="1024"/>
                  </a:lnTo>
                  <a:lnTo>
                    <a:pt x="972" y="1016"/>
                  </a:lnTo>
                  <a:lnTo>
                    <a:pt x="978" y="1008"/>
                  </a:lnTo>
                  <a:lnTo>
                    <a:pt x="984" y="998"/>
                  </a:lnTo>
                  <a:lnTo>
                    <a:pt x="984" y="998"/>
                  </a:lnTo>
                  <a:lnTo>
                    <a:pt x="986" y="988"/>
                  </a:lnTo>
                  <a:lnTo>
                    <a:pt x="988" y="978"/>
                  </a:lnTo>
                  <a:lnTo>
                    <a:pt x="986" y="970"/>
                  </a:lnTo>
                  <a:lnTo>
                    <a:pt x="982" y="964"/>
                  </a:lnTo>
                  <a:lnTo>
                    <a:pt x="976" y="958"/>
                  </a:lnTo>
                  <a:lnTo>
                    <a:pt x="968" y="954"/>
                  </a:lnTo>
                  <a:lnTo>
                    <a:pt x="960" y="952"/>
                  </a:lnTo>
                  <a:lnTo>
                    <a:pt x="950" y="952"/>
                  </a:lnTo>
                  <a:lnTo>
                    <a:pt x="950" y="952"/>
                  </a:lnTo>
                  <a:close/>
                  <a:moveTo>
                    <a:pt x="972" y="998"/>
                  </a:moveTo>
                  <a:lnTo>
                    <a:pt x="972" y="998"/>
                  </a:lnTo>
                  <a:lnTo>
                    <a:pt x="968" y="1004"/>
                  </a:lnTo>
                  <a:lnTo>
                    <a:pt x="964" y="1008"/>
                  </a:lnTo>
                  <a:lnTo>
                    <a:pt x="952" y="1018"/>
                  </a:lnTo>
                  <a:lnTo>
                    <a:pt x="938" y="1024"/>
                  </a:lnTo>
                  <a:lnTo>
                    <a:pt x="922" y="1026"/>
                  </a:lnTo>
                  <a:lnTo>
                    <a:pt x="922" y="1026"/>
                  </a:lnTo>
                  <a:lnTo>
                    <a:pt x="916" y="1024"/>
                  </a:lnTo>
                  <a:lnTo>
                    <a:pt x="910" y="1024"/>
                  </a:lnTo>
                  <a:lnTo>
                    <a:pt x="906" y="1020"/>
                  </a:lnTo>
                  <a:lnTo>
                    <a:pt x="902" y="1018"/>
                  </a:lnTo>
                  <a:lnTo>
                    <a:pt x="900" y="1014"/>
                  </a:lnTo>
                  <a:lnTo>
                    <a:pt x="900" y="1008"/>
                  </a:lnTo>
                  <a:lnTo>
                    <a:pt x="902" y="998"/>
                  </a:lnTo>
                  <a:lnTo>
                    <a:pt x="902" y="998"/>
                  </a:lnTo>
                  <a:lnTo>
                    <a:pt x="908" y="986"/>
                  </a:lnTo>
                  <a:lnTo>
                    <a:pt x="918" y="976"/>
                  </a:lnTo>
                  <a:lnTo>
                    <a:pt x="928" y="972"/>
                  </a:lnTo>
                  <a:lnTo>
                    <a:pt x="942" y="970"/>
                  </a:lnTo>
                  <a:lnTo>
                    <a:pt x="942" y="970"/>
                  </a:lnTo>
                  <a:lnTo>
                    <a:pt x="958" y="972"/>
                  </a:lnTo>
                  <a:lnTo>
                    <a:pt x="964" y="974"/>
                  </a:lnTo>
                  <a:lnTo>
                    <a:pt x="968" y="976"/>
                  </a:lnTo>
                  <a:lnTo>
                    <a:pt x="972" y="980"/>
                  </a:lnTo>
                  <a:lnTo>
                    <a:pt x="974" y="986"/>
                  </a:lnTo>
                  <a:lnTo>
                    <a:pt x="974" y="992"/>
                  </a:lnTo>
                  <a:lnTo>
                    <a:pt x="972" y="998"/>
                  </a:lnTo>
                  <a:lnTo>
                    <a:pt x="972" y="998"/>
                  </a:lnTo>
                  <a:close/>
                  <a:moveTo>
                    <a:pt x="996" y="816"/>
                  </a:moveTo>
                  <a:lnTo>
                    <a:pt x="996" y="816"/>
                  </a:lnTo>
                  <a:lnTo>
                    <a:pt x="986" y="816"/>
                  </a:lnTo>
                  <a:lnTo>
                    <a:pt x="976" y="818"/>
                  </a:lnTo>
                  <a:lnTo>
                    <a:pt x="968" y="822"/>
                  </a:lnTo>
                  <a:lnTo>
                    <a:pt x="960" y="828"/>
                  </a:lnTo>
                  <a:lnTo>
                    <a:pt x="952" y="834"/>
                  </a:lnTo>
                  <a:lnTo>
                    <a:pt x="948" y="842"/>
                  </a:lnTo>
                  <a:lnTo>
                    <a:pt x="942" y="850"/>
                  </a:lnTo>
                  <a:lnTo>
                    <a:pt x="940" y="860"/>
                  </a:lnTo>
                  <a:lnTo>
                    <a:pt x="940" y="860"/>
                  </a:lnTo>
                  <a:lnTo>
                    <a:pt x="936" y="870"/>
                  </a:lnTo>
                  <a:lnTo>
                    <a:pt x="936" y="880"/>
                  </a:lnTo>
                  <a:lnTo>
                    <a:pt x="936" y="888"/>
                  </a:lnTo>
                  <a:lnTo>
                    <a:pt x="938" y="894"/>
                  </a:lnTo>
                  <a:lnTo>
                    <a:pt x="942" y="900"/>
                  </a:lnTo>
                  <a:lnTo>
                    <a:pt x="948" y="904"/>
                  </a:lnTo>
                  <a:lnTo>
                    <a:pt x="956" y="906"/>
                  </a:lnTo>
                  <a:lnTo>
                    <a:pt x="966" y="908"/>
                  </a:lnTo>
                  <a:lnTo>
                    <a:pt x="966" y="908"/>
                  </a:lnTo>
                  <a:lnTo>
                    <a:pt x="978" y="906"/>
                  </a:lnTo>
                  <a:lnTo>
                    <a:pt x="988" y="904"/>
                  </a:lnTo>
                  <a:lnTo>
                    <a:pt x="1000" y="900"/>
                  </a:lnTo>
                  <a:lnTo>
                    <a:pt x="1010" y="896"/>
                  </a:lnTo>
                  <a:lnTo>
                    <a:pt x="1020" y="888"/>
                  </a:lnTo>
                  <a:lnTo>
                    <a:pt x="1028" y="880"/>
                  </a:lnTo>
                  <a:lnTo>
                    <a:pt x="1034" y="872"/>
                  </a:lnTo>
                  <a:lnTo>
                    <a:pt x="1040" y="862"/>
                  </a:lnTo>
                  <a:lnTo>
                    <a:pt x="1040" y="862"/>
                  </a:lnTo>
                  <a:lnTo>
                    <a:pt x="1042" y="852"/>
                  </a:lnTo>
                  <a:lnTo>
                    <a:pt x="1042" y="842"/>
                  </a:lnTo>
                  <a:lnTo>
                    <a:pt x="1040" y="834"/>
                  </a:lnTo>
                  <a:lnTo>
                    <a:pt x="1034" y="828"/>
                  </a:lnTo>
                  <a:lnTo>
                    <a:pt x="1028" y="822"/>
                  </a:lnTo>
                  <a:lnTo>
                    <a:pt x="1020" y="818"/>
                  </a:lnTo>
                  <a:lnTo>
                    <a:pt x="1008" y="816"/>
                  </a:lnTo>
                  <a:lnTo>
                    <a:pt x="996" y="816"/>
                  </a:lnTo>
                  <a:lnTo>
                    <a:pt x="996" y="816"/>
                  </a:lnTo>
                  <a:close/>
                  <a:moveTo>
                    <a:pt x="1026" y="862"/>
                  </a:moveTo>
                  <a:lnTo>
                    <a:pt x="1026" y="862"/>
                  </a:lnTo>
                  <a:lnTo>
                    <a:pt x="1024" y="868"/>
                  </a:lnTo>
                  <a:lnTo>
                    <a:pt x="1018" y="874"/>
                  </a:lnTo>
                  <a:lnTo>
                    <a:pt x="1006" y="882"/>
                  </a:lnTo>
                  <a:lnTo>
                    <a:pt x="990" y="888"/>
                  </a:lnTo>
                  <a:lnTo>
                    <a:pt x="974" y="890"/>
                  </a:lnTo>
                  <a:lnTo>
                    <a:pt x="974" y="890"/>
                  </a:lnTo>
                  <a:lnTo>
                    <a:pt x="964" y="888"/>
                  </a:lnTo>
                  <a:lnTo>
                    <a:pt x="958" y="888"/>
                  </a:lnTo>
                  <a:lnTo>
                    <a:pt x="952" y="884"/>
                  </a:lnTo>
                  <a:lnTo>
                    <a:pt x="948" y="882"/>
                  </a:lnTo>
                  <a:lnTo>
                    <a:pt x="946" y="878"/>
                  </a:lnTo>
                  <a:lnTo>
                    <a:pt x="946" y="872"/>
                  </a:lnTo>
                  <a:lnTo>
                    <a:pt x="946" y="862"/>
                  </a:lnTo>
                  <a:lnTo>
                    <a:pt x="946" y="862"/>
                  </a:lnTo>
                  <a:lnTo>
                    <a:pt x="952" y="850"/>
                  </a:lnTo>
                  <a:lnTo>
                    <a:pt x="958" y="844"/>
                  </a:lnTo>
                  <a:lnTo>
                    <a:pt x="962" y="840"/>
                  </a:lnTo>
                  <a:lnTo>
                    <a:pt x="976" y="836"/>
                  </a:lnTo>
                  <a:lnTo>
                    <a:pt x="992" y="834"/>
                  </a:lnTo>
                  <a:lnTo>
                    <a:pt x="992" y="834"/>
                  </a:lnTo>
                  <a:lnTo>
                    <a:pt x="1008" y="836"/>
                  </a:lnTo>
                  <a:lnTo>
                    <a:pt x="1016" y="838"/>
                  </a:lnTo>
                  <a:lnTo>
                    <a:pt x="1020" y="840"/>
                  </a:lnTo>
                  <a:lnTo>
                    <a:pt x="1024" y="844"/>
                  </a:lnTo>
                  <a:lnTo>
                    <a:pt x="1028" y="850"/>
                  </a:lnTo>
                  <a:lnTo>
                    <a:pt x="1028" y="856"/>
                  </a:lnTo>
                  <a:lnTo>
                    <a:pt x="1026" y="862"/>
                  </a:lnTo>
                  <a:lnTo>
                    <a:pt x="1026" y="862"/>
                  </a:lnTo>
                  <a:close/>
                  <a:moveTo>
                    <a:pt x="1038" y="680"/>
                  </a:moveTo>
                  <a:lnTo>
                    <a:pt x="1038" y="680"/>
                  </a:lnTo>
                  <a:lnTo>
                    <a:pt x="1026" y="680"/>
                  </a:lnTo>
                  <a:lnTo>
                    <a:pt x="1016" y="682"/>
                  </a:lnTo>
                  <a:lnTo>
                    <a:pt x="1006" y="686"/>
                  </a:lnTo>
                  <a:lnTo>
                    <a:pt x="998" y="692"/>
                  </a:lnTo>
                  <a:lnTo>
                    <a:pt x="992" y="698"/>
                  </a:lnTo>
                  <a:lnTo>
                    <a:pt x="986" y="706"/>
                  </a:lnTo>
                  <a:lnTo>
                    <a:pt x="982" y="714"/>
                  </a:lnTo>
                  <a:lnTo>
                    <a:pt x="978" y="724"/>
                  </a:lnTo>
                  <a:lnTo>
                    <a:pt x="978" y="724"/>
                  </a:lnTo>
                  <a:lnTo>
                    <a:pt x="976" y="734"/>
                  </a:lnTo>
                  <a:lnTo>
                    <a:pt x="976" y="744"/>
                  </a:lnTo>
                  <a:lnTo>
                    <a:pt x="976" y="752"/>
                  </a:lnTo>
                  <a:lnTo>
                    <a:pt x="980" y="758"/>
                  </a:lnTo>
                  <a:lnTo>
                    <a:pt x="984" y="764"/>
                  </a:lnTo>
                  <a:lnTo>
                    <a:pt x="992" y="768"/>
                  </a:lnTo>
                  <a:lnTo>
                    <a:pt x="1000" y="770"/>
                  </a:lnTo>
                  <a:lnTo>
                    <a:pt x="1012" y="772"/>
                  </a:lnTo>
                  <a:lnTo>
                    <a:pt x="1012" y="772"/>
                  </a:lnTo>
                  <a:lnTo>
                    <a:pt x="1026" y="770"/>
                  </a:lnTo>
                  <a:lnTo>
                    <a:pt x="1038" y="768"/>
                  </a:lnTo>
                  <a:lnTo>
                    <a:pt x="1050" y="764"/>
                  </a:lnTo>
                  <a:lnTo>
                    <a:pt x="1060" y="760"/>
                  </a:lnTo>
                  <a:lnTo>
                    <a:pt x="1070" y="752"/>
                  </a:lnTo>
                  <a:lnTo>
                    <a:pt x="1078" y="746"/>
                  </a:lnTo>
                  <a:lnTo>
                    <a:pt x="1086" y="736"/>
                  </a:lnTo>
                  <a:lnTo>
                    <a:pt x="1090" y="726"/>
                  </a:lnTo>
                  <a:lnTo>
                    <a:pt x="1090" y="726"/>
                  </a:lnTo>
                  <a:lnTo>
                    <a:pt x="1092" y="716"/>
                  </a:lnTo>
                  <a:lnTo>
                    <a:pt x="1092" y="708"/>
                  </a:lnTo>
                  <a:lnTo>
                    <a:pt x="1088" y="698"/>
                  </a:lnTo>
                  <a:lnTo>
                    <a:pt x="1082" y="692"/>
                  </a:lnTo>
                  <a:lnTo>
                    <a:pt x="1074" y="686"/>
                  </a:lnTo>
                  <a:lnTo>
                    <a:pt x="1064" y="684"/>
                  </a:lnTo>
                  <a:lnTo>
                    <a:pt x="1052" y="680"/>
                  </a:lnTo>
                  <a:lnTo>
                    <a:pt x="1038" y="680"/>
                  </a:lnTo>
                  <a:lnTo>
                    <a:pt x="1038" y="680"/>
                  </a:lnTo>
                  <a:close/>
                  <a:moveTo>
                    <a:pt x="1076" y="726"/>
                  </a:moveTo>
                  <a:lnTo>
                    <a:pt x="1076" y="726"/>
                  </a:lnTo>
                  <a:lnTo>
                    <a:pt x="1072" y="732"/>
                  </a:lnTo>
                  <a:lnTo>
                    <a:pt x="1068" y="738"/>
                  </a:lnTo>
                  <a:lnTo>
                    <a:pt x="1062" y="742"/>
                  </a:lnTo>
                  <a:lnTo>
                    <a:pt x="1056" y="746"/>
                  </a:lnTo>
                  <a:lnTo>
                    <a:pt x="1038" y="752"/>
                  </a:lnTo>
                  <a:lnTo>
                    <a:pt x="1018" y="754"/>
                  </a:lnTo>
                  <a:lnTo>
                    <a:pt x="1018" y="754"/>
                  </a:lnTo>
                  <a:lnTo>
                    <a:pt x="1008" y="752"/>
                  </a:lnTo>
                  <a:lnTo>
                    <a:pt x="1000" y="752"/>
                  </a:lnTo>
                  <a:lnTo>
                    <a:pt x="994" y="748"/>
                  </a:lnTo>
                  <a:lnTo>
                    <a:pt x="990" y="746"/>
                  </a:lnTo>
                  <a:lnTo>
                    <a:pt x="988" y="742"/>
                  </a:lnTo>
                  <a:lnTo>
                    <a:pt x="986" y="736"/>
                  </a:lnTo>
                  <a:lnTo>
                    <a:pt x="986" y="732"/>
                  </a:lnTo>
                  <a:lnTo>
                    <a:pt x="986" y="726"/>
                  </a:lnTo>
                  <a:lnTo>
                    <a:pt x="986" y="726"/>
                  </a:lnTo>
                  <a:lnTo>
                    <a:pt x="990" y="720"/>
                  </a:lnTo>
                  <a:lnTo>
                    <a:pt x="992" y="714"/>
                  </a:lnTo>
                  <a:lnTo>
                    <a:pt x="998" y="708"/>
                  </a:lnTo>
                  <a:lnTo>
                    <a:pt x="1002" y="704"/>
                  </a:lnTo>
                  <a:lnTo>
                    <a:pt x="1016" y="700"/>
                  </a:lnTo>
                  <a:lnTo>
                    <a:pt x="1034" y="698"/>
                  </a:lnTo>
                  <a:lnTo>
                    <a:pt x="1034" y="698"/>
                  </a:lnTo>
                  <a:lnTo>
                    <a:pt x="1054" y="700"/>
                  </a:lnTo>
                  <a:lnTo>
                    <a:pt x="1062" y="702"/>
                  </a:lnTo>
                  <a:lnTo>
                    <a:pt x="1068" y="706"/>
                  </a:lnTo>
                  <a:lnTo>
                    <a:pt x="1072" y="708"/>
                  </a:lnTo>
                  <a:lnTo>
                    <a:pt x="1076" y="714"/>
                  </a:lnTo>
                  <a:lnTo>
                    <a:pt x="1076" y="720"/>
                  </a:lnTo>
                  <a:lnTo>
                    <a:pt x="1076" y="726"/>
                  </a:lnTo>
                  <a:lnTo>
                    <a:pt x="1076" y="726"/>
                  </a:lnTo>
                  <a:close/>
                  <a:moveTo>
                    <a:pt x="1076" y="544"/>
                  </a:moveTo>
                  <a:lnTo>
                    <a:pt x="1076" y="544"/>
                  </a:lnTo>
                  <a:lnTo>
                    <a:pt x="1062" y="544"/>
                  </a:lnTo>
                  <a:lnTo>
                    <a:pt x="1050" y="548"/>
                  </a:lnTo>
                  <a:lnTo>
                    <a:pt x="1040" y="550"/>
                  </a:lnTo>
                  <a:lnTo>
                    <a:pt x="1032" y="556"/>
                  </a:lnTo>
                  <a:lnTo>
                    <a:pt x="1024" y="562"/>
                  </a:lnTo>
                  <a:lnTo>
                    <a:pt x="1020" y="570"/>
                  </a:lnTo>
                  <a:lnTo>
                    <a:pt x="1014" y="578"/>
                  </a:lnTo>
                  <a:lnTo>
                    <a:pt x="1012" y="588"/>
                  </a:lnTo>
                  <a:lnTo>
                    <a:pt x="1012" y="588"/>
                  </a:lnTo>
                  <a:lnTo>
                    <a:pt x="1010" y="598"/>
                  </a:lnTo>
                  <a:lnTo>
                    <a:pt x="1010" y="608"/>
                  </a:lnTo>
                  <a:lnTo>
                    <a:pt x="1012" y="616"/>
                  </a:lnTo>
                  <a:lnTo>
                    <a:pt x="1016" y="622"/>
                  </a:lnTo>
                  <a:lnTo>
                    <a:pt x="1022" y="628"/>
                  </a:lnTo>
                  <a:lnTo>
                    <a:pt x="1030" y="632"/>
                  </a:lnTo>
                  <a:lnTo>
                    <a:pt x="1040" y="636"/>
                  </a:lnTo>
                  <a:lnTo>
                    <a:pt x="1054" y="636"/>
                  </a:lnTo>
                  <a:lnTo>
                    <a:pt x="1054" y="636"/>
                  </a:lnTo>
                  <a:lnTo>
                    <a:pt x="1066" y="636"/>
                  </a:lnTo>
                  <a:lnTo>
                    <a:pt x="1080" y="632"/>
                  </a:lnTo>
                  <a:lnTo>
                    <a:pt x="1092" y="628"/>
                  </a:lnTo>
                  <a:lnTo>
                    <a:pt x="1104" y="624"/>
                  </a:lnTo>
                  <a:lnTo>
                    <a:pt x="1114" y="616"/>
                  </a:lnTo>
                  <a:lnTo>
                    <a:pt x="1124" y="610"/>
                  </a:lnTo>
                  <a:lnTo>
                    <a:pt x="1130" y="600"/>
                  </a:lnTo>
                  <a:lnTo>
                    <a:pt x="1134" y="592"/>
                  </a:lnTo>
                  <a:lnTo>
                    <a:pt x="1134" y="592"/>
                  </a:lnTo>
                  <a:lnTo>
                    <a:pt x="1136" y="580"/>
                  </a:lnTo>
                  <a:lnTo>
                    <a:pt x="1134" y="572"/>
                  </a:lnTo>
                  <a:lnTo>
                    <a:pt x="1130" y="564"/>
                  </a:lnTo>
                  <a:lnTo>
                    <a:pt x="1122" y="556"/>
                  </a:lnTo>
                  <a:lnTo>
                    <a:pt x="1114" y="552"/>
                  </a:lnTo>
                  <a:lnTo>
                    <a:pt x="1102" y="548"/>
                  </a:lnTo>
                  <a:lnTo>
                    <a:pt x="1090" y="544"/>
                  </a:lnTo>
                  <a:lnTo>
                    <a:pt x="1076" y="544"/>
                  </a:lnTo>
                  <a:lnTo>
                    <a:pt x="1076" y="544"/>
                  </a:lnTo>
                  <a:close/>
                  <a:moveTo>
                    <a:pt x="1118" y="590"/>
                  </a:moveTo>
                  <a:lnTo>
                    <a:pt x="1118" y="590"/>
                  </a:lnTo>
                  <a:lnTo>
                    <a:pt x="1116" y="596"/>
                  </a:lnTo>
                  <a:lnTo>
                    <a:pt x="1112" y="602"/>
                  </a:lnTo>
                  <a:lnTo>
                    <a:pt x="1106" y="606"/>
                  </a:lnTo>
                  <a:lnTo>
                    <a:pt x="1098" y="610"/>
                  </a:lnTo>
                  <a:lnTo>
                    <a:pt x="1080" y="616"/>
                  </a:lnTo>
                  <a:lnTo>
                    <a:pt x="1058" y="618"/>
                  </a:lnTo>
                  <a:lnTo>
                    <a:pt x="1058" y="618"/>
                  </a:lnTo>
                  <a:lnTo>
                    <a:pt x="1048" y="618"/>
                  </a:lnTo>
                  <a:lnTo>
                    <a:pt x="1038" y="616"/>
                  </a:lnTo>
                  <a:lnTo>
                    <a:pt x="1032" y="614"/>
                  </a:lnTo>
                  <a:lnTo>
                    <a:pt x="1026" y="610"/>
                  </a:lnTo>
                  <a:lnTo>
                    <a:pt x="1024" y="606"/>
                  </a:lnTo>
                  <a:lnTo>
                    <a:pt x="1022" y="602"/>
                  </a:lnTo>
                  <a:lnTo>
                    <a:pt x="1020" y="596"/>
                  </a:lnTo>
                  <a:lnTo>
                    <a:pt x="1022" y="590"/>
                  </a:lnTo>
                  <a:lnTo>
                    <a:pt x="1022" y="590"/>
                  </a:lnTo>
                  <a:lnTo>
                    <a:pt x="1024" y="584"/>
                  </a:lnTo>
                  <a:lnTo>
                    <a:pt x="1028" y="578"/>
                  </a:lnTo>
                  <a:lnTo>
                    <a:pt x="1032" y="572"/>
                  </a:lnTo>
                  <a:lnTo>
                    <a:pt x="1038" y="570"/>
                  </a:lnTo>
                  <a:lnTo>
                    <a:pt x="1052" y="564"/>
                  </a:lnTo>
                  <a:lnTo>
                    <a:pt x="1072" y="562"/>
                  </a:lnTo>
                  <a:lnTo>
                    <a:pt x="1072" y="562"/>
                  </a:lnTo>
                  <a:lnTo>
                    <a:pt x="1092" y="564"/>
                  </a:lnTo>
                  <a:lnTo>
                    <a:pt x="1100" y="566"/>
                  </a:lnTo>
                  <a:lnTo>
                    <a:pt x="1108" y="570"/>
                  </a:lnTo>
                  <a:lnTo>
                    <a:pt x="1114" y="574"/>
                  </a:lnTo>
                  <a:lnTo>
                    <a:pt x="1118" y="578"/>
                  </a:lnTo>
                  <a:lnTo>
                    <a:pt x="1120" y="584"/>
                  </a:lnTo>
                  <a:lnTo>
                    <a:pt x="1118" y="590"/>
                  </a:lnTo>
                  <a:lnTo>
                    <a:pt x="1118" y="590"/>
                  </a:lnTo>
                  <a:close/>
                  <a:moveTo>
                    <a:pt x="1104" y="408"/>
                  </a:moveTo>
                  <a:lnTo>
                    <a:pt x="1104" y="408"/>
                  </a:lnTo>
                  <a:lnTo>
                    <a:pt x="1090" y="410"/>
                  </a:lnTo>
                  <a:lnTo>
                    <a:pt x="1078" y="412"/>
                  </a:lnTo>
                  <a:lnTo>
                    <a:pt x="1068" y="414"/>
                  </a:lnTo>
                  <a:lnTo>
                    <a:pt x="1060" y="420"/>
                  </a:lnTo>
                  <a:lnTo>
                    <a:pt x="1052" y="426"/>
                  </a:lnTo>
                  <a:lnTo>
                    <a:pt x="1046" y="434"/>
                  </a:lnTo>
                  <a:lnTo>
                    <a:pt x="1042" y="442"/>
                  </a:lnTo>
                  <a:lnTo>
                    <a:pt x="1040" y="454"/>
                  </a:lnTo>
                  <a:lnTo>
                    <a:pt x="1040" y="454"/>
                  </a:lnTo>
                  <a:lnTo>
                    <a:pt x="1038" y="462"/>
                  </a:lnTo>
                  <a:lnTo>
                    <a:pt x="1040" y="472"/>
                  </a:lnTo>
                  <a:lnTo>
                    <a:pt x="1042" y="480"/>
                  </a:lnTo>
                  <a:lnTo>
                    <a:pt x="1046" y="486"/>
                  </a:lnTo>
                  <a:lnTo>
                    <a:pt x="1054" y="492"/>
                  </a:lnTo>
                  <a:lnTo>
                    <a:pt x="1062" y="496"/>
                  </a:lnTo>
                  <a:lnTo>
                    <a:pt x="1074" y="500"/>
                  </a:lnTo>
                  <a:lnTo>
                    <a:pt x="1088" y="500"/>
                  </a:lnTo>
                  <a:lnTo>
                    <a:pt x="1088" y="500"/>
                  </a:lnTo>
                  <a:lnTo>
                    <a:pt x="1102" y="500"/>
                  </a:lnTo>
                  <a:lnTo>
                    <a:pt x="1116" y="496"/>
                  </a:lnTo>
                  <a:lnTo>
                    <a:pt x="1130" y="492"/>
                  </a:lnTo>
                  <a:lnTo>
                    <a:pt x="1142" y="488"/>
                  </a:lnTo>
                  <a:lnTo>
                    <a:pt x="1152" y="482"/>
                  </a:lnTo>
                  <a:lnTo>
                    <a:pt x="1160" y="474"/>
                  </a:lnTo>
                  <a:lnTo>
                    <a:pt x="1166" y="464"/>
                  </a:lnTo>
                  <a:lnTo>
                    <a:pt x="1170" y="456"/>
                  </a:lnTo>
                  <a:lnTo>
                    <a:pt x="1170" y="456"/>
                  </a:lnTo>
                  <a:lnTo>
                    <a:pt x="1172" y="444"/>
                  </a:lnTo>
                  <a:lnTo>
                    <a:pt x="1170" y="436"/>
                  </a:lnTo>
                  <a:lnTo>
                    <a:pt x="1164" y="428"/>
                  </a:lnTo>
                  <a:lnTo>
                    <a:pt x="1156" y="420"/>
                  </a:lnTo>
                  <a:lnTo>
                    <a:pt x="1146" y="416"/>
                  </a:lnTo>
                  <a:lnTo>
                    <a:pt x="1134" y="412"/>
                  </a:lnTo>
                  <a:lnTo>
                    <a:pt x="1120" y="410"/>
                  </a:lnTo>
                  <a:lnTo>
                    <a:pt x="1104" y="408"/>
                  </a:lnTo>
                  <a:lnTo>
                    <a:pt x="1104" y="408"/>
                  </a:lnTo>
                  <a:close/>
                  <a:moveTo>
                    <a:pt x="1154" y="454"/>
                  </a:moveTo>
                  <a:lnTo>
                    <a:pt x="1154" y="454"/>
                  </a:lnTo>
                  <a:lnTo>
                    <a:pt x="1152" y="460"/>
                  </a:lnTo>
                  <a:lnTo>
                    <a:pt x="1146" y="466"/>
                  </a:lnTo>
                  <a:lnTo>
                    <a:pt x="1140" y="470"/>
                  </a:lnTo>
                  <a:lnTo>
                    <a:pt x="1134" y="474"/>
                  </a:lnTo>
                  <a:lnTo>
                    <a:pt x="1114" y="480"/>
                  </a:lnTo>
                  <a:lnTo>
                    <a:pt x="1092" y="482"/>
                  </a:lnTo>
                  <a:lnTo>
                    <a:pt x="1092" y="482"/>
                  </a:lnTo>
                  <a:lnTo>
                    <a:pt x="1080" y="482"/>
                  </a:lnTo>
                  <a:lnTo>
                    <a:pt x="1070" y="480"/>
                  </a:lnTo>
                  <a:lnTo>
                    <a:pt x="1062" y="478"/>
                  </a:lnTo>
                  <a:lnTo>
                    <a:pt x="1058" y="474"/>
                  </a:lnTo>
                  <a:lnTo>
                    <a:pt x="1054" y="470"/>
                  </a:lnTo>
                  <a:lnTo>
                    <a:pt x="1050" y="466"/>
                  </a:lnTo>
                  <a:lnTo>
                    <a:pt x="1050" y="460"/>
                  </a:lnTo>
                  <a:lnTo>
                    <a:pt x="1050" y="454"/>
                  </a:lnTo>
                  <a:lnTo>
                    <a:pt x="1050" y="454"/>
                  </a:lnTo>
                  <a:lnTo>
                    <a:pt x="1052" y="448"/>
                  </a:lnTo>
                  <a:lnTo>
                    <a:pt x="1056" y="442"/>
                  </a:lnTo>
                  <a:lnTo>
                    <a:pt x="1060" y="438"/>
                  </a:lnTo>
                  <a:lnTo>
                    <a:pt x="1066" y="434"/>
                  </a:lnTo>
                  <a:lnTo>
                    <a:pt x="1072" y="430"/>
                  </a:lnTo>
                  <a:lnTo>
                    <a:pt x="1082" y="428"/>
                  </a:lnTo>
                  <a:lnTo>
                    <a:pt x="1102" y="426"/>
                  </a:lnTo>
                  <a:lnTo>
                    <a:pt x="1102" y="426"/>
                  </a:lnTo>
                  <a:lnTo>
                    <a:pt x="1124" y="428"/>
                  </a:lnTo>
                  <a:lnTo>
                    <a:pt x="1134" y="430"/>
                  </a:lnTo>
                  <a:lnTo>
                    <a:pt x="1142" y="434"/>
                  </a:lnTo>
                  <a:lnTo>
                    <a:pt x="1148" y="438"/>
                  </a:lnTo>
                  <a:lnTo>
                    <a:pt x="1152" y="442"/>
                  </a:lnTo>
                  <a:lnTo>
                    <a:pt x="1154" y="448"/>
                  </a:lnTo>
                  <a:lnTo>
                    <a:pt x="1154" y="454"/>
                  </a:lnTo>
                  <a:lnTo>
                    <a:pt x="1154" y="454"/>
                  </a:lnTo>
                  <a:close/>
                  <a:moveTo>
                    <a:pt x="1062" y="320"/>
                  </a:moveTo>
                  <a:lnTo>
                    <a:pt x="1062" y="320"/>
                  </a:lnTo>
                  <a:lnTo>
                    <a:pt x="1070" y="350"/>
                  </a:lnTo>
                  <a:lnTo>
                    <a:pt x="1070" y="350"/>
                  </a:lnTo>
                  <a:lnTo>
                    <a:pt x="1084" y="346"/>
                  </a:lnTo>
                  <a:lnTo>
                    <a:pt x="1084" y="346"/>
                  </a:lnTo>
                  <a:lnTo>
                    <a:pt x="1076" y="324"/>
                  </a:lnTo>
                  <a:lnTo>
                    <a:pt x="1076" y="324"/>
                  </a:lnTo>
                  <a:lnTo>
                    <a:pt x="1076" y="322"/>
                  </a:lnTo>
                  <a:lnTo>
                    <a:pt x="1196" y="322"/>
                  </a:lnTo>
                  <a:lnTo>
                    <a:pt x="1196" y="322"/>
                  </a:lnTo>
                  <a:lnTo>
                    <a:pt x="1198" y="304"/>
                  </a:lnTo>
                  <a:lnTo>
                    <a:pt x="1064" y="304"/>
                  </a:lnTo>
                  <a:lnTo>
                    <a:pt x="1064" y="304"/>
                  </a:lnTo>
                  <a:lnTo>
                    <a:pt x="1062" y="320"/>
                  </a:lnTo>
                  <a:lnTo>
                    <a:pt x="1062" y="320"/>
                  </a:lnTo>
                  <a:close/>
                  <a:moveTo>
                    <a:pt x="1078" y="184"/>
                  </a:moveTo>
                  <a:lnTo>
                    <a:pt x="1078" y="184"/>
                  </a:lnTo>
                  <a:lnTo>
                    <a:pt x="1088" y="214"/>
                  </a:lnTo>
                  <a:lnTo>
                    <a:pt x="1088" y="214"/>
                  </a:lnTo>
                  <a:lnTo>
                    <a:pt x="1100" y="210"/>
                  </a:lnTo>
                  <a:lnTo>
                    <a:pt x="1100" y="210"/>
                  </a:lnTo>
                  <a:lnTo>
                    <a:pt x="1092" y="188"/>
                  </a:lnTo>
                  <a:lnTo>
                    <a:pt x="1092" y="188"/>
                  </a:lnTo>
                  <a:lnTo>
                    <a:pt x="1092" y="186"/>
                  </a:lnTo>
                  <a:lnTo>
                    <a:pt x="1092" y="186"/>
                  </a:lnTo>
                  <a:lnTo>
                    <a:pt x="1214" y="186"/>
                  </a:lnTo>
                  <a:lnTo>
                    <a:pt x="1214" y="186"/>
                  </a:lnTo>
                  <a:lnTo>
                    <a:pt x="1216" y="170"/>
                  </a:lnTo>
                  <a:lnTo>
                    <a:pt x="1078" y="170"/>
                  </a:lnTo>
                  <a:lnTo>
                    <a:pt x="1078" y="170"/>
                  </a:lnTo>
                  <a:lnTo>
                    <a:pt x="1078" y="184"/>
                  </a:lnTo>
                  <a:lnTo>
                    <a:pt x="1078" y="184"/>
                  </a:lnTo>
                  <a:close/>
                  <a:moveTo>
                    <a:pt x="1144" y="0"/>
                  </a:moveTo>
                  <a:lnTo>
                    <a:pt x="1144" y="0"/>
                  </a:lnTo>
                  <a:lnTo>
                    <a:pt x="1130" y="2"/>
                  </a:lnTo>
                  <a:lnTo>
                    <a:pt x="1116" y="4"/>
                  </a:lnTo>
                  <a:lnTo>
                    <a:pt x="1106" y="8"/>
                  </a:lnTo>
                  <a:lnTo>
                    <a:pt x="1098" y="12"/>
                  </a:lnTo>
                  <a:lnTo>
                    <a:pt x="1090" y="18"/>
                  </a:lnTo>
                  <a:lnTo>
                    <a:pt x="1086" y="26"/>
                  </a:lnTo>
                  <a:lnTo>
                    <a:pt x="1084" y="36"/>
                  </a:lnTo>
                  <a:lnTo>
                    <a:pt x="1082" y="46"/>
                  </a:lnTo>
                  <a:lnTo>
                    <a:pt x="1082" y="46"/>
                  </a:lnTo>
                  <a:lnTo>
                    <a:pt x="1082" y="56"/>
                  </a:lnTo>
                  <a:lnTo>
                    <a:pt x="1086" y="64"/>
                  </a:lnTo>
                  <a:lnTo>
                    <a:pt x="1090" y="72"/>
                  </a:lnTo>
                  <a:lnTo>
                    <a:pt x="1096" y="80"/>
                  </a:lnTo>
                  <a:lnTo>
                    <a:pt x="1104" y="86"/>
                  </a:lnTo>
                  <a:lnTo>
                    <a:pt x="1116" y="90"/>
                  </a:lnTo>
                  <a:lnTo>
                    <a:pt x="1128" y="92"/>
                  </a:lnTo>
                  <a:lnTo>
                    <a:pt x="1144" y="92"/>
                  </a:lnTo>
                  <a:lnTo>
                    <a:pt x="1144" y="92"/>
                  </a:lnTo>
                  <a:lnTo>
                    <a:pt x="1160" y="92"/>
                  </a:lnTo>
                  <a:lnTo>
                    <a:pt x="1176" y="90"/>
                  </a:lnTo>
                  <a:lnTo>
                    <a:pt x="1190" y="86"/>
                  </a:lnTo>
                  <a:lnTo>
                    <a:pt x="1202" y="80"/>
                  </a:lnTo>
                  <a:lnTo>
                    <a:pt x="1212" y="74"/>
                  </a:lnTo>
                  <a:lnTo>
                    <a:pt x="1220" y="66"/>
                  </a:lnTo>
                  <a:lnTo>
                    <a:pt x="1224" y="58"/>
                  </a:lnTo>
                  <a:lnTo>
                    <a:pt x="1226" y="48"/>
                  </a:lnTo>
                  <a:lnTo>
                    <a:pt x="1226" y="48"/>
                  </a:lnTo>
                  <a:lnTo>
                    <a:pt x="1226" y="38"/>
                  </a:lnTo>
                  <a:lnTo>
                    <a:pt x="1220" y="28"/>
                  </a:lnTo>
                  <a:lnTo>
                    <a:pt x="1214" y="20"/>
                  </a:lnTo>
                  <a:lnTo>
                    <a:pt x="1204" y="14"/>
                  </a:lnTo>
                  <a:lnTo>
                    <a:pt x="1190" y="8"/>
                  </a:lnTo>
                  <a:lnTo>
                    <a:pt x="1176" y="4"/>
                  </a:lnTo>
                  <a:lnTo>
                    <a:pt x="1162" y="2"/>
                  </a:lnTo>
                  <a:lnTo>
                    <a:pt x="1144" y="0"/>
                  </a:lnTo>
                  <a:lnTo>
                    <a:pt x="1144" y="0"/>
                  </a:lnTo>
                  <a:close/>
                  <a:moveTo>
                    <a:pt x="1146" y="74"/>
                  </a:moveTo>
                  <a:lnTo>
                    <a:pt x="1146" y="74"/>
                  </a:lnTo>
                  <a:lnTo>
                    <a:pt x="1132" y="74"/>
                  </a:lnTo>
                  <a:lnTo>
                    <a:pt x="1122" y="72"/>
                  </a:lnTo>
                  <a:lnTo>
                    <a:pt x="1112" y="70"/>
                  </a:lnTo>
                  <a:lnTo>
                    <a:pt x="1106" y="66"/>
                  </a:lnTo>
                  <a:lnTo>
                    <a:pt x="1100" y="62"/>
                  </a:lnTo>
                  <a:lnTo>
                    <a:pt x="1096" y="58"/>
                  </a:lnTo>
                  <a:lnTo>
                    <a:pt x="1094" y="52"/>
                  </a:lnTo>
                  <a:lnTo>
                    <a:pt x="1094" y="46"/>
                  </a:lnTo>
                  <a:lnTo>
                    <a:pt x="1094" y="46"/>
                  </a:lnTo>
                  <a:lnTo>
                    <a:pt x="1094" y="40"/>
                  </a:lnTo>
                  <a:lnTo>
                    <a:pt x="1098" y="34"/>
                  </a:lnTo>
                  <a:lnTo>
                    <a:pt x="1102" y="30"/>
                  </a:lnTo>
                  <a:lnTo>
                    <a:pt x="1106" y="26"/>
                  </a:lnTo>
                  <a:lnTo>
                    <a:pt x="1114" y="22"/>
                  </a:lnTo>
                  <a:lnTo>
                    <a:pt x="1122" y="20"/>
                  </a:lnTo>
                  <a:lnTo>
                    <a:pt x="1144" y="20"/>
                  </a:lnTo>
                  <a:lnTo>
                    <a:pt x="1144" y="20"/>
                  </a:lnTo>
                  <a:lnTo>
                    <a:pt x="1170" y="20"/>
                  </a:lnTo>
                  <a:lnTo>
                    <a:pt x="1180" y="24"/>
                  </a:lnTo>
                  <a:lnTo>
                    <a:pt x="1190" y="26"/>
                  </a:lnTo>
                  <a:lnTo>
                    <a:pt x="1198" y="30"/>
                  </a:lnTo>
                  <a:lnTo>
                    <a:pt x="1204" y="34"/>
                  </a:lnTo>
                  <a:lnTo>
                    <a:pt x="1208" y="40"/>
                  </a:lnTo>
                  <a:lnTo>
                    <a:pt x="1208" y="46"/>
                  </a:lnTo>
                  <a:lnTo>
                    <a:pt x="1208" y="46"/>
                  </a:lnTo>
                  <a:lnTo>
                    <a:pt x="1206" y="52"/>
                  </a:lnTo>
                  <a:lnTo>
                    <a:pt x="1204" y="58"/>
                  </a:lnTo>
                  <a:lnTo>
                    <a:pt x="1198" y="62"/>
                  </a:lnTo>
                  <a:lnTo>
                    <a:pt x="1190" y="66"/>
                  </a:lnTo>
                  <a:lnTo>
                    <a:pt x="1170" y="72"/>
                  </a:lnTo>
                  <a:lnTo>
                    <a:pt x="1146" y="74"/>
                  </a:lnTo>
                  <a:lnTo>
                    <a:pt x="1146" y="74"/>
                  </a:lnTo>
                  <a:close/>
                </a:path>
              </a:pathLst>
            </a:custGeom>
            <a:solidFill>
              <a:srgbClr val="000000"/>
            </a:solidFill>
            <a:ln w="9525">
              <a:solidFill>
                <a:srgbClr val="000000"/>
              </a:solidFill>
              <a:round/>
              <a:headEnd/>
              <a:tailEnd/>
            </a:ln>
          </p:spPr>
          <p:txBody>
            <a:bodyPr/>
            <a:lstStyle/>
            <a:p>
              <a:endParaRPr lang="en-US" sz="2000" dirty="0">
                <a:latin typeface="微软雅黑" pitchFamily="34" charset="-122"/>
                <a:ea typeface="微软雅黑" pitchFamily="34" charset="-122"/>
              </a:endParaRPr>
            </a:p>
          </p:txBody>
        </p:sp>
        <p:grpSp>
          <p:nvGrpSpPr>
            <p:cNvPr id="258" name="Group 257"/>
            <p:cNvGrpSpPr/>
            <p:nvPr/>
          </p:nvGrpSpPr>
          <p:grpSpPr>
            <a:xfrm>
              <a:off x="3340173" y="3803720"/>
              <a:ext cx="1296987" cy="321945"/>
              <a:chOff x="171035" y="954157"/>
              <a:chExt cx="390949" cy="387626"/>
            </a:xfrm>
          </p:grpSpPr>
          <p:sp>
            <p:nvSpPr>
              <p:cNvPr id="260" name="Round Diagonal Corner Rectangle 259"/>
              <p:cNvSpPr/>
              <p:nvPr/>
            </p:nvSpPr>
            <p:spPr>
              <a:xfrm flipV="1">
                <a:off x="171035" y="954157"/>
                <a:ext cx="387626" cy="387626"/>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dirty="0">
                  <a:latin typeface="微软雅黑" pitchFamily="34" charset="-122"/>
                  <a:ea typeface="微软雅黑" pitchFamily="34" charset="-122"/>
                </a:endParaRPr>
              </a:p>
            </p:txBody>
          </p:sp>
          <p:sp>
            <p:nvSpPr>
              <p:cNvPr id="261" name="Round Diagonal Corner Rectangle 260"/>
              <p:cNvSpPr/>
              <p:nvPr/>
            </p:nvSpPr>
            <p:spPr>
              <a:xfrm>
                <a:off x="174358" y="954157"/>
                <a:ext cx="387626" cy="387626"/>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2300" dirty="0">
                    <a:latin typeface="微软雅黑" pitchFamily="34" charset="-122"/>
                    <a:ea typeface="微软雅黑" pitchFamily="34" charset="-122"/>
                  </a:rPr>
                  <a:t>外泄</a:t>
                </a:r>
                <a:endParaRPr lang="en-US" sz="2300" dirty="0">
                  <a:latin typeface="微软雅黑" pitchFamily="34" charset="-122"/>
                  <a:ea typeface="微软雅黑" pitchFamily="34" charset="-122"/>
                </a:endParaRPr>
              </a:p>
            </p:txBody>
          </p:sp>
        </p:grpSp>
      </p:grpSp>
      <p:grpSp>
        <p:nvGrpSpPr>
          <p:cNvPr id="207" name="Group 206"/>
          <p:cNvGrpSpPr/>
          <p:nvPr/>
        </p:nvGrpSpPr>
        <p:grpSpPr>
          <a:xfrm>
            <a:off x="2464160" y="1236387"/>
            <a:ext cx="2812559" cy="763129"/>
            <a:chOff x="270108" y="3859212"/>
            <a:chExt cx="1980724" cy="536575"/>
          </a:xfrm>
        </p:grpSpPr>
        <p:sp>
          <p:nvSpPr>
            <p:cNvPr id="208" name="Round Diagonal Corner Rectangle 207"/>
            <p:cNvSpPr/>
            <p:nvPr/>
          </p:nvSpPr>
          <p:spPr>
            <a:xfrm flipV="1">
              <a:off x="270108" y="3859212"/>
              <a:ext cx="1840046" cy="536575"/>
            </a:xfrm>
            <a:prstGeom prst="round2Diag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00" dirty="0">
                <a:latin typeface="微软雅黑" pitchFamily="34" charset="-122"/>
                <a:ea typeface="微软雅黑" pitchFamily="34" charset="-122"/>
              </a:endParaRPr>
            </a:p>
          </p:txBody>
        </p:sp>
        <p:sp>
          <p:nvSpPr>
            <p:cNvPr id="209" name="Round Diagonal Corner Rectangle 208"/>
            <p:cNvSpPr/>
            <p:nvPr/>
          </p:nvSpPr>
          <p:spPr>
            <a:xfrm>
              <a:off x="281355" y="3912208"/>
              <a:ext cx="1969477" cy="430585"/>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zh-CN" altLang="en-US" sz="2300" dirty="0">
                  <a:solidFill>
                    <a:srgbClr val="000000"/>
                  </a:solidFill>
                  <a:latin typeface="微软雅黑" pitchFamily="34" charset="-122"/>
                  <a:ea typeface="微软雅黑" pitchFamily="34" charset="-122"/>
                </a:rPr>
                <a:t>安全情报研究</a:t>
              </a:r>
              <a:endParaRPr lang="en-US" sz="2300" dirty="0">
                <a:solidFill>
                  <a:srgbClr val="000000"/>
                </a:solidFill>
                <a:latin typeface="微软雅黑" pitchFamily="34" charset="-122"/>
                <a:ea typeface="微软雅黑" pitchFamily="34" charset="-122"/>
              </a:endParaRPr>
            </a:p>
          </p:txBody>
        </p:sp>
      </p:grpSp>
    </p:spTree>
    <p:extLst>
      <p:ext uri="{BB962C8B-B14F-4D97-AF65-F5344CB8AC3E}">
        <p14:creationId xmlns:p14="http://schemas.microsoft.com/office/powerpoint/2010/main" val="3186815164"/>
      </p:ext>
    </p:extLst>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262"/>
                                        </p:tgtEl>
                                        <p:attrNameLst>
                                          <p:attrName>style.visibility</p:attrName>
                                        </p:attrNameLst>
                                      </p:cBhvr>
                                      <p:to>
                                        <p:strVal val="visible"/>
                                      </p:to>
                                    </p:set>
                                    <p:animEffect transition="in" filter="fade">
                                      <p:cBhvr>
                                        <p:cTn id="10" dur="500"/>
                                        <p:tgtEl>
                                          <p:spTgt spid="262"/>
                                        </p:tgtEl>
                                      </p:cBhvr>
                                    </p:animEffect>
                                  </p:childTnLst>
                                </p:cTn>
                              </p:par>
                              <p:par>
                                <p:cTn id="11" presetID="22" presetClass="entr" presetSubtype="8"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wipe(left)">
                                      <p:cBhvr>
                                        <p:cTn id="13" dur="500"/>
                                        <p:tgtEl>
                                          <p:spTgt spid="10"/>
                                        </p:tgtEl>
                                      </p:cBhvr>
                                    </p:animEffect>
                                  </p:childTnLst>
                                </p:cTn>
                              </p:par>
                              <p:par>
                                <p:cTn id="14" presetID="22" presetClass="entr" presetSubtype="1"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wipe(up)">
                                      <p:cBhvr>
                                        <p:cTn id="16" dur="500"/>
                                        <p:tgtEl>
                                          <p:spTgt spid="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71"/>
                                        </p:tgtEl>
                                        <p:attrNameLst>
                                          <p:attrName>style.visibility</p:attrName>
                                        </p:attrNameLst>
                                      </p:cBhvr>
                                      <p:to>
                                        <p:strVal val="visible"/>
                                      </p:to>
                                    </p:set>
                                    <p:animEffect transition="in" filter="fade">
                                      <p:cBhvr>
                                        <p:cTn id="19" dur="250"/>
                                        <p:tgtEl>
                                          <p:spTgt spid="271"/>
                                        </p:tgtEl>
                                      </p:cBhvr>
                                    </p:animEffect>
                                  </p:childTnLst>
                                </p:cTn>
                              </p:par>
                              <p:par>
                                <p:cTn id="20" presetID="10" presetClass="entr" presetSubtype="0" fill="hold" nodeType="withEffect">
                                  <p:stCondLst>
                                    <p:cond delay="0"/>
                                  </p:stCondLst>
                                  <p:childTnLst>
                                    <p:set>
                                      <p:cBhvr>
                                        <p:cTn id="21" dur="1" fill="hold">
                                          <p:stCondLst>
                                            <p:cond delay="0"/>
                                          </p:stCondLst>
                                        </p:cTn>
                                        <p:tgtEl>
                                          <p:spTgt spid="268"/>
                                        </p:tgtEl>
                                        <p:attrNameLst>
                                          <p:attrName>style.visibility</p:attrName>
                                        </p:attrNameLst>
                                      </p:cBhvr>
                                      <p:to>
                                        <p:strVal val="visible"/>
                                      </p:to>
                                    </p:set>
                                    <p:animEffect transition="in" filter="fade">
                                      <p:cBhvr>
                                        <p:cTn id="22" dur="500"/>
                                        <p:tgtEl>
                                          <p:spTgt spid="268"/>
                                        </p:tgtEl>
                                      </p:cBhvr>
                                    </p:animEffect>
                                  </p:childTnLst>
                                </p:cTn>
                              </p:par>
                              <p:par>
                                <p:cTn id="23" presetID="22" presetClass="entr" presetSubtype="2" fill="hold" nodeType="withEffect">
                                  <p:stCondLst>
                                    <p:cond delay="0"/>
                                  </p:stCondLst>
                                  <p:childTnLst>
                                    <p:set>
                                      <p:cBhvr>
                                        <p:cTn id="24" dur="1" fill="hold">
                                          <p:stCondLst>
                                            <p:cond delay="0"/>
                                          </p:stCondLst>
                                        </p:cTn>
                                        <p:tgtEl>
                                          <p:spTgt spid="9"/>
                                        </p:tgtEl>
                                        <p:attrNameLst>
                                          <p:attrName>style.visibility</p:attrName>
                                        </p:attrNameLst>
                                      </p:cBhvr>
                                      <p:to>
                                        <p:strVal val="visible"/>
                                      </p:to>
                                    </p:set>
                                    <p:animEffect transition="in" filter="wipe(right)">
                                      <p:cBhvr>
                                        <p:cTn id="25" dur="500"/>
                                        <p:tgtEl>
                                          <p:spTgt spid="9"/>
                                        </p:tgtEl>
                                      </p:cBhvr>
                                    </p:animEffect>
                                  </p:childTnLst>
                                </p:cTn>
                              </p:par>
                              <p:par>
                                <p:cTn id="26" presetID="10" presetClass="entr" presetSubtype="0" fill="hold" nodeType="withEffect">
                                  <p:stCondLst>
                                    <p:cond delay="0"/>
                                  </p:stCondLst>
                                  <p:childTnLst>
                                    <p:set>
                                      <p:cBhvr>
                                        <p:cTn id="27" dur="1" fill="hold">
                                          <p:stCondLst>
                                            <p:cond delay="0"/>
                                          </p:stCondLst>
                                        </p:cTn>
                                        <p:tgtEl>
                                          <p:spTgt spid="452"/>
                                        </p:tgtEl>
                                        <p:attrNameLst>
                                          <p:attrName>style.visibility</p:attrName>
                                        </p:attrNameLst>
                                      </p:cBhvr>
                                      <p:to>
                                        <p:strVal val="visible"/>
                                      </p:to>
                                    </p:set>
                                    <p:animEffect transition="in" filter="fade">
                                      <p:cBhvr>
                                        <p:cTn id="28" dur="500"/>
                                        <p:tgtEl>
                                          <p:spTgt spid="452"/>
                                        </p:tgtEl>
                                      </p:cBhvr>
                                    </p:animEffect>
                                  </p:childTnLst>
                                </p:cTn>
                              </p:par>
                              <p:par>
                                <p:cTn id="29" presetID="10" presetClass="entr" presetSubtype="0" fill="hold" nodeType="withEffect">
                                  <p:stCondLst>
                                    <p:cond delay="0"/>
                                  </p:stCondLst>
                                  <p:childTnLst>
                                    <p:set>
                                      <p:cBhvr>
                                        <p:cTn id="30" dur="1" fill="hold">
                                          <p:stCondLst>
                                            <p:cond delay="0"/>
                                          </p:stCondLst>
                                        </p:cTn>
                                        <p:tgtEl>
                                          <p:spTgt spid="432"/>
                                        </p:tgtEl>
                                        <p:attrNameLst>
                                          <p:attrName>style.visibility</p:attrName>
                                        </p:attrNameLst>
                                      </p:cBhvr>
                                      <p:to>
                                        <p:strVal val="visible"/>
                                      </p:to>
                                    </p:set>
                                    <p:animEffect transition="in" filter="fade">
                                      <p:cBhvr>
                                        <p:cTn id="31" dur="500"/>
                                        <p:tgtEl>
                                          <p:spTgt spid="432"/>
                                        </p:tgtEl>
                                      </p:cBhvr>
                                    </p:animEffect>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nodeType="clickEffect">
                                  <p:stCondLst>
                                    <p:cond delay="0"/>
                                  </p:stCondLst>
                                  <p:childTnLst>
                                    <p:set>
                                      <p:cBhvr>
                                        <p:cTn id="35" dur="1" fill="hold">
                                          <p:stCondLst>
                                            <p:cond delay="0"/>
                                          </p:stCondLst>
                                        </p:cTn>
                                        <p:tgtEl>
                                          <p:spTgt spid="20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1"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ight Arrow 4"/>
          <p:cNvSpPr/>
          <p:nvPr/>
        </p:nvSpPr>
        <p:spPr>
          <a:xfrm>
            <a:off x="4291107" y="3132841"/>
            <a:ext cx="2142366" cy="1628463"/>
          </a:xfrm>
          <a:prstGeom prst="rightArrow">
            <a:avLst>
              <a:gd name="adj1" fmla="val 63635"/>
              <a:gd name="adj2" fmla="val 43829"/>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9909" tIns="64954" rIns="129909" bIns="64954" rtlCol="0" anchor="ctr"/>
          <a:lstStyle/>
          <a:p>
            <a:pPr algn="ctr"/>
            <a:endParaRPr lang="en-US">
              <a:latin typeface="微软雅黑" pitchFamily="34" charset="-122"/>
              <a:ea typeface="微软雅黑" pitchFamily="34" charset="-122"/>
            </a:endParaRPr>
          </a:p>
        </p:txBody>
      </p:sp>
      <p:sp>
        <p:nvSpPr>
          <p:cNvPr id="3" name="Title 2"/>
          <p:cNvSpPr>
            <a:spLocks noGrp="1"/>
          </p:cNvSpPr>
          <p:nvPr>
            <p:ph type="title"/>
          </p:nvPr>
        </p:nvSpPr>
        <p:spPr/>
        <p:txBody>
          <a:bodyPr/>
          <a:lstStyle/>
          <a:p>
            <a:r>
              <a:rPr lang="zh-CN" altLang="en-US" dirty="0" smtClean="0">
                <a:solidFill>
                  <a:srgbClr val="C00000"/>
                </a:solidFill>
                <a:latin typeface="微软雅黑" pitchFamily="34" charset="-122"/>
                <a:ea typeface="微软雅黑" pitchFamily="34" charset="-122"/>
              </a:rPr>
              <a:t>惠普安全研究</a:t>
            </a:r>
            <a:endParaRPr lang="en-US" dirty="0">
              <a:solidFill>
                <a:srgbClr val="C00000"/>
              </a:solidFill>
              <a:latin typeface="微软雅黑" pitchFamily="34" charset="-122"/>
              <a:ea typeface="微软雅黑" pitchFamily="34" charset="-122"/>
            </a:endParaRPr>
          </a:p>
        </p:txBody>
      </p:sp>
      <p:sp>
        <p:nvSpPr>
          <p:cNvPr id="24" name="Content Placeholder 6"/>
          <p:cNvSpPr txBox="1">
            <a:spLocks/>
          </p:cNvSpPr>
          <p:nvPr>
            <p:custDataLst>
              <p:tags r:id="rId1"/>
            </p:custDataLst>
          </p:nvPr>
        </p:nvSpPr>
        <p:spPr>
          <a:xfrm>
            <a:off x="4298336" y="1209556"/>
            <a:ext cx="7790498" cy="1586583"/>
          </a:xfrm>
          <a:prstGeom prst="rect">
            <a:avLst/>
          </a:prstGeom>
        </p:spPr>
        <p:txBody>
          <a:bodyPr vert="horz" lIns="129909" tIns="64954" rIns="129909" bIns="64954" rtlCol="0">
            <a:noAutofit/>
          </a:bodyPr>
          <a:lstStyle/>
          <a:p>
            <a:pPr>
              <a:spcAft>
                <a:spcPts val="852"/>
              </a:spcAft>
              <a:buClr>
                <a:schemeClr val="tx1"/>
              </a:buClr>
              <a:buSzPct val="80000"/>
              <a:defRPr/>
            </a:pPr>
            <a:r>
              <a:rPr lang="en-US" sz="1800" dirty="0">
                <a:solidFill>
                  <a:schemeClr val="bg2">
                    <a:lumMod val="50000"/>
                  </a:schemeClr>
                </a:solidFill>
                <a:latin typeface="微软雅黑" pitchFamily="34" charset="-122"/>
                <a:ea typeface="微软雅黑" pitchFamily="34" charset="-122"/>
                <a:cs typeface="Arial" pitchFamily="34" charset="0"/>
              </a:rPr>
              <a:t>SANS, CERT, NIST, OSVDB, software, and reputation vendors</a:t>
            </a:r>
          </a:p>
          <a:p>
            <a:pPr marL="209749" indent="-209749">
              <a:spcAft>
                <a:spcPts val="852"/>
              </a:spcAft>
              <a:buClr>
                <a:schemeClr val="tx1"/>
              </a:buClr>
              <a:buSzPct val="80000"/>
              <a:buFont typeface="Arial" pitchFamily="34" charset="0"/>
              <a:buChar char="•"/>
              <a:defRPr/>
            </a:pPr>
            <a:r>
              <a:rPr lang="en-US" sz="1800" dirty="0">
                <a:solidFill>
                  <a:schemeClr val="bg2">
                    <a:lumMod val="50000"/>
                  </a:schemeClr>
                </a:solidFill>
                <a:latin typeface="微软雅黑" pitchFamily="34" charset="-122"/>
                <a:ea typeface="微软雅黑" pitchFamily="34" charset="-122"/>
                <a:cs typeface="Arial" pitchFamily="34" charset="0"/>
              </a:rPr>
              <a:t>~3000  </a:t>
            </a:r>
            <a:r>
              <a:rPr lang="zh-CN" altLang="en-US" sz="1800" dirty="0">
                <a:solidFill>
                  <a:schemeClr val="bg2">
                    <a:lumMod val="50000"/>
                  </a:schemeClr>
                </a:solidFill>
                <a:latin typeface="微软雅黑" pitchFamily="34" charset="-122"/>
                <a:ea typeface="微软雅黑" pitchFamily="34" charset="-122"/>
                <a:cs typeface="Arial" pitchFamily="34" charset="0"/>
              </a:rPr>
              <a:t>专家</a:t>
            </a:r>
            <a:endParaRPr lang="en-US" altLang="zh-CN" sz="1800" dirty="0">
              <a:solidFill>
                <a:schemeClr val="bg2">
                  <a:lumMod val="50000"/>
                </a:schemeClr>
              </a:solidFill>
              <a:latin typeface="微软雅黑" pitchFamily="34" charset="-122"/>
              <a:ea typeface="微软雅黑" pitchFamily="34" charset="-122"/>
              <a:cs typeface="Arial" pitchFamily="34" charset="0"/>
            </a:endParaRPr>
          </a:p>
          <a:p>
            <a:pPr marL="209749" indent="-209749">
              <a:spcAft>
                <a:spcPts val="852"/>
              </a:spcAft>
              <a:buClr>
                <a:schemeClr val="tx1"/>
              </a:buClr>
              <a:buSzPct val="80000"/>
              <a:buFont typeface="Arial" pitchFamily="34" charset="0"/>
              <a:buChar char="•"/>
              <a:defRPr/>
            </a:pPr>
            <a:r>
              <a:rPr lang="en-US" sz="1800" dirty="0">
                <a:solidFill>
                  <a:schemeClr val="bg2">
                    <a:lumMod val="50000"/>
                  </a:schemeClr>
                </a:solidFill>
                <a:latin typeface="微软雅黑" pitchFamily="34" charset="-122"/>
                <a:ea typeface="微软雅黑" pitchFamily="34" charset="-122"/>
                <a:cs typeface="Arial" pitchFamily="34" charset="0"/>
              </a:rPr>
              <a:t>2000+ </a:t>
            </a:r>
            <a:r>
              <a:rPr lang="zh-CN" altLang="en-US" sz="1800" dirty="0">
                <a:solidFill>
                  <a:schemeClr val="bg2">
                    <a:lumMod val="50000"/>
                  </a:schemeClr>
                </a:solidFill>
                <a:latin typeface="微软雅黑" pitchFamily="34" charset="-122"/>
                <a:ea typeface="微软雅黑" pitchFamily="34" charset="-122"/>
                <a:cs typeface="Arial" pitchFamily="34" charset="0"/>
              </a:rPr>
              <a:t>客户资源共享</a:t>
            </a:r>
            <a:endParaRPr lang="en-US" altLang="zh-CN" sz="1800" dirty="0">
              <a:solidFill>
                <a:schemeClr val="bg2">
                  <a:lumMod val="50000"/>
                </a:schemeClr>
              </a:solidFill>
              <a:latin typeface="微软雅黑" pitchFamily="34" charset="-122"/>
              <a:ea typeface="微软雅黑" pitchFamily="34" charset="-122"/>
              <a:cs typeface="Arial" pitchFamily="34" charset="0"/>
            </a:endParaRPr>
          </a:p>
          <a:p>
            <a:pPr marL="209749" indent="-209749">
              <a:spcAft>
                <a:spcPts val="852"/>
              </a:spcAft>
              <a:buClr>
                <a:schemeClr val="tx1"/>
              </a:buClr>
              <a:buSzPct val="80000"/>
              <a:buFont typeface="Arial" pitchFamily="34" charset="0"/>
              <a:buChar char="•"/>
              <a:defRPr/>
            </a:pPr>
            <a:r>
              <a:rPr lang="en-US" sz="1800" dirty="0">
                <a:solidFill>
                  <a:schemeClr val="bg2">
                    <a:lumMod val="50000"/>
                  </a:schemeClr>
                </a:solidFill>
                <a:latin typeface="微软雅黑" pitchFamily="34" charset="-122"/>
                <a:ea typeface="微软雅黑" pitchFamily="34" charset="-122"/>
                <a:cs typeface="Arial" pitchFamily="34" charset="0"/>
              </a:rPr>
              <a:t>7000+ </a:t>
            </a:r>
            <a:r>
              <a:rPr lang="zh-CN" altLang="en-US" sz="1800" dirty="0">
                <a:solidFill>
                  <a:schemeClr val="bg2">
                    <a:lumMod val="50000"/>
                  </a:schemeClr>
                </a:solidFill>
                <a:latin typeface="微软雅黑" pitchFamily="34" charset="-122"/>
                <a:ea typeface="微软雅黑" pitchFamily="34" charset="-122"/>
                <a:cs typeface="Arial" pitchFamily="34" charset="0"/>
              </a:rPr>
              <a:t>全球网络托管</a:t>
            </a:r>
            <a:endParaRPr lang="en-US" sz="2400" dirty="0">
              <a:solidFill>
                <a:schemeClr val="bg2">
                  <a:lumMod val="50000"/>
                </a:schemeClr>
              </a:solidFill>
              <a:latin typeface="微软雅黑" pitchFamily="34" charset="-122"/>
              <a:ea typeface="微软雅黑" pitchFamily="34" charset="-122"/>
              <a:cs typeface="Arial" pitchFamily="34" charset="0"/>
            </a:endParaRPr>
          </a:p>
        </p:txBody>
      </p:sp>
      <p:sp>
        <p:nvSpPr>
          <p:cNvPr id="9" name="Up Arrow Callout 8"/>
          <p:cNvSpPr/>
          <p:nvPr>
            <p:custDataLst>
              <p:tags r:id="rId2"/>
            </p:custDataLst>
          </p:nvPr>
        </p:nvSpPr>
        <p:spPr>
          <a:xfrm rot="10800000">
            <a:off x="1771531" y="1633533"/>
            <a:ext cx="1179436" cy="1411493"/>
          </a:xfrm>
          <a:prstGeom prst="upArrowCallout">
            <a:avLst>
              <a:gd name="adj1" fmla="val 25000"/>
              <a:gd name="adj2" fmla="val 25000"/>
              <a:gd name="adj3" fmla="val 25000"/>
              <a:gd name="adj4" fmla="val 52159"/>
            </a:avLst>
          </a:prstGeom>
          <a:solidFill>
            <a:schemeClr val="accent1"/>
          </a:solidFill>
          <a:ln w="25400" cap="flat" cmpd="sng" algn="ctr">
            <a:noFill/>
            <a:prstDash val="solid"/>
          </a:ln>
          <a:effectLst/>
          <a:scene3d>
            <a:camera prst="orthographicFront">
              <a:rot lat="0" lon="0" rev="0"/>
            </a:camera>
            <a:lightRig rig="threePt" dir="t"/>
          </a:scene3d>
        </p:spPr>
        <p:txBody>
          <a:bodyPr lIns="129909" tIns="64954" rIns="129909" bIns="64954" rtlCol="0" anchor="ctr"/>
          <a:lstStyle/>
          <a:p>
            <a:pPr algn="ctr" rtl="0">
              <a:lnSpc>
                <a:spcPct val="85000"/>
              </a:lnSpc>
              <a:defRPr/>
            </a:pPr>
            <a:endParaRPr lang="en-US" sz="2300" dirty="0">
              <a:solidFill>
                <a:prstClr val="white"/>
              </a:solidFill>
              <a:latin typeface="微软雅黑" pitchFamily="34" charset="-122"/>
              <a:ea typeface="微软雅黑" pitchFamily="34" charset="-122"/>
              <a:cs typeface="Arial" pitchFamily="34" charset="0"/>
            </a:endParaRPr>
          </a:p>
        </p:txBody>
      </p:sp>
      <p:pic>
        <p:nvPicPr>
          <p:cNvPr id="10" name="Picture 9" descr="zd.png"/>
          <p:cNvPicPr>
            <a:picLocks noChangeAspect="1"/>
          </p:cNvPicPr>
          <p:nvPr>
            <p:custDataLst>
              <p:tags r:id="rId3"/>
            </p:custDataLst>
          </p:nvPr>
        </p:nvPicPr>
        <p:blipFill>
          <a:blip r:embed="rId12" cstate="email">
            <a:grayscl/>
            <a:lum bright="40000" contrast="40000"/>
          </a:blip>
          <a:stretch>
            <a:fillRect/>
          </a:stretch>
        </p:blipFill>
        <p:spPr bwMode="gray">
          <a:xfrm>
            <a:off x="1891835" y="1858211"/>
            <a:ext cx="852086" cy="298027"/>
          </a:xfrm>
          <a:prstGeom prst="rect">
            <a:avLst/>
          </a:prstGeom>
          <a:noFill/>
          <a:ln w="9525">
            <a:noFill/>
            <a:miter lim="800000"/>
            <a:headEnd/>
            <a:tailEnd/>
          </a:ln>
        </p:spPr>
      </p:pic>
      <p:sp>
        <p:nvSpPr>
          <p:cNvPr id="11" name="Up Arrow Callout 10"/>
          <p:cNvSpPr/>
          <p:nvPr>
            <p:custDataLst>
              <p:tags r:id="rId4"/>
            </p:custDataLst>
          </p:nvPr>
        </p:nvSpPr>
        <p:spPr>
          <a:xfrm rot="10800000">
            <a:off x="3094821" y="1633533"/>
            <a:ext cx="1179436" cy="1411493"/>
          </a:xfrm>
          <a:prstGeom prst="upArrowCallout">
            <a:avLst>
              <a:gd name="adj1" fmla="val 25000"/>
              <a:gd name="adj2" fmla="val 25000"/>
              <a:gd name="adj3" fmla="val 25000"/>
              <a:gd name="adj4" fmla="val 52159"/>
            </a:avLst>
          </a:prstGeom>
          <a:solidFill>
            <a:schemeClr val="accent1"/>
          </a:solidFill>
          <a:ln w="25400" cap="flat" cmpd="sng" algn="ctr">
            <a:noFill/>
            <a:prstDash val="solid"/>
          </a:ln>
          <a:effectLst/>
          <a:scene3d>
            <a:camera prst="orthographicFront">
              <a:rot lat="0" lon="0" rev="0"/>
            </a:camera>
            <a:lightRig rig="threePt" dir="t"/>
          </a:scene3d>
        </p:spPr>
        <p:txBody>
          <a:bodyPr lIns="129909" tIns="64954" rIns="129909" bIns="64954" rtlCol="0" anchor="ctr"/>
          <a:lstStyle/>
          <a:p>
            <a:pPr algn="ctr" rtl="0">
              <a:lnSpc>
                <a:spcPct val="85000"/>
              </a:lnSpc>
              <a:defRPr/>
            </a:pPr>
            <a:endParaRPr lang="en-US" sz="2300" dirty="0">
              <a:solidFill>
                <a:prstClr val="white"/>
              </a:solidFill>
              <a:latin typeface="微软雅黑" pitchFamily="34" charset="-122"/>
              <a:ea typeface="微软雅黑" pitchFamily="34" charset="-122"/>
              <a:cs typeface="Arial" pitchFamily="34" charset="0"/>
            </a:endParaRPr>
          </a:p>
        </p:txBody>
      </p:sp>
      <p:pic>
        <p:nvPicPr>
          <p:cNvPr id="12" name="Picture 11" descr="threat.png"/>
          <p:cNvPicPr>
            <a:picLocks noChangeAspect="1"/>
          </p:cNvPicPr>
          <p:nvPr>
            <p:custDataLst>
              <p:tags r:id="rId5"/>
            </p:custDataLst>
          </p:nvPr>
        </p:nvPicPr>
        <p:blipFill>
          <a:blip r:embed="rId13" cstate="email">
            <a:lum bright="40000" contrast="40000"/>
          </a:blip>
          <a:stretch>
            <a:fillRect/>
          </a:stretch>
        </p:blipFill>
        <p:spPr bwMode="gray">
          <a:xfrm>
            <a:off x="3167064" y="1889889"/>
            <a:ext cx="960287" cy="298027"/>
          </a:xfrm>
          <a:prstGeom prst="rect">
            <a:avLst/>
          </a:prstGeom>
        </p:spPr>
      </p:pic>
      <p:sp>
        <p:nvSpPr>
          <p:cNvPr id="13" name="Up Arrow Callout 12"/>
          <p:cNvSpPr/>
          <p:nvPr>
            <p:custDataLst>
              <p:tags r:id="rId6"/>
            </p:custDataLst>
          </p:nvPr>
        </p:nvSpPr>
        <p:spPr>
          <a:xfrm rot="10800000">
            <a:off x="448245" y="1633534"/>
            <a:ext cx="1179436" cy="1411494"/>
          </a:xfrm>
          <a:prstGeom prst="upArrowCallout">
            <a:avLst>
              <a:gd name="adj1" fmla="val 25000"/>
              <a:gd name="adj2" fmla="val 25000"/>
              <a:gd name="adj3" fmla="val 25000"/>
              <a:gd name="adj4" fmla="val 51405"/>
            </a:avLst>
          </a:prstGeom>
          <a:solidFill>
            <a:schemeClr val="accent1"/>
          </a:solidFill>
          <a:ln w="25400" cap="flat" cmpd="sng" algn="ctr">
            <a:noFill/>
            <a:prstDash val="solid"/>
          </a:ln>
          <a:effectLst/>
          <a:scene3d>
            <a:camera prst="orthographicFront">
              <a:rot lat="0" lon="0" rev="0"/>
            </a:camera>
            <a:lightRig rig="threePt" dir="t"/>
          </a:scene3d>
        </p:spPr>
        <p:txBody>
          <a:bodyPr lIns="129909" tIns="64954" rIns="129909" bIns="64954" rtlCol="0" anchor="ctr"/>
          <a:lstStyle/>
          <a:p>
            <a:pPr algn="ctr" rtl="0">
              <a:lnSpc>
                <a:spcPct val="85000"/>
              </a:lnSpc>
              <a:defRPr/>
            </a:pPr>
            <a:endParaRPr lang="en-US" sz="2300" dirty="0">
              <a:solidFill>
                <a:prstClr val="white"/>
              </a:solidFill>
              <a:latin typeface="微软雅黑" pitchFamily="34" charset="-122"/>
              <a:ea typeface="微软雅黑" pitchFamily="34" charset="-122"/>
              <a:cs typeface="Arial" pitchFamily="34" charset="0"/>
            </a:endParaRPr>
          </a:p>
        </p:txBody>
      </p:sp>
      <p:sp>
        <p:nvSpPr>
          <p:cNvPr id="14" name="TextBox 13"/>
          <p:cNvSpPr txBox="1"/>
          <p:nvPr>
            <p:custDataLst>
              <p:tags r:id="rId7"/>
            </p:custDataLst>
          </p:nvPr>
        </p:nvSpPr>
        <p:spPr>
          <a:xfrm>
            <a:off x="424365" y="1780349"/>
            <a:ext cx="1255587" cy="470921"/>
          </a:xfrm>
          <a:prstGeom prst="rect">
            <a:avLst/>
          </a:prstGeom>
          <a:noFill/>
        </p:spPr>
        <p:txBody>
          <a:bodyPr wrap="square" lIns="129909" tIns="64954" rIns="129909" bIns="64954" rtlCol="0">
            <a:spAutoFit/>
          </a:bodyPr>
          <a:lstStyle/>
          <a:p>
            <a:pPr algn="ctr">
              <a:lnSpc>
                <a:spcPts val="1279"/>
              </a:lnSpc>
              <a:defRPr/>
            </a:pPr>
            <a:r>
              <a:rPr lang="en-US" sz="1400" dirty="0">
                <a:solidFill>
                  <a:srgbClr val="FFFFFF"/>
                </a:solidFill>
                <a:latin typeface="微软雅黑" pitchFamily="34" charset="-122"/>
                <a:ea typeface="微软雅黑" pitchFamily="34" charset="-122"/>
                <a:cs typeface="Arial" pitchFamily="34" charset="0"/>
              </a:rPr>
              <a:t>Ecosystem partner</a:t>
            </a:r>
          </a:p>
        </p:txBody>
      </p:sp>
      <p:grpSp>
        <p:nvGrpSpPr>
          <p:cNvPr id="15" name="Group 14"/>
          <p:cNvGrpSpPr/>
          <p:nvPr/>
        </p:nvGrpSpPr>
        <p:grpSpPr>
          <a:xfrm>
            <a:off x="502684" y="5138481"/>
            <a:ext cx="4037264" cy="1047844"/>
            <a:chOff x="354011" y="3612994"/>
            <a:chExt cx="2843213" cy="736765"/>
          </a:xfrm>
        </p:grpSpPr>
        <p:sp>
          <p:nvSpPr>
            <p:cNvPr id="7" name="Round Diagonal Corner Rectangle 6"/>
            <p:cNvSpPr/>
            <p:nvPr>
              <p:custDataLst>
                <p:tags r:id="rId9"/>
              </p:custDataLst>
            </p:nvPr>
          </p:nvSpPr>
          <p:spPr>
            <a:xfrm flipH="1">
              <a:off x="354011" y="3612994"/>
              <a:ext cx="2843213" cy="736765"/>
            </a:xfrm>
            <a:prstGeom prst="round2DiagRect">
              <a:avLst/>
            </a:prstGeom>
            <a:solidFill>
              <a:schemeClr val="accent4">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lIns="91440" tIns="45720" rtlCol="0" anchor="ctr"/>
            <a:lstStyle/>
            <a:p>
              <a:pPr algn="ctr" defTabSz="1299088" fontAlgn="auto">
                <a:lnSpc>
                  <a:spcPct val="85000"/>
                </a:lnSpc>
                <a:spcBef>
                  <a:spcPts val="0"/>
                </a:spcBef>
                <a:spcAft>
                  <a:spcPts val="0"/>
                </a:spcAft>
                <a:defRPr/>
              </a:pPr>
              <a:endParaRPr lang="en-US" sz="2300" b="0" kern="0" dirty="0">
                <a:solidFill>
                  <a:prstClr val="white"/>
                </a:solidFill>
                <a:latin typeface="微软雅黑" pitchFamily="34" charset="-122"/>
                <a:ea typeface="微软雅黑" pitchFamily="34" charset="-122"/>
                <a:cs typeface="Arial" pitchFamily="34" charset="0"/>
              </a:endParaRPr>
            </a:p>
          </p:txBody>
        </p:sp>
        <p:grpSp>
          <p:nvGrpSpPr>
            <p:cNvPr id="8" name="Group 7"/>
            <p:cNvGrpSpPr/>
            <p:nvPr/>
          </p:nvGrpSpPr>
          <p:grpSpPr>
            <a:xfrm>
              <a:off x="533601" y="3654646"/>
              <a:ext cx="2428150" cy="637704"/>
              <a:chOff x="451529" y="3654646"/>
              <a:chExt cx="2428150" cy="637704"/>
            </a:xfrm>
          </p:grpSpPr>
          <p:pic>
            <p:nvPicPr>
              <p:cNvPr id="19" name="Picture 94"/>
              <p:cNvPicPr>
                <a:picLocks noChangeAspect="1" noChangeArrowheads="1"/>
              </p:cNvPicPr>
              <p:nvPr/>
            </p:nvPicPr>
            <p:blipFill>
              <a:blip r:embed="rId14" cstate="print">
                <a:duotone>
                  <a:prstClr val="black"/>
                  <a:schemeClr val="accent4">
                    <a:tint val="45000"/>
                    <a:satMod val="400000"/>
                  </a:schemeClr>
                </a:duotone>
                <a:extLst>
                  <a:ext uri="{28A0092B-C50C-407E-A947-70E740481C1C}">
                    <a14:useLocalDpi xmlns:a14="http://schemas.microsoft.com/office/drawing/2010/main"/>
                  </a:ext>
                </a:extLst>
              </a:blip>
              <a:srcRect/>
              <a:stretch>
                <a:fillRect/>
              </a:stretch>
            </p:blipFill>
            <p:spPr bwMode="auto">
              <a:xfrm>
                <a:off x="1235067" y="3988033"/>
                <a:ext cx="760791" cy="3043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6" name="Group 5"/>
              <p:cNvGrpSpPr/>
              <p:nvPr/>
            </p:nvGrpSpPr>
            <p:grpSpPr>
              <a:xfrm>
                <a:off x="451529" y="3654646"/>
                <a:ext cx="2428150" cy="309934"/>
                <a:chOff x="451529" y="3654646"/>
                <a:chExt cx="2428150" cy="309934"/>
              </a:xfrm>
            </p:grpSpPr>
            <p:pic>
              <p:nvPicPr>
                <p:cNvPr id="16" name="Picture 1" descr="C:\Users\chungd\Desktop\DVLabs.png"/>
                <p:cNvPicPr>
                  <a:picLocks noChangeAspect="1" noChangeArrowheads="1"/>
                </p:cNvPicPr>
                <p:nvPr/>
              </p:nvPicPr>
              <p:blipFill>
                <a:blip r:embed="rId15" cstate="print">
                  <a:biLevel thresh="75000"/>
                  <a:extLst>
                    <a:ext uri="{BEBA8EAE-BF5A-486C-A8C5-ECC9F3942E4B}">
                      <a14:imgProps xmlns:a14="http://schemas.microsoft.com/office/drawing/2010/main">
                        <a14:imgLayer r:embed="rId16">
                          <a14:imgEffect>
                            <a14:brightnessContrast bright="-40000" contrast="-40000"/>
                          </a14:imgEffect>
                        </a14:imgLayer>
                      </a14:imgProps>
                    </a:ext>
                  </a:extLst>
                </a:blip>
                <a:srcRect/>
                <a:stretch>
                  <a:fillRect/>
                </a:stretch>
              </p:blipFill>
              <p:spPr bwMode="auto">
                <a:xfrm>
                  <a:off x="451529" y="3672039"/>
                  <a:ext cx="994911" cy="292541"/>
                </a:xfrm>
                <a:prstGeom prst="rect">
                  <a:avLst/>
                </a:prstGeom>
                <a:noFill/>
              </p:spPr>
            </p:pic>
            <p:sp>
              <p:nvSpPr>
                <p:cNvPr id="20" name="Rectangle 19"/>
                <p:cNvSpPr/>
                <p:nvPr/>
              </p:nvSpPr>
              <p:spPr>
                <a:xfrm>
                  <a:off x="2121161" y="3654646"/>
                  <a:ext cx="758518" cy="308456"/>
                </a:xfrm>
                <a:prstGeom prst="rect">
                  <a:avLst/>
                </a:prstGeom>
                <a:solidFill>
                  <a:schemeClr val="bg1">
                    <a:lumMod val="75000"/>
                  </a:schemeClr>
                </a:solidFill>
                <a:ln>
                  <a:solidFill>
                    <a:schemeClr val="bg1">
                      <a:lumMod val="65000"/>
                    </a:schemeClr>
                  </a:solidFill>
                </a:ln>
                <a:effectLst/>
              </p:spPr>
              <p:txBody>
                <a:bodyPr wrap="none" tIns="91440" anchor="ctr">
                  <a:noAutofit/>
                </a:bodyPr>
                <a:lstStyle/>
                <a:p>
                  <a:pPr algn="ctr">
                    <a:lnSpc>
                      <a:spcPct val="80000"/>
                    </a:lnSpc>
                    <a:spcBef>
                      <a:spcPts val="615"/>
                    </a:spcBef>
                  </a:pPr>
                  <a:r>
                    <a:rPr lang="en-US" b="1" dirty="0" smtClean="0">
                      <a:latin typeface="微软雅黑" pitchFamily="34" charset="-122"/>
                      <a:ea typeface="微软雅黑" pitchFamily="34" charset="-122"/>
                      <a:cs typeface="Miriam" pitchFamily="34" charset="-79"/>
                    </a:rPr>
                    <a:t>ESS</a:t>
                  </a:r>
                  <a:endParaRPr lang="pl-PL" b="1" dirty="0">
                    <a:latin typeface="微软雅黑" pitchFamily="34" charset="-122"/>
                    <a:ea typeface="微软雅黑" pitchFamily="34" charset="-122"/>
                    <a:cs typeface="Miriam" pitchFamily="34" charset="-79"/>
                  </a:endParaRPr>
                </a:p>
              </p:txBody>
            </p:sp>
          </p:grpSp>
        </p:grpSp>
      </p:grpSp>
      <p:sp>
        <p:nvSpPr>
          <p:cNvPr id="21" name="Right Arrow 20"/>
          <p:cNvSpPr/>
          <p:nvPr/>
        </p:nvSpPr>
        <p:spPr>
          <a:xfrm rot="16200000">
            <a:off x="780155" y="4646906"/>
            <a:ext cx="474327" cy="593807"/>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9909" tIns="64954" rIns="129909" bIns="64954" rtlCol="0" anchor="ctr"/>
          <a:lstStyle/>
          <a:p>
            <a:pPr algn="ctr"/>
            <a:endParaRPr lang="en-US" dirty="0">
              <a:latin typeface="微软雅黑" pitchFamily="34" charset="-122"/>
              <a:ea typeface="微软雅黑" pitchFamily="34" charset="-122"/>
            </a:endParaRPr>
          </a:p>
        </p:txBody>
      </p:sp>
      <p:sp>
        <p:nvSpPr>
          <p:cNvPr id="22" name="Right Arrow 21"/>
          <p:cNvSpPr/>
          <p:nvPr/>
        </p:nvSpPr>
        <p:spPr>
          <a:xfrm rot="16200000">
            <a:off x="2200997" y="4646903"/>
            <a:ext cx="474321" cy="593807"/>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9909" tIns="64954" rIns="129909" bIns="64954" rtlCol="0" anchor="ctr"/>
          <a:lstStyle/>
          <a:p>
            <a:pPr algn="ctr"/>
            <a:endParaRPr lang="en-US" dirty="0">
              <a:latin typeface="微软雅黑" pitchFamily="34" charset="-122"/>
              <a:ea typeface="微软雅黑" pitchFamily="34" charset="-122"/>
            </a:endParaRPr>
          </a:p>
        </p:txBody>
      </p:sp>
      <p:sp>
        <p:nvSpPr>
          <p:cNvPr id="23" name="Right Arrow 22"/>
          <p:cNvSpPr/>
          <p:nvPr/>
        </p:nvSpPr>
        <p:spPr>
          <a:xfrm rot="16200000">
            <a:off x="3433694" y="4636127"/>
            <a:ext cx="474321" cy="593807"/>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9909" tIns="64954" rIns="129909" bIns="64954" rtlCol="0" anchor="ctr"/>
          <a:lstStyle/>
          <a:p>
            <a:pPr algn="ctr"/>
            <a:endParaRPr lang="en-US" dirty="0">
              <a:latin typeface="微软雅黑" pitchFamily="34" charset="-122"/>
              <a:ea typeface="微软雅黑" pitchFamily="34" charset="-122"/>
            </a:endParaRPr>
          </a:p>
        </p:txBody>
      </p:sp>
      <p:grpSp>
        <p:nvGrpSpPr>
          <p:cNvPr id="4" name="Group 3"/>
          <p:cNvGrpSpPr/>
          <p:nvPr/>
        </p:nvGrpSpPr>
        <p:grpSpPr>
          <a:xfrm>
            <a:off x="448243" y="3068217"/>
            <a:ext cx="4063924" cy="1649133"/>
            <a:chOff x="773214" y="1939526"/>
            <a:chExt cx="2250978" cy="911994"/>
          </a:xfrm>
        </p:grpSpPr>
        <p:sp>
          <p:nvSpPr>
            <p:cNvPr id="30" name="Round Diagonal Corner Rectangle 29"/>
            <p:cNvSpPr/>
            <p:nvPr>
              <p:custDataLst>
                <p:tags r:id="rId8"/>
              </p:custDataLst>
            </p:nvPr>
          </p:nvSpPr>
          <p:spPr>
            <a:xfrm flipH="1">
              <a:off x="773214" y="1939526"/>
              <a:ext cx="2250978" cy="911994"/>
            </a:xfrm>
            <a:prstGeom prst="round2DiagRect">
              <a:avLst>
                <a:gd name="adj1" fmla="val 13138"/>
                <a:gd name="adj2" fmla="val 0"/>
              </a:avLst>
            </a:prstGeom>
            <a:solidFill>
              <a:schemeClr val="bg1">
                <a:lumMod val="85000"/>
              </a:schemeClr>
            </a:solidFill>
            <a:ln>
              <a:noFill/>
            </a:ln>
          </p:spPr>
          <p:style>
            <a:lnRef idx="2">
              <a:schemeClr val="accent5"/>
            </a:lnRef>
            <a:fillRef idx="1">
              <a:schemeClr val="lt1"/>
            </a:fillRef>
            <a:effectRef idx="0">
              <a:schemeClr val="accent5"/>
            </a:effectRef>
            <a:fontRef idx="minor">
              <a:schemeClr val="dk1"/>
            </a:fontRef>
          </p:style>
          <p:txBody>
            <a:bodyPr lIns="91440" tIns="45720" rtlCol="0" anchor="ctr"/>
            <a:lstStyle/>
            <a:p>
              <a:pPr algn="ctr" defTabSz="1299088" fontAlgn="auto">
                <a:lnSpc>
                  <a:spcPct val="85000"/>
                </a:lnSpc>
                <a:spcBef>
                  <a:spcPts val="0"/>
                </a:spcBef>
                <a:spcAft>
                  <a:spcPts val="0"/>
                </a:spcAft>
                <a:defRPr/>
              </a:pPr>
              <a:endParaRPr lang="en-US" sz="2300" b="0" kern="0" dirty="0">
                <a:solidFill>
                  <a:prstClr val="white"/>
                </a:solidFill>
                <a:latin typeface="微软雅黑" pitchFamily="34" charset="-122"/>
                <a:ea typeface="微软雅黑" pitchFamily="34" charset="-122"/>
                <a:cs typeface="Arial" pitchFamily="34" charset="0"/>
              </a:endParaRPr>
            </a:p>
          </p:txBody>
        </p:sp>
        <p:pic>
          <p:nvPicPr>
            <p:cNvPr id="18" name="Picture 2"/>
            <p:cNvPicPr>
              <a:picLocks noChangeAspect="1" noChangeArrowheads="1"/>
            </p:cNvPicPr>
            <p:nvPr/>
          </p:nvPicPr>
          <p:blipFill>
            <a:blip r:embed="rId17" cstate="print">
              <a:extLst>
                <a:ext uri="{28A0092B-C50C-407E-A947-70E740481C1C}">
                  <a14:useLocalDpi xmlns:a14="http://schemas.microsoft.com/office/drawing/2010/main"/>
                </a:ext>
              </a:extLst>
            </a:blip>
            <a:srcRect/>
            <a:stretch>
              <a:fillRect/>
            </a:stretch>
          </p:blipFill>
          <p:spPr bwMode="auto">
            <a:xfrm>
              <a:off x="1094196" y="1943913"/>
              <a:ext cx="1609014" cy="7463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9" name="Rectangle 28"/>
            <p:cNvSpPr/>
            <p:nvPr/>
          </p:nvSpPr>
          <p:spPr>
            <a:xfrm>
              <a:off x="972507" y="2646875"/>
              <a:ext cx="1852393" cy="187225"/>
            </a:xfrm>
            <a:prstGeom prst="rect">
              <a:avLst/>
            </a:prstGeom>
          </p:spPr>
          <p:txBody>
            <a:bodyPr wrap="square">
              <a:spAutoFit/>
            </a:bodyPr>
            <a:lstStyle/>
            <a:p>
              <a:pPr algn="ctr">
                <a:lnSpc>
                  <a:spcPct val="80000"/>
                </a:lnSpc>
                <a:spcBef>
                  <a:spcPts val="615"/>
                </a:spcBef>
              </a:pPr>
              <a:r>
                <a:rPr lang="pl-PL" sz="2000" dirty="0">
                  <a:solidFill>
                    <a:schemeClr val="accent1"/>
                  </a:solidFill>
                  <a:latin typeface="微软雅黑" pitchFamily="34" charset="-122"/>
                  <a:ea typeface="微软雅黑" pitchFamily="34" charset="-122"/>
                </a:rPr>
                <a:t>HP </a:t>
              </a:r>
              <a:r>
                <a:rPr lang="en-US" sz="2000" dirty="0">
                  <a:solidFill>
                    <a:schemeClr val="accent1"/>
                  </a:solidFill>
                  <a:latin typeface="微软雅黑" pitchFamily="34" charset="-122"/>
                  <a:ea typeface="微软雅黑" pitchFamily="34" charset="-122"/>
                </a:rPr>
                <a:t>Security </a:t>
              </a:r>
              <a:r>
                <a:rPr lang="pl-PL" sz="2000" dirty="0">
                  <a:solidFill>
                    <a:schemeClr val="accent1"/>
                  </a:solidFill>
                  <a:latin typeface="微软雅黑" pitchFamily="34" charset="-122"/>
                  <a:ea typeface="微软雅黑" pitchFamily="34" charset="-122"/>
                </a:rPr>
                <a:t>Research</a:t>
              </a:r>
            </a:p>
          </p:txBody>
        </p:sp>
      </p:grpSp>
      <p:sp>
        <p:nvSpPr>
          <p:cNvPr id="27" name="Text Box 15"/>
          <p:cNvSpPr txBox="1">
            <a:spLocks noChangeArrowheads="1"/>
          </p:cNvSpPr>
          <p:nvPr/>
        </p:nvSpPr>
        <p:spPr bwMode="auto">
          <a:xfrm>
            <a:off x="369576" y="992211"/>
            <a:ext cx="3714913" cy="621609"/>
          </a:xfrm>
          <a:prstGeom prst="rect">
            <a:avLst/>
          </a:prstGeom>
          <a:noFill/>
          <a:ln>
            <a:noFill/>
          </a:ln>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lIns="129909" tIns="129909" rIns="129909" bIns="64954" rtlCol="0" anchor="t"/>
          <a:lstStyle>
            <a:defPPr>
              <a:defRPr lang="en-US"/>
            </a:defPPr>
            <a:lvl1pPr algn="ctr">
              <a:defRPr sz="1400" b="1">
                <a:solidFill>
                  <a:schemeClr val="accent1"/>
                </a:solidFill>
                <a:latin typeface="HP Simplified" pitchFamily="34" charset="0"/>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algn="l"/>
            <a:r>
              <a:rPr lang="zh-CN" altLang="en-US" sz="2800" dirty="0">
                <a:latin typeface="微软雅黑" pitchFamily="34" charset="-122"/>
                <a:ea typeface="微软雅黑" pitchFamily="34" charset="-122"/>
              </a:rPr>
              <a:t>创新研究</a:t>
            </a:r>
            <a:endParaRPr lang="en-US" sz="2800" dirty="0">
              <a:latin typeface="微软雅黑" pitchFamily="34" charset="-122"/>
              <a:ea typeface="微软雅黑" pitchFamily="34" charset="-122"/>
            </a:endParaRPr>
          </a:p>
        </p:txBody>
      </p:sp>
      <p:sp>
        <p:nvSpPr>
          <p:cNvPr id="28" name="Text Box 15"/>
          <p:cNvSpPr txBox="1">
            <a:spLocks noChangeArrowheads="1"/>
          </p:cNvSpPr>
          <p:nvPr/>
        </p:nvSpPr>
        <p:spPr bwMode="auto">
          <a:xfrm>
            <a:off x="2141253" y="6097072"/>
            <a:ext cx="5057138" cy="679269"/>
          </a:xfrm>
          <a:prstGeom prst="rect">
            <a:avLst/>
          </a:prstGeom>
          <a:noFill/>
          <a:ln>
            <a:noFill/>
          </a:ln>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lIns="129909" tIns="129909" rIns="129909" bIns="64954" rtlCol="0" anchor="t"/>
          <a:lstStyle>
            <a:defPPr>
              <a:defRPr lang="en-US"/>
            </a:defPPr>
            <a:lvl1pPr algn="ctr">
              <a:defRPr sz="1400" b="1">
                <a:solidFill>
                  <a:schemeClr val="accent1"/>
                </a:solidFill>
                <a:latin typeface="HP Simplified" pitchFamily="34" charset="0"/>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algn="l"/>
            <a:r>
              <a:rPr lang="zh-CN" altLang="en-US" sz="2800" dirty="0">
                <a:latin typeface="微软雅黑" pitchFamily="34" charset="-122"/>
                <a:ea typeface="微软雅黑" pitchFamily="34" charset="-122"/>
              </a:rPr>
              <a:t>信息安全研究领域的领导者</a:t>
            </a:r>
            <a:endParaRPr lang="en-US" sz="2800" dirty="0">
              <a:latin typeface="微软雅黑" pitchFamily="34" charset="-122"/>
              <a:ea typeface="微软雅黑" pitchFamily="34" charset="-122"/>
            </a:endParaRPr>
          </a:p>
        </p:txBody>
      </p:sp>
      <p:grpSp>
        <p:nvGrpSpPr>
          <p:cNvPr id="46" name="Group 45"/>
          <p:cNvGrpSpPr/>
          <p:nvPr/>
        </p:nvGrpSpPr>
        <p:grpSpPr>
          <a:xfrm>
            <a:off x="6392535" y="2806298"/>
            <a:ext cx="5734618" cy="2610766"/>
            <a:chOff x="4469811" y="1973178"/>
            <a:chExt cx="4038562" cy="1835695"/>
          </a:xfrm>
        </p:grpSpPr>
        <p:sp>
          <p:nvSpPr>
            <p:cNvPr id="17" name="Round Diagonal Corner Rectangle 16"/>
            <p:cNvSpPr/>
            <p:nvPr/>
          </p:nvSpPr>
          <p:spPr>
            <a:xfrm flipH="1">
              <a:off x="4525963" y="1973178"/>
              <a:ext cx="3976353" cy="1835695"/>
            </a:xfrm>
            <a:prstGeom prst="round2DiagRect">
              <a:avLst>
                <a:gd name="adj1" fmla="val 7265"/>
                <a:gd name="adj2"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微软雅黑" pitchFamily="34" charset="-122"/>
                <a:ea typeface="微软雅黑" pitchFamily="34" charset="-122"/>
              </a:endParaRPr>
            </a:p>
          </p:txBody>
        </p:sp>
        <p:sp>
          <p:nvSpPr>
            <p:cNvPr id="31" name="Rectangle 30"/>
            <p:cNvSpPr/>
            <p:nvPr/>
          </p:nvSpPr>
          <p:spPr>
            <a:xfrm>
              <a:off x="4469811" y="2489172"/>
              <a:ext cx="4038562" cy="1174000"/>
            </a:xfrm>
            <a:prstGeom prst="rect">
              <a:avLst/>
            </a:prstGeom>
          </p:spPr>
          <p:txBody>
            <a:bodyPr wrap="square">
              <a:spAutoFit/>
            </a:bodyPr>
            <a:lstStyle/>
            <a:p>
              <a:pPr marL="157875" indent="-157875">
                <a:spcAft>
                  <a:spcPts val="852"/>
                </a:spcAft>
                <a:buClr>
                  <a:srgbClr val="FFFFFF"/>
                </a:buClr>
                <a:buSzPct val="80000"/>
                <a:buFont typeface="Arial" panose="020B0604020202020204" pitchFamily="34" charset="0"/>
                <a:buChar char="•"/>
                <a:defRPr/>
              </a:pPr>
              <a:r>
                <a:rPr lang="zh-CN" altLang="en-US" sz="2000" dirty="0">
                  <a:solidFill>
                    <a:srgbClr val="FFFFFF"/>
                  </a:solidFill>
                  <a:latin typeface="微软雅黑" pitchFamily="34" charset="-122"/>
                  <a:ea typeface="微软雅黑" pitchFamily="34" charset="-122"/>
                  <a:cs typeface="Arial" pitchFamily="34" charset="0"/>
                </a:rPr>
                <a:t>自动集成惠普其它产品</a:t>
              </a:r>
              <a:endParaRPr lang="en-US" altLang="zh-CN" sz="2000" dirty="0">
                <a:solidFill>
                  <a:srgbClr val="FFFFFF"/>
                </a:solidFill>
                <a:latin typeface="微软雅黑" pitchFamily="34" charset="-122"/>
                <a:ea typeface="微软雅黑" pitchFamily="34" charset="-122"/>
                <a:cs typeface="Arial" pitchFamily="34" charset="0"/>
              </a:endParaRPr>
            </a:p>
            <a:p>
              <a:pPr marL="157875" indent="-157875">
                <a:spcAft>
                  <a:spcPts val="852"/>
                </a:spcAft>
                <a:buClr>
                  <a:srgbClr val="FFFFFF"/>
                </a:buClr>
                <a:buSzPct val="80000"/>
                <a:buFont typeface="Arial" panose="020B0604020202020204" pitchFamily="34" charset="0"/>
                <a:buChar char="•"/>
                <a:defRPr/>
              </a:pPr>
              <a:r>
                <a:rPr lang="zh-CN" altLang="en-US" sz="2000" dirty="0">
                  <a:solidFill>
                    <a:srgbClr val="FFFFFF"/>
                  </a:solidFill>
                  <a:latin typeface="微软雅黑" pitchFamily="34" charset="-122"/>
                  <a:ea typeface="微软雅黑" pitchFamily="34" charset="-122"/>
                  <a:cs typeface="Arial" pitchFamily="34" charset="0"/>
                </a:rPr>
                <a:t>惠普发现的安全漏洞超过市场发现总和</a:t>
              </a:r>
              <a:endParaRPr lang="en-US" altLang="zh-CN" sz="2000" dirty="0">
                <a:solidFill>
                  <a:srgbClr val="FFFFFF"/>
                </a:solidFill>
                <a:latin typeface="微软雅黑" pitchFamily="34" charset="-122"/>
                <a:ea typeface="微软雅黑" pitchFamily="34" charset="-122"/>
                <a:cs typeface="Arial" pitchFamily="34" charset="0"/>
              </a:endParaRPr>
            </a:p>
            <a:p>
              <a:pPr marL="157875" indent="-157875">
                <a:spcAft>
                  <a:spcPts val="852"/>
                </a:spcAft>
                <a:buClr>
                  <a:srgbClr val="FFFFFF"/>
                </a:buClr>
                <a:buSzPct val="80000"/>
                <a:buFont typeface="Arial" panose="020B0604020202020204" pitchFamily="34" charset="0"/>
                <a:buChar char="•"/>
                <a:defRPr/>
              </a:pPr>
              <a:r>
                <a:rPr lang="zh-CN" altLang="en-US" sz="2000" dirty="0">
                  <a:solidFill>
                    <a:srgbClr val="FFFFFF"/>
                  </a:solidFill>
                  <a:latin typeface="微软雅黑" pitchFamily="34" charset="-122"/>
                  <a:ea typeface="微软雅黑" pitchFamily="34" charset="-122"/>
                </a:rPr>
                <a:t>过去三年顶级信息安全漏洞研究机构</a:t>
              </a:r>
              <a:endParaRPr lang="en-US" altLang="zh-CN" sz="2000" dirty="0">
                <a:solidFill>
                  <a:srgbClr val="FFFFFF"/>
                </a:solidFill>
                <a:latin typeface="微软雅黑" pitchFamily="34" charset="-122"/>
                <a:ea typeface="微软雅黑" pitchFamily="34" charset="-122"/>
              </a:endParaRPr>
            </a:p>
            <a:p>
              <a:pPr marL="157875" indent="-157875">
                <a:spcAft>
                  <a:spcPts val="852"/>
                </a:spcAft>
                <a:buClr>
                  <a:srgbClr val="FFFFFF"/>
                </a:buClr>
                <a:buSzPct val="80000"/>
                <a:buFont typeface="Arial" panose="020B0604020202020204" pitchFamily="34" charset="0"/>
                <a:buChar char="•"/>
                <a:defRPr/>
              </a:pPr>
              <a:r>
                <a:rPr lang="en-US" sz="2000" dirty="0">
                  <a:solidFill>
                    <a:srgbClr val="FFFFFF"/>
                  </a:solidFill>
                  <a:latin typeface="微软雅黑" pitchFamily="34" charset="-122"/>
                  <a:ea typeface="微软雅黑" pitchFamily="34" charset="-122"/>
                </a:rPr>
                <a:t>                                    —Frost &amp; Sullivan</a:t>
              </a:r>
              <a:endParaRPr lang="en-US" sz="2000" dirty="0">
                <a:solidFill>
                  <a:srgbClr val="FFFFFF"/>
                </a:solidFill>
                <a:latin typeface="微软雅黑" pitchFamily="34" charset="-122"/>
                <a:ea typeface="微软雅黑" pitchFamily="34" charset="-122"/>
                <a:cs typeface="Arial" pitchFamily="34" charset="0"/>
              </a:endParaRPr>
            </a:p>
          </p:txBody>
        </p:sp>
        <p:sp>
          <p:nvSpPr>
            <p:cNvPr id="33" name="Text Box 15"/>
            <p:cNvSpPr txBox="1">
              <a:spLocks noChangeArrowheads="1"/>
            </p:cNvSpPr>
            <p:nvPr/>
          </p:nvSpPr>
          <p:spPr bwMode="auto">
            <a:xfrm>
              <a:off x="4543282" y="2019575"/>
              <a:ext cx="3786669" cy="467577"/>
            </a:xfrm>
            <a:prstGeom prst="rect">
              <a:avLst/>
            </a:prstGeom>
            <a:noFill/>
            <a:ln>
              <a:noFill/>
            </a:ln>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defPPr>
                <a:defRPr lang="en-US"/>
              </a:defPPr>
              <a:lvl1pPr algn="ctr">
                <a:defRPr sz="1400" b="1">
                  <a:solidFill>
                    <a:schemeClr val="accent1"/>
                  </a:solidFill>
                  <a:latin typeface="HP Simplified" pitchFamily="34" charset="0"/>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algn="l"/>
              <a:r>
                <a:rPr lang="zh-CN" altLang="en-US" sz="2800" dirty="0">
                  <a:solidFill>
                    <a:srgbClr val="FFFFFF"/>
                  </a:solidFill>
                  <a:latin typeface="微软雅黑" pitchFamily="34" charset="-122"/>
                  <a:ea typeface="微软雅黑" pitchFamily="34" charset="-122"/>
                </a:rPr>
                <a:t>信息安全智能</a:t>
              </a:r>
              <a:endParaRPr lang="en-US" sz="2800" dirty="0">
                <a:solidFill>
                  <a:srgbClr val="FFFFFF"/>
                </a:solidFill>
                <a:latin typeface="微软雅黑" pitchFamily="34" charset="-122"/>
                <a:ea typeface="微软雅黑" pitchFamily="34" charset="-122"/>
              </a:endParaRPr>
            </a:p>
          </p:txBody>
        </p:sp>
      </p:grpSp>
      <p:grpSp>
        <p:nvGrpSpPr>
          <p:cNvPr id="34" name="Group 33"/>
          <p:cNvGrpSpPr/>
          <p:nvPr/>
        </p:nvGrpSpPr>
        <p:grpSpPr>
          <a:xfrm>
            <a:off x="10502492" y="2030220"/>
            <a:ext cx="1445248" cy="793436"/>
            <a:chOff x="3497872" y="1961543"/>
            <a:chExt cx="1544883" cy="846789"/>
          </a:xfrm>
        </p:grpSpPr>
        <p:grpSp>
          <p:nvGrpSpPr>
            <p:cNvPr id="35" name="Group 34"/>
            <p:cNvGrpSpPr/>
            <p:nvPr/>
          </p:nvGrpSpPr>
          <p:grpSpPr>
            <a:xfrm>
              <a:off x="4196862" y="1961543"/>
              <a:ext cx="845893" cy="846789"/>
              <a:chOff x="0" y="0"/>
              <a:chExt cx="1503363" cy="1504950"/>
            </a:xfrm>
          </p:grpSpPr>
          <p:sp>
            <p:nvSpPr>
              <p:cNvPr id="39" name="Freeform 38"/>
              <p:cNvSpPr>
                <a:spLocks noEditPoints="1"/>
              </p:cNvSpPr>
              <p:nvPr/>
            </p:nvSpPr>
            <p:spPr bwMode="auto">
              <a:xfrm>
                <a:off x="511175" y="211137"/>
                <a:ext cx="992188" cy="1293813"/>
              </a:xfrm>
              <a:custGeom>
                <a:avLst/>
                <a:gdLst>
                  <a:gd name="T0" fmla="*/ 168 w 264"/>
                  <a:gd name="T1" fmla="*/ 0 h 344"/>
                  <a:gd name="T2" fmla="*/ 152 w 264"/>
                  <a:gd name="T3" fmla="*/ 0 h 344"/>
                  <a:gd name="T4" fmla="*/ 0 w 264"/>
                  <a:gd name="T5" fmla="*/ 0 h 344"/>
                  <a:gd name="T6" fmla="*/ 0 w 264"/>
                  <a:gd name="T7" fmla="*/ 320 h 344"/>
                  <a:gd name="T8" fmla="*/ 24 w 264"/>
                  <a:gd name="T9" fmla="*/ 344 h 344"/>
                  <a:gd name="T10" fmla="*/ 264 w 264"/>
                  <a:gd name="T11" fmla="*/ 344 h 344"/>
                  <a:gd name="T12" fmla="*/ 264 w 264"/>
                  <a:gd name="T13" fmla="*/ 112 h 344"/>
                  <a:gd name="T14" fmla="*/ 264 w 264"/>
                  <a:gd name="T15" fmla="*/ 96 h 344"/>
                  <a:gd name="T16" fmla="*/ 168 w 264"/>
                  <a:gd name="T17" fmla="*/ 0 h 344"/>
                  <a:gd name="T18" fmla="*/ 231 w 264"/>
                  <a:gd name="T19" fmla="*/ 96 h 344"/>
                  <a:gd name="T20" fmla="*/ 168 w 264"/>
                  <a:gd name="T21" fmla="*/ 96 h 344"/>
                  <a:gd name="T22" fmla="*/ 168 w 264"/>
                  <a:gd name="T23" fmla="*/ 33 h 344"/>
                  <a:gd name="T24" fmla="*/ 231 w 264"/>
                  <a:gd name="T25" fmla="*/ 96 h 344"/>
                  <a:gd name="T26" fmla="*/ 240 w 264"/>
                  <a:gd name="T27" fmla="*/ 320 h 344"/>
                  <a:gd name="T28" fmla="*/ 24 w 264"/>
                  <a:gd name="T29" fmla="*/ 320 h 344"/>
                  <a:gd name="T30" fmla="*/ 24 w 264"/>
                  <a:gd name="T31" fmla="*/ 24 h 344"/>
                  <a:gd name="T32" fmla="*/ 152 w 264"/>
                  <a:gd name="T33" fmla="*/ 24 h 344"/>
                  <a:gd name="T34" fmla="*/ 152 w 264"/>
                  <a:gd name="T35" fmla="*/ 96 h 344"/>
                  <a:gd name="T36" fmla="*/ 168 w 264"/>
                  <a:gd name="T37" fmla="*/ 112 h 344"/>
                  <a:gd name="T38" fmla="*/ 240 w 264"/>
                  <a:gd name="T39" fmla="*/ 112 h 344"/>
                  <a:gd name="T40" fmla="*/ 240 w 264"/>
                  <a:gd name="T41" fmla="*/ 320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4" h="344">
                    <a:moveTo>
                      <a:pt x="168" y="0"/>
                    </a:moveTo>
                    <a:cubicBezTo>
                      <a:pt x="152" y="0"/>
                      <a:pt x="152" y="0"/>
                      <a:pt x="152" y="0"/>
                    </a:cubicBezTo>
                    <a:cubicBezTo>
                      <a:pt x="0" y="0"/>
                      <a:pt x="0" y="0"/>
                      <a:pt x="0" y="0"/>
                    </a:cubicBezTo>
                    <a:cubicBezTo>
                      <a:pt x="0" y="320"/>
                      <a:pt x="0" y="320"/>
                      <a:pt x="0" y="320"/>
                    </a:cubicBezTo>
                    <a:cubicBezTo>
                      <a:pt x="0" y="333"/>
                      <a:pt x="11" y="344"/>
                      <a:pt x="24" y="344"/>
                    </a:cubicBezTo>
                    <a:cubicBezTo>
                      <a:pt x="264" y="344"/>
                      <a:pt x="264" y="344"/>
                      <a:pt x="264" y="344"/>
                    </a:cubicBezTo>
                    <a:cubicBezTo>
                      <a:pt x="264" y="112"/>
                      <a:pt x="264" y="112"/>
                      <a:pt x="264" y="112"/>
                    </a:cubicBezTo>
                    <a:cubicBezTo>
                      <a:pt x="264" y="96"/>
                      <a:pt x="264" y="96"/>
                      <a:pt x="264" y="96"/>
                    </a:cubicBezTo>
                    <a:lnTo>
                      <a:pt x="168" y="0"/>
                    </a:lnTo>
                    <a:close/>
                    <a:moveTo>
                      <a:pt x="231" y="96"/>
                    </a:moveTo>
                    <a:cubicBezTo>
                      <a:pt x="168" y="96"/>
                      <a:pt x="168" y="96"/>
                      <a:pt x="168" y="96"/>
                    </a:cubicBezTo>
                    <a:cubicBezTo>
                      <a:pt x="168" y="33"/>
                      <a:pt x="168" y="33"/>
                      <a:pt x="168" y="33"/>
                    </a:cubicBezTo>
                    <a:lnTo>
                      <a:pt x="231" y="96"/>
                    </a:lnTo>
                    <a:close/>
                    <a:moveTo>
                      <a:pt x="240" y="320"/>
                    </a:moveTo>
                    <a:cubicBezTo>
                      <a:pt x="24" y="320"/>
                      <a:pt x="24" y="320"/>
                      <a:pt x="24" y="320"/>
                    </a:cubicBezTo>
                    <a:cubicBezTo>
                      <a:pt x="24" y="24"/>
                      <a:pt x="24" y="24"/>
                      <a:pt x="24" y="24"/>
                    </a:cubicBezTo>
                    <a:cubicBezTo>
                      <a:pt x="152" y="24"/>
                      <a:pt x="152" y="24"/>
                      <a:pt x="152" y="24"/>
                    </a:cubicBezTo>
                    <a:cubicBezTo>
                      <a:pt x="152" y="96"/>
                      <a:pt x="152" y="96"/>
                      <a:pt x="152" y="96"/>
                    </a:cubicBezTo>
                    <a:cubicBezTo>
                      <a:pt x="152" y="105"/>
                      <a:pt x="159" y="112"/>
                      <a:pt x="168" y="112"/>
                    </a:cubicBezTo>
                    <a:cubicBezTo>
                      <a:pt x="240" y="112"/>
                      <a:pt x="240" y="112"/>
                      <a:pt x="240" y="112"/>
                    </a:cubicBezTo>
                    <a:lnTo>
                      <a:pt x="240" y="32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40" name="Rectangle 39"/>
              <p:cNvSpPr>
                <a:spLocks noChangeArrowheads="1"/>
              </p:cNvSpPr>
              <p:nvPr/>
            </p:nvSpPr>
            <p:spPr bwMode="auto">
              <a:xfrm>
                <a:off x="180975" y="587375"/>
                <a:ext cx="255588" cy="904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41" name="Rectangle 40"/>
              <p:cNvSpPr>
                <a:spLocks noChangeArrowheads="1"/>
              </p:cNvSpPr>
              <p:nvPr/>
            </p:nvSpPr>
            <p:spPr bwMode="auto">
              <a:xfrm>
                <a:off x="180975" y="406400"/>
                <a:ext cx="255588" cy="904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42" name="Rectangle 41"/>
              <p:cNvSpPr>
                <a:spLocks noChangeArrowheads="1"/>
              </p:cNvSpPr>
              <p:nvPr/>
            </p:nvSpPr>
            <p:spPr bwMode="auto">
              <a:xfrm>
                <a:off x="180975" y="768350"/>
                <a:ext cx="255588" cy="904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43" name="Rectangle 42"/>
              <p:cNvSpPr>
                <a:spLocks noChangeArrowheads="1"/>
              </p:cNvSpPr>
              <p:nvPr/>
            </p:nvSpPr>
            <p:spPr bwMode="auto">
              <a:xfrm>
                <a:off x="180975" y="949325"/>
                <a:ext cx="255588" cy="889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44" name="Freeform 43"/>
              <p:cNvSpPr>
                <a:spLocks/>
              </p:cNvSpPr>
              <p:nvPr/>
            </p:nvSpPr>
            <p:spPr bwMode="auto">
              <a:xfrm>
                <a:off x="0" y="0"/>
                <a:ext cx="992188" cy="1295400"/>
              </a:xfrm>
              <a:custGeom>
                <a:avLst/>
                <a:gdLst>
                  <a:gd name="T0" fmla="*/ 240 w 264"/>
                  <a:gd name="T1" fmla="*/ 0 h 344"/>
                  <a:gd name="T2" fmla="*/ 0 w 264"/>
                  <a:gd name="T3" fmla="*/ 0 h 344"/>
                  <a:gd name="T4" fmla="*/ 0 w 264"/>
                  <a:gd name="T5" fmla="*/ 320 h 344"/>
                  <a:gd name="T6" fmla="*/ 24 w 264"/>
                  <a:gd name="T7" fmla="*/ 344 h 344"/>
                  <a:gd name="T8" fmla="*/ 120 w 264"/>
                  <a:gd name="T9" fmla="*/ 344 h 344"/>
                  <a:gd name="T10" fmla="*/ 120 w 264"/>
                  <a:gd name="T11" fmla="*/ 320 h 344"/>
                  <a:gd name="T12" fmla="*/ 24 w 264"/>
                  <a:gd name="T13" fmla="*/ 320 h 344"/>
                  <a:gd name="T14" fmla="*/ 24 w 264"/>
                  <a:gd name="T15" fmla="*/ 24 h 344"/>
                  <a:gd name="T16" fmla="*/ 240 w 264"/>
                  <a:gd name="T17" fmla="*/ 24 h 344"/>
                  <a:gd name="T18" fmla="*/ 240 w 264"/>
                  <a:gd name="T19" fmla="*/ 40 h 344"/>
                  <a:gd name="T20" fmla="*/ 264 w 264"/>
                  <a:gd name="T21" fmla="*/ 40 h 344"/>
                  <a:gd name="T22" fmla="*/ 264 w 264"/>
                  <a:gd name="T23" fmla="*/ 24 h 344"/>
                  <a:gd name="T24" fmla="*/ 240 w 264"/>
                  <a:gd name="T25" fmla="*/ 0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4" h="344">
                    <a:moveTo>
                      <a:pt x="240" y="0"/>
                    </a:moveTo>
                    <a:cubicBezTo>
                      <a:pt x="0" y="0"/>
                      <a:pt x="0" y="0"/>
                      <a:pt x="0" y="0"/>
                    </a:cubicBezTo>
                    <a:cubicBezTo>
                      <a:pt x="0" y="320"/>
                      <a:pt x="0" y="320"/>
                      <a:pt x="0" y="320"/>
                    </a:cubicBezTo>
                    <a:cubicBezTo>
                      <a:pt x="0" y="333"/>
                      <a:pt x="11" y="344"/>
                      <a:pt x="24" y="344"/>
                    </a:cubicBezTo>
                    <a:cubicBezTo>
                      <a:pt x="120" y="344"/>
                      <a:pt x="120" y="344"/>
                      <a:pt x="120" y="344"/>
                    </a:cubicBezTo>
                    <a:cubicBezTo>
                      <a:pt x="120" y="320"/>
                      <a:pt x="120" y="320"/>
                      <a:pt x="120" y="320"/>
                    </a:cubicBezTo>
                    <a:cubicBezTo>
                      <a:pt x="24" y="320"/>
                      <a:pt x="24" y="320"/>
                      <a:pt x="24" y="320"/>
                    </a:cubicBezTo>
                    <a:cubicBezTo>
                      <a:pt x="24" y="24"/>
                      <a:pt x="24" y="24"/>
                      <a:pt x="24" y="24"/>
                    </a:cubicBezTo>
                    <a:cubicBezTo>
                      <a:pt x="240" y="24"/>
                      <a:pt x="240" y="24"/>
                      <a:pt x="240" y="24"/>
                    </a:cubicBezTo>
                    <a:cubicBezTo>
                      <a:pt x="240" y="40"/>
                      <a:pt x="240" y="40"/>
                      <a:pt x="240" y="40"/>
                    </a:cubicBezTo>
                    <a:cubicBezTo>
                      <a:pt x="264" y="40"/>
                      <a:pt x="264" y="40"/>
                      <a:pt x="264" y="40"/>
                    </a:cubicBezTo>
                    <a:cubicBezTo>
                      <a:pt x="264" y="24"/>
                      <a:pt x="264" y="24"/>
                      <a:pt x="264" y="24"/>
                    </a:cubicBezTo>
                    <a:cubicBezTo>
                      <a:pt x="264" y="11"/>
                      <a:pt x="254" y="0"/>
                      <a:pt x="24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45" name="Freeform 44"/>
              <p:cNvSpPr>
                <a:spLocks noEditPoints="1"/>
              </p:cNvSpPr>
              <p:nvPr/>
            </p:nvSpPr>
            <p:spPr bwMode="auto">
              <a:xfrm>
                <a:off x="796925" y="688975"/>
                <a:ext cx="436563" cy="628650"/>
              </a:xfrm>
              <a:custGeom>
                <a:avLst/>
                <a:gdLst>
                  <a:gd name="T0" fmla="*/ 116 w 116"/>
                  <a:gd name="T1" fmla="*/ 58 h 167"/>
                  <a:gd name="T2" fmla="*/ 58 w 116"/>
                  <a:gd name="T3" fmla="*/ 0 h 167"/>
                  <a:gd name="T4" fmla="*/ 0 w 116"/>
                  <a:gd name="T5" fmla="*/ 58 h 167"/>
                  <a:gd name="T6" fmla="*/ 20 w 116"/>
                  <a:gd name="T7" fmla="*/ 102 h 167"/>
                  <a:gd name="T8" fmla="*/ 20 w 116"/>
                  <a:gd name="T9" fmla="*/ 102 h 167"/>
                  <a:gd name="T10" fmla="*/ 34 w 116"/>
                  <a:gd name="T11" fmla="*/ 135 h 167"/>
                  <a:gd name="T12" fmla="*/ 34 w 116"/>
                  <a:gd name="T13" fmla="*/ 143 h 167"/>
                  <a:gd name="T14" fmla="*/ 34 w 116"/>
                  <a:gd name="T15" fmla="*/ 143 h 167"/>
                  <a:gd name="T16" fmla="*/ 34 w 116"/>
                  <a:gd name="T17" fmla="*/ 145 h 167"/>
                  <a:gd name="T18" fmla="*/ 58 w 116"/>
                  <a:gd name="T19" fmla="*/ 167 h 167"/>
                  <a:gd name="T20" fmla="*/ 82 w 116"/>
                  <a:gd name="T21" fmla="*/ 145 h 167"/>
                  <a:gd name="T22" fmla="*/ 82 w 116"/>
                  <a:gd name="T23" fmla="*/ 143 h 167"/>
                  <a:gd name="T24" fmla="*/ 82 w 116"/>
                  <a:gd name="T25" fmla="*/ 143 h 167"/>
                  <a:gd name="T26" fmla="*/ 82 w 116"/>
                  <a:gd name="T27" fmla="*/ 135 h 167"/>
                  <a:gd name="T28" fmla="*/ 82 w 116"/>
                  <a:gd name="T29" fmla="*/ 135 h 167"/>
                  <a:gd name="T30" fmla="*/ 96 w 116"/>
                  <a:gd name="T31" fmla="*/ 102 h 167"/>
                  <a:gd name="T32" fmla="*/ 96 w 116"/>
                  <a:gd name="T33" fmla="*/ 102 h 167"/>
                  <a:gd name="T34" fmla="*/ 116 w 116"/>
                  <a:gd name="T35" fmla="*/ 58 h 167"/>
                  <a:gd name="T36" fmla="*/ 85 w 116"/>
                  <a:gd name="T37" fmla="*/ 90 h 167"/>
                  <a:gd name="T38" fmla="*/ 66 w 116"/>
                  <a:gd name="T39" fmla="*/ 127 h 167"/>
                  <a:gd name="T40" fmla="*/ 50 w 116"/>
                  <a:gd name="T41" fmla="*/ 127 h 167"/>
                  <a:gd name="T42" fmla="*/ 31 w 116"/>
                  <a:gd name="T43" fmla="*/ 90 h 167"/>
                  <a:gd name="T44" fmla="*/ 16 w 116"/>
                  <a:gd name="T45" fmla="*/ 58 h 167"/>
                  <a:gd name="T46" fmla="*/ 58 w 116"/>
                  <a:gd name="T47" fmla="*/ 16 h 167"/>
                  <a:gd name="T48" fmla="*/ 100 w 116"/>
                  <a:gd name="T49" fmla="*/ 58 h 167"/>
                  <a:gd name="T50" fmla="*/ 85 w 116"/>
                  <a:gd name="T51" fmla="*/ 9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6" h="167">
                    <a:moveTo>
                      <a:pt x="116" y="58"/>
                    </a:moveTo>
                    <a:cubicBezTo>
                      <a:pt x="116" y="26"/>
                      <a:pt x="90" y="0"/>
                      <a:pt x="58" y="0"/>
                    </a:cubicBezTo>
                    <a:cubicBezTo>
                      <a:pt x="26" y="0"/>
                      <a:pt x="0" y="26"/>
                      <a:pt x="0" y="58"/>
                    </a:cubicBezTo>
                    <a:cubicBezTo>
                      <a:pt x="0" y="76"/>
                      <a:pt x="8" y="92"/>
                      <a:pt x="20" y="102"/>
                    </a:cubicBezTo>
                    <a:cubicBezTo>
                      <a:pt x="20" y="102"/>
                      <a:pt x="20" y="102"/>
                      <a:pt x="20" y="102"/>
                    </a:cubicBezTo>
                    <a:cubicBezTo>
                      <a:pt x="30" y="110"/>
                      <a:pt x="35" y="122"/>
                      <a:pt x="34" y="135"/>
                    </a:cubicBezTo>
                    <a:cubicBezTo>
                      <a:pt x="34" y="143"/>
                      <a:pt x="34" y="143"/>
                      <a:pt x="34" y="143"/>
                    </a:cubicBezTo>
                    <a:cubicBezTo>
                      <a:pt x="34" y="143"/>
                      <a:pt x="34" y="143"/>
                      <a:pt x="34" y="143"/>
                    </a:cubicBezTo>
                    <a:cubicBezTo>
                      <a:pt x="34" y="144"/>
                      <a:pt x="34" y="145"/>
                      <a:pt x="34" y="145"/>
                    </a:cubicBezTo>
                    <a:cubicBezTo>
                      <a:pt x="34" y="159"/>
                      <a:pt x="50" y="167"/>
                      <a:pt x="58" y="167"/>
                    </a:cubicBezTo>
                    <a:cubicBezTo>
                      <a:pt x="66" y="167"/>
                      <a:pt x="82" y="159"/>
                      <a:pt x="82" y="145"/>
                    </a:cubicBezTo>
                    <a:cubicBezTo>
                      <a:pt x="82" y="145"/>
                      <a:pt x="82" y="144"/>
                      <a:pt x="82" y="143"/>
                    </a:cubicBezTo>
                    <a:cubicBezTo>
                      <a:pt x="82" y="143"/>
                      <a:pt x="82" y="143"/>
                      <a:pt x="82" y="143"/>
                    </a:cubicBezTo>
                    <a:cubicBezTo>
                      <a:pt x="82" y="135"/>
                      <a:pt x="82" y="135"/>
                      <a:pt x="82" y="135"/>
                    </a:cubicBezTo>
                    <a:cubicBezTo>
                      <a:pt x="82" y="135"/>
                      <a:pt x="82" y="135"/>
                      <a:pt x="82" y="135"/>
                    </a:cubicBezTo>
                    <a:cubicBezTo>
                      <a:pt x="81" y="122"/>
                      <a:pt x="86" y="110"/>
                      <a:pt x="96" y="102"/>
                    </a:cubicBezTo>
                    <a:cubicBezTo>
                      <a:pt x="96" y="102"/>
                      <a:pt x="96" y="102"/>
                      <a:pt x="96" y="102"/>
                    </a:cubicBezTo>
                    <a:cubicBezTo>
                      <a:pt x="108" y="92"/>
                      <a:pt x="116" y="76"/>
                      <a:pt x="116" y="58"/>
                    </a:cubicBezTo>
                    <a:close/>
                    <a:moveTo>
                      <a:pt x="85" y="90"/>
                    </a:moveTo>
                    <a:cubicBezTo>
                      <a:pt x="74" y="99"/>
                      <a:pt x="68" y="113"/>
                      <a:pt x="66" y="127"/>
                    </a:cubicBezTo>
                    <a:cubicBezTo>
                      <a:pt x="50" y="127"/>
                      <a:pt x="50" y="127"/>
                      <a:pt x="50" y="127"/>
                    </a:cubicBezTo>
                    <a:cubicBezTo>
                      <a:pt x="48" y="113"/>
                      <a:pt x="42" y="99"/>
                      <a:pt x="31" y="90"/>
                    </a:cubicBezTo>
                    <a:cubicBezTo>
                      <a:pt x="21" y="82"/>
                      <a:pt x="16" y="70"/>
                      <a:pt x="16" y="58"/>
                    </a:cubicBezTo>
                    <a:cubicBezTo>
                      <a:pt x="16" y="35"/>
                      <a:pt x="35" y="16"/>
                      <a:pt x="58" y="16"/>
                    </a:cubicBezTo>
                    <a:cubicBezTo>
                      <a:pt x="81" y="16"/>
                      <a:pt x="100" y="35"/>
                      <a:pt x="100" y="58"/>
                    </a:cubicBezTo>
                    <a:cubicBezTo>
                      <a:pt x="100" y="70"/>
                      <a:pt x="95" y="82"/>
                      <a:pt x="85" y="9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grpSp>
        <p:grpSp>
          <p:nvGrpSpPr>
            <p:cNvPr id="36" name="Group 35"/>
            <p:cNvGrpSpPr/>
            <p:nvPr/>
          </p:nvGrpSpPr>
          <p:grpSpPr>
            <a:xfrm>
              <a:off x="3497872" y="2020459"/>
              <a:ext cx="647700" cy="728956"/>
              <a:chOff x="0" y="0"/>
              <a:chExt cx="1316037" cy="1481137"/>
            </a:xfrm>
          </p:grpSpPr>
          <p:sp>
            <p:nvSpPr>
              <p:cNvPr id="37" name="Freeform 36"/>
              <p:cNvSpPr>
                <a:spLocks noEditPoints="1"/>
              </p:cNvSpPr>
              <p:nvPr/>
            </p:nvSpPr>
            <p:spPr bwMode="auto">
              <a:xfrm>
                <a:off x="719137" y="0"/>
                <a:ext cx="596900" cy="1065213"/>
              </a:xfrm>
              <a:custGeom>
                <a:avLst/>
                <a:gdLst>
                  <a:gd name="T0" fmla="*/ 79 w 159"/>
                  <a:gd name="T1" fmla="*/ 88 h 284"/>
                  <a:gd name="T2" fmla="*/ 121 w 159"/>
                  <a:gd name="T3" fmla="*/ 44 h 284"/>
                  <a:gd name="T4" fmla="*/ 79 w 159"/>
                  <a:gd name="T5" fmla="*/ 0 h 284"/>
                  <a:gd name="T6" fmla="*/ 38 w 159"/>
                  <a:gd name="T7" fmla="*/ 44 h 284"/>
                  <a:gd name="T8" fmla="*/ 79 w 159"/>
                  <a:gd name="T9" fmla="*/ 88 h 284"/>
                  <a:gd name="T10" fmla="*/ 126 w 159"/>
                  <a:gd name="T11" fmla="*/ 101 h 284"/>
                  <a:gd name="T12" fmla="*/ 33 w 159"/>
                  <a:gd name="T13" fmla="*/ 101 h 284"/>
                  <a:gd name="T14" fmla="*/ 0 w 159"/>
                  <a:gd name="T15" fmla="*/ 136 h 284"/>
                  <a:gd name="T16" fmla="*/ 0 w 159"/>
                  <a:gd name="T17" fmla="*/ 161 h 284"/>
                  <a:gd name="T18" fmla="*/ 26 w 159"/>
                  <a:gd name="T19" fmla="*/ 187 h 284"/>
                  <a:gd name="T20" fmla="*/ 26 w 159"/>
                  <a:gd name="T21" fmla="*/ 145 h 284"/>
                  <a:gd name="T22" fmla="*/ 30 w 159"/>
                  <a:gd name="T23" fmla="*/ 142 h 284"/>
                  <a:gd name="T24" fmla="*/ 33 w 159"/>
                  <a:gd name="T25" fmla="*/ 145 h 284"/>
                  <a:gd name="T26" fmla="*/ 33 w 159"/>
                  <a:gd name="T27" fmla="*/ 194 h 284"/>
                  <a:gd name="T28" fmla="*/ 123 w 159"/>
                  <a:gd name="T29" fmla="*/ 284 h 284"/>
                  <a:gd name="T30" fmla="*/ 125 w 159"/>
                  <a:gd name="T31" fmla="*/ 261 h 284"/>
                  <a:gd name="T32" fmla="*/ 125 w 159"/>
                  <a:gd name="T33" fmla="*/ 261 h 284"/>
                  <a:gd name="T34" fmla="*/ 126 w 159"/>
                  <a:gd name="T35" fmla="*/ 246 h 284"/>
                  <a:gd name="T36" fmla="*/ 126 w 159"/>
                  <a:gd name="T37" fmla="*/ 145 h 284"/>
                  <a:gd name="T38" fmla="*/ 129 w 159"/>
                  <a:gd name="T39" fmla="*/ 142 h 284"/>
                  <a:gd name="T40" fmla="*/ 132 w 159"/>
                  <a:gd name="T41" fmla="*/ 145 h 284"/>
                  <a:gd name="T42" fmla="*/ 132 w 159"/>
                  <a:gd name="T43" fmla="*/ 240 h 284"/>
                  <a:gd name="T44" fmla="*/ 133 w 159"/>
                  <a:gd name="T45" fmla="*/ 242 h 284"/>
                  <a:gd name="T46" fmla="*/ 146 w 159"/>
                  <a:gd name="T47" fmla="*/ 253 h 284"/>
                  <a:gd name="T48" fmla="*/ 159 w 159"/>
                  <a:gd name="T49" fmla="*/ 240 h 284"/>
                  <a:gd name="T50" fmla="*/ 159 w 159"/>
                  <a:gd name="T51" fmla="*/ 136 h 284"/>
                  <a:gd name="T52" fmla="*/ 126 w 159"/>
                  <a:gd name="T53" fmla="*/ 101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9" h="284">
                    <a:moveTo>
                      <a:pt x="79" y="88"/>
                    </a:moveTo>
                    <a:cubicBezTo>
                      <a:pt x="109" y="88"/>
                      <a:pt x="121" y="75"/>
                      <a:pt x="121" y="44"/>
                    </a:cubicBezTo>
                    <a:cubicBezTo>
                      <a:pt x="121" y="12"/>
                      <a:pt x="109" y="0"/>
                      <a:pt x="79" y="0"/>
                    </a:cubicBezTo>
                    <a:cubicBezTo>
                      <a:pt x="50" y="0"/>
                      <a:pt x="38" y="12"/>
                      <a:pt x="38" y="44"/>
                    </a:cubicBezTo>
                    <a:cubicBezTo>
                      <a:pt x="38" y="75"/>
                      <a:pt x="50" y="88"/>
                      <a:pt x="79" y="88"/>
                    </a:cubicBezTo>
                    <a:close/>
                    <a:moveTo>
                      <a:pt x="126" y="101"/>
                    </a:moveTo>
                    <a:cubicBezTo>
                      <a:pt x="33" y="101"/>
                      <a:pt x="33" y="101"/>
                      <a:pt x="33" y="101"/>
                    </a:cubicBezTo>
                    <a:cubicBezTo>
                      <a:pt x="12" y="101"/>
                      <a:pt x="0" y="111"/>
                      <a:pt x="0" y="136"/>
                    </a:cubicBezTo>
                    <a:cubicBezTo>
                      <a:pt x="0" y="161"/>
                      <a:pt x="0" y="161"/>
                      <a:pt x="0" y="161"/>
                    </a:cubicBezTo>
                    <a:cubicBezTo>
                      <a:pt x="26" y="187"/>
                      <a:pt x="26" y="187"/>
                      <a:pt x="26" y="187"/>
                    </a:cubicBezTo>
                    <a:cubicBezTo>
                      <a:pt x="26" y="145"/>
                      <a:pt x="26" y="145"/>
                      <a:pt x="26" y="145"/>
                    </a:cubicBezTo>
                    <a:cubicBezTo>
                      <a:pt x="26" y="143"/>
                      <a:pt x="28" y="142"/>
                      <a:pt x="30" y="142"/>
                    </a:cubicBezTo>
                    <a:cubicBezTo>
                      <a:pt x="32" y="142"/>
                      <a:pt x="33" y="143"/>
                      <a:pt x="33" y="145"/>
                    </a:cubicBezTo>
                    <a:cubicBezTo>
                      <a:pt x="33" y="194"/>
                      <a:pt x="33" y="194"/>
                      <a:pt x="33" y="194"/>
                    </a:cubicBezTo>
                    <a:cubicBezTo>
                      <a:pt x="123" y="284"/>
                      <a:pt x="123" y="284"/>
                      <a:pt x="123" y="284"/>
                    </a:cubicBezTo>
                    <a:cubicBezTo>
                      <a:pt x="125" y="261"/>
                      <a:pt x="125" y="261"/>
                      <a:pt x="125" y="261"/>
                    </a:cubicBezTo>
                    <a:cubicBezTo>
                      <a:pt x="125" y="261"/>
                      <a:pt x="125" y="261"/>
                      <a:pt x="125" y="261"/>
                    </a:cubicBezTo>
                    <a:cubicBezTo>
                      <a:pt x="126" y="255"/>
                      <a:pt x="126" y="246"/>
                      <a:pt x="126" y="246"/>
                    </a:cubicBezTo>
                    <a:cubicBezTo>
                      <a:pt x="126" y="145"/>
                      <a:pt x="126" y="145"/>
                      <a:pt x="126" y="145"/>
                    </a:cubicBezTo>
                    <a:cubicBezTo>
                      <a:pt x="126" y="143"/>
                      <a:pt x="127" y="142"/>
                      <a:pt x="129" y="142"/>
                    </a:cubicBezTo>
                    <a:cubicBezTo>
                      <a:pt x="131" y="142"/>
                      <a:pt x="132" y="143"/>
                      <a:pt x="132" y="145"/>
                    </a:cubicBezTo>
                    <a:cubicBezTo>
                      <a:pt x="132" y="240"/>
                      <a:pt x="132" y="240"/>
                      <a:pt x="132" y="240"/>
                    </a:cubicBezTo>
                    <a:cubicBezTo>
                      <a:pt x="132" y="241"/>
                      <a:pt x="133" y="241"/>
                      <a:pt x="133" y="242"/>
                    </a:cubicBezTo>
                    <a:cubicBezTo>
                      <a:pt x="134" y="249"/>
                      <a:pt x="139" y="253"/>
                      <a:pt x="146" y="253"/>
                    </a:cubicBezTo>
                    <a:cubicBezTo>
                      <a:pt x="153" y="253"/>
                      <a:pt x="159" y="247"/>
                      <a:pt x="159" y="240"/>
                    </a:cubicBezTo>
                    <a:cubicBezTo>
                      <a:pt x="159" y="136"/>
                      <a:pt x="159" y="136"/>
                      <a:pt x="159" y="136"/>
                    </a:cubicBezTo>
                    <a:cubicBezTo>
                      <a:pt x="159" y="111"/>
                      <a:pt x="147" y="101"/>
                      <a:pt x="126" y="101"/>
                    </a:cubicBez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38" name="Freeform 37"/>
              <p:cNvSpPr>
                <a:spLocks noEditPoints="1"/>
              </p:cNvSpPr>
              <p:nvPr/>
            </p:nvSpPr>
            <p:spPr bwMode="auto">
              <a:xfrm>
                <a:off x="0" y="198437"/>
                <a:ext cx="1296988" cy="1282700"/>
              </a:xfrm>
              <a:custGeom>
                <a:avLst/>
                <a:gdLst>
                  <a:gd name="T0" fmla="*/ 329 w 346"/>
                  <a:gd name="T1" fmla="*/ 268 h 342"/>
                  <a:gd name="T2" fmla="*/ 172 w 346"/>
                  <a:gd name="T3" fmla="*/ 110 h 342"/>
                  <a:gd name="T4" fmla="*/ 150 w 346"/>
                  <a:gd name="T5" fmla="*/ 31 h 342"/>
                  <a:gd name="T6" fmla="*/ 56 w 346"/>
                  <a:gd name="T7" fmla="*/ 13 h 342"/>
                  <a:gd name="T8" fmla="*/ 101 w 346"/>
                  <a:gd name="T9" fmla="*/ 58 h 342"/>
                  <a:gd name="T10" fmla="*/ 101 w 346"/>
                  <a:gd name="T11" fmla="*/ 101 h 342"/>
                  <a:gd name="T12" fmla="*/ 58 w 346"/>
                  <a:gd name="T13" fmla="*/ 101 h 342"/>
                  <a:gd name="T14" fmla="*/ 13 w 346"/>
                  <a:gd name="T15" fmla="*/ 57 h 342"/>
                  <a:gd name="T16" fmla="*/ 31 w 346"/>
                  <a:gd name="T17" fmla="*/ 150 h 342"/>
                  <a:gd name="T18" fmla="*/ 110 w 346"/>
                  <a:gd name="T19" fmla="*/ 172 h 342"/>
                  <a:gd name="T20" fmla="*/ 268 w 346"/>
                  <a:gd name="T21" fmla="*/ 330 h 342"/>
                  <a:gd name="T22" fmla="*/ 298 w 346"/>
                  <a:gd name="T23" fmla="*/ 342 h 342"/>
                  <a:gd name="T24" fmla="*/ 329 w 346"/>
                  <a:gd name="T25" fmla="*/ 330 h 342"/>
                  <a:gd name="T26" fmla="*/ 329 w 346"/>
                  <a:gd name="T27" fmla="*/ 268 h 342"/>
                  <a:gd name="T28" fmla="*/ 312 w 346"/>
                  <a:gd name="T29" fmla="*/ 312 h 342"/>
                  <a:gd name="T30" fmla="*/ 285 w 346"/>
                  <a:gd name="T31" fmla="*/ 312 h 342"/>
                  <a:gd name="T32" fmla="*/ 285 w 346"/>
                  <a:gd name="T33" fmla="*/ 285 h 342"/>
                  <a:gd name="T34" fmla="*/ 312 w 346"/>
                  <a:gd name="T35" fmla="*/ 285 h 342"/>
                  <a:gd name="T36" fmla="*/ 312 w 346"/>
                  <a:gd name="T37" fmla="*/ 312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6" h="342">
                    <a:moveTo>
                      <a:pt x="329" y="268"/>
                    </a:moveTo>
                    <a:cubicBezTo>
                      <a:pt x="172" y="110"/>
                      <a:pt x="172" y="110"/>
                      <a:pt x="172" y="110"/>
                    </a:cubicBezTo>
                    <a:cubicBezTo>
                      <a:pt x="179" y="83"/>
                      <a:pt x="171" y="52"/>
                      <a:pt x="150" y="31"/>
                    </a:cubicBezTo>
                    <a:cubicBezTo>
                      <a:pt x="124" y="6"/>
                      <a:pt x="87" y="0"/>
                      <a:pt x="56" y="13"/>
                    </a:cubicBezTo>
                    <a:cubicBezTo>
                      <a:pt x="101" y="58"/>
                      <a:pt x="101" y="58"/>
                      <a:pt x="101" y="58"/>
                    </a:cubicBezTo>
                    <a:cubicBezTo>
                      <a:pt x="113" y="70"/>
                      <a:pt x="113" y="89"/>
                      <a:pt x="101" y="101"/>
                    </a:cubicBezTo>
                    <a:cubicBezTo>
                      <a:pt x="89" y="113"/>
                      <a:pt x="70" y="113"/>
                      <a:pt x="58" y="101"/>
                    </a:cubicBezTo>
                    <a:cubicBezTo>
                      <a:pt x="13" y="57"/>
                      <a:pt x="13" y="57"/>
                      <a:pt x="13" y="57"/>
                    </a:cubicBezTo>
                    <a:cubicBezTo>
                      <a:pt x="0" y="87"/>
                      <a:pt x="5" y="125"/>
                      <a:pt x="31" y="150"/>
                    </a:cubicBezTo>
                    <a:cubicBezTo>
                      <a:pt x="52" y="172"/>
                      <a:pt x="82" y="179"/>
                      <a:pt x="110" y="172"/>
                    </a:cubicBezTo>
                    <a:cubicBezTo>
                      <a:pt x="268" y="330"/>
                      <a:pt x="268" y="330"/>
                      <a:pt x="268" y="330"/>
                    </a:cubicBezTo>
                    <a:cubicBezTo>
                      <a:pt x="276" y="338"/>
                      <a:pt x="287" y="342"/>
                      <a:pt x="298" y="342"/>
                    </a:cubicBezTo>
                    <a:cubicBezTo>
                      <a:pt x="310" y="342"/>
                      <a:pt x="321" y="338"/>
                      <a:pt x="329" y="330"/>
                    </a:cubicBezTo>
                    <a:cubicBezTo>
                      <a:pt x="346" y="313"/>
                      <a:pt x="346" y="285"/>
                      <a:pt x="329" y="268"/>
                    </a:cubicBezTo>
                    <a:close/>
                    <a:moveTo>
                      <a:pt x="312" y="312"/>
                    </a:moveTo>
                    <a:cubicBezTo>
                      <a:pt x="304" y="320"/>
                      <a:pt x="292" y="320"/>
                      <a:pt x="285" y="312"/>
                    </a:cubicBezTo>
                    <a:cubicBezTo>
                      <a:pt x="277" y="305"/>
                      <a:pt x="277" y="293"/>
                      <a:pt x="285" y="285"/>
                    </a:cubicBezTo>
                    <a:cubicBezTo>
                      <a:pt x="292" y="278"/>
                      <a:pt x="304" y="278"/>
                      <a:pt x="312" y="285"/>
                    </a:cubicBezTo>
                    <a:cubicBezTo>
                      <a:pt x="319" y="293"/>
                      <a:pt x="319" y="305"/>
                      <a:pt x="312" y="312"/>
                    </a:cubicBez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grpSp>
      </p:grpSp>
    </p:spTree>
    <p:extLst>
      <p:ext uri="{BB962C8B-B14F-4D97-AF65-F5344CB8AC3E}">
        <p14:creationId xmlns:p14="http://schemas.microsoft.com/office/powerpoint/2010/main" val="1115133514"/>
      </p:ext>
    </p:extLst>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par>
                                <p:cTn id="8" presetID="22" presetClass="entr" presetSubtype="8" fill="hold" nodeType="withEffect">
                                  <p:stCondLst>
                                    <p:cond delay="0"/>
                                  </p:stCondLst>
                                  <p:childTnLst>
                                    <p:set>
                                      <p:cBhvr>
                                        <p:cTn id="9" dur="1" fill="hold">
                                          <p:stCondLst>
                                            <p:cond delay="0"/>
                                          </p:stCondLst>
                                        </p:cTn>
                                        <p:tgtEl>
                                          <p:spTgt spid="46"/>
                                        </p:tgtEl>
                                        <p:attrNameLst>
                                          <p:attrName>style.visibility</p:attrName>
                                        </p:attrNameLst>
                                      </p:cBhvr>
                                      <p:to>
                                        <p:strVal val="visible"/>
                                      </p:to>
                                    </p:set>
                                    <p:animEffect transition="in" filter="wipe(left)">
                                      <p:cBhvr>
                                        <p:cTn id="10" dur="500"/>
                                        <p:tgtEl>
                                          <p:spTgt spid="46"/>
                                        </p:tgtEl>
                                      </p:cBhvr>
                                    </p:animEffect>
                                  </p:childTnLst>
                                </p:cTn>
                              </p:par>
                              <p:par>
                                <p:cTn id="11" presetID="22" presetClass="entr" presetSubtype="8" fill="hold" nodeType="withEffect">
                                  <p:stCondLst>
                                    <p:cond delay="0"/>
                                  </p:stCondLst>
                                  <p:childTnLst>
                                    <p:set>
                                      <p:cBhvr>
                                        <p:cTn id="12" dur="1" fill="hold">
                                          <p:stCondLst>
                                            <p:cond delay="0"/>
                                          </p:stCondLst>
                                        </p:cTn>
                                        <p:tgtEl>
                                          <p:spTgt spid="34"/>
                                        </p:tgtEl>
                                        <p:attrNameLst>
                                          <p:attrName>style.visibility</p:attrName>
                                        </p:attrNameLst>
                                      </p:cBhvr>
                                      <p:to>
                                        <p:strVal val="visible"/>
                                      </p:to>
                                    </p:set>
                                    <p:animEffect transition="in" filter="wipe(left)">
                                      <p:cBhvr>
                                        <p:cTn id="13"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7" name="Freeform 575"/>
          <p:cNvSpPr>
            <a:spLocks noEditPoints="1"/>
          </p:cNvSpPr>
          <p:nvPr/>
        </p:nvSpPr>
        <p:spPr bwMode="auto">
          <a:xfrm>
            <a:off x="5707947" y="1382790"/>
            <a:ext cx="2573849" cy="5204176"/>
          </a:xfrm>
          <a:custGeom>
            <a:avLst/>
            <a:gdLst>
              <a:gd name="T0" fmla="*/ 156 w 180"/>
              <a:gd name="T1" fmla="*/ 0 h 364"/>
              <a:gd name="T2" fmla="*/ 0 w 180"/>
              <a:gd name="T3" fmla="*/ 0 h 364"/>
              <a:gd name="T4" fmla="*/ 0 w 180"/>
              <a:gd name="T5" fmla="*/ 340 h 364"/>
              <a:gd name="T6" fmla="*/ 24 w 180"/>
              <a:gd name="T7" fmla="*/ 364 h 364"/>
              <a:gd name="T8" fmla="*/ 180 w 180"/>
              <a:gd name="T9" fmla="*/ 364 h 364"/>
              <a:gd name="T10" fmla="*/ 180 w 180"/>
              <a:gd name="T11" fmla="*/ 24 h 364"/>
              <a:gd name="T12" fmla="*/ 156 w 180"/>
              <a:gd name="T13" fmla="*/ 0 h 364"/>
              <a:gd name="T14" fmla="*/ 76 w 180"/>
              <a:gd name="T15" fmla="*/ 292 h 364"/>
              <a:gd name="T16" fmla="*/ 28 w 180"/>
              <a:gd name="T17" fmla="*/ 292 h 364"/>
              <a:gd name="T18" fmla="*/ 28 w 180"/>
              <a:gd name="T19" fmla="*/ 244 h 364"/>
              <a:gd name="T20" fmla="*/ 76 w 180"/>
              <a:gd name="T21" fmla="*/ 244 h 364"/>
              <a:gd name="T22" fmla="*/ 76 w 180"/>
              <a:gd name="T23" fmla="*/ 292 h 364"/>
              <a:gd name="T24" fmla="*/ 76 w 180"/>
              <a:gd name="T25" fmla="*/ 220 h 364"/>
              <a:gd name="T26" fmla="*/ 28 w 180"/>
              <a:gd name="T27" fmla="*/ 220 h 364"/>
              <a:gd name="T28" fmla="*/ 28 w 180"/>
              <a:gd name="T29" fmla="*/ 172 h 364"/>
              <a:gd name="T30" fmla="*/ 76 w 180"/>
              <a:gd name="T31" fmla="*/ 172 h 364"/>
              <a:gd name="T32" fmla="*/ 76 w 180"/>
              <a:gd name="T33" fmla="*/ 220 h 364"/>
              <a:gd name="T34" fmla="*/ 76 w 180"/>
              <a:gd name="T35" fmla="*/ 148 h 364"/>
              <a:gd name="T36" fmla="*/ 28 w 180"/>
              <a:gd name="T37" fmla="*/ 148 h 364"/>
              <a:gd name="T38" fmla="*/ 28 w 180"/>
              <a:gd name="T39" fmla="*/ 100 h 364"/>
              <a:gd name="T40" fmla="*/ 76 w 180"/>
              <a:gd name="T41" fmla="*/ 100 h 364"/>
              <a:gd name="T42" fmla="*/ 76 w 180"/>
              <a:gd name="T43" fmla="*/ 148 h 364"/>
              <a:gd name="T44" fmla="*/ 76 w 180"/>
              <a:gd name="T45" fmla="*/ 76 h 364"/>
              <a:gd name="T46" fmla="*/ 28 w 180"/>
              <a:gd name="T47" fmla="*/ 76 h 364"/>
              <a:gd name="T48" fmla="*/ 28 w 180"/>
              <a:gd name="T49" fmla="*/ 28 h 364"/>
              <a:gd name="T50" fmla="*/ 76 w 180"/>
              <a:gd name="T51" fmla="*/ 28 h 364"/>
              <a:gd name="T52" fmla="*/ 76 w 180"/>
              <a:gd name="T53" fmla="*/ 76 h 364"/>
              <a:gd name="T54" fmla="*/ 152 w 180"/>
              <a:gd name="T55" fmla="*/ 220 h 364"/>
              <a:gd name="T56" fmla="*/ 104 w 180"/>
              <a:gd name="T57" fmla="*/ 220 h 364"/>
              <a:gd name="T58" fmla="*/ 104 w 180"/>
              <a:gd name="T59" fmla="*/ 172 h 364"/>
              <a:gd name="T60" fmla="*/ 152 w 180"/>
              <a:gd name="T61" fmla="*/ 172 h 364"/>
              <a:gd name="T62" fmla="*/ 152 w 180"/>
              <a:gd name="T63" fmla="*/ 220 h 364"/>
              <a:gd name="T64" fmla="*/ 152 w 180"/>
              <a:gd name="T65" fmla="*/ 148 h 364"/>
              <a:gd name="T66" fmla="*/ 104 w 180"/>
              <a:gd name="T67" fmla="*/ 148 h 364"/>
              <a:gd name="T68" fmla="*/ 104 w 180"/>
              <a:gd name="T69" fmla="*/ 100 h 364"/>
              <a:gd name="T70" fmla="*/ 152 w 180"/>
              <a:gd name="T71" fmla="*/ 100 h 364"/>
              <a:gd name="T72" fmla="*/ 152 w 180"/>
              <a:gd name="T73" fmla="*/ 148 h 364"/>
              <a:gd name="T74" fmla="*/ 152 w 180"/>
              <a:gd name="T75" fmla="*/ 76 h 364"/>
              <a:gd name="T76" fmla="*/ 104 w 180"/>
              <a:gd name="T77" fmla="*/ 76 h 364"/>
              <a:gd name="T78" fmla="*/ 104 w 180"/>
              <a:gd name="T79" fmla="*/ 28 h 364"/>
              <a:gd name="T80" fmla="*/ 152 w 180"/>
              <a:gd name="T81" fmla="*/ 28 h 364"/>
              <a:gd name="T82" fmla="*/ 152 w 180"/>
              <a:gd name="T83" fmla="*/ 76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0" h="364">
                <a:moveTo>
                  <a:pt x="156" y="0"/>
                </a:moveTo>
                <a:cubicBezTo>
                  <a:pt x="0" y="0"/>
                  <a:pt x="0" y="0"/>
                  <a:pt x="0" y="0"/>
                </a:cubicBezTo>
                <a:cubicBezTo>
                  <a:pt x="0" y="340"/>
                  <a:pt x="0" y="340"/>
                  <a:pt x="0" y="340"/>
                </a:cubicBezTo>
                <a:cubicBezTo>
                  <a:pt x="0" y="353"/>
                  <a:pt x="10" y="364"/>
                  <a:pt x="24" y="364"/>
                </a:cubicBezTo>
                <a:cubicBezTo>
                  <a:pt x="180" y="364"/>
                  <a:pt x="180" y="364"/>
                  <a:pt x="180" y="364"/>
                </a:cubicBezTo>
                <a:cubicBezTo>
                  <a:pt x="180" y="24"/>
                  <a:pt x="180" y="24"/>
                  <a:pt x="180" y="24"/>
                </a:cubicBezTo>
                <a:cubicBezTo>
                  <a:pt x="180" y="11"/>
                  <a:pt x="169" y="0"/>
                  <a:pt x="156" y="0"/>
                </a:cubicBezTo>
                <a:moveTo>
                  <a:pt x="76" y="292"/>
                </a:moveTo>
                <a:cubicBezTo>
                  <a:pt x="28" y="292"/>
                  <a:pt x="28" y="292"/>
                  <a:pt x="28" y="292"/>
                </a:cubicBezTo>
                <a:cubicBezTo>
                  <a:pt x="28" y="244"/>
                  <a:pt x="28" y="244"/>
                  <a:pt x="28" y="244"/>
                </a:cubicBezTo>
                <a:cubicBezTo>
                  <a:pt x="76" y="244"/>
                  <a:pt x="76" y="244"/>
                  <a:pt x="76" y="244"/>
                </a:cubicBezTo>
                <a:lnTo>
                  <a:pt x="76" y="292"/>
                </a:lnTo>
                <a:close/>
                <a:moveTo>
                  <a:pt x="76" y="220"/>
                </a:moveTo>
                <a:cubicBezTo>
                  <a:pt x="28" y="220"/>
                  <a:pt x="28" y="220"/>
                  <a:pt x="28" y="220"/>
                </a:cubicBezTo>
                <a:cubicBezTo>
                  <a:pt x="28" y="172"/>
                  <a:pt x="28" y="172"/>
                  <a:pt x="28" y="172"/>
                </a:cubicBezTo>
                <a:cubicBezTo>
                  <a:pt x="76" y="172"/>
                  <a:pt x="76" y="172"/>
                  <a:pt x="76" y="172"/>
                </a:cubicBezTo>
                <a:lnTo>
                  <a:pt x="76" y="220"/>
                </a:lnTo>
                <a:close/>
                <a:moveTo>
                  <a:pt x="76" y="148"/>
                </a:moveTo>
                <a:cubicBezTo>
                  <a:pt x="28" y="148"/>
                  <a:pt x="28" y="148"/>
                  <a:pt x="28" y="148"/>
                </a:cubicBezTo>
                <a:cubicBezTo>
                  <a:pt x="28" y="100"/>
                  <a:pt x="28" y="100"/>
                  <a:pt x="28" y="100"/>
                </a:cubicBezTo>
                <a:cubicBezTo>
                  <a:pt x="76" y="100"/>
                  <a:pt x="76" y="100"/>
                  <a:pt x="76" y="100"/>
                </a:cubicBezTo>
                <a:lnTo>
                  <a:pt x="76" y="148"/>
                </a:lnTo>
                <a:close/>
                <a:moveTo>
                  <a:pt x="76" y="76"/>
                </a:moveTo>
                <a:cubicBezTo>
                  <a:pt x="28" y="76"/>
                  <a:pt x="28" y="76"/>
                  <a:pt x="28" y="76"/>
                </a:cubicBezTo>
                <a:cubicBezTo>
                  <a:pt x="28" y="28"/>
                  <a:pt x="28" y="28"/>
                  <a:pt x="28" y="28"/>
                </a:cubicBezTo>
                <a:cubicBezTo>
                  <a:pt x="76" y="28"/>
                  <a:pt x="76" y="28"/>
                  <a:pt x="76" y="28"/>
                </a:cubicBezTo>
                <a:lnTo>
                  <a:pt x="76" y="76"/>
                </a:lnTo>
                <a:close/>
                <a:moveTo>
                  <a:pt x="152" y="220"/>
                </a:moveTo>
                <a:cubicBezTo>
                  <a:pt x="104" y="220"/>
                  <a:pt x="104" y="220"/>
                  <a:pt x="104" y="220"/>
                </a:cubicBezTo>
                <a:cubicBezTo>
                  <a:pt x="104" y="172"/>
                  <a:pt x="104" y="172"/>
                  <a:pt x="104" y="172"/>
                </a:cubicBezTo>
                <a:cubicBezTo>
                  <a:pt x="152" y="172"/>
                  <a:pt x="152" y="172"/>
                  <a:pt x="152" y="172"/>
                </a:cubicBezTo>
                <a:lnTo>
                  <a:pt x="152" y="220"/>
                </a:lnTo>
                <a:close/>
                <a:moveTo>
                  <a:pt x="152" y="148"/>
                </a:moveTo>
                <a:cubicBezTo>
                  <a:pt x="104" y="148"/>
                  <a:pt x="104" y="148"/>
                  <a:pt x="104" y="148"/>
                </a:cubicBezTo>
                <a:cubicBezTo>
                  <a:pt x="104" y="100"/>
                  <a:pt x="104" y="100"/>
                  <a:pt x="104" y="100"/>
                </a:cubicBezTo>
                <a:cubicBezTo>
                  <a:pt x="152" y="100"/>
                  <a:pt x="152" y="100"/>
                  <a:pt x="152" y="100"/>
                </a:cubicBezTo>
                <a:lnTo>
                  <a:pt x="152" y="148"/>
                </a:lnTo>
                <a:close/>
                <a:moveTo>
                  <a:pt x="152" y="76"/>
                </a:moveTo>
                <a:cubicBezTo>
                  <a:pt x="104" y="76"/>
                  <a:pt x="104" y="76"/>
                  <a:pt x="104" y="76"/>
                </a:cubicBezTo>
                <a:cubicBezTo>
                  <a:pt x="104" y="28"/>
                  <a:pt x="104" y="28"/>
                  <a:pt x="104" y="28"/>
                </a:cubicBezTo>
                <a:cubicBezTo>
                  <a:pt x="152" y="28"/>
                  <a:pt x="152" y="28"/>
                  <a:pt x="152" y="28"/>
                </a:cubicBezTo>
                <a:lnTo>
                  <a:pt x="152" y="76"/>
                </a:lnTo>
                <a:close/>
              </a:path>
            </a:pathLst>
          </a:custGeom>
          <a:solidFill>
            <a:schemeClr val="accent4">
              <a:lumMod val="40000"/>
              <a:lumOff val="60000"/>
            </a:schemeClr>
          </a:solidFill>
          <a:ln>
            <a:noFill/>
          </a:ln>
        </p:spPr>
        <p:txBody>
          <a:bodyPr vert="horz" wrap="square" lIns="129909" tIns="64954" rIns="129909" bIns="64954" numCol="1" anchor="t" anchorCtr="0" compatLnSpc="1">
            <a:prstTxWarp prst="textNoShape">
              <a:avLst/>
            </a:prstTxWarp>
          </a:bodyPr>
          <a:lstStyle/>
          <a:p>
            <a:endParaRPr lang="en-US">
              <a:latin typeface="微软雅黑" pitchFamily="34" charset="-122"/>
              <a:ea typeface="微软雅黑" pitchFamily="34" charset="-122"/>
            </a:endParaRPr>
          </a:p>
        </p:txBody>
      </p:sp>
      <p:grpSp>
        <p:nvGrpSpPr>
          <p:cNvPr id="8" name="Group 7"/>
          <p:cNvGrpSpPr/>
          <p:nvPr/>
        </p:nvGrpSpPr>
        <p:grpSpPr>
          <a:xfrm>
            <a:off x="6521830" y="2476623"/>
            <a:ext cx="1481740" cy="2674644"/>
            <a:chOff x="4592950" y="1741375"/>
            <a:chExt cx="1043504" cy="1880609"/>
          </a:xfrm>
        </p:grpSpPr>
        <p:grpSp>
          <p:nvGrpSpPr>
            <p:cNvPr id="297" name="Group 322"/>
            <p:cNvGrpSpPr/>
            <p:nvPr/>
          </p:nvGrpSpPr>
          <p:grpSpPr>
            <a:xfrm>
              <a:off x="4756914" y="2780883"/>
              <a:ext cx="738382" cy="841101"/>
              <a:chOff x="2344975" y="3326629"/>
              <a:chExt cx="809388" cy="921985"/>
            </a:xfrm>
            <a:solidFill>
              <a:srgbClr val="000000"/>
            </a:solidFill>
          </p:grpSpPr>
          <p:sp>
            <p:nvSpPr>
              <p:cNvPr id="298" name="Freeform 158"/>
              <p:cNvSpPr>
                <a:spLocks/>
              </p:cNvSpPr>
              <p:nvPr/>
            </p:nvSpPr>
            <p:spPr bwMode="auto">
              <a:xfrm>
                <a:off x="2354350" y="3326629"/>
                <a:ext cx="32813" cy="89224"/>
              </a:xfrm>
              <a:custGeom>
                <a:avLst/>
                <a:gdLst/>
                <a:ahLst/>
                <a:cxnLst>
                  <a:cxn ang="0">
                    <a:pos x="21" y="57"/>
                  </a:cxn>
                  <a:cxn ang="0">
                    <a:pos x="11" y="57"/>
                  </a:cxn>
                  <a:cxn ang="0">
                    <a:pos x="11" y="10"/>
                  </a:cxn>
                  <a:cxn ang="0">
                    <a:pos x="0" y="10"/>
                  </a:cxn>
                  <a:cxn ang="0">
                    <a:pos x="4" y="0"/>
                  </a:cxn>
                  <a:cxn ang="0">
                    <a:pos x="21" y="0"/>
                  </a:cxn>
                  <a:cxn ang="0">
                    <a:pos x="21" y="57"/>
                  </a:cxn>
                </a:cxnLst>
                <a:rect l="0" t="0" r="r" b="b"/>
                <a:pathLst>
                  <a:path w="21" h="57">
                    <a:moveTo>
                      <a:pt x="21" y="57"/>
                    </a:moveTo>
                    <a:lnTo>
                      <a:pt x="11" y="57"/>
                    </a:lnTo>
                    <a:lnTo>
                      <a:pt x="11" y="10"/>
                    </a:lnTo>
                    <a:lnTo>
                      <a:pt x="0" y="10"/>
                    </a:lnTo>
                    <a:lnTo>
                      <a:pt x="4" y="0"/>
                    </a:lnTo>
                    <a:lnTo>
                      <a:pt x="21" y="0"/>
                    </a:lnTo>
                    <a:lnTo>
                      <a:pt x="21"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299" name="Freeform 159"/>
              <p:cNvSpPr>
                <a:spLocks noEditPoints="1"/>
              </p:cNvSpPr>
              <p:nvPr/>
            </p:nvSpPr>
            <p:spPr bwMode="auto">
              <a:xfrm>
                <a:off x="2402789" y="3326629"/>
                <a:ext cx="60938" cy="89224"/>
              </a:xfrm>
              <a:custGeom>
                <a:avLst/>
                <a:gdLst/>
                <a:ahLst/>
                <a:cxnLst>
                  <a:cxn ang="0">
                    <a:pos x="51" y="37"/>
                  </a:cxn>
                  <a:cxn ang="0">
                    <a:pos x="44" y="65"/>
                  </a:cxn>
                  <a:cxn ang="0">
                    <a:pos x="25" y="75"/>
                  </a:cxn>
                  <a:cxn ang="0">
                    <a:pos x="7" y="65"/>
                  </a:cxn>
                  <a:cxn ang="0">
                    <a:pos x="0" y="37"/>
                  </a:cxn>
                  <a:cxn ang="0">
                    <a:pos x="7" y="10"/>
                  </a:cxn>
                  <a:cxn ang="0">
                    <a:pos x="25" y="0"/>
                  </a:cxn>
                  <a:cxn ang="0">
                    <a:pos x="44" y="10"/>
                  </a:cxn>
                  <a:cxn ang="0">
                    <a:pos x="51" y="37"/>
                  </a:cxn>
                  <a:cxn ang="0">
                    <a:pos x="37" y="37"/>
                  </a:cxn>
                  <a:cxn ang="0">
                    <a:pos x="34" y="19"/>
                  </a:cxn>
                  <a:cxn ang="0">
                    <a:pos x="25" y="12"/>
                  </a:cxn>
                  <a:cxn ang="0">
                    <a:pos x="17" y="19"/>
                  </a:cxn>
                  <a:cxn ang="0">
                    <a:pos x="13" y="37"/>
                  </a:cxn>
                  <a:cxn ang="0">
                    <a:pos x="17" y="56"/>
                  </a:cxn>
                  <a:cxn ang="0">
                    <a:pos x="25" y="63"/>
                  </a:cxn>
                  <a:cxn ang="0">
                    <a:pos x="34" y="56"/>
                  </a:cxn>
                  <a:cxn ang="0">
                    <a:pos x="37" y="37"/>
                  </a:cxn>
                </a:cxnLst>
                <a:rect l="0" t="0" r="r" b="b"/>
                <a:pathLst>
                  <a:path w="51" h="75">
                    <a:moveTo>
                      <a:pt x="51" y="37"/>
                    </a:moveTo>
                    <a:cubicBezTo>
                      <a:pt x="51" y="49"/>
                      <a:pt x="49" y="58"/>
                      <a:pt x="44" y="65"/>
                    </a:cubicBezTo>
                    <a:cubicBezTo>
                      <a:pt x="39" y="72"/>
                      <a:pt x="33" y="75"/>
                      <a:pt x="25" y="75"/>
                    </a:cubicBezTo>
                    <a:cubicBezTo>
                      <a:pt x="18" y="75"/>
                      <a:pt x="11" y="72"/>
                      <a:pt x="7" y="65"/>
                    </a:cubicBezTo>
                    <a:cubicBezTo>
                      <a:pt x="2" y="58"/>
                      <a:pt x="0" y="49"/>
                      <a:pt x="0" y="37"/>
                    </a:cubicBezTo>
                    <a:cubicBezTo>
                      <a:pt x="0" y="26"/>
                      <a:pt x="2" y="17"/>
                      <a:pt x="7" y="10"/>
                    </a:cubicBezTo>
                    <a:cubicBezTo>
                      <a:pt x="11" y="3"/>
                      <a:pt x="18" y="0"/>
                      <a:pt x="25" y="0"/>
                    </a:cubicBezTo>
                    <a:cubicBezTo>
                      <a:pt x="33" y="0"/>
                      <a:pt x="40" y="3"/>
                      <a:pt x="44" y="10"/>
                    </a:cubicBezTo>
                    <a:cubicBezTo>
                      <a:pt x="49" y="17"/>
                      <a:pt x="51" y="26"/>
                      <a:pt x="51" y="37"/>
                    </a:cubicBezTo>
                    <a:close/>
                    <a:moveTo>
                      <a:pt x="37" y="37"/>
                    </a:moveTo>
                    <a:cubicBezTo>
                      <a:pt x="37" y="30"/>
                      <a:pt x="36" y="24"/>
                      <a:pt x="34" y="19"/>
                    </a:cubicBezTo>
                    <a:cubicBezTo>
                      <a:pt x="32" y="14"/>
                      <a:pt x="29" y="12"/>
                      <a:pt x="25" y="12"/>
                    </a:cubicBezTo>
                    <a:cubicBezTo>
                      <a:pt x="22" y="12"/>
                      <a:pt x="19" y="14"/>
                      <a:pt x="17" y="19"/>
                    </a:cubicBezTo>
                    <a:cubicBezTo>
                      <a:pt x="15" y="24"/>
                      <a:pt x="13" y="30"/>
                      <a:pt x="13" y="37"/>
                    </a:cubicBezTo>
                    <a:cubicBezTo>
                      <a:pt x="13" y="45"/>
                      <a:pt x="15" y="51"/>
                      <a:pt x="17" y="56"/>
                    </a:cubicBezTo>
                    <a:cubicBezTo>
                      <a:pt x="19" y="60"/>
                      <a:pt x="22" y="63"/>
                      <a:pt x="25" y="63"/>
                    </a:cubicBezTo>
                    <a:cubicBezTo>
                      <a:pt x="29" y="63"/>
                      <a:pt x="32" y="61"/>
                      <a:pt x="34" y="56"/>
                    </a:cubicBezTo>
                    <a:cubicBezTo>
                      <a:pt x="36" y="51"/>
                      <a:pt x="37" y="45"/>
                      <a:pt x="37"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0" name="Freeform 160"/>
              <p:cNvSpPr>
                <a:spLocks/>
              </p:cNvSpPr>
              <p:nvPr/>
            </p:nvSpPr>
            <p:spPr bwMode="auto">
              <a:xfrm>
                <a:off x="2465290" y="3326629"/>
                <a:ext cx="32813" cy="89224"/>
              </a:xfrm>
              <a:custGeom>
                <a:avLst/>
                <a:gdLst/>
                <a:ahLst/>
                <a:cxnLst>
                  <a:cxn ang="0">
                    <a:pos x="21" y="57"/>
                  </a:cxn>
                  <a:cxn ang="0">
                    <a:pos x="10" y="57"/>
                  </a:cxn>
                  <a:cxn ang="0">
                    <a:pos x="10" y="10"/>
                  </a:cxn>
                  <a:cxn ang="0">
                    <a:pos x="0" y="10"/>
                  </a:cxn>
                  <a:cxn ang="0">
                    <a:pos x="4" y="0"/>
                  </a:cxn>
                  <a:cxn ang="0">
                    <a:pos x="21" y="0"/>
                  </a:cxn>
                  <a:cxn ang="0">
                    <a:pos x="21" y="57"/>
                  </a:cxn>
                </a:cxnLst>
                <a:rect l="0" t="0" r="r" b="b"/>
                <a:pathLst>
                  <a:path w="21" h="57">
                    <a:moveTo>
                      <a:pt x="21" y="57"/>
                    </a:moveTo>
                    <a:lnTo>
                      <a:pt x="10" y="57"/>
                    </a:lnTo>
                    <a:lnTo>
                      <a:pt x="10" y="10"/>
                    </a:lnTo>
                    <a:lnTo>
                      <a:pt x="0" y="10"/>
                    </a:lnTo>
                    <a:lnTo>
                      <a:pt x="4" y="0"/>
                    </a:lnTo>
                    <a:lnTo>
                      <a:pt x="21" y="0"/>
                    </a:lnTo>
                    <a:lnTo>
                      <a:pt x="21"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1" name="Freeform 161"/>
              <p:cNvSpPr>
                <a:spLocks/>
              </p:cNvSpPr>
              <p:nvPr/>
            </p:nvSpPr>
            <p:spPr bwMode="auto">
              <a:xfrm>
                <a:off x="2505915" y="3326629"/>
                <a:ext cx="32813" cy="89224"/>
              </a:xfrm>
              <a:custGeom>
                <a:avLst/>
                <a:gdLst/>
                <a:ahLst/>
                <a:cxnLst>
                  <a:cxn ang="0">
                    <a:pos x="21" y="57"/>
                  </a:cxn>
                  <a:cxn ang="0">
                    <a:pos x="11" y="57"/>
                  </a:cxn>
                  <a:cxn ang="0">
                    <a:pos x="11" y="10"/>
                  </a:cxn>
                  <a:cxn ang="0">
                    <a:pos x="0" y="10"/>
                  </a:cxn>
                  <a:cxn ang="0">
                    <a:pos x="4" y="0"/>
                  </a:cxn>
                  <a:cxn ang="0">
                    <a:pos x="21" y="0"/>
                  </a:cxn>
                  <a:cxn ang="0">
                    <a:pos x="21" y="57"/>
                  </a:cxn>
                </a:cxnLst>
                <a:rect l="0" t="0" r="r" b="b"/>
                <a:pathLst>
                  <a:path w="21" h="57">
                    <a:moveTo>
                      <a:pt x="21" y="57"/>
                    </a:moveTo>
                    <a:lnTo>
                      <a:pt x="11" y="57"/>
                    </a:lnTo>
                    <a:lnTo>
                      <a:pt x="11" y="10"/>
                    </a:lnTo>
                    <a:lnTo>
                      <a:pt x="0" y="10"/>
                    </a:lnTo>
                    <a:lnTo>
                      <a:pt x="4" y="0"/>
                    </a:lnTo>
                    <a:lnTo>
                      <a:pt x="21" y="0"/>
                    </a:lnTo>
                    <a:lnTo>
                      <a:pt x="21"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2" name="Freeform 162"/>
              <p:cNvSpPr>
                <a:spLocks/>
              </p:cNvSpPr>
              <p:nvPr/>
            </p:nvSpPr>
            <p:spPr bwMode="auto">
              <a:xfrm>
                <a:off x="2546541" y="3326629"/>
                <a:ext cx="32813" cy="89224"/>
              </a:xfrm>
              <a:custGeom>
                <a:avLst/>
                <a:gdLst/>
                <a:ahLst/>
                <a:cxnLst>
                  <a:cxn ang="0">
                    <a:pos x="21" y="57"/>
                  </a:cxn>
                  <a:cxn ang="0">
                    <a:pos x="11" y="57"/>
                  </a:cxn>
                  <a:cxn ang="0">
                    <a:pos x="11" y="10"/>
                  </a:cxn>
                  <a:cxn ang="0">
                    <a:pos x="0" y="10"/>
                  </a:cxn>
                  <a:cxn ang="0">
                    <a:pos x="5" y="0"/>
                  </a:cxn>
                  <a:cxn ang="0">
                    <a:pos x="21" y="0"/>
                  </a:cxn>
                  <a:cxn ang="0">
                    <a:pos x="21" y="57"/>
                  </a:cxn>
                </a:cxnLst>
                <a:rect l="0" t="0" r="r" b="b"/>
                <a:pathLst>
                  <a:path w="21" h="57">
                    <a:moveTo>
                      <a:pt x="21" y="57"/>
                    </a:moveTo>
                    <a:lnTo>
                      <a:pt x="11" y="57"/>
                    </a:lnTo>
                    <a:lnTo>
                      <a:pt x="11" y="10"/>
                    </a:lnTo>
                    <a:lnTo>
                      <a:pt x="0" y="10"/>
                    </a:lnTo>
                    <a:lnTo>
                      <a:pt x="5" y="0"/>
                    </a:lnTo>
                    <a:lnTo>
                      <a:pt x="21" y="0"/>
                    </a:lnTo>
                    <a:lnTo>
                      <a:pt x="21"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3" name="Freeform 163"/>
              <p:cNvSpPr>
                <a:spLocks/>
              </p:cNvSpPr>
              <p:nvPr/>
            </p:nvSpPr>
            <p:spPr bwMode="auto">
              <a:xfrm>
                <a:off x="2587167" y="3326629"/>
                <a:ext cx="34376" cy="89224"/>
              </a:xfrm>
              <a:custGeom>
                <a:avLst/>
                <a:gdLst/>
                <a:ahLst/>
                <a:cxnLst>
                  <a:cxn ang="0">
                    <a:pos x="22" y="57"/>
                  </a:cxn>
                  <a:cxn ang="0">
                    <a:pos x="11" y="57"/>
                  </a:cxn>
                  <a:cxn ang="0">
                    <a:pos x="11" y="10"/>
                  </a:cxn>
                  <a:cxn ang="0">
                    <a:pos x="0" y="10"/>
                  </a:cxn>
                  <a:cxn ang="0">
                    <a:pos x="5" y="0"/>
                  </a:cxn>
                  <a:cxn ang="0">
                    <a:pos x="22" y="0"/>
                  </a:cxn>
                  <a:cxn ang="0">
                    <a:pos x="22" y="57"/>
                  </a:cxn>
                </a:cxnLst>
                <a:rect l="0" t="0" r="r" b="b"/>
                <a:pathLst>
                  <a:path w="22" h="57">
                    <a:moveTo>
                      <a:pt x="22" y="57"/>
                    </a:moveTo>
                    <a:lnTo>
                      <a:pt x="11" y="57"/>
                    </a:lnTo>
                    <a:lnTo>
                      <a:pt x="11" y="10"/>
                    </a:lnTo>
                    <a:lnTo>
                      <a:pt x="0" y="10"/>
                    </a:lnTo>
                    <a:lnTo>
                      <a:pt x="5" y="0"/>
                    </a:lnTo>
                    <a:lnTo>
                      <a:pt x="22" y="0"/>
                    </a:lnTo>
                    <a:lnTo>
                      <a:pt x="22"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4" name="Freeform 164"/>
              <p:cNvSpPr>
                <a:spLocks noEditPoints="1"/>
              </p:cNvSpPr>
              <p:nvPr/>
            </p:nvSpPr>
            <p:spPr bwMode="auto">
              <a:xfrm>
                <a:off x="2635605" y="3326629"/>
                <a:ext cx="60938" cy="89224"/>
              </a:xfrm>
              <a:custGeom>
                <a:avLst/>
                <a:gdLst/>
                <a:ahLst/>
                <a:cxnLst>
                  <a:cxn ang="0">
                    <a:pos x="51" y="37"/>
                  </a:cxn>
                  <a:cxn ang="0">
                    <a:pos x="44" y="65"/>
                  </a:cxn>
                  <a:cxn ang="0">
                    <a:pos x="25" y="75"/>
                  </a:cxn>
                  <a:cxn ang="0">
                    <a:pos x="7" y="65"/>
                  </a:cxn>
                  <a:cxn ang="0">
                    <a:pos x="0" y="37"/>
                  </a:cxn>
                  <a:cxn ang="0">
                    <a:pos x="7" y="10"/>
                  </a:cxn>
                  <a:cxn ang="0">
                    <a:pos x="25" y="0"/>
                  </a:cxn>
                  <a:cxn ang="0">
                    <a:pos x="44" y="10"/>
                  </a:cxn>
                  <a:cxn ang="0">
                    <a:pos x="51" y="37"/>
                  </a:cxn>
                  <a:cxn ang="0">
                    <a:pos x="37" y="37"/>
                  </a:cxn>
                  <a:cxn ang="0">
                    <a:pos x="34" y="19"/>
                  </a:cxn>
                  <a:cxn ang="0">
                    <a:pos x="25" y="12"/>
                  </a:cxn>
                  <a:cxn ang="0">
                    <a:pos x="17" y="19"/>
                  </a:cxn>
                  <a:cxn ang="0">
                    <a:pos x="13" y="37"/>
                  </a:cxn>
                  <a:cxn ang="0">
                    <a:pos x="17" y="56"/>
                  </a:cxn>
                  <a:cxn ang="0">
                    <a:pos x="25" y="63"/>
                  </a:cxn>
                  <a:cxn ang="0">
                    <a:pos x="34" y="56"/>
                  </a:cxn>
                  <a:cxn ang="0">
                    <a:pos x="37" y="37"/>
                  </a:cxn>
                </a:cxnLst>
                <a:rect l="0" t="0" r="r" b="b"/>
                <a:pathLst>
                  <a:path w="51" h="75">
                    <a:moveTo>
                      <a:pt x="51" y="37"/>
                    </a:moveTo>
                    <a:cubicBezTo>
                      <a:pt x="51" y="49"/>
                      <a:pt x="49" y="58"/>
                      <a:pt x="44" y="65"/>
                    </a:cubicBezTo>
                    <a:cubicBezTo>
                      <a:pt x="39" y="72"/>
                      <a:pt x="33" y="75"/>
                      <a:pt x="25" y="75"/>
                    </a:cubicBezTo>
                    <a:cubicBezTo>
                      <a:pt x="17" y="75"/>
                      <a:pt x="11" y="72"/>
                      <a:pt x="7" y="65"/>
                    </a:cubicBezTo>
                    <a:cubicBezTo>
                      <a:pt x="2" y="58"/>
                      <a:pt x="0" y="49"/>
                      <a:pt x="0" y="37"/>
                    </a:cubicBezTo>
                    <a:cubicBezTo>
                      <a:pt x="0" y="26"/>
                      <a:pt x="2" y="17"/>
                      <a:pt x="7" y="10"/>
                    </a:cubicBezTo>
                    <a:cubicBezTo>
                      <a:pt x="11" y="3"/>
                      <a:pt x="18" y="0"/>
                      <a:pt x="25" y="0"/>
                    </a:cubicBezTo>
                    <a:cubicBezTo>
                      <a:pt x="33" y="0"/>
                      <a:pt x="39" y="3"/>
                      <a:pt x="44" y="10"/>
                    </a:cubicBezTo>
                    <a:cubicBezTo>
                      <a:pt x="49" y="17"/>
                      <a:pt x="51" y="26"/>
                      <a:pt x="51" y="37"/>
                    </a:cubicBezTo>
                    <a:close/>
                    <a:moveTo>
                      <a:pt x="37" y="37"/>
                    </a:moveTo>
                    <a:cubicBezTo>
                      <a:pt x="37" y="30"/>
                      <a:pt x="36" y="24"/>
                      <a:pt x="34" y="19"/>
                    </a:cubicBezTo>
                    <a:cubicBezTo>
                      <a:pt x="32" y="14"/>
                      <a:pt x="29" y="12"/>
                      <a:pt x="25" y="12"/>
                    </a:cubicBezTo>
                    <a:cubicBezTo>
                      <a:pt x="22" y="12"/>
                      <a:pt x="19" y="14"/>
                      <a:pt x="17" y="19"/>
                    </a:cubicBezTo>
                    <a:cubicBezTo>
                      <a:pt x="15" y="24"/>
                      <a:pt x="13" y="30"/>
                      <a:pt x="13" y="37"/>
                    </a:cubicBezTo>
                    <a:cubicBezTo>
                      <a:pt x="13" y="45"/>
                      <a:pt x="15" y="51"/>
                      <a:pt x="17" y="56"/>
                    </a:cubicBezTo>
                    <a:cubicBezTo>
                      <a:pt x="19" y="60"/>
                      <a:pt x="22" y="63"/>
                      <a:pt x="25" y="63"/>
                    </a:cubicBezTo>
                    <a:cubicBezTo>
                      <a:pt x="29" y="63"/>
                      <a:pt x="32" y="61"/>
                      <a:pt x="34" y="56"/>
                    </a:cubicBezTo>
                    <a:cubicBezTo>
                      <a:pt x="36" y="51"/>
                      <a:pt x="37" y="45"/>
                      <a:pt x="37"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5" name="Freeform 165"/>
              <p:cNvSpPr>
                <a:spLocks noEditPoints="1"/>
              </p:cNvSpPr>
              <p:nvPr/>
            </p:nvSpPr>
            <p:spPr bwMode="auto">
              <a:xfrm>
                <a:off x="2701231" y="3326629"/>
                <a:ext cx="62501" cy="89224"/>
              </a:xfrm>
              <a:custGeom>
                <a:avLst/>
                <a:gdLst/>
                <a:ahLst/>
                <a:cxnLst>
                  <a:cxn ang="0">
                    <a:pos x="52" y="37"/>
                  </a:cxn>
                  <a:cxn ang="0">
                    <a:pos x="45" y="65"/>
                  </a:cxn>
                  <a:cxn ang="0">
                    <a:pos x="26" y="75"/>
                  </a:cxn>
                  <a:cxn ang="0">
                    <a:pos x="7" y="65"/>
                  </a:cxn>
                  <a:cxn ang="0">
                    <a:pos x="0" y="37"/>
                  </a:cxn>
                  <a:cxn ang="0">
                    <a:pos x="7" y="10"/>
                  </a:cxn>
                  <a:cxn ang="0">
                    <a:pos x="26" y="0"/>
                  </a:cxn>
                  <a:cxn ang="0">
                    <a:pos x="45" y="10"/>
                  </a:cxn>
                  <a:cxn ang="0">
                    <a:pos x="52" y="37"/>
                  </a:cxn>
                  <a:cxn ang="0">
                    <a:pos x="38" y="37"/>
                  </a:cxn>
                  <a:cxn ang="0">
                    <a:pos x="35" y="19"/>
                  </a:cxn>
                  <a:cxn ang="0">
                    <a:pos x="26" y="12"/>
                  </a:cxn>
                  <a:cxn ang="0">
                    <a:pos x="17" y="19"/>
                  </a:cxn>
                  <a:cxn ang="0">
                    <a:pos x="14" y="37"/>
                  </a:cxn>
                  <a:cxn ang="0">
                    <a:pos x="17" y="56"/>
                  </a:cxn>
                  <a:cxn ang="0">
                    <a:pos x="26" y="63"/>
                  </a:cxn>
                  <a:cxn ang="0">
                    <a:pos x="35" y="56"/>
                  </a:cxn>
                  <a:cxn ang="0">
                    <a:pos x="38" y="37"/>
                  </a:cxn>
                </a:cxnLst>
                <a:rect l="0" t="0" r="r" b="b"/>
                <a:pathLst>
                  <a:path w="52" h="75">
                    <a:moveTo>
                      <a:pt x="52" y="37"/>
                    </a:moveTo>
                    <a:cubicBezTo>
                      <a:pt x="52" y="49"/>
                      <a:pt x="49" y="58"/>
                      <a:pt x="45" y="65"/>
                    </a:cubicBezTo>
                    <a:cubicBezTo>
                      <a:pt x="40" y="72"/>
                      <a:pt x="34" y="75"/>
                      <a:pt x="26" y="75"/>
                    </a:cubicBezTo>
                    <a:cubicBezTo>
                      <a:pt x="18" y="75"/>
                      <a:pt x="12" y="72"/>
                      <a:pt x="7" y="65"/>
                    </a:cubicBezTo>
                    <a:cubicBezTo>
                      <a:pt x="2" y="58"/>
                      <a:pt x="0" y="49"/>
                      <a:pt x="0" y="37"/>
                    </a:cubicBezTo>
                    <a:cubicBezTo>
                      <a:pt x="0" y="26"/>
                      <a:pt x="2" y="17"/>
                      <a:pt x="7" y="10"/>
                    </a:cubicBezTo>
                    <a:cubicBezTo>
                      <a:pt x="12" y="3"/>
                      <a:pt x="18" y="0"/>
                      <a:pt x="26" y="0"/>
                    </a:cubicBezTo>
                    <a:cubicBezTo>
                      <a:pt x="34" y="0"/>
                      <a:pt x="40" y="3"/>
                      <a:pt x="45" y="10"/>
                    </a:cubicBezTo>
                    <a:cubicBezTo>
                      <a:pt x="49" y="17"/>
                      <a:pt x="52" y="26"/>
                      <a:pt x="52" y="37"/>
                    </a:cubicBezTo>
                    <a:close/>
                    <a:moveTo>
                      <a:pt x="38" y="37"/>
                    </a:moveTo>
                    <a:cubicBezTo>
                      <a:pt x="38" y="30"/>
                      <a:pt x="37" y="24"/>
                      <a:pt x="35" y="19"/>
                    </a:cubicBezTo>
                    <a:cubicBezTo>
                      <a:pt x="32" y="14"/>
                      <a:pt x="29" y="12"/>
                      <a:pt x="26" y="12"/>
                    </a:cubicBezTo>
                    <a:cubicBezTo>
                      <a:pt x="22" y="12"/>
                      <a:pt x="19" y="14"/>
                      <a:pt x="17" y="19"/>
                    </a:cubicBezTo>
                    <a:cubicBezTo>
                      <a:pt x="15" y="24"/>
                      <a:pt x="14" y="30"/>
                      <a:pt x="14" y="37"/>
                    </a:cubicBezTo>
                    <a:cubicBezTo>
                      <a:pt x="14" y="45"/>
                      <a:pt x="15" y="51"/>
                      <a:pt x="17" y="56"/>
                    </a:cubicBezTo>
                    <a:cubicBezTo>
                      <a:pt x="19" y="60"/>
                      <a:pt x="22" y="63"/>
                      <a:pt x="26" y="63"/>
                    </a:cubicBezTo>
                    <a:cubicBezTo>
                      <a:pt x="29" y="63"/>
                      <a:pt x="32" y="61"/>
                      <a:pt x="35"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6" name="Freeform 166"/>
              <p:cNvSpPr>
                <a:spLocks/>
              </p:cNvSpPr>
              <p:nvPr/>
            </p:nvSpPr>
            <p:spPr bwMode="auto">
              <a:xfrm>
                <a:off x="2765294" y="3326629"/>
                <a:ext cx="32813" cy="89224"/>
              </a:xfrm>
              <a:custGeom>
                <a:avLst/>
                <a:gdLst/>
                <a:ahLst/>
                <a:cxnLst>
                  <a:cxn ang="0">
                    <a:pos x="21" y="57"/>
                  </a:cxn>
                  <a:cxn ang="0">
                    <a:pos x="11" y="57"/>
                  </a:cxn>
                  <a:cxn ang="0">
                    <a:pos x="11" y="10"/>
                  </a:cxn>
                  <a:cxn ang="0">
                    <a:pos x="0" y="10"/>
                  </a:cxn>
                  <a:cxn ang="0">
                    <a:pos x="5" y="0"/>
                  </a:cxn>
                  <a:cxn ang="0">
                    <a:pos x="21" y="0"/>
                  </a:cxn>
                  <a:cxn ang="0">
                    <a:pos x="21" y="57"/>
                  </a:cxn>
                </a:cxnLst>
                <a:rect l="0" t="0" r="r" b="b"/>
                <a:pathLst>
                  <a:path w="21" h="57">
                    <a:moveTo>
                      <a:pt x="21" y="57"/>
                    </a:moveTo>
                    <a:lnTo>
                      <a:pt x="11" y="57"/>
                    </a:lnTo>
                    <a:lnTo>
                      <a:pt x="11" y="10"/>
                    </a:lnTo>
                    <a:lnTo>
                      <a:pt x="0" y="10"/>
                    </a:lnTo>
                    <a:lnTo>
                      <a:pt x="5" y="0"/>
                    </a:lnTo>
                    <a:lnTo>
                      <a:pt x="21" y="0"/>
                    </a:lnTo>
                    <a:lnTo>
                      <a:pt x="21"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7" name="Freeform 167"/>
              <p:cNvSpPr>
                <a:spLocks/>
              </p:cNvSpPr>
              <p:nvPr/>
            </p:nvSpPr>
            <p:spPr bwMode="auto">
              <a:xfrm>
                <a:off x="2805920" y="3326629"/>
                <a:ext cx="32813" cy="89224"/>
              </a:xfrm>
              <a:custGeom>
                <a:avLst/>
                <a:gdLst/>
                <a:ahLst/>
                <a:cxnLst>
                  <a:cxn ang="0">
                    <a:pos x="21" y="57"/>
                  </a:cxn>
                  <a:cxn ang="0">
                    <a:pos x="10" y="57"/>
                  </a:cxn>
                  <a:cxn ang="0">
                    <a:pos x="10" y="10"/>
                  </a:cxn>
                  <a:cxn ang="0">
                    <a:pos x="0" y="10"/>
                  </a:cxn>
                  <a:cxn ang="0">
                    <a:pos x="5" y="0"/>
                  </a:cxn>
                  <a:cxn ang="0">
                    <a:pos x="21" y="0"/>
                  </a:cxn>
                  <a:cxn ang="0">
                    <a:pos x="21" y="57"/>
                  </a:cxn>
                </a:cxnLst>
                <a:rect l="0" t="0" r="r" b="b"/>
                <a:pathLst>
                  <a:path w="21" h="57">
                    <a:moveTo>
                      <a:pt x="21" y="57"/>
                    </a:moveTo>
                    <a:lnTo>
                      <a:pt x="10" y="57"/>
                    </a:lnTo>
                    <a:lnTo>
                      <a:pt x="10" y="10"/>
                    </a:lnTo>
                    <a:lnTo>
                      <a:pt x="0" y="10"/>
                    </a:lnTo>
                    <a:lnTo>
                      <a:pt x="5" y="0"/>
                    </a:lnTo>
                    <a:lnTo>
                      <a:pt x="21" y="0"/>
                    </a:lnTo>
                    <a:lnTo>
                      <a:pt x="21"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8" name="Freeform 168"/>
              <p:cNvSpPr>
                <a:spLocks noEditPoints="1"/>
              </p:cNvSpPr>
              <p:nvPr/>
            </p:nvSpPr>
            <p:spPr bwMode="auto">
              <a:xfrm>
                <a:off x="2852796" y="3326629"/>
                <a:ext cx="62501" cy="89224"/>
              </a:xfrm>
              <a:custGeom>
                <a:avLst/>
                <a:gdLst/>
                <a:ahLst/>
                <a:cxnLst>
                  <a:cxn ang="0">
                    <a:pos x="52" y="37"/>
                  </a:cxn>
                  <a:cxn ang="0">
                    <a:pos x="45" y="65"/>
                  </a:cxn>
                  <a:cxn ang="0">
                    <a:pos x="26" y="75"/>
                  </a:cxn>
                  <a:cxn ang="0">
                    <a:pos x="7" y="65"/>
                  </a:cxn>
                  <a:cxn ang="0">
                    <a:pos x="0" y="37"/>
                  </a:cxn>
                  <a:cxn ang="0">
                    <a:pos x="7" y="10"/>
                  </a:cxn>
                  <a:cxn ang="0">
                    <a:pos x="26" y="0"/>
                  </a:cxn>
                  <a:cxn ang="0">
                    <a:pos x="45" y="10"/>
                  </a:cxn>
                  <a:cxn ang="0">
                    <a:pos x="52" y="37"/>
                  </a:cxn>
                  <a:cxn ang="0">
                    <a:pos x="38" y="37"/>
                  </a:cxn>
                  <a:cxn ang="0">
                    <a:pos x="35" y="19"/>
                  </a:cxn>
                  <a:cxn ang="0">
                    <a:pos x="26" y="12"/>
                  </a:cxn>
                  <a:cxn ang="0">
                    <a:pos x="17" y="19"/>
                  </a:cxn>
                  <a:cxn ang="0">
                    <a:pos x="14" y="37"/>
                  </a:cxn>
                  <a:cxn ang="0">
                    <a:pos x="17" y="56"/>
                  </a:cxn>
                  <a:cxn ang="0">
                    <a:pos x="26" y="63"/>
                  </a:cxn>
                  <a:cxn ang="0">
                    <a:pos x="35" y="56"/>
                  </a:cxn>
                  <a:cxn ang="0">
                    <a:pos x="38" y="37"/>
                  </a:cxn>
                </a:cxnLst>
                <a:rect l="0" t="0" r="r" b="b"/>
                <a:pathLst>
                  <a:path w="52" h="75">
                    <a:moveTo>
                      <a:pt x="52" y="37"/>
                    </a:moveTo>
                    <a:cubicBezTo>
                      <a:pt x="52" y="49"/>
                      <a:pt x="50" y="58"/>
                      <a:pt x="45" y="65"/>
                    </a:cubicBezTo>
                    <a:cubicBezTo>
                      <a:pt x="40" y="72"/>
                      <a:pt x="34" y="75"/>
                      <a:pt x="26" y="75"/>
                    </a:cubicBezTo>
                    <a:cubicBezTo>
                      <a:pt x="18" y="75"/>
                      <a:pt x="12" y="72"/>
                      <a:pt x="7" y="65"/>
                    </a:cubicBezTo>
                    <a:cubicBezTo>
                      <a:pt x="3" y="58"/>
                      <a:pt x="0" y="49"/>
                      <a:pt x="0" y="37"/>
                    </a:cubicBezTo>
                    <a:cubicBezTo>
                      <a:pt x="0" y="26"/>
                      <a:pt x="3" y="17"/>
                      <a:pt x="7" y="10"/>
                    </a:cubicBezTo>
                    <a:cubicBezTo>
                      <a:pt x="12" y="3"/>
                      <a:pt x="18" y="0"/>
                      <a:pt x="26" y="0"/>
                    </a:cubicBezTo>
                    <a:cubicBezTo>
                      <a:pt x="34" y="0"/>
                      <a:pt x="40" y="3"/>
                      <a:pt x="45" y="10"/>
                    </a:cubicBezTo>
                    <a:cubicBezTo>
                      <a:pt x="50" y="17"/>
                      <a:pt x="52" y="26"/>
                      <a:pt x="52" y="37"/>
                    </a:cubicBezTo>
                    <a:close/>
                    <a:moveTo>
                      <a:pt x="38" y="37"/>
                    </a:moveTo>
                    <a:cubicBezTo>
                      <a:pt x="38" y="30"/>
                      <a:pt x="37" y="24"/>
                      <a:pt x="35" y="19"/>
                    </a:cubicBezTo>
                    <a:cubicBezTo>
                      <a:pt x="32" y="14"/>
                      <a:pt x="30" y="12"/>
                      <a:pt x="26" y="12"/>
                    </a:cubicBezTo>
                    <a:cubicBezTo>
                      <a:pt x="22" y="12"/>
                      <a:pt x="20" y="14"/>
                      <a:pt x="17" y="19"/>
                    </a:cubicBezTo>
                    <a:cubicBezTo>
                      <a:pt x="15" y="24"/>
                      <a:pt x="14" y="30"/>
                      <a:pt x="14" y="37"/>
                    </a:cubicBezTo>
                    <a:cubicBezTo>
                      <a:pt x="14" y="45"/>
                      <a:pt x="15" y="51"/>
                      <a:pt x="17" y="56"/>
                    </a:cubicBezTo>
                    <a:cubicBezTo>
                      <a:pt x="20" y="60"/>
                      <a:pt x="22" y="63"/>
                      <a:pt x="26" y="63"/>
                    </a:cubicBezTo>
                    <a:cubicBezTo>
                      <a:pt x="30" y="63"/>
                      <a:pt x="33" y="61"/>
                      <a:pt x="35"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9" name="Freeform 169"/>
              <p:cNvSpPr>
                <a:spLocks/>
              </p:cNvSpPr>
              <p:nvPr/>
            </p:nvSpPr>
            <p:spPr bwMode="auto">
              <a:xfrm>
                <a:off x="2916859" y="3326629"/>
                <a:ext cx="32813" cy="89224"/>
              </a:xfrm>
              <a:custGeom>
                <a:avLst/>
                <a:gdLst/>
                <a:ahLst/>
                <a:cxnLst>
                  <a:cxn ang="0">
                    <a:pos x="21" y="57"/>
                  </a:cxn>
                  <a:cxn ang="0">
                    <a:pos x="11" y="57"/>
                  </a:cxn>
                  <a:cxn ang="0">
                    <a:pos x="11" y="10"/>
                  </a:cxn>
                  <a:cxn ang="0">
                    <a:pos x="0" y="10"/>
                  </a:cxn>
                  <a:cxn ang="0">
                    <a:pos x="4" y="0"/>
                  </a:cxn>
                  <a:cxn ang="0">
                    <a:pos x="21" y="0"/>
                  </a:cxn>
                  <a:cxn ang="0">
                    <a:pos x="21" y="57"/>
                  </a:cxn>
                </a:cxnLst>
                <a:rect l="0" t="0" r="r" b="b"/>
                <a:pathLst>
                  <a:path w="21" h="57">
                    <a:moveTo>
                      <a:pt x="21" y="57"/>
                    </a:moveTo>
                    <a:lnTo>
                      <a:pt x="11" y="57"/>
                    </a:lnTo>
                    <a:lnTo>
                      <a:pt x="11" y="10"/>
                    </a:lnTo>
                    <a:lnTo>
                      <a:pt x="0" y="10"/>
                    </a:lnTo>
                    <a:lnTo>
                      <a:pt x="4" y="0"/>
                    </a:lnTo>
                    <a:lnTo>
                      <a:pt x="21" y="0"/>
                    </a:lnTo>
                    <a:lnTo>
                      <a:pt x="21"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0" name="Freeform 170"/>
              <p:cNvSpPr>
                <a:spLocks noEditPoints="1"/>
              </p:cNvSpPr>
              <p:nvPr/>
            </p:nvSpPr>
            <p:spPr bwMode="auto">
              <a:xfrm>
                <a:off x="2963735" y="3326629"/>
                <a:ext cx="62501" cy="89224"/>
              </a:xfrm>
              <a:custGeom>
                <a:avLst/>
                <a:gdLst/>
                <a:ahLst/>
                <a:cxnLst>
                  <a:cxn ang="0">
                    <a:pos x="52" y="37"/>
                  </a:cxn>
                  <a:cxn ang="0">
                    <a:pos x="45" y="65"/>
                  </a:cxn>
                  <a:cxn ang="0">
                    <a:pos x="26" y="75"/>
                  </a:cxn>
                  <a:cxn ang="0">
                    <a:pos x="7" y="65"/>
                  </a:cxn>
                  <a:cxn ang="0">
                    <a:pos x="0" y="37"/>
                  </a:cxn>
                  <a:cxn ang="0">
                    <a:pos x="7" y="10"/>
                  </a:cxn>
                  <a:cxn ang="0">
                    <a:pos x="26" y="0"/>
                  </a:cxn>
                  <a:cxn ang="0">
                    <a:pos x="45" y="10"/>
                  </a:cxn>
                  <a:cxn ang="0">
                    <a:pos x="52" y="37"/>
                  </a:cxn>
                  <a:cxn ang="0">
                    <a:pos x="38" y="37"/>
                  </a:cxn>
                  <a:cxn ang="0">
                    <a:pos x="35" y="19"/>
                  </a:cxn>
                  <a:cxn ang="0">
                    <a:pos x="26" y="12"/>
                  </a:cxn>
                  <a:cxn ang="0">
                    <a:pos x="18" y="19"/>
                  </a:cxn>
                  <a:cxn ang="0">
                    <a:pos x="14" y="37"/>
                  </a:cxn>
                  <a:cxn ang="0">
                    <a:pos x="18" y="56"/>
                  </a:cxn>
                  <a:cxn ang="0">
                    <a:pos x="26" y="63"/>
                  </a:cxn>
                  <a:cxn ang="0">
                    <a:pos x="35" y="56"/>
                  </a:cxn>
                  <a:cxn ang="0">
                    <a:pos x="38" y="37"/>
                  </a:cxn>
                </a:cxnLst>
                <a:rect l="0" t="0" r="r" b="b"/>
                <a:pathLst>
                  <a:path w="52" h="75">
                    <a:moveTo>
                      <a:pt x="52" y="37"/>
                    </a:moveTo>
                    <a:cubicBezTo>
                      <a:pt x="52" y="49"/>
                      <a:pt x="50" y="58"/>
                      <a:pt x="45" y="65"/>
                    </a:cubicBezTo>
                    <a:cubicBezTo>
                      <a:pt x="40" y="72"/>
                      <a:pt x="34" y="75"/>
                      <a:pt x="26" y="75"/>
                    </a:cubicBezTo>
                    <a:cubicBezTo>
                      <a:pt x="18" y="75"/>
                      <a:pt x="12" y="72"/>
                      <a:pt x="7" y="65"/>
                    </a:cubicBezTo>
                    <a:cubicBezTo>
                      <a:pt x="3" y="58"/>
                      <a:pt x="0" y="49"/>
                      <a:pt x="0" y="37"/>
                    </a:cubicBezTo>
                    <a:cubicBezTo>
                      <a:pt x="0" y="26"/>
                      <a:pt x="3" y="17"/>
                      <a:pt x="7" y="10"/>
                    </a:cubicBezTo>
                    <a:cubicBezTo>
                      <a:pt x="12" y="3"/>
                      <a:pt x="18" y="0"/>
                      <a:pt x="26" y="0"/>
                    </a:cubicBezTo>
                    <a:cubicBezTo>
                      <a:pt x="34" y="0"/>
                      <a:pt x="40" y="3"/>
                      <a:pt x="45" y="10"/>
                    </a:cubicBezTo>
                    <a:cubicBezTo>
                      <a:pt x="50" y="17"/>
                      <a:pt x="52" y="26"/>
                      <a:pt x="52" y="37"/>
                    </a:cubicBezTo>
                    <a:close/>
                    <a:moveTo>
                      <a:pt x="38" y="37"/>
                    </a:moveTo>
                    <a:cubicBezTo>
                      <a:pt x="38" y="30"/>
                      <a:pt x="37" y="24"/>
                      <a:pt x="35" y="19"/>
                    </a:cubicBezTo>
                    <a:cubicBezTo>
                      <a:pt x="33" y="14"/>
                      <a:pt x="30" y="12"/>
                      <a:pt x="26" y="12"/>
                    </a:cubicBezTo>
                    <a:cubicBezTo>
                      <a:pt x="23" y="12"/>
                      <a:pt x="20" y="14"/>
                      <a:pt x="18" y="19"/>
                    </a:cubicBezTo>
                    <a:cubicBezTo>
                      <a:pt x="15" y="24"/>
                      <a:pt x="14" y="30"/>
                      <a:pt x="14" y="37"/>
                    </a:cubicBezTo>
                    <a:cubicBezTo>
                      <a:pt x="14" y="45"/>
                      <a:pt x="15" y="51"/>
                      <a:pt x="18" y="56"/>
                    </a:cubicBezTo>
                    <a:cubicBezTo>
                      <a:pt x="20" y="60"/>
                      <a:pt x="23" y="63"/>
                      <a:pt x="26" y="63"/>
                    </a:cubicBezTo>
                    <a:cubicBezTo>
                      <a:pt x="30" y="63"/>
                      <a:pt x="33" y="61"/>
                      <a:pt x="35"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1" name="Freeform 171"/>
              <p:cNvSpPr>
                <a:spLocks/>
              </p:cNvSpPr>
              <p:nvPr/>
            </p:nvSpPr>
            <p:spPr bwMode="auto">
              <a:xfrm>
                <a:off x="3027799" y="3326629"/>
                <a:ext cx="32813" cy="89224"/>
              </a:xfrm>
              <a:custGeom>
                <a:avLst/>
                <a:gdLst/>
                <a:ahLst/>
                <a:cxnLst>
                  <a:cxn ang="0">
                    <a:pos x="21" y="57"/>
                  </a:cxn>
                  <a:cxn ang="0">
                    <a:pos x="10" y="57"/>
                  </a:cxn>
                  <a:cxn ang="0">
                    <a:pos x="10" y="10"/>
                  </a:cxn>
                  <a:cxn ang="0">
                    <a:pos x="0" y="10"/>
                  </a:cxn>
                  <a:cxn ang="0">
                    <a:pos x="4" y="0"/>
                  </a:cxn>
                  <a:cxn ang="0">
                    <a:pos x="21" y="0"/>
                  </a:cxn>
                  <a:cxn ang="0">
                    <a:pos x="21" y="57"/>
                  </a:cxn>
                </a:cxnLst>
                <a:rect l="0" t="0" r="r" b="b"/>
                <a:pathLst>
                  <a:path w="21" h="57">
                    <a:moveTo>
                      <a:pt x="21" y="57"/>
                    </a:moveTo>
                    <a:lnTo>
                      <a:pt x="10" y="57"/>
                    </a:lnTo>
                    <a:lnTo>
                      <a:pt x="10" y="10"/>
                    </a:lnTo>
                    <a:lnTo>
                      <a:pt x="0" y="10"/>
                    </a:lnTo>
                    <a:lnTo>
                      <a:pt x="4" y="0"/>
                    </a:lnTo>
                    <a:lnTo>
                      <a:pt x="21" y="0"/>
                    </a:lnTo>
                    <a:lnTo>
                      <a:pt x="21"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2" name="Freeform 172"/>
              <p:cNvSpPr>
                <a:spLocks noEditPoints="1"/>
              </p:cNvSpPr>
              <p:nvPr/>
            </p:nvSpPr>
            <p:spPr bwMode="auto">
              <a:xfrm>
                <a:off x="3074674" y="3326629"/>
                <a:ext cx="62501" cy="89224"/>
              </a:xfrm>
              <a:custGeom>
                <a:avLst/>
                <a:gdLst/>
                <a:ahLst/>
                <a:cxnLst>
                  <a:cxn ang="0">
                    <a:pos x="51" y="37"/>
                  </a:cxn>
                  <a:cxn ang="0">
                    <a:pos x="44" y="65"/>
                  </a:cxn>
                  <a:cxn ang="0">
                    <a:pos x="25" y="75"/>
                  </a:cxn>
                  <a:cxn ang="0">
                    <a:pos x="7" y="65"/>
                  </a:cxn>
                  <a:cxn ang="0">
                    <a:pos x="0" y="37"/>
                  </a:cxn>
                  <a:cxn ang="0">
                    <a:pos x="7" y="10"/>
                  </a:cxn>
                  <a:cxn ang="0">
                    <a:pos x="25" y="0"/>
                  </a:cxn>
                  <a:cxn ang="0">
                    <a:pos x="44" y="10"/>
                  </a:cxn>
                  <a:cxn ang="0">
                    <a:pos x="51" y="37"/>
                  </a:cxn>
                  <a:cxn ang="0">
                    <a:pos x="38" y="37"/>
                  </a:cxn>
                  <a:cxn ang="0">
                    <a:pos x="34" y="19"/>
                  </a:cxn>
                  <a:cxn ang="0">
                    <a:pos x="25" y="12"/>
                  </a:cxn>
                  <a:cxn ang="0">
                    <a:pos x="17" y="19"/>
                  </a:cxn>
                  <a:cxn ang="0">
                    <a:pos x="14" y="37"/>
                  </a:cxn>
                  <a:cxn ang="0">
                    <a:pos x="17" y="56"/>
                  </a:cxn>
                  <a:cxn ang="0">
                    <a:pos x="25" y="63"/>
                  </a:cxn>
                  <a:cxn ang="0">
                    <a:pos x="34" y="56"/>
                  </a:cxn>
                  <a:cxn ang="0">
                    <a:pos x="38" y="37"/>
                  </a:cxn>
                </a:cxnLst>
                <a:rect l="0" t="0" r="r" b="b"/>
                <a:pathLst>
                  <a:path w="51" h="75">
                    <a:moveTo>
                      <a:pt x="51" y="37"/>
                    </a:moveTo>
                    <a:cubicBezTo>
                      <a:pt x="51" y="49"/>
                      <a:pt x="49" y="58"/>
                      <a:pt x="44" y="65"/>
                    </a:cubicBezTo>
                    <a:cubicBezTo>
                      <a:pt x="40" y="72"/>
                      <a:pt x="33" y="75"/>
                      <a:pt x="25" y="75"/>
                    </a:cubicBezTo>
                    <a:cubicBezTo>
                      <a:pt x="18" y="75"/>
                      <a:pt x="11" y="72"/>
                      <a:pt x="7" y="65"/>
                    </a:cubicBezTo>
                    <a:cubicBezTo>
                      <a:pt x="2" y="58"/>
                      <a:pt x="0" y="49"/>
                      <a:pt x="0" y="37"/>
                    </a:cubicBezTo>
                    <a:cubicBezTo>
                      <a:pt x="0" y="26"/>
                      <a:pt x="2" y="17"/>
                      <a:pt x="7" y="10"/>
                    </a:cubicBezTo>
                    <a:cubicBezTo>
                      <a:pt x="11" y="3"/>
                      <a:pt x="18" y="0"/>
                      <a:pt x="25" y="0"/>
                    </a:cubicBezTo>
                    <a:cubicBezTo>
                      <a:pt x="33" y="0"/>
                      <a:pt x="40" y="3"/>
                      <a:pt x="44" y="10"/>
                    </a:cubicBezTo>
                    <a:cubicBezTo>
                      <a:pt x="49" y="17"/>
                      <a:pt x="51" y="26"/>
                      <a:pt x="51" y="37"/>
                    </a:cubicBezTo>
                    <a:close/>
                    <a:moveTo>
                      <a:pt x="38" y="37"/>
                    </a:moveTo>
                    <a:cubicBezTo>
                      <a:pt x="38" y="30"/>
                      <a:pt x="36" y="24"/>
                      <a:pt x="34" y="19"/>
                    </a:cubicBezTo>
                    <a:cubicBezTo>
                      <a:pt x="32" y="14"/>
                      <a:pt x="29" y="12"/>
                      <a:pt x="25" y="12"/>
                    </a:cubicBezTo>
                    <a:cubicBezTo>
                      <a:pt x="22" y="12"/>
                      <a:pt x="19" y="14"/>
                      <a:pt x="17" y="19"/>
                    </a:cubicBezTo>
                    <a:cubicBezTo>
                      <a:pt x="15" y="24"/>
                      <a:pt x="14" y="30"/>
                      <a:pt x="14" y="37"/>
                    </a:cubicBezTo>
                    <a:cubicBezTo>
                      <a:pt x="14" y="45"/>
                      <a:pt x="15" y="51"/>
                      <a:pt x="17" y="56"/>
                    </a:cubicBezTo>
                    <a:cubicBezTo>
                      <a:pt x="19" y="60"/>
                      <a:pt x="22" y="63"/>
                      <a:pt x="25" y="63"/>
                    </a:cubicBezTo>
                    <a:cubicBezTo>
                      <a:pt x="29" y="63"/>
                      <a:pt x="32" y="61"/>
                      <a:pt x="34" y="56"/>
                    </a:cubicBezTo>
                    <a:cubicBezTo>
                      <a:pt x="36"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3" name="Freeform 183"/>
              <p:cNvSpPr>
                <a:spLocks/>
              </p:cNvSpPr>
              <p:nvPr/>
            </p:nvSpPr>
            <p:spPr bwMode="auto">
              <a:xfrm>
                <a:off x="2354350" y="3465945"/>
                <a:ext cx="32813" cy="87659"/>
              </a:xfrm>
              <a:custGeom>
                <a:avLst/>
                <a:gdLst/>
                <a:ahLst/>
                <a:cxnLst>
                  <a:cxn ang="0">
                    <a:pos x="21" y="56"/>
                  </a:cxn>
                  <a:cxn ang="0">
                    <a:pos x="11" y="56"/>
                  </a:cxn>
                  <a:cxn ang="0">
                    <a:pos x="11" y="10"/>
                  </a:cxn>
                  <a:cxn ang="0">
                    <a:pos x="0" y="10"/>
                  </a:cxn>
                  <a:cxn ang="0">
                    <a:pos x="4" y="0"/>
                  </a:cxn>
                  <a:cxn ang="0">
                    <a:pos x="21" y="0"/>
                  </a:cxn>
                  <a:cxn ang="0">
                    <a:pos x="21" y="56"/>
                  </a:cxn>
                </a:cxnLst>
                <a:rect l="0" t="0" r="r" b="b"/>
                <a:pathLst>
                  <a:path w="21" h="56">
                    <a:moveTo>
                      <a:pt x="21" y="56"/>
                    </a:moveTo>
                    <a:lnTo>
                      <a:pt x="11" y="56"/>
                    </a:lnTo>
                    <a:lnTo>
                      <a:pt x="11"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4" name="Freeform 184"/>
              <p:cNvSpPr>
                <a:spLocks/>
              </p:cNvSpPr>
              <p:nvPr/>
            </p:nvSpPr>
            <p:spPr bwMode="auto">
              <a:xfrm>
                <a:off x="2394976" y="3465945"/>
                <a:ext cx="34376" cy="87659"/>
              </a:xfrm>
              <a:custGeom>
                <a:avLst/>
                <a:gdLst/>
                <a:ahLst/>
                <a:cxnLst>
                  <a:cxn ang="0">
                    <a:pos x="22" y="56"/>
                  </a:cxn>
                  <a:cxn ang="0">
                    <a:pos x="11" y="56"/>
                  </a:cxn>
                  <a:cxn ang="0">
                    <a:pos x="11" y="10"/>
                  </a:cxn>
                  <a:cxn ang="0">
                    <a:pos x="0" y="10"/>
                  </a:cxn>
                  <a:cxn ang="0">
                    <a:pos x="5" y="0"/>
                  </a:cxn>
                  <a:cxn ang="0">
                    <a:pos x="22" y="0"/>
                  </a:cxn>
                  <a:cxn ang="0">
                    <a:pos x="22" y="56"/>
                  </a:cxn>
                </a:cxnLst>
                <a:rect l="0" t="0" r="r" b="b"/>
                <a:pathLst>
                  <a:path w="22" h="56">
                    <a:moveTo>
                      <a:pt x="22" y="56"/>
                    </a:moveTo>
                    <a:lnTo>
                      <a:pt x="11" y="56"/>
                    </a:lnTo>
                    <a:lnTo>
                      <a:pt x="11" y="10"/>
                    </a:lnTo>
                    <a:lnTo>
                      <a:pt x="0" y="10"/>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5" name="Freeform 185"/>
              <p:cNvSpPr>
                <a:spLocks noEditPoints="1"/>
              </p:cNvSpPr>
              <p:nvPr/>
            </p:nvSpPr>
            <p:spPr bwMode="auto">
              <a:xfrm>
                <a:off x="2443414" y="3464379"/>
                <a:ext cx="60938" cy="90790"/>
              </a:xfrm>
              <a:custGeom>
                <a:avLst/>
                <a:gdLst/>
                <a:ahLst/>
                <a:cxnLst>
                  <a:cxn ang="0">
                    <a:pos x="51" y="38"/>
                  </a:cxn>
                  <a:cxn ang="0">
                    <a:pos x="44" y="65"/>
                  </a:cxn>
                  <a:cxn ang="0">
                    <a:pos x="25" y="75"/>
                  </a:cxn>
                  <a:cxn ang="0">
                    <a:pos x="7" y="65"/>
                  </a:cxn>
                  <a:cxn ang="0">
                    <a:pos x="0" y="38"/>
                  </a:cxn>
                  <a:cxn ang="0">
                    <a:pos x="7" y="10"/>
                  </a:cxn>
                  <a:cxn ang="0">
                    <a:pos x="25" y="0"/>
                  </a:cxn>
                  <a:cxn ang="0">
                    <a:pos x="44" y="10"/>
                  </a:cxn>
                  <a:cxn ang="0">
                    <a:pos x="51" y="38"/>
                  </a:cxn>
                  <a:cxn ang="0">
                    <a:pos x="37" y="37"/>
                  </a:cxn>
                  <a:cxn ang="0">
                    <a:pos x="34" y="19"/>
                  </a:cxn>
                  <a:cxn ang="0">
                    <a:pos x="25" y="12"/>
                  </a:cxn>
                  <a:cxn ang="0">
                    <a:pos x="17" y="19"/>
                  </a:cxn>
                  <a:cxn ang="0">
                    <a:pos x="13" y="38"/>
                  </a:cxn>
                  <a:cxn ang="0">
                    <a:pos x="17" y="56"/>
                  </a:cxn>
                  <a:cxn ang="0">
                    <a:pos x="25" y="63"/>
                  </a:cxn>
                  <a:cxn ang="0">
                    <a:pos x="34" y="56"/>
                  </a:cxn>
                  <a:cxn ang="0">
                    <a:pos x="37" y="37"/>
                  </a:cxn>
                </a:cxnLst>
                <a:rect l="0" t="0" r="r" b="b"/>
                <a:pathLst>
                  <a:path w="51" h="75">
                    <a:moveTo>
                      <a:pt x="51" y="38"/>
                    </a:moveTo>
                    <a:cubicBezTo>
                      <a:pt x="51" y="49"/>
                      <a:pt x="49" y="58"/>
                      <a:pt x="44" y="65"/>
                    </a:cubicBezTo>
                    <a:cubicBezTo>
                      <a:pt x="39" y="72"/>
                      <a:pt x="33" y="75"/>
                      <a:pt x="25" y="75"/>
                    </a:cubicBezTo>
                    <a:cubicBezTo>
                      <a:pt x="17" y="75"/>
                      <a:pt x="11" y="72"/>
                      <a:pt x="7" y="65"/>
                    </a:cubicBezTo>
                    <a:cubicBezTo>
                      <a:pt x="2" y="58"/>
                      <a:pt x="0" y="49"/>
                      <a:pt x="0" y="38"/>
                    </a:cubicBezTo>
                    <a:cubicBezTo>
                      <a:pt x="0" y="26"/>
                      <a:pt x="2" y="17"/>
                      <a:pt x="7" y="10"/>
                    </a:cubicBezTo>
                    <a:cubicBezTo>
                      <a:pt x="11" y="3"/>
                      <a:pt x="17" y="0"/>
                      <a:pt x="25" y="0"/>
                    </a:cubicBezTo>
                    <a:cubicBezTo>
                      <a:pt x="33" y="0"/>
                      <a:pt x="39" y="3"/>
                      <a:pt x="44" y="10"/>
                    </a:cubicBezTo>
                    <a:cubicBezTo>
                      <a:pt x="49" y="17"/>
                      <a:pt x="51" y="26"/>
                      <a:pt x="51" y="38"/>
                    </a:cubicBezTo>
                    <a:close/>
                    <a:moveTo>
                      <a:pt x="37" y="37"/>
                    </a:moveTo>
                    <a:cubicBezTo>
                      <a:pt x="37" y="30"/>
                      <a:pt x="36" y="24"/>
                      <a:pt x="34" y="19"/>
                    </a:cubicBezTo>
                    <a:cubicBezTo>
                      <a:pt x="32" y="14"/>
                      <a:pt x="29" y="12"/>
                      <a:pt x="25" y="12"/>
                    </a:cubicBezTo>
                    <a:cubicBezTo>
                      <a:pt x="22" y="12"/>
                      <a:pt x="19" y="15"/>
                      <a:pt x="17" y="19"/>
                    </a:cubicBezTo>
                    <a:cubicBezTo>
                      <a:pt x="14" y="24"/>
                      <a:pt x="13" y="30"/>
                      <a:pt x="13" y="38"/>
                    </a:cubicBezTo>
                    <a:cubicBezTo>
                      <a:pt x="13" y="45"/>
                      <a:pt x="14" y="51"/>
                      <a:pt x="17" y="56"/>
                    </a:cubicBezTo>
                    <a:cubicBezTo>
                      <a:pt x="19" y="61"/>
                      <a:pt x="22" y="63"/>
                      <a:pt x="25" y="63"/>
                    </a:cubicBezTo>
                    <a:cubicBezTo>
                      <a:pt x="29" y="63"/>
                      <a:pt x="32" y="61"/>
                      <a:pt x="34" y="56"/>
                    </a:cubicBezTo>
                    <a:cubicBezTo>
                      <a:pt x="36" y="51"/>
                      <a:pt x="37" y="45"/>
                      <a:pt x="37"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6" name="Freeform 186"/>
              <p:cNvSpPr>
                <a:spLocks noEditPoints="1"/>
              </p:cNvSpPr>
              <p:nvPr/>
            </p:nvSpPr>
            <p:spPr bwMode="auto">
              <a:xfrm>
                <a:off x="2509040" y="3464379"/>
                <a:ext cx="62501" cy="90790"/>
              </a:xfrm>
              <a:custGeom>
                <a:avLst/>
                <a:gdLst/>
                <a:ahLst/>
                <a:cxnLst>
                  <a:cxn ang="0">
                    <a:pos x="52" y="38"/>
                  </a:cxn>
                  <a:cxn ang="0">
                    <a:pos x="45" y="65"/>
                  </a:cxn>
                  <a:cxn ang="0">
                    <a:pos x="26" y="75"/>
                  </a:cxn>
                  <a:cxn ang="0">
                    <a:pos x="7" y="65"/>
                  </a:cxn>
                  <a:cxn ang="0">
                    <a:pos x="0" y="38"/>
                  </a:cxn>
                  <a:cxn ang="0">
                    <a:pos x="7" y="10"/>
                  </a:cxn>
                  <a:cxn ang="0">
                    <a:pos x="26" y="0"/>
                  </a:cxn>
                  <a:cxn ang="0">
                    <a:pos x="45" y="10"/>
                  </a:cxn>
                  <a:cxn ang="0">
                    <a:pos x="52" y="38"/>
                  </a:cxn>
                  <a:cxn ang="0">
                    <a:pos x="38" y="37"/>
                  </a:cxn>
                  <a:cxn ang="0">
                    <a:pos x="35" y="19"/>
                  </a:cxn>
                  <a:cxn ang="0">
                    <a:pos x="26" y="12"/>
                  </a:cxn>
                  <a:cxn ang="0">
                    <a:pos x="17" y="19"/>
                  </a:cxn>
                  <a:cxn ang="0">
                    <a:pos x="14" y="38"/>
                  </a:cxn>
                  <a:cxn ang="0">
                    <a:pos x="17" y="56"/>
                  </a:cxn>
                  <a:cxn ang="0">
                    <a:pos x="26" y="63"/>
                  </a:cxn>
                  <a:cxn ang="0">
                    <a:pos x="35" y="56"/>
                  </a:cxn>
                  <a:cxn ang="0">
                    <a:pos x="38" y="37"/>
                  </a:cxn>
                </a:cxnLst>
                <a:rect l="0" t="0" r="r" b="b"/>
                <a:pathLst>
                  <a:path w="52" h="75">
                    <a:moveTo>
                      <a:pt x="52" y="38"/>
                    </a:moveTo>
                    <a:cubicBezTo>
                      <a:pt x="52" y="49"/>
                      <a:pt x="49" y="58"/>
                      <a:pt x="45" y="65"/>
                    </a:cubicBezTo>
                    <a:cubicBezTo>
                      <a:pt x="40" y="72"/>
                      <a:pt x="34" y="75"/>
                      <a:pt x="26" y="75"/>
                    </a:cubicBezTo>
                    <a:cubicBezTo>
                      <a:pt x="18" y="75"/>
                      <a:pt x="12" y="72"/>
                      <a:pt x="7" y="65"/>
                    </a:cubicBezTo>
                    <a:cubicBezTo>
                      <a:pt x="2" y="58"/>
                      <a:pt x="0" y="49"/>
                      <a:pt x="0" y="38"/>
                    </a:cubicBezTo>
                    <a:cubicBezTo>
                      <a:pt x="0" y="26"/>
                      <a:pt x="2" y="17"/>
                      <a:pt x="7" y="10"/>
                    </a:cubicBezTo>
                    <a:cubicBezTo>
                      <a:pt x="12" y="3"/>
                      <a:pt x="18" y="0"/>
                      <a:pt x="26" y="0"/>
                    </a:cubicBezTo>
                    <a:cubicBezTo>
                      <a:pt x="34" y="0"/>
                      <a:pt x="40" y="3"/>
                      <a:pt x="45" y="10"/>
                    </a:cubicBezTo>
                    <a:cubicBezTo>
                      <a:pt x="49" y="17"/>
                      <a:pt x="52" y="26"/>
                      <a:pt x="52" y="38"/>
                    </a:cubicBezTo>
                    <a:close/>
                    <a:moveTo>
                      <a:pt x="38" y="37"/>
                    </a:moveTo>
                    <a:cubicBezTo>
                      <a:pt x="38" y="30"/>
                      <a:pt x="37" y="24"/>
                      <a:pt x="35" y="19"/>
                    </a:cubicBezTo>
                    <a:cubicBezTo>
                      <a:pt x="32" y="14"/>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5"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7" name="Freeform 187"/>
              <p:cNvSpPr>
                <a:spLocks/>
              </p:cNvSpPr>
              <p:nvPr/>
            </p:nvSpPr>
            <p:spPr bwMode="auto">
              <a:xfrm>
                <a:off x="2573104" y="3465945"/>
                <a:ext cx="32813" cy="87659"/>
              </a:xfrm>
              <a:custGeom>
                <a:avLst/>
                <a:gdLst/>
                <a:ahLst/>
                <a:cxnLst>
                  <a:cxn ang="0">
                    <a:pos x="21" y="56"/>
                  </a:cxn>
                  <a:cxn ang="0">
                    <a:pos x="11" y="56"/>
                  </a:cxn>
                  <a:cxn ang="0">
                    <a:pos x="11" y="10"/>
                  </a:cxn>
                  <a:cxn ang="0">
                    <a:pos x="0" y="10"/>
                  </a:cxn>
                  <a:cxn ang="0">
                    <a:pos x="4" y="0"/>
                  </a:cxn>
                  <a:cxn ang="0">
                    <a:pos x="21" y="0"/>
                  </a:cxn>
                  <a:cxn ang="0">
                    <a:pos x="21" y="56"/>
                  </a:cxn>
                </a:cxnLst>
                <a:rect l="0" t="0" r="r" b="b"/>
                <a:pathLst>
                  <a:path w="21" h="56">
                    <a:moveTo>
                      <a:pt x="21" y="56"/>
                    </a:moveTo>
                    <a:lnTo>
                      <a:pt x="11" y="56"/>
                    </a:lnTo>
                    <a:lnTo>
                      <a:pt x="11"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8" name="Freeform 188"/>
              <p:cNvSpPr>
                <a:spLocks/>
              </p:cNvSpPr>
              <p:nvPr/>
            </p:nvSpPr>
            <p:spPr bwMode="auto">
              <a:xfrm>
                <a:off x="2613729" y="3465945"/>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9" name="Freeform 189"/>
              <p:cNvSpPr>
                <a:spLocks/>
              </p:cNvSpPr>
              <p:nvPr/>
            </p:nvSpPr>
            <p:spPr bwMode="auto">
              <a:xfrm>
                <a:off x="2654355" y="3465945"/>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0" name="Freeform 190"/>
              <p:cNvSpPr>
                <a:spLocks noEditPoints="1"/>
              </p:cNvSpPr>
              <p:nvPr/>
            </p:nvSpPr>
            <p:spPr bwMode="auto">
              <a:xfrm>
                <a:off x="2701231" y="3464379"/>
                <a:ext cx="62501" cy="90790"/>
              </a:xfrm>
              <a:custGeom>
                <a:avLst/>
                <a:gdLst/>
                <a:ahLst/>
                <a:cxnLst>
                  <a:cxn ang="0">
                    <a:pos x="52" y="38"/>
                  </a:cxn>
                  <a:cxn ang="0">
                    <a:pos x="45" y="65"/>
                  </a:cxn>
                  <a:cxn ang="0">
                    <a:pos x="26" y="75"/>
                  </a:cxn>
                  <a:cxn ang="0">
                    <a:pos x="7" y="65"/>
                  </a:cxn>
                  <a:cxn ang="0">
                    <a:pos x="0" y="38"/>
                  </a:cxn>
                  <a:cxn ang="0">
                    <a:pos x="7" y="10"/>
                  </a:cxn>
                  <a:cxn ang="0">
                    <a:pos x="26" y="0"/>
                  </a:cxn>
                  <a:cxn ang="0">
                    <a:pos x="45" y="10"/>
                  </a:cxn>
                  <a:cxn ang="0">
                    <a:pos x="52" y="38"/>
                  </a:cxn>
                  <a:cxn ang="0">
                    <a:pos x="38" y="37"/>
                  </a:cxn>
                  <a:cxn ang="0">
                    <a:pos x="35" y="19"/>
                  </a:cxn>
                  <a:cxn ang="0">
                    <a:pos x="26" y="12"/>
                  </a:cxn>
                  <a:cxn ang="0">
                    <a:pos x="17" y="19"/>
                  </a:cxn>
                  <a:cxn ang="0">
                    <a:pos x="14" y="38"/>
                  </a:cxn>
                  <a:cxn ang="0">
                    <a:pos x="17" y="56"/>
                  </a:cxn>
                  <a:cxn ang="0">
                    <a:pos x="26" y="63"/>
                  </a:cxn>
                  <a:cxn ang="0">
                    <a:pos x="35" y="56"/>
                  </a:cxn>
                  <a:cxn ang="0">
                    <a:pos x="38" y="37"/>
                  </a:cxn>
                </a:cxnLst>
                <a:rect l="0" t="0" r="r" b="b"/>
                <a:pathLst>
                  <a:path w="52" h="75">
                    <a:moveTo>
                      <a:pt x="52" y="38"/>
                    </a:moveTo>
                    <a:cubicBezTo>
                      <a:pt x="52" y="49"/>
                      <a:pt x="49" y="58"/>
                      <a:pt x="45" y="65"/>
                    </a:cubicBezTo>
                    <a:cubicBezTo>
                      <a:pt x="40" y="72"/>
                      <a:pt x="34" y="75"/>
                      <a:pt x="26" y="75"/>
                    </a:cubicBezTo>
                    <a:cubicBezTo>
                      <a:pt x="18" y="75"/>
                      <a:pt x="12" y="72"/>
                      <a:pt x="7" y="65"/>
                    </a:cubicBezTo>
                    <a:cubicBezTo>
                      <a:pt x="2" y="58"/>
                      <a:pt x="0" y="49"/>
                      <a:pt x="0" y="38"/>
                    </a:cubicBezTo>
                    <a:cubicBezTo>
                      <a:pt x="0" y="26"/>
                      <a:pt x="2" y="17"/>
                      <a:pt x="7" y="10"/>
                    </a:cubicBezTo>
                    <a:cubicBezTo>
                      <a:pt x="12" y="3"/>
                      <a:pt x="18" y="0"/>
                      <a:pt x="26" y="0"/>
                    </a:cubicBezTo>
                    <a:cubicBezTo>
                      <a:pt x="34" y="0"/>
                      <a:pt x="40" y="3"/>
                      <a:pt x="45" y="10"/>
                    </a:cubicBezTo>
                    <a:cubicBezTo>
                      <a:pt x="49" y="17"/>
                      <a:pt x="52" y="26"/>
                      <a:pt x="52" y="38"/>
                    </a:cubicBezTo>
                    <a:close/>
                    <a:moveTo>
                      <a:pt x="38" y="37"/>
                    </a:moveTo>
                    <a:cubicBezTo>
                      <a:pt x="38" y="30"/>
                      <a:pt x="37" y="24"/>
                      <a:pt x="35" y="19"/>
                    </a:cubicBezTo>
                    <a:cubicBezTo>
                      <a:pt x="32" y="14"/>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5"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1" name="Freeform 191"/>
              <p:cNvSpPr>
                <a:spLocks noEditPoints="1"/>
              </p:cNvSpPr>
              <p:nvPr/>
            </p:nvSpPr>
            <p:spPr bwMode="auto">
              <a:xfrm>
                <a:off x="2768419" y="3464379"/>
                <a:ext cx="60938" cy="90790"/>
              </a:xfrm>
              <a:custGeom>
                <a:avLst/>
                <a:gdLst/>
                <a:ahLst/>
                <a:cxnLst>
                  <a:cxn ang="0">
                    <a:pos x="51" y="38"/>
                  </a:cxn>
                  <a:cxn ang="0">
                    <a:pos x="44" y="65"/>
                  </a:cxn>
                  <a:cxn ang="0">
                    <a:pos x="25" y="75"/>
                  </a:cxn>
                  <a:cxn ang="0">
                    <a:pos x="7" y="65"/>
                  </a:cxn>
                  <a:cxn ang="0">
                    <a:pos x="0" y="38"/>
                  </a:cxn>
                  <a:cxn ang="0">
                    <a:pos x="7" y="10"/>
                  </a:cxn>
                  <a:cxn ang="0">
                    <a:pos x="25" y="0"/>
                  </a:cxn>
                  <a:cxn ang="0">
                    <a:pos x="44" y="10"/>
                  </a:cxn>
                  <a:cxn ang="0">
                    <a:pos x="51" y="38"/>
                  </a:cxn>
                  <a:cxn ang="0">
                    <a:pos x="37" y="37"/>
                  </a:cxn>
                  <a:cxn ang="0">
                    <a:pos x="34" y="19"/>
                  </a:cxn>
                  <a:cxn ang="0">
                    <a:pos x="25" y="12"/>
                  </a:cxn>
                  <a:cxn ang="0">
                    <a:pos x="17" y="19"/>
                  </a:cxn>
                  <a:cxn ang="0">
                    <a:pos x="13" y="38"/>
                  </a:cxn>
                  <a:cxn ang="0">
                    <a:pos x="17" y="56"/>
                  </a:cxn>
                  <a:cxn ang="0">
                    <a:pos x="25" y="63"/>
                  </a:cxn>
                  <a:cxn ang="0">
                    <a:pos x="34" y="56"/>
                  </a:cxn>
                  <a:cxn ang="0">
                    <a:pos x="37" y="37"/>
                  </a:cxn>
                </a:cxnLst>
                <a:rect l="0" t="0" r="r" b="b"/>
                <a:pathLst>
                  <a:path w="51" h="75">
                    <a:moveTo>
                      <a:pt x="51" y="38"/>
                    </a:moveTo>
                    <a:cubicBezTo>
                      <a:pt x="51" y="49"/>
                      <a:pt x="49" y="58"/>
                      <a:pt x="44" y="65"/>
                    </a:cubicBezTo>
                    <a:cubicBezTo>
                      <a:pt x="39" y="72"/>
                      <a:pt x="33" y="75"/>
                      <a:pt x="25" y="75"/>
                    </a:cubicBezTo>
                    <a:cubicBezTo>
                      <a:pt x="17" y="75"/>
                      <a:pt x="11" y="72"/>
                      <a:pt x="7" y="65"/>
                    </a:cubicBezTo>
                    <a:cubicBezTo>
                      <a:pt x="2" y="58"/>
                      <a:pt x="0" y="49"/>
                      <a:pt x="0" y="38"/>
                    </a:cubicBezTo>
                    <a:cubicBezTo>
                      <a:pt x="0" y="26"/>
                      <a:pt x="2" y="17"/>
                      <a:pt x="7" y="10"/>
                    </a:cubicBezTo>
                    <a:cubicBezTo>
                      <a:pt x="11" y="3"/>
                      <a:pt x="18" y="0"/>
                      <a:pt x="25" y="0"/>
                    </a:cubicBezTo>
                    <a:cubicBezTo>
                      <a:pt x="33" y="0"/>
                      <a:pt x="39" y="3"/>
                      <a:pt x="44" y="10"/>
                    </a:cubicBezTo>
                    <a:cubicBezTo>
                      <a:pt x="49" y="17"/>
                      <a:pt x="51" y="26"/>
                      <a:pt x="51" y="38"/>
                    </a:cubicBezTo>
                    <a:close/>
                    <a:moveTo>
                      <a:pt x="37" y="37"/>
                    </a:moveTo>
                    <a:cubicBezTo>
                      <a:pt x="37" y="30"/>
                      <a:pt x="36" y="24"/>
                      <a:pt x="34" y="19"/>
                    </a:cubicBezTo>
                    <a:cubicBezTo>
                      <a:pt x="32" y="14"/>
                      <a:pt x="29" y="12"/>
                      <a:pt x="25" y="12"/>
                    </a:cubicBezTo>
                    <a:cubicBezTo>
                      <a:pt x="22" y="12"/>
                      <a:pt x="19" y="15"/>
                      <a:pt x="17" y="19"/>
                    </a:cubicBezTo>
                    <a:cubicBezTo>
                      <a:pt x="15" y="24"/>
                      <a:pt x="13" y="30"/>
                      <a:pt x="13" y="38"/>
                    </a:cubicBezTo>
                    <a:cubicBezTo>
                      <a:pt x="13" y="45"/>
                      <a:pt x="15" y="51"/>
                      <a:pt x="17" y="56"/>
                    </a:cubicBezTo>
                    <a:cubicBezTo>
                      <a:pt x="19" y="61"/>
                      <a:pt x="22" y="63"/>
                      <a:pt x="25" y="63"/>
                    </a:cubicBezTo>
                    <a:cubicBezTo>
                      <a:pt x="29" y="63"/>
                      <a:pt x="32" y="61"/>
                      <a:pt x="34" y="56"/>
                    </a:cubicBezTo>
                    <a:cubicBezTo>
                      <a:pt x="36" y="51"/>
                      <a:pt x="37" y="45"/>
                      <a:pt x="37"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2" name="Freeform 192"/>
              <p:cNvSpPr>
                <a:spLocks/>
              </p:cNvSpPr>
              <p:nvPr/>
            </p:nvSpPr>
            <p:spPr bwMode="auto">
              <a:xfrm>
                <a:off x="2830920" y="3465945"/>
                <a:ext cx="34376" cy="87659"/>
              </a:xfrm>
              <a:custGeom>
                <a:avLst/>
                <a:gdLst/>
                <a:ahLst/>
                <a:cxnLst>
                  <a:cxn ang="0">
                    <a:pos x="22" y="56"/>
                  </a:cxn>
                  <a:cxn ang="0">
                    <a:pos x="11" y="56"/>
                  </a:cxn>
                  <a:cxn ang="0">
                    <a:pos x="11" y="10"/>
                  </a:cxn>
                  <a:cxn ang="0">
                    <a:pos x="0" y="10"/>
                  </a:cxn>
                  <a:cxn ang="0">
                    <a:pos x="5" y="0"/>
                  </a:cxn>
                  <a:cxn ang="0">
                    <a:pos x="22" y="0"/>
                  </a:cxn>
                  <a:cxn ang="0">
                    <a:pos x="22" y="56"/>
                  </a:cxn>
                </a:cxnLst>
                <a:rect l="0" t="0" r="r" b="b"/>
                <a:pathLst>
                  <a:path w="22" h="56">
                    <a:moveTo>
                      <a:pt x="22" y="56"/>
                    </a:moveTo>
                    <a:lnTo>
                      <a:pt x="11" y="56"/>
                    </a:lnTo>
                    <a:lnTo>
                      <a:pt x="11" y="10"/>
                    </a:lnTo>
                    <a:lnTo>
                      <a:pt x="0" y="10"/>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3" name="Freeform 193"/>
              <p:cNvSpPr>
                <a:spLocks/>
              </p:cNvSpPr>
              <p:nvPr/>
            </p:nvSpPr>
            <p:spPr bwMode="auto">
              <a:xfrm>
                <a:off x="2871546" y="3465945"/>
                <a:ext cx="34376" cy="87659"/>
              </a:xfrm>
              <a:custGeom>
                <a:avLst/>
                <a:gdLst/>
                <a:ahLst/>
                <a:cxnLst>
                  <a:cxn ang="0">
                    <a:pos x="22" y="56"/>
                  </a:cxn>
                  <a:cxn ang="0">
                    <a:pos x="11" y="56"/>
                  </a:cxn>
                  <a:cxn ang="0">
                    <a:pos x="11" y="10"/>
                  </a:cxn>
                  <a:cxn ang="0">
                    <a:pos x="0" y="10"/>
                  </a:cxn>
                  <a:cxn ang="0">
                    <a:pos x="5" y="0"/>
                  </a:cxn>
                  <a:cxn ang="0">
                    <a:pos x="22" y="0"/>
                  </a:cxn>
                  <a:cxn ang="0">
                    <a:pos x="22" y="56"/>
                  </a:cxn>
                </a:cxnLst>
                <a:rect l="0" t="0" r="r" b="b"/>
                <a:pathLst>
                  <a:path w="22" h="56">
                    <a:moveTo>
                      <a:pt x="22" y="56"/>
                    </a:moveTo>
                    <a:lnTo>
                      <a:pt x="11" y="56"/>
                    </a:lnTo>
                    <a:lnTo>
                      <a:pt x="11" y="10"/>
                    </a:lnTo>
                    <a:lnTo>
                      <a:pt x="0" y="10"/>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4" name="Freeform 194"/>
              <p:cNvSpPr>
                <a:spLocks noEditPoints="1"/>
              </p:cNvSpPr>
              <p:nvPr/>
            </p:nvSpPr>
            <p:spPr bwMode="auto">
              <a:xfrm>
                <a:off x="2919984" y="3464379"/>
                <a:ext cx="60938" cy="90790"/>
              </a:xfrm>
              <a:custGeom>
                <a:avLst/>
                <a:gdLst/>
                <a:ahLst/>
                <a:cxnLst>
                  <a:cxn ang="0">
                    <a:pos x="51" y="38"/>
                  </a:cxn>
                  <a:cxn ang="0">
                    <a:pos x="44" y="65"/>
                  </a:cxn>
                  <a:cxn ang="0">
                    <a:pos x="25" y="75"/>
                  </a:cxn>
                  <a:cxn ang="0">
                    <a:pos x="7" y="65"/>
                  </a:cxn>
                  <a:cxn ang="0">
                    <a:pos x="0" y="38"/>
                  </a:cxn>
                  <a:cxn ang="0">
                    <a:pos x="7" y="10"/>
                  </a:cxn>
                  <a:cxn ang="0">
                    <a:pos x="25" y="0"/>
                  </a:cxn>
                  <a:cxn ang="0">
                    <a:pos x="44" y="10"/>
                  </a:cxn>
                  <a:cxn ang="0">
                    <a:pos x="51" y="38"/>
                  </a:cxn>
                  <a:cxn ang="0">
                    <a:pos x="38" y="37"/>
                  </a:cxn>
                  <a:cxn ang="0">
                    <a:pos x="34" y="19"/>
                  </a:cxn>
                  <a:cxn ang="0">
                    <a:pos x="25" y="12"/>
                  </a:cxn>
                  <a:cxn ang="0">
                    <a:pos x="17" y="19"/>
                  </a:cxn>
                  <a:cxn ang="0">
                    <a:pos x="14" y="38"/>
                  </a:cxn>
                  <a:cxn ang="0">
                    <a:pos x="17" y="56"/>
                  </a:cxn>
                  <a:cxn ang="0">
                    <a:pos x="25" y="63"/>
                  </a:cxn>
                  <a:cxn ang="0">
                    <a:pos x="34" y="56"/>
                  </a:cxn>
                  <a:cxn ang="0">
                    <a:pos x="38" y="37"/>
                  </a:cxn>
                </a:cxnLst>
                <a:rect l="0" t="0" r="r" b="b"/>
                <a:pathLst>
                  <a:path w="51" h="75">
                    <a:moveTo>
                      <a:pt x="51" y="38"/>
                    </a:moveTo>
                    <a:cubicBezTo>
                      <a:pt x="51" y="49"/>
                      <a:pt x="49" y="58"/>
                      <a:pt x="44" y="65"/>
                    </a:cubicBezTo>
                    <a:cubicBezTo>
                      <a:pt x="40" y="72"/>
                      <a:pt x="33" y="75"/>
                      <a:pt x="25" y="75"/>
                    </a:cubicBezTo>
                    <a:cubicBezTo>
                      <a:pt x="18" y="75"/>
                      <a:pt x="11" y="72"/>
                      <a:pt x="7" y="65"/>
                    </a:cubicBezTo>
                    <a:cubicBezTo>
                      <a:pt x="2" y="58"/>
                      <a:pt x="0" y="49"/>
                      <a:pt x="0" y="38"/>
                    </a:cubicBezTo>
                    <a:cubicBezTo>
                      <a:pt x="0" y="26"/>
                      <a:pt x="2" y="17"/>
                      <a:pt x="7" y="10"/>
                    </a:cubicBezTo>
                    <a:cubicBezTo>
                      <a:pt x="11" y="3"/>
                      <a:pt x="18" y="0"/>
                      <a:pt x="25" y="0"/>
                    </a:cubicBezTo>
                    <a:cubicBezTo>
                      <a:pt x="33" y="0"/>
                      <a:pt x="40" y="3"/>
                      <a:pt x="44" y="10"/>
                    </a:cubicBezTo>
                    <a:cubicBezTo>
                      <a:pt x="49" y="17"/>
                      <a:pt x="51" y="26"/>
                      <a:pt x="51" y="38"/>
                    </a:cubicBezTo>
                    <a:close/>
                    <a:moveTo>
                      <a:pt x="38" y="37"/>
                    </a:moveTo>
                    <a:cubicBezTo>
                      <a:pt x="38" y="30"/>
                      <a:pt x="36" y="24"/>
                      <a:pt x="34" y="19"/>
                    </a:cubicBezTo>
                    <a:cubicBezTo>
                      <a:pt x="32" y="14"/>
                      <a:pt x="29" y="12"/>
                      <a:pt x="25" y="12"/>
                    </a:cubicBezTo>
                    <a:cubicBezTo>
                      <a:pt x="22" y="12"/>
                      <a:pt x="19" y="15"/>
                      <a:pt x="17" y="19"/>
                    </a:cubicBezTo>
                    <a:cubicBezTo>
                      <a:pt x="15" y="24"/>
                      <a:pt x="14" y="30"/>
                      <a:pt x="14" y="38"/>
                    </a:cubicBezTo>
                    <a:cubicBezTo>
                      <a:pt x="14" y="45"/>
                      <a:pt x="15" y="51"/>
                      <a:pt x="17" y="56"/>
                    </a:cubicBezTo>
                    <a:cubicBezTo>
                      <a:pt x="19" y="61"/>
                      <a:pt x="22" y="63"/>
                      <a:pt x="25" y="63"/>
                    </a:cubicBezTo>
                    <a:cubicBezTo>
                      <a:pt x="29" y="63"/>
                      <a:pt x="32" y="61"/>
                      <a:pt x="34" y="56"/>
                    </a:cubicBezTo>
                    <a:cubicBezTo>
                      <a:pt x="36"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5" name="Freeform 195"/>
              <p:cNvSpPr>
                <a:spLocks/>
              </p:cNvSpPr>
              <p:nvPr/>
            </p:nvSpPr>
            <p:spPr bwMode="auto">
              <a:xfrm>
                <a:off x="2984048" y="3465945"/>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6" name="Freeform 196"/>
              <p:cNvSpPr>
                <a:spLocks noEditPoints="1"/>
              </p:cNvSpPr>
              <p:nvPr/>
            </p:nvSpPr>
            <p:spPr bwMode="auto">
              <a:xfrm>
                <a:off x="3030924" y="3464379"/>
                <a:ext cx="62501" cy="90790"/>
              </a:xfrm>
              <a:custGeom>
                <a:avLst/>
                <a:gdLst/>
                <a:ahLst/>
                <a:cxnLst>
                  <a:cxn ang="0">
                    <a:pos x="52" y="38"/>
                  </a:cxn>
                  <a:cxn ang="0">
                    <a:pos x="45" y="65"/>
                  </a:cxn>
                  <a:cxn ang="0">
                    <a:pos x="26" y="75"/>
                  </a:cxn>
                  <a:cxn ang="0">
                    <a:pos x="7" y="65"/>
                  </a:cxn>
                  <a:cxn ang="0">
                    <a:pos x="0" y="38"/>
                  </a:cxn>
                  <a:cxn ang="0">
                    <a:pos x="7" y="10"/>
                  </a:cxn>
                  <a:cxn ang="0">
                    <a:pos x="26" y="0"/>
                  </a:cxn>
                  <a:cxn ang="0">
                    <a:pos x="45" y="10"/>
                  </a:cxn>
                  <a:cxn ang="0">
                    <a:pos x="52" y="38"/>
                  </a:cxn>
                  <a:cxn ang="0">
                    <a:pos x="38" y="37"/>
                  </a:cxn>
                  <a:cxn ang="0">
                    <a:pos x="34" y="19"/>
                  </a:cxn>
                  <a:cxn ang="0">
                    <a:pos x="26" y="12"/>
                  </a:cxn>
                  <a:cxn ang="0">
                    <a:pos x="17" y="19"/>
                  </a:cxn>
                  <a:cxn ang="0">
                    <a:pos x="14" y="38"/>
                  </a:cxn>
                  <a:cxn ang="0">
                    <a:pos x="17" y="56"/>
                  </a:cxn>
                  <a:cxn ang="0">
                    <a:pos x="26" y="63"/>
                  </a:cxn>
                  <a:cxn ang="0">
                    <a:pos x="34" y="56"/>
                  </a:cxn>
                  <a:cxn ang="0">
                    <a:pos x="38" y="37"/>
                  </a:cxn>
                </a:cxnLst>
                <a:rect l="0" t="0" r="r" b="b"/>
                <a:pathLst>
                  <a:path w="52" h="75">
                    <a:moveTo>
                      <a:pt x="52" y="38"/>
                    </a:moveTo>
                    <a:cubicBezTo>
                      <a:pt x="52" y="49"/>
                      <a:pt x="49" y="58"/>
                      <a:pt x="45" y="65"/>
                    </a:cubicBezTo>
                    <a:cubicBezTo>
                      <a:pt x="40" y="72"/>
                      <a:pt x="34" y="75"/>
                      <a:pt x="26" y="75"/>
                    </a:cubicBezTo>
                    <a:cubicBezTo>
                      <a:pt x="18" y="75"/>
                      <a:pt x="12" y="72"/>
                      <a:pt x="7" y="65"/>
                    </a:cubicBezTo>
                    <a:cubicBezTo>
                      <a:pt x="2" y="58"/>
                      <a:pt x="0" y="49"/>
                      <a:pt x="0" y="38"/>
                    </a:cubicBezTo>
                    <a:cubicBezTo>
                      <a:pt x="0" y="26"/>
                      <a:pt x="2" y="17"/>
                      <a:pt x="7" y="10"/>
                    </a:cubicBezTo>
                    <a:cubicBezTo>
                      <a:pt x="12" y="3"/>
                      <a:pt x="18" y="0"/>
                      <a:pt x="26" y="0"/>
                    </a:cubicBezTo>
                    <a:cubicBezTo>
                      <a:pt x="34" y="0"/>
                      <a:pt x="40" y="3"/>
                      <a:pt x="45" y="10"/>
                    </a:cubicBezTo>
                    <a:cubicBezTo>
                      <a:pt x="49" y="17"/>
                      <a:pt x="52" y="26"/>
                      <a:pt x="52" y="38"/>
                    </a:cubicBezTo>
                    <a:close/>
                    <a:moveTo>
                      <a:pt x="38" y="37"/>
                    </a:moveTo>
                    <a:cubicBezTo>
                      <a:pt x="38" y="30"/>
                      <a:pt x="37" y="24"/>
                      <a:pt x="34" y="19"/>
                    </a:cubicBezTo>
                    <a:cubicBezTo>
                      <a:pt x="32" y="14"/>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4"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7" name="Freeform 197"/>
              <p:cNvSpPr>
                <a:spLocks/>
              </p:cNvSpPr>
              <p:nvPr/>
            </p:nvSpPr>
            <p:spPr bwMode="auto">
              <a:xfrm>
                <a:off x="3094987" y="3465945"/>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8" name="Freeform 208"/>
              <p:cNvSpPr>
                <a:spLocks noEditPoints="1"/>
              </p:cNvSpPr>
              <p:nvPr/>
            </p:nvSpPr>
            <p:spPr bwMode="auto">
              <a:xfrm>
                <a:off x="2344975" y="3603694"/>
                <a:ext cx="62501" cy="90790"/>
              </a:xfrm>
              <a:custGeom>
                <a:avLst/>
                <a:gdLst/>
                <a:ahLst/>
                <a:cxnLst>
                  <a:cxn ang="0">
                    <a:pos x="52" y="38"/>
                  </a:cxn>
                  <a:cxn ang="0">
                    <a:pos x="44" y="65"/>
                  </a:cxn>
                  <a:cxn ang="0">
                    <a:pos x="26" y="76"/>
                  </a:cxn>
                  <a:cxn ang="0">
                    <a:pos x="7" y="65"/>
                  </a:cxn>
                  <a:cxn ang="0">
                    <a:pos x="0" y="38"/>
                  </a:cxn>
                  <a:cxn ang="0">
                    <a:pos x="7" y="10"/>
                  </a:cxn>
                  <a:cxn ang="0">
                    <a:pos x="26" y="0"/>
                  </a:cxn>
                  <a:cxn ang="0">
                    <a:pos x="44" y="10"/>
                  </a:cxn>
                  <a:cxn ang="0">
                    <a:pos x="52" y="38"/>
                  </a:cxn>
                  <a:cxn ang="0">
                    <a:pos x="38" y="38"/>
                  </a:cxn>
                  <a:cxn ang="0">
                    <a:pos x="34" y="19"/>
                  </a:cxn>
                  <a:cxn ang="0">
                    <a:pos x="26" y="12"/>
                  </a:cxn>
                  <a:cxn ang="0">
                    <a:pos x="17" y="19"/>
                  </a:cxn>
                  <a:cxn ang="0">
                    <a:pos x="14" y="38"/>
                  </a:cxn>
                  <a:cxn ang="0">
                    <a:pos x="17" y="56"/>
                  </a:cxn>
                  <a:cxn ang="0">
                    <a:pos x="26" y="63"/>
                  </a:cxn>
                  <a:cxn ang="0">
                    <a:pos x="34" y="56"/>
                  </a:cxn>
                  <a:cxn ang="0">
                    <a:pos x="38" y="38"/>
                  </a:cxn>
                </a:cxnLst>
                <a:rect l="0" t="0" r="r" b="b"/>
                <a:pathLst>
                  <a:path w="52" h="76">
                    <a:moveTo>
                      <a:pt x="52" y="38"/>
                    </a:moveTo>
                    <a:cubicBezTo>
                      <a:pt x="52" y="49"/>
                      <a:pt x="49" y="58"/>
                      <a:pt x="44" y="65"/>
                    </a:cubicBezTo>
                    <a:cubicBezTo>
                      <a:pt x="40" y="72"/>
                      <a:pt x="33" y="76"/>
                      <a:pt x="26" y="76"/>
                    </a:cubicBezTo>
                    <a:cubicBezTo>
                      <a:pt x="18" y="76"/>
                      <a:pt x="11" y="72"/>
                      <a:pt x="7" y="65"/>
                    </a:cubicBezTo>
                    <a:cubicBezTo>
                      <a:pt x="2" y="58"/>
                      <a:pt x="0" y="49"/>
                      <a:pt x="0" y="38"/>
                    </a:cubicBezTo>
                    <a:cubicBezTo>
                      <a:pt x="0" y="26"/>
                      <a:pt x="2" y="17"/>
                      <a:pt x="7" y="10"/>
                    </a:cubicBezTo>
                    <a:cubicBezTo>
                      <a:pt x="12" y="4"/>
                      <a:pt x="18" y="0"/>
                      <a:pt x="26" y="0"/>
                    </a:cubicBezTo>
                    <a:cubicBezTo>
                      <a:pt x="33" y="0"/>
                      <a:pt x="40" y="3"/>
                      <a:pt x="44" y="10"/>
                    </a:cubicBezTo>
                    <a:cubicBezTo>
                      <a:pt x="49" y="17"/>
                      <a:pt x="52" y="26"/>
                      <a:pt x="52" y="38"/>
                    </a:cubicBezTo>
                    <a:close/>
                    <a:moveTo>
                      <a:pt x="38" y="38"/>
                    </a:moveTo>
                    <a:cubicBezTo>
                      <a:pt x="38" y="30"/>
                      <a:pt x="37" y="24"/>
                      <a:pt x="34" y="19"/>
                    </a:cubicBezTo>
                    <a:cubicBezTo>
                      <a:pt x="32" y="15"/>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4" y="56"/>
                    </a:cubicBezTo>
                    <a:cubicBezTo>
                      <a:pt x="37" y="51"/>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9" name="Freeform 209"/>
              <p:cNvSpPr>
                <a:spLocks/>
              </p:cNvSpPr>
              <p:nvPr/>
            </p:nvSpPr>
            <p:spPr bwMode="auto">
              <a:xfrm>
                <a:off x="2407476" y="3605260"/>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0" name="Freeform 210"/>
              <p:cNvSpPr>
                <a:spLocks/>
              </p:cNvSpPr>
              <p:nvPr/>
            </p:nvSpPr>
            <p:spPr bwMode="auto">
              <a:xfrm>
                <a:off x="2449664" y="3605260"/>
                <a:ext cx="31250" cy="87659"/>
              </a:xfrm>
              <a:custGeom>
                <a:avLst/>
                <a:gdLst/>
                <a:ahLst/>
                <a:cxnLst>
                  <a:cxn ang="0">
                    <a:pos x="20" y="56"/>
                  </a:cxn>
                  <a:cxn ang="0">
                    <a:pos x="10" y="56"/>
                  </a:cxn>
                  <a:cxn ang="0">
                    <a:pos x="10" y="9"/>
                  </a:cxn>
                  <a:cxn ang="0">
                    <a:pos x="0" y="9"/>
                  </a:cxn>
                  <a:cxn ang="0">
                    <a:pos x="3" y="0"/>
                  </a:cxn>
                  <a:cxn ang="0">
                    <a:pos x="20" y="0"/>
                  </a:cxn>
                  <a:cxn ang="0">
                    <a:pos x="20" y="56"/>
                  </a:cxn>
                </a:cxnLst>
                <a:rect l="0" t="0" r="r" b="b"/>
                <a:pathLst>
                  <a:path w="20" h="56">
                    <a:moveTo>
                      <a:pt x="20" y="56"/>
                    </a:moveTo>
                    <a:lnTo>
                      <a:pt x="10" y="56"/>
                    </a:lnTo>
                    <a:lnTo>
                      <a:pt x="10" y="9"/>
                    </a:lnTo>
                    <a:lnTo>
                      <a:pt x="0" y="9"/>
                    </a:lnTo>
                    <a:lnTo>
                      <a:pt x="3" y="0"/>
                    </a:lnTo>
                    <a:lnTo>
                      <a:pt x="20" y="0"/>
                    </a:lnTo>
                    <a:lnTo>
                      <a:pt x="20"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1" name="Freeform 211"/>
              <p:cNvSpPr>
                <a:spLocks/>
              </p:cNvSpPr>
              <p:nvPr/>
            </p:nvSpPr>
            <p:spPr bwMode="auto">
              <a:xfrm>
                <a:off x="2488727" y="3605260"/>
                <a:ext cx="34376" cy="87659"/>
              </a:xfrm>
              <a:custGeom>
                <a:avLst/>
                <a:gdLst/>
                <a:ahLst/>
                <a:cxnLst>
                  <a:cxn ang="0">
                    <a:pos x="22" y="56"/>
                  </a:cxn>
                  <a:cxn ang="0">
                    <a:pos x="11" y="56"/>
                  </a:cxn>
                  <a:cxn ang="0">
                    <a:pos x="11" y="9"/>
                  </a:cxn>
                  <a:cxn ang="0">
                    <a:pos x="0" y="9"/>
                  </a:cxn>
                  <a:cxn ang="0">
                    <a:pos x="5" y="0"/>
                  </a:cxn>
                  <a:cxn ang="0">
                    <a:pos x="22" y="0"/>
                  </a:cxn>
                  <a:cxn ang="0">
                    <a:pos x="22" y="56"/>
                  </a:cxn>
                </a:cxnLst>
                <a:rect l="0" t="0" r="r" b="b"/>
                <a:pathLst>
                  <a:path w="22" h="56">
                    <a:moveTo>
                      <a:pt x="22" y="56"/>
                    </a:moveTo>
                    <a:lnTo>
                      <a:pt x="11" y="56"/>
                    </a:lnTo>
                    <a:lnTo>
                      <a:pt x="11" y="9"/>
                    </a:lnTo>
                    <a:lnTo>
                      <a:pt x="0" y="9"/>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2" name="Freeform 212"/>
              <p:cNvSpPr>
                <a:spLocks noEditPoints="1"/>
              </p:cNvSpPr>
              <p:nvPr/>
            </p:nvSpPr>
            <p:spPr bwMode="auto">
              <a:xfrm>
                <a:off x="2537166" y="3603694"/>
                <a:ext cx="62501" cy="90790"/>
              </a:xfrm>
              <a:custGeom>
                <a:avLst/>
                <a:gdLst/>
                <a:ahLst/>
                <a:cxnLst>
                  <a:cxn ang="0">
                    <a:pos x="52" y="38"/>
                  </a:cxn>
                  <a:cxn ang="0">
                    <a:pos x="44" y="65"/>
                  </a:cxn>
                  <a:cxn ang="0">
                    <a:pos x="26" y="76"/>
                  </a:cxn>
                  <a:cxn ang="0">
                    <a:pos x="7" y="65"/>
                  </a:cxn>
                  <a:cxn ang="0">
                    <a:pos x="0" y="38"/>
                  </a:cxn>
                  <a:cxn ang="0">
                    <a:pos x="7" y="10"/>
                  </a:cxn>
                  <a:cxn ang="0">
                    <a:pos x="26" y="0"/>
                  </a:cxn>
                  <a:cxn ang="0">
                    <a:pos x="44" y="10"/>
                  </a:cxn>
                  <a:cxn ang="0">
                    <a:pos x="52" y="38"/>
                  </a:cxn>
                  <a:cxn ang="0">
                    <a:pos x="38" y="38"/>
                  </a:cxn>
                  <a:cxn ang="0">
                    <a:pos x="34" y="19"/>
                  </a:cxn>
                  <a:cxn ang="0">
                    <a:pos x="26" y="12"/>
                  </a:cxn>
                  <a:cxn ang="0">
                    <a:pos x="17" y="19"/>
                  </a:cxn>
                  <a:cxn ang="0">
                    <a:pos x="14" y="38"/>
                  </a:cxn>
                  <a:cxn ang="0">
                    <a:pos x="17" y="56"/>
                  </a:cxn>
                  <a:cxn ang="0">
                    <a:pos x="26" y="63"/>
                  </a:cxn>
                  <a:cxn ang="0">
                    <a:pos x="34" y="56"/>
                  </a:cxn>
                  <a:cxn ang="0">
                    <a:pos x="38" y="38"/>
                  </a:cxn>
                </a:cxnLst>
                <a:rect l="0" t="0" r="r" b="b"/>
                <a:pathLst>
                  <a:path w="52" h="76">
                    <a:moveTo>
                      <a:pt x="52" y="38"/>
                    </a:moveTo>
                    <a:cubicBezTo>
                      <a:pt x="52" y="49"/>
                      <a:pt x="49" y="58"/>
                      <a:pt x="44" y="65"/>
                    </a:cubicBezTo>
                    <a:cubicBezTo>
                      <a:pt x="40" y="72"/>
                      <a:pt x="33" y="76"/>
                      <a:pt x="26" y="76"/>
                    </a:cubicBezTo>
                    <a:cubicBezTo>
                      <a:pt x="18" y="76"/>
                      <a:pt x="12" y="72"/>
                      <a:pt x="7" y="65"/>
                    </a:cubicBezTo>
                    <a:cubicBezTo>
                      <a:pt x="2" y="58"/>
                      <a:pt x="0" y="49"/>
                      <a:pt x="0" y="38"/>
                    </a:cubicBezTo>
                    <a:cubicBezTo>
                      <a:pt x="0" y="26"/>
                      <a:pt x="2" y="17"/>
                      <a:pt x="7" y="10"/>
                    </a:cubicBezTo>
                    <a:cubicBezTo>
                      <a:pt x="12" y="4"/>
                      <a:pt x="18" y="0"/>
                      <a:pt x="26" y="0"/>
                    </a:cubicBezTo>
                    <a:cubicBezTo>
                      <a:pt x="33" y="0"/>
                      <a:pt x="40" y="3"/>
                      <a:pt x="44" y="10"/>
                    </a:cubicBezTo>
                    <a:cubicBezTo>
                      <a:pt x="49" y="17"/>
                      <a:pt x="52" y="26"/>
                      <a:pt x="52" y="38"/>
                    </a:cubicBezTo>
                    <a:close/>
                    <a:moveTo>
                      <a:pt x="38" y="38"/>
                    </a:moveTo>
                    <a:cubicBezTo>
                      <a:pt x="38" y="30"/>
                      <a:pt x="37" y="24"/>
                      <a:pt x="34" y="19"/>
                    </a:cubicBezTo>
                    <a:cubicBezTo>
                      <a:pt x="32" y="15"/>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4" y="56"/>
                    </a:cubicBezTo>
                    <a:cubicBezTo>
                      <a:pt x="37" y="51"/>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3" name="Freeform 213"/>
              <p:cNvSpPr>
                <a:spLocks noEditPoints="1"/>
              </p:cNvSpPr>
              <p:nvPr/>
            </p:nvSpPr>
            <p:spPr bwMode="auto">
              <a:xfrm>
                <a:off x="2602792" y="3603694"/>
                <a:ext cx="62501" cy="90790"/>
              </a:xfrm>
              <a:custGeom>
                <a:avLst/>
                <a:gdLst/>
                <a:ahLst/>
                <a:cxnLst>
                  <a:cxn ang="0">
                    <a:pos x="52" y="38"/>
                  </a:cxn>
                  <a:cxn ang="0">
                    <a:pos x="45" y="65"/>
                  </a:cxn>
                  <a:cxn ang="0">
                    <a:pos x="26" y="76"/>
                  </a:cxn>
                  <a:cxn ang="0">
                    <a:pos x="7" y="65"/>
                  </a:cxn>
                  <a:cxn ang="0">
                    <a:pos x="0" y="38"/>
                  </a:cxn>
                  <a:cxn ang="0">
                    <a:pos x="7" y="10"/>
                  </a:cxn>
                  <a:cxn ang="0">
                    <a:pos x="26" y="0"/>
                  </a:cxn>
                  <a:cxn ang="0">
                    <a:pos x="45" y="10"/>
                  </a:cxn>
                  <a:cxn ang="0">
                    <a:pos x="52" y="38"/>
                  </a:cxn>
                  <a:cxn ang="0">
                    <a:pos x="38" y="38"/>
                  </a:cxn>
                  <a:cxn ang="0">
                    <a:pos x="35" y="19"/>
                  </a:cxn>
                  <a:cxn ang="0">
                    <a:pos x="26" y="12"/>
                  </a:cxn>
                  <a:cxn ang="0">
                    <a:pos x="17" y="19"/>
                  </a:cxn>
                  <a:cxn ang="0">
                    <a:pos x="14" y="38"/>
                  </a:cxn>
                  <a:cxn ang="0">
                    <a:pos x="18" y="56"/>
                  </a:cxn>
                  <a:cxn ang="0">
                    <a:pos x="26" y="63"/>
                  </a:cxn>
                  <a:cxn ang="0">
                    <a:pos x="35" y="56"/>
                  </a:cxn>
                  <a:cxn ang="0">
                    <a:pos x="38" y="38"/>
                  </a:cxn>
                </a:cxnLst>
                <a:rect l="0" t="0" r="r" b="b"/>
                <a:pathLst>
                  <a:path w="52" h="76">
                    <a:moveTo>
                      <a:pt x="52" y="38"/>
                    </a:moveTo>
                    <a:cubicBezTo>
                      <a:pt x="52" y="49"/>
                      <a:pt x="50" y="58"/>
                      <a:pt x="45" y="65"/>
                    </a:cubicBezTo>
                    <a:cubicBezTo>
                      <a:pt x="40" y="72"/>
                      <a:pt x="34" y="76"/>
                      <a:pt x="26" y="76"/>
                    </a:cubicBezTo>
                    <a:cubicBezTo>
                      <a:pt x="18" y="76"/>
                      <a:pt x="12" y="72"/>
                      <a:pt x="7" y="65"/>
                    </a:cubicBezTo>
                    <a:cubicBezTo>
                      <a:pt x="3" y="58"/>
                      <a:pt x="0" y="49"/>
                      <a:pt x="0" y="38"/>
                    </a:cubicBezTo>
                    <a:cubicBezTo>
                      <a:pt x="0" y="26"/>
                      <a:pt x="3" y="17"/>
                      <a:pt x="7" y="10"/>
                    </a:cubicBezTo>
                    <a:cubicBezTo>
                      <a:pt x="12" y="4"/>
                      <a:pt x="18" y="0"/>
                      <a:pt x="26" y="0"/>
                    </a:cubicBezTo>
                    <a:cubicBezTo>
                      <a:pt x="34" y="0"/>
                      <a:pt x="40" y="3"/>
                      <a:pt x="45" y="10"/>
                    </a:cubicBezTo>
                    <a:cubicBezTo>
                      <a:pt x="50" y="17"/>
                      <a:pt x="52" y="26"/>
                      <a:pt x="52" y="38"/>
                    </a:cubicBezTo>
                    <a:close/>
                    <a:moveTo>
                      <a:pt x="38" y="38"/>
                    </a:moveTo>
                    <a:cubicBezTo>
                      <a:pt x="38" y="30"/>
                      <a:pt x="37" y="24"/>
                      <a:pt x="35" y="19"/>
                    </a:cubicBezTo>
                    <a:cubicBezTo>
                      <a:pt x="33" y="15"/>
                      <a:pt x="30" y="12"/>
                      <a:pt x="26" y="12"/>
                    </a:cubicBezTo>
                    <a:cubicBezTo>
                      <a:pt x="23" y="12"/>
                      <a:pt x="20" y="15"/>
                      <a:pt x="17" y="19"/>
                    </a:cubicBezTo>
                    <a:cubicBezTo>
                      <a:pt x="15" y="24"/>
                      <a:pt x="14" y="30"/>
                      <a:pt x="14" y="38"/>
                    </a:cubicBezTo>
                    <a:cubicBezTo>
                      <a:pt x="14" y="45"/>
                      <a:pt x="15" y="51"/>
                      <a:pt x="18" y="56"/>
                    </a:cubicBezTo>
                    <a:cubicBezTo>
                      <a:pt x="20" y="61"/>
                      <a:pt x="23" y="63"/>
                      <a:pt x="26" y="63"/>
                    </a:cubicBezTo>
                    <a:cubicBezTo>
                      <a:pt x="30" y="63"/>
                      <a:pt x="33" y="61"/>
                      <a:pt x="35" y="56"/>
                    </a:cubicBezTo>
                    <a:cubicBezTo>
                      <a:pt x="37" y="51"/>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4" name="Freeform 214"/>
              <p:cNvSpPr>
                <a:spLocks/>
              </p:cNvSpPr>
              <p:nvPr/>
            </p:nvSpPr>
            <p:spPr bwMode="auto">
              <a:xfrm>
                <a:off x="2666855" y="3605260"/>
                <a:ext cx="32813" cy="87659"/>
              </a:xfrm>
              <a:custGeom>
                <a:avLst/>
                <a:gdLst/>
                <a:ahLst/>
                <a:cxnLst>
                  <a:cxn ang="0">
                    <a:pos x="21" y="56"/>
                  </a:cxn>
                  <a:cxn ang="0">
                    <a:pos x="11" y="56"/>
                  </a:cxn>
                  <a:cxn ang="0">
                    <a:pos x="11" y="9"/>
                  </a:cxn>
                  <a:cxn ang="0">
                    <a:pos x="0" y="9"/>
                  </a:cxn>
                  <a:cxn ang="0">
                    <a:pos x="4" y="0"/>
                  </a:cxn>
                  <a:cxn ang="0">
                    <a:pos x="21" y="0"/>
                  </a:cxn>
                  <a:cxn ang="0">
                    <a:pos x="21" y="56"/>
                  </a:cxn>
                </a:cxnLst>
                <a:rect l="0" t="0" r="r" b="b"/>
                <a:pathLst>
                  <a:path w="21" h="56">
                    <a:moveTo>
                      <a:pt x="21" y="56"/>
                    </a:moveTo>
                    <a:lnTo>
                      <a:pt x="11" y="56"/>
                    </a:lnTo>
                    <a:lnTo>
                      <a:pt x="11"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5" name="Freeform 215"/>
              <p:cNvSpPr>
                <a:spLocks/>
              </p:cNvSpPr>
              <p:nvPr/>
            </p:nvSpPr>
            <p:spPr bwMode="auto">
              <a:xfrm>
                <a:off x="2707481" y="3605260"/>
                <a:ext cx="34376" cy="87659"/>
              </a:xfrm>
              <a:custGeom>
                <a:avLst/>
                <a:gdLst/>
                <a:ahLst/>
                <a:cxnLst>
                  <a:cxn ang="0">
                    <a:pos x="22" y="56"/>
                  </a:cxn>
                  <a:cxn ang="0">
                    <a:pos x="11" y="56"/>
                  </a:cxn>
                  <a:cxn ang="0">
                    <a:pos x="11" y="9"/>
                  </a:cxn>
                  <a:cxn ang="0">
                    <a:pos x="0" y="9"/>
                  </a:cxn>
                  <a:cxn ang="0">
                    <a:pos x="5" y="0"/>
                  </a:cxn>
                  <a:cxn ang="0">
                    <a:pos x="22" y="0"/>
                  </a:cxn>
                  <a:cxn ang="0">
                    <a:pos x="22" y="56"/>
                  </a:cxn>
                </a:cxnLst>
                <a:rect l="0" t="0" r="r" b="b"/>
                <a:pathLst>
                  <a:path w="22" h="56">
                    <a:moveTo>
                      <a:pt x="22" y="56"/>
                    </a:moveTo>
                    <a:lnTo>
                      <a:pt x="11" y="56"/>
                    </a:lnTo>
                    <a:lnTo>
                      <a:pt x="11" y="9"/>
                    </a:lnTo>
                    <a:lnTo>
                      <a:pt x="0" y="9"/>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6" name="Freeform 216"/>
              <p:cNvSpPr>
                <a:spLocks noEditPoints="1"/>
              </p:cNvSpPr>
              <p:nvPr/>
            </p:nvSpPr>
            <p:spPr bwMode="auto">
              <a:xfrm>
                <a:off x="2755919" y="3603694"/>
                <a:ext cx="60938" cy="90790"/>
              </a:xfrm>
              <a:custGeom>
                <a:avLst/>
                <a:gdLst/>
                <a:ahLst/>
                <a:cxnLst>
                  <a:cxn ang="0">
                    <a:pos x="51" y="38"/>
                  </a:cxn>
                  <a:cxn ang="0">
                    <a:pos x="44" y="65"/>
                  </a:cxn>
                  <a:cxn ang="0">
                    <a:pos x="25" y="76"/>
                  </a:cxn>
                  <a:cxn ang="0">
                    <a:pos x="7" y="65"/>
                  </a:cxn>
                  <a:cxn ang="0">
                    <a:pos x="0" y="38"/>
                  </a:cxn>
                  <a:cxn ang="0">
                    <a:pos x="7" y="10"/>
                  </a:cxn>
                  <a:cxn ang="0">
                    <a:pos x="25" y="0"/>
                  </a:cxn>
                  <a:cxn ang="0">
                    <a:pos x="44" y="10"/>
                  </a:cxn>
                  <a:cxn ang="0">
                    <a:pos x="51" y="38"/>
                  </a:cxn>
                  <a:cxn ang="0">
                    <a:pos x="37" y="38"/>
                  </a:cxn>
                  <a:cxn ang="0">
                    <a:pos x="34" y="19"/>
                  </a:cxn>
                  <a:cxn ang="0">
                    <a:pos x="25" y="12"/>
                  </a:cxn>
                  <a:cxn ang="0">
                    <a:pos x="17" y="19"/>
                  </a:cxn>
                  <a:cxn ang="0">
                    <a:pos x="13" y="38"/>
                  </a:cxn>
                  <a:cxn ang="0">
                    <a:pos x="17" y="56"/>
                  </a:cxn>
                  <a:cxn ang="0">
                    <a:pos x="25" y="63"/>
                  </a:cxn>
                  <a:cxn ang="0">
                    <a:pos x="34" y="56"/>
                  </a:cxn>
                  <a:cxn ang="0">
                    <a:pos x="37" y="38"/>
                  </a:cxn>
                </a:cxnLst>
                <a:rect l="0" t="0" r="r" b="b"/>
                <a:pathLst>
                  <a:path w="51" h="76">
                    <a:moveTo>
                      <a:pt x="51" y="38"/>
                    </a:moveTo>
                    <a:cubicBezTo>
                      <a:pt x="51" y="49"/>
                      <a:pt x="49" y="58"/>
                      <a:pt x="44" y="65"/>
                    </a:cubicBezTo>
                    <a:cubicBezTo>
                      <a:pt x="39" y="72"/>
                      <a:pt x="33" y="76"/>
                      <a:pt x="25" y="76"/>
                    </a:cubicBezTo>
                    <a:cubicBezTo>
                      <a:pt x="17" y="76"/>
                      <a:pt x="11" y="72"/>
                      <a:pt x="7" y="65"/>
                    </a:cubicBezTo>
                    <a:cubicBezTo>
                      <a:pt x="2" y="58"/>
                      <a:pt x="0" y="49"/>
                      <a:pt x="0" y="38"/>
                    </a:cubicBezTo>
                    <a:cubicBezTo>
                      <a:pt x="0" y="26"/>
                      <a:pt x="2" y="17"/>
                      <a:pt x="7" y="10"/>
                    </a:cubicBezTo>
                    <a:cubicBezTo>
                      <a:pt x="11" y="4"/>
                      <a:pt x="17" y="0"/>
                      <a:pt x="25" y="0"/>
                    </a:cubicBezTo>
                    <a:cubicBezTo>
                      <a:pt x="33" y="0"/>
                      <a:pt x="39" y="3"/>
                      <a:pt x="44" y="10"/>
                    </a:cubicBezTo>
                    <a:cubicBezTo>
                      <a:pt x="49" y="17"/>
                      <a:pt x="51" y="26"/>
                      <a:pt x="51" y="38"/>
                    </a:cubicBezTo>
                    <a:close/>
                    <a:moveTo>
                      <a:pt x="37" y="38"/>
                    </a:moveTo>
                    <a:cubicBezTo>
                      <a:pt x="37" y="30"/>
                      <a:pt x="36" y="24"/>
                      <a:pt x="34" y="19"/>
                    </a:cubicBezTo>
                    <a:cubicBezTo>
                      <a:pt x="32" y="15"/>
                      <a:pt x="29" y="12"/>
                      <a:pt x="25" y="12"/>
                    </a:cubicBezTo>
                    <a:cubicBezTo>
                      <a:pt x="22" y="12"/>
                      <a:pt x="19" y="15"/>
                      <a:pt x="17" y="19"/>
                    </a:cubicBezTo>
                    <a:cubicBezTo>
                      <a:pt x="14" y="24"/>
                      <a:pt x="13" y="30"/>
                      <a:pt x="13" y="38"/>
                    </a:cubicBezTo>
                    <a:cubicBezTo>
                      <a:pt x="13" y="45"/>
                      <a:pt x="14" y="51"/>
                      <a:pt x="17" y="56"/>
                    </a:cubicBezTo>
                    <a:cubicBezTo>
                      <a:pt x="19" y="61"/>
                      <a:pt x="22" y="63"/>
                      <a:pt x="25" y="63"/>
                    </a:cubicBezTo>
                    <a:cubicBezTo>
                      <a:pt x="29" y="63"/>
                      <a:pt x="32" y="61"/>
                      <a:pt x="34" y="56"/>
                    </a:cubicBezTo>
                    <a:cubicBezTo>
                      <a:pt x="36" y="51"/>
                      <a:pt x="37" y="45"/>
                      <a:pt x="37"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7" name="Freeform 217"/>
              <p:cNvSpPr>
                <a:spLocks/>
              </p:cNvSpPr>
              <p:nvPr/>
            </p:nvSpPr>
            <p:spPr bwMode="auto">
              <a:xfrm>
                <a:off x="2818420" y="3605260"/>
                <a:ext cx="32813" cy="87659"/>
              </a:xfrm>
              <a:custGeom>
                <a:avLst/>
                <a:gdLst/>
                <a:ahLst/>
                <a:cxnLst>
                  <a:cxn ang="0">
                    <a:pos x="21" y="56"/>
                  </a:cxn>
                  <a:cxn ang="0">
                    <a:pos x="11" y="56"/>
                  </a:cxn>
                  <a:cxn ang="0">
                    <a:pos x="11" y="9"/>
                  </a:cxn>
                  <a:cxn ang="0">
                    <a:pos x="0" y="9"/>
                  </a:cxn>
                  <a:cxn ang="0">
                    <a:pos x="4" y="0"/>
                  </a:cxn>
                  <a:cxn ang="0">
                    <a:pos x="21" y="0"/>
                  </a:cxn>
                  <a:cxn ang="0">
                    <a:pos x="21" y="56"/>
                  </a:cxn>
                </a:cxnLst>
                <a:rect l="0" t="0" r="r" b="b"/>
                <a:pathLst>
                  <a:path w="21" h="56">
                    <a:moveTo>
                      <a:pt x="21" y="56"/>
                    </a:moveTo>
                    <a:lnTo>
                      <a:pt x="11" y="56"/>
                    </a:lnTo>
                    <a:lnTo>
                      <a:pt x="11"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8" name="Freeform 218"/>
              <p:cNvSpPr>
                <a:spLocks noEditPoints="1"/>
              </p:cNvSpPr>
              <p:nvPr/>
            </p:nvSpPr>
            <p:spPr bwMode="auto">
              <a:xfrm>
                <a:off x="2866858" y="3603694"/>
                <a:ext cx="60938" cy="90790"/>
              </a:xfrm>
              <a:custGeom>
                <a:avLst/>
                <a:gdLst/>
                <a:ahLst/>
                <a:cxnLst>
                  <a:cxn ang="0">
                    <a:pos x="51" y="38"/>
                  </a:cxn>
                  <a:cxn ang="0">
                    <a:pos x="44" y="65"/>
                  </a:cxn>
                  <a:cxn ang="0">
                    <a:pos x="26" y="76"/>
                  </a:cxn>
                  <a:cxn ang="0">
                    <a:pos x="7" y="65"/>
                  </a:cxn>
                  <a:cxn ang="0">
                    <a:pos x="0" y="38"/>
                  </a:cxn>
                  <a:cxn ang="0">
                    <a:pos x="7" y="10"/>
                  </a:cxn>
                  <a:cxn ang="0">
                    <a:pos x="26" y="0"/>
                  </a:cxn>
                  <a:cxn ang="0">
                    <a:pos x="44" y="10"/>
                  </a:cxn>
                  <a:cxn ang="0">
                    <a:pos x="51" y="38"/>
                  </a:cxn>
                  <a:cxn ang="0">
                    <a:pos x="38" y="38"/>
                  </a:cxn>
                  <a:cxn ang="0">
                    <a:pos x="34" y="19"/>
                  </a:cxn>
                  <a:cxn ang="0">
                    <a:pos x="26" y="12"/>
                  </a:cxn>
                  <a:cxn ang="0">
                    <a:pos x="17" y="19"/>
                  </a:cxn>
                  <a:cxn ang="0">
                    <a:pos x="14" y="38"/>
                  </a:cxn>
                  <a:cxn ang="0">
                    <a:pos x="17" y="56"/>
                  </a:cxn>
                  <a:cxn ang="0">
                    <a:pos x="26" y="63"/>
                  </a:cxn>
                  <a:cxn ang="0">
                    <a:pos x="34" y="56"/>
                  </a:cxn>
                  <a:cxn ang="0">
                    <a:pos x="38" y="38"/>
                  </a:cxn>
                </a:cxnLst>
                <a:rect l="0" t="0" r="r" b="b"/>
                <a:pathLst>
                  <a:path w="51" h="76">
                    <a:moveTo>
                      <a:pt x="51" y="38"/>
                    </a:moveTo>
                    <a:cubicBezTo>
                      <a:pt x="51" y="49"/>
                      <a:pt x="49" y="58"/>
                      <a:pt x="44" y="65"/>
                    </a:cubicBezTo>
                    <a:cubicBezTo>
                      <a:pt x="40" y="72"/>
                      <a:pt x="33" y="76"/>
                      <a:pt x="26" y="76"/>
                    </a:cubicBezTo>
                    <a:cubicBezTo>
                      <a:pt x="18" y="76"/>
                      <a:pt x="11" y="72"/>
                      <a:pt x="7" y="65"/>
                    </a:cubicBezTo>
                    <a:cubicBezTo>
                      <a:pt x="2" y="58"/>
                      <a:pt x="0" y="49"/>
                      <a:pt x="0" y="38"/>
                    </a:cubicBezTo>
                    <a:cubicBezTo>
                      <a:pt x="0" y="26"/>
                      <a:pt x="2" y="17"/>
                      <a:pt x="7" y="10"/>
                    </a:cubicBezTo>
                    <a:cubicBezTo>
                      <a:pt x="11" y="4"/>
                      <a:pt x="18" y="0"/>
                      <a:pt x="26" y="0"/>
                    </a:cubicBezTo>
                    <a:cubicBezTo>
                      <a:pt x="33" y="0"/>
                      <a:pt x="40" y="3"/>
                      <a:pt x="44" y="10"/>
                    </a:cubicBezTo>
                    <a:cubicBezTo>
                      <a:pt x="49" y="17"/>
                      <a:pt x="51" y="26"/>
                      <a:pt x="51" y="38"/>
                    </a:cubicBezTo>
                    <a:close/>
                    <a:moveTo>
                      <a:pt x="38" y="38"/>
                    </a:moveTo>
                    <a:cubicBezTo>
                      <a:pt x="38" y="30"/>
                      <a:pt x="36" y="24"/>
                      <a:pt x="34" y="19"/>
                    </a:cubicBezTo>
                    <a:cubicBezTo>
                      <a:pt x="32" y="15"/>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4" y="56"/>
                    </a:cubicBezTo>
                    <a:cubicBezTo>
                      <a:pt x="36" y="51"/>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9" name="Freeform 219"/>
              <p:cNvSpPr>
                <a:spLocks/>
              </p:cNvSpPr>
              <p:nvPr/>
            </p:nvSpPr>
            <p:spPr bwMode="auto">
              <a:xfrm>
                <a:off x="2929359" y="3605260"/>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0" name="Freeform 220"/>
              <p:cNvSpPr>
                <a:spLocks noEditPoints="1"/>
              </p:cNvSpPr>
              <p:nvPr/>
            </p:nvSpPr>
            <p:spPr bwMode="auto">
              <a:xfrm>
                <a:off x="2976235" y="3603694"/>
                <a:ext cx="62501" cy="90790"/>
              </a:xfrm>
              <a:custGeom>
                <a:avLst/>
                <a:gdLst/>
                <a:ahLst/>
                <a:cxnLst>
                  <a:cxn ang="0">
                    <a:pos x="52" y="38"/>
                  </a:cxn>
                  <a:cxn ang="0">
                    <a:pos x="45" y="65"/>
                  </a:cxn>
                  <a:cxn ang="0">
                    <a:pos x="26" y="76"/>
                  </a:cxn>
                  <a:cxn ang="0">
                    <a:pos x="7" y="65"/>
                  </a:cxn>
                  <a:cxn ang="0">
                    <a:pos x="0" y="38"/>
                  </a:cxn>
                  <a:cxn ang="0">
                    <a:pos x="7" y="10"/>
                  </a:cxn>
                  <a:cxn ang="0">
                    <a:pos x="26" y="0"/>
                  </a:cxn>
                  <a:cxn ang="0">
                    <a:pos x="45" y="10"/>
                  </a:cxn>
                  <a:cxn ang="0">
                    <a:pos x="52" y="38"/>
                  </a:cxn>
                  <a:cxn ang="0">
                    <a:pos x="38" y="38"/>
                  </a:cxn>
                  <a:cxn ang="0">
                    <a:pos x="34" y="19"/>
                  </a:cxn>
                  <a:cxn ang="0">
                    <a:pos x="26" y="12"/>
                  </a:cxn>
                  <a:cxn ang="0">
                    <a:pos x="17" y="19"/>
                  </a:cxn>
                  <a:cxn ang="0">
                    <a:pos x="14" y="38"/>
                  </a:cxn>
                  <a:cxn ang="0">
                    <a:pos x="17" y="56"/>
                  </a:cxn>
                  <a:cxn ang="0">
                    <a:pos x="26" y="63"/>
                  </a:cxn>
                  <a:cxn ang="0">
                    <a:pos x="35" y="56"/>
                  </a:cxn>
                  <a:cxn ang="0">
                    <a:pos x="38" y="38"/>
                  </a:cxn>
                </a:cxnLst>
                <a:rect l="0" t="0" r="r" b="b"/>
                <a:pathLst>
                  <a:path w="52" h="76">
                    <a:moveTo>
                      <a:pt x="52" y="38"/>
                    </a:moveTo>
                    <a:cubicBezTo>
                      <a:pt x="52" y="49"/>
                      <a:pt x="49" y="58"/>
                      <a:pt x="45" y="65"/>
                    </a:cubicBezTo>
                    <a:cubicBezTo>
                      <a:pt x="40" y="72"/>
                      <a:pt x="34" y="76"/>
                      <a:pt x="26" y="76"/>
                    </a:cubicBezTo>
                    <a:cubicBezTo>
                      <a:pt x="18" y="76"/>
                      <a:pt x="12" y="72"/>
                      <a:pt x="7" y="65"/>
                    </a:cubicBezTo>
                    <a:cubicBezTo>
                      <a:pt x="2" y="58"/>
                      <a:pt x="0" y="49"/>
                      <a:pt x="0" y="38"/>
                    </a:cubicBezTo>
                    <a:cubicBezTo>
                      <a:pt x="0" y="26"/>
                      <a:pt x="2" y="17"/>
                      <a:pt x="7" y="10"/>
                    </a:cubicBezTo>
                    <a:cubicBezTo>
                      <a:pt x="12" y="4"/>
                      <a:pt x="18" y="0"/>
                      <a:pt x="26" y="0"/>
                    </a:cubicBezTo>
                    <a:cubicBezTo>
                      <a:pt x="34" y="0"/>
                      <a:pt x="40" y="3"/>
                      <a:pt x="45" y="10"/>
                    </a:cubicBezTo>
                    <a:cubicBezTo>
                      <a:pt x="49" y="17"/>
                      <a:pt x="52" y="26"/>
                      <a:pt x="52" y="38"/>
                    </a:cubicBezTo>
                    <a:close/>
                    <a:moveTo>
                      <a:pt x="38" y="38"/>
                    </a:moveTo>
                    <a:cubicBezTo>
                      <a:pt x="38" y="30"/>
                      <a:pt x="37" y="24"/>
                      <a:pt x="34" y="19"/>
                    </a:cubicBezTo>
                    <a:cubicBezTo>
                      <a:pt x="32" y="15"/>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5" y="56"/>
                    </a:cubicBezTo>
                    <a:cubicBezTo>
                      <a:pt x="37" y="51"/>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1" name="Freeform 221"/>
              <p:cNvSpPr>
                <a:spLocks/>
              </p:cNvSpPr>
              <p:nvPr/>
            </p:nvSpPr>
            <p:spPr bwMode="auto">
              <a:xfrm>
                <a:off x="3040299" y="3605260"/>
                <a:ext cx="32813" cy="87659"/>
              </a:xfrm>
              <a:custGeom>
                <a:avLst/>
                <a:gdLst/>
                <a:ahLst/>
                <a:cxnLst>
                  <a:cxn ang="0">
                    <a:pos x="21" y="56"/>
                  </a:cxn>
                  <a:cxn ang="0">
                    <a:pos x="11" y="56"/>
                  </a:cxn>
                  <a:cxn ang="0">
                    <a:pos x="11" y="9"/>
                  </a:cxn>
                  <a:cxn ang="0">
                    <a:pos x="0" y="9"/>
                  </a:cxn>
                  <a:cxn ang="0">
                    <a:pos x="5" y="0"/>
                  </a:cxn>
                  <a:cxn ang="0">
                    <a:pos x="21" y="0"/>
                  </a:cxn>
                  <a:cxn ang="0">
                    <a:pos x="21" y="56"/>
                  </a:cxn>
                </a:cxnLst>
                <a:rect l="0" t="0" r="r" b="b"/>
                <a:pathLst>
                  <a:path w="21" h="56">
                    <a:moveTo>
                      <a:pt x="21" y="56"/>
                    </a:moveTo>
                    <a:lnTo>
                      <a:pt x="11" y="56"/>
                    </a:lnTo>
                    <a:lnTo>
                      <a:pt x="11" y="9"/>
                    </a:lnTo>
                    <a:lnTo>
                      <a:pt x="0" y="9"/>
                    </a:lnTo>
                    <a:lnTo>
                      <a:pt x="5"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2" name="Freeform 222"/>
              <p:cNvSpPr>
                <a:spLocks/>
              </p:cNvSpPr>
              <p:nvPr/>
            </p:nvSpPr>
            <p:spPr bwMode="auto">
              <a:xfrm>
                <a:off x="3080924" y="3605260"/>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3" name="Freeform 223"/>
              <p:cNvSpPr>
                <a:spLocks/>
              </p:cNvSpPr>
              <p:nvPr/>
            </p:nvSpPr>
            <p:spPr bwMode="auto">
              <a:xfrm>
                <a:off x="3121550" y="3605260"/>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4" name="Freeform 234"/>
              <p:cNvSpPr>
                <a:spLocks noEditPoints="1"/>
              </p:cNvSpPr>
              <p:nvPr/>
            </p:nvSpPr>
            <p:spPr bwMode="auto">
              <a:xfrm>
                <a:off x="2360600" y="3741444"/>
                <a:ext cx="62501" cy="92355"/>
              </a:xfrm>
              <a:custGeom>
                <a:avLst/>
                <a:gdLst/>
                <a:ahLst/>
                <a:cxnLst>
                  <a:cxn ang="0">
                    <a:pos x="51" y="38"/>
                  </a:cxn>
                  <a:cxn ang="0">
                    <a:pos x="44" y="65"/>
                  </a:cxn>
                  <a:cxn ang="0">
                    <a:pos x="26" y="76"/>
                  </a:cxn>
                  <a:cxn ang="0">
                    <a:pos x="7" y="65"/>
                  </a:cxn>
                  <a:cxn ang="0">
                    <a:pos x="0" y="38"/>
                  </a:cxn>
                  <a:cxn ang="0">
                    <a:pos x="7" y="11"/>
                  </a:cxn>
                  <a:cxn ang="0">
                    <a:pos x="26" y="0"/>
                  </a:cxn>
                  <a:cxn ang="0">
                    <a:pos x="44" y="10"/>
                  </a:cxn>
                  <a:cxn ang="0">
                    <a:pos x="51" y="38"/>
                  </a:cxn>
                  <a:cxn ang="0">
                    <a:pos x="38" y="38"/>
                  </a:cxn>
                  <a:cxn ang="0">
                    <a:pos x="34" y="20"/>
                  </a:cxn>
                  <a:cxn ang="0">
                    <a:pos x="26" y="13"/>
                  </a:cxn>
                  <a:cxn ang="0">
                    <a:pos x="17" y="20"/>
                  </a:cxn>
                  <a:cxn ang="0">
                    <a:pos x="14" y="38"/>
                  </a:cxn>
                  <a:cxn ang="0">
                    <a:pos x="17" y="56"/>
                  </a:cxn>
                  <a:cxn ang="0">
                    <a:pos x="26" y="63"/>
                  </a:cxn>
                  <a:cxn ang="0">
                    <a:pos x="34" y="56"/>
                  </a:cxn>
                  <a:cxn ang="0">
                    <a:pos x="38" y="38"/>
                  </a:cxn>
                </a:cxnLst>
                <a:rect l="0" t="0" r="r" b="b"/>
                <a:pathLst>
                  <a:path w="51" h="76">
                    <a:moveTo>
                      <a:pt x="51" y="38"/>
                    </a:moveTo>
                    <a:cubicBezTo>
                      <a:pt x="51" y="49"/>
                      <a:pt x="49" y="58"/>
                      <a:pt x="44" y="65"/>
                    </a:cubicBezTo>
                    <a:cubicBezTo>
                      <a:pt x="40" y="72"/>
                      <a:pt x="33" y="76"/>
                      <a:pt x="26" y="76"/>
                    </a:cubicBezTo>
                    <a:cubicBezTo>
                      <a:pt x="18" y="76"/>
                      <a:pt x="11" y="72"/>
                      <a:pt x="7" y="65"/>
                    </a:cubicBezTo>
                    <a:cubicBezTo>
                      <a:pt x="2" y="59"/>
                      <a:pt x="0" y="49"/>
                      <a:pt x="0" y="38"/>
                    </a:cubicBezTo>
                    <a:cubicBezTo>
                      <a:pt x="0" y="27"/>
                      <a:pt x="2" y="17"/>
                      <a:pt x="7" y="11"/>
                    </a:cubicBezTo>
                    <a:cubicBezTo>
                      <a:pt x="11" y="4"/>
                      <a:pt x="18" y="0"/>
                      <a:pt x="26" y="0"/>
                    </a:cubicBezTo>
                    <a:cubicBezTo>
                      <a:pt x="33" y="0"/>
                      <a:pt x="40" y="4"/>
                      <a:pt x="44" y="10"/>
                    </a:cubicBezTo>
                    <a:cubicBezTo>
                      <a:pt x="49" y="17"/>
                      <a:pt x="51" y="26"/>
                      <a:pt x="51" y="38"/>
                    </a:cubicBezTo>
                    <a:close/>
                    <a:moveTo>
                      <a:pt x="38" y="38"/>
                    </a:moveTo>
                    <a:cubicBezTo>
                      <a:pt x="38" y="30"/>
                      <a:pt x="36" y="24"/>
                      <a:pt x="34" y="20"/>
                    </a:cubicBezTo>
                    <a:cubicBezTo>
                      <a:pt x="32" y="15"/>
                      <a:pt x="29" y="13"/>
                      <a:pt x="26" y="13"/>
                    </a:cubicBezTo>
                    <a:cubicBezTo>
                      <a:pt x="22" y="13"/>
                      <a:pt x="19" y="15"/>
                      <a:pt x="17" y="20"/>
                    </a:cubicBezTo>
                    <a:cubicBezTo>
                      <a:pt x="15" y="24"/>
                      <a:pt x="14" y="30"/>
                      <a:pt x="14" y="38"/>
                    </a:cubicBezTo>
                    <a:cubicBezTo>
                      <a:pt x="14" y="45"/>
                      <a:pt x="15" y="52"/>
                      <a:pt x="17" y="56"/>
                    </a:cubicBezTo>
                    <a:cubicBezTo>
                      <a:pt x="19" y="61"/>
                      <a:pt x="22" y="63"/>
                      <a:pt x="26" y="63"/>
                    </a:cubicBezTo>
                    <a:cubicBezTo>
                      <a:pt x="29" y="63"/>
                      <a:pt x="32" y="61"/>
                      <a:pt x="34" y="56"/>
                    </a:cubicBezTo>
                    <a:cubicBezTo>
                      <a:pt x="36" y="52"/>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5" name="Freeform 235"/>
              <p:cNvSpPr>
                <a:spLocks/>
              </p:cNvSpPr>
              <p:nvPr/>
            </p:nvSpPr>
            <p:spPr bwMode="auto">
              <a:xfrm>
                <a:off x="2424664" y="3744575"/>
                <a:ext cx="32813" cy="86094"/>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6" name="Freeform 236"/>
              <p:cNvSpPr>
                <a:spLocks noEditPoints="1"/>
              </p:cNvSpPr>
              <p:nvPr/>
            </p:nvSpPr>
            <p:spPr bwMode="auto">
              <a:xfrm>
                <a:off x="2471540" y="3741444"/>
                <a:ext cx="62501" cy="92355"/>
              </a:xfrm>
              <a:custGeom>
                <a:avLst/>
                <a:gdLst/>
                <a:ahLst/>
                <a:cxnLst>
                  <a:cxn ang="0">
                    <a:pos x="52" y="38"/>
                  </a:cxn>
                  <a:cxn ang="0">
                    <a:pos x="45" y="65"/>
                  </a:cxn>
                  <a:cxn ang="0">
                    <a:pos x="26" y="76"/>
                  </a:cxn>
                  <a:cxn ang="0">
                    <a:pos x="7" y="65"/>
                  </a:cxn>
                  <a:cxn ang="0">
                    <a:pos x="0" y="38"/>
                  </a:cxn>
                  <a:cxn ang="0">
                    <a:pos x="7" y="11"/>
                  </a:cxn>
                  <a:cxn ang="0">
                    <a:pos x="26" y="0"/>
                  </a:cxn>
                  <a:cxn ang="0">
                    <a:pos x="45" y="10"/>
                  </a:cxn>
                  <a:cxn ang="0">
                    <a:pos x="52" y="38"/>
                  </a:cxn>
                  <a:cxn ang="0">
                    <a:pos x="38" y="38"/>
                  </a:cxn>
                  <a:cxn ang="0">
                    <a:pos x="34" y="20"/>
                  </a:cxn>
                  <a:cxn ang="0">
                    <a:pos x="26" y="13"/>
                  </a:cxn>
                  <a:cxn ang="0">
                    <a:pos x="17" y="20"/>
                  </a:cxn>
                  <a:cxn ang="0">
                    <a:pos x="14" y="38"/>
                  </a:cxn>
                  <a:cxn ang="0">
                    <a:pos x="17" y="56"/>
                  </a:cxn>
                  <a:cxn ang="0">
                    <a:pos x="26" y="63"/>
                  </a:cxn>
                  <a:cxn ang="0">
                    <a:pos x="35" y="56"/>
                  </a:cxn>
                  <a:cxn ang="0">
                    <a:pos x="38" y="38"/>
                  </a:cxn>
                </a:cxnLst>
                <a:rect l="0" t="0" r="r" b="b"/>
                <a:pathLst>
                  <a:path w="52" h="76">
                    <a:moveTo>
                      <a:pt x="52" y="38"/>
                    </a:moveTo>
                    <a:cubicBezTo>
                      <a:pt x="52" y="49"/>
                      <a:pt x="49" y="58"/>
                      <a:pt x="45" y="65"/>
                    </a:cubicBezTo>
                    <a:cubicBezTo>
                      <a:pt x="40" y="72"/>
                      <a:pt x="34" y="76"/>
                      <a:pt x="26" y="76"/>
                    </a:cubicBezTo>
                    <a:cubicBezTo>
                      <a:pt x="18" y="76"/>
                      <a:pt x="12" y="72"/>
                      <a:pt x="7" y="65"/>
                    </a:cubicBezTo>
                    <a:cubicBezTo>
                      <a:pt x="2" y="59"/>
                      <a:pt x="0" y="49"/>
                      <a:pt x="0" y="38"/>
                    </a:cubicBezTo>
                    <a:cubicBezTo>
                      <a:pt x="0" y="27"/>
                      <a:pt x="2" y="17"/>
                      <a:pt x="7" y="11"/>
                    </a:cubicBezTo>
                    <a:cubicBezTo>
                      <a:pt x="12" y="4"/>
                      <a:pt x="18" y="0"/>
                      <a:pt x="26" y="0"/>
                    </a:cubicBezTo>
                    <a:cubicBezTo>
                      <a:pt x="34" y="0"/>
                      <a:pt x="40" y="4"/>
                      <a:pt x="45" y="10"/>
                    </a:cubicBezTo>
                    <a:cubicBezTo>
                      <a:pt x="49" y="17"/>
                      <a:pt x="52" y="26"/>
                      <a:pt x="52" y="38"/>
                    </a:cubicBezTo>
                    <a:close/>
                    <a:moveTo>
                      <a:pt x="38" y="38"/>
                    </a:moveTo>
                    <a:cubicBezTo>
                      <a:pt x="38" y="30"/>
                      <a:pt x="37" y="24"/>
                      <a:pt x="34" y="20"/>
                    </a:cubicBezTo>
                    <a:cubicBezTo>
                      <a:pt x="32" y="15"/>
                      <a:pt x="29" y="13"/>
                      <a:pt x="26" y="13"/>
                    </a:cubicBezTo>
                    <a:cubicBezTo>
                      <a:pt x="22" y="13"/>
                      <a:pt x="19" y="15"/>
                      <a:pt x="17" y="20"/>
                    </a:cubicBezTo>
                    <a:cubicBezTo>
                      <a:pt x="15" y="24"/>
                      <a:pt x="14" y="30"/>
                      <a:pt x="14" y="38"/>
                    </a:cubicBezTo>
                    <a:cubicBezTo>
                      <a:pt x="14" y="45"/>
                      <a:pt x="15" y="52"/>
                      <a:pt x="17" y="56"/>
                    </a:cubicBezTo>
                    <a:cubicBezTo>
                      <a:pt x="19" y="61"/>
                      <a:pt x="22" y="63"/>
                      <a:pt x="26" y="63"/>
                    </a:cubicBezTo>
                    <a:cubicBezTo>
                      <a:pt x="29" y="63"/>
                      <a:pt x="32" y="61"/>
                      <a:pt x="35" y="56"/>
                    </a:cubicBezTo>
                    <a:cubicBezTo>
                      <a:pt x="37" y="52"/>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7" name="Freeform 237"/>
              <p:cNvSpPr>
                <a:spLocks/>
              </p:cNvSpPr>
              <p:nvPr/>
            </p:nvSpPr>
            <p:spPr bwMode="auto">
              <a:xfrm>
                <a:off x="2535603" y="3744575"/>
                <a:ext cx="32813" cy="86094"/>
              </a:xfrm>
              <a:custGeom>
                <a:avLst/>
                <a:gdLst/>
                <a:ahLst/>
                <a:cxnLst>
                  <a:cxn ang="0">
                    <a:pos x="21" y="55"/>
                  </a:cxn>
                  <a:cxn ang="0">
                    <a:pos x="11" y="55"/>
                  </a:cxn>
                  <a:cxn ang="0">
                    <a:pos x="11" y="9"/>
                  </a:cxn>
                  <a:cxn ang="0">
                    <a:pos x="0" y="9"/>
                  </a:cxn>
                  <a:cxn ang="0">
                    <a:pos x="5" y="0"/>
                  </a:cxn>
                  <a:cxn ang="0">
                    <a:pos x="21" y="0"/>
                  </a:cxn>
                  <a:cxn ang="0">
                    <a:pos x="21" y="55"/>
                  </a:cxn>
                </a:cxnLst>
                <a:rect l="0" t="0" r="r" b="b"/>
                <a:pathLst>
                  <a:path w="21" h="55">
                    <a:moveTo>
                      <a:pt x="21" y="55"/>
                    </a:moveTo>
                    <a:lnTo>
                      <a:pt x="11" y="55"/>
                    </a:lnTo>
                    <a:lnTo>
                      <a:pt x="11" y="9"/>
                    </a:lnTo>
                    <a:lnTo>
                      <a:pt x="0" y="9"/>
                    </a:lnTo>
                    <a:lnTo>
                      <a:pt x="5" y="0"/>
                    </a:lnTo>
                    <a:lnTo>
                      <a:pt x="21" y="0"/>
                    </a:lnTo>
                    <a:lnTo>
                      <a:pt x="21"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8" name="Freeform 238"/>
              <p:cNvSpPr>
                <a:spLocks/>
              </p:cNvSpPr>
              <p:nvPr/>
            </p:nvSpPr>
            <p:spPr bwMode="auto">
              <a:xfrm>
                <a:off x="2576229" y="3744575"/>
                <a:ext cx="32813" cy="86094"/>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9" name="Freeform 239"/>
              <p:cNvSpPr>
                <a:spLocks/>
              </p:cNvSpPr>
              <p:nvPr/>
            </p:nvSpPr>
            <p:spPr bwMode="auto">
              <a:xfrm>
                <a:off x="2616855" y="3744575"/>
                <a:ext cx="32813" cy="86094"/>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0" name="Freeform 240"/>
              <p:cNvSpPr>
                <a:spLocks/>
              </p:cNvSpPr>
              <p:nvPr/>
            </p:nvSpPr>
            <p:spPr bwMode="auto">
              <a:xfrm>
                <a:off x="2657480" y="3744575"/>
                <a:ext cx="32813" cy="86094"/>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1" name="Freeform 241"/>
              <p:cNvSpPr>
                <a:spLocks noEditPoints="1"/>
              </p:cNvSpPr>
              <p:nvPr/>
            </p:nvSpPr>
            <p:spPr bwMode="auto">
              <a:xfrm>
                <a:off x="2704356" y="3741444"/>
                <a:ext cx="62501" cy="92355"/>
              </a:xfrm>
              <a:custGeom>
                <a:avLst/>
                <a:gdLst/>
                <a:ahLst/>
                <a:cxnLst>
                  <a:cxn ang="0">
                    <a:pos x="52" y="38"/>
                  </a:cxn>
                  <a:cxn ang="0">
                    <a:pos x="44" y="65"/>
                  </a:cxn>
                  <a:cxn ang="0">
                    <a:pos x="26" y="76"/>
                  </a:cxn>
                  <a:cxn ang="0">
                    <a:pos x="7" y="65"/>
                  </a:cxn>
                  <a:cxn ang="0">
                    <a:pos x="0" y="38"/>
                  </a:cxn>
                  <a:cxn ang="0">
                    <a:pos x="7" y="11"/>
                  </a:cxn>
                  <a:cxn ang="0">
                    <a:pos x="26" y="0"/>
                  </a:cxn>
                  <a:cxn ang="0">
                    <a:pos x="45" y="10"/>
                  </a:cxn>
                  <a:cxn ang="0">
                    <a:pos x="52" y="38"/>
                  </a:cxn>
                  <a:cxn ang="0">
                    <a:pos x="38" y="38"/>
                  </a:cxn>
                  <a:cxn ang="0">
                    <a:pos x="34" y="20"/>
                  </a:cxn>
                  <a:cxn ang="0">
                    <a:pos x="26" y="13"/>
                  </a:cxn>
                  <a:cxn ang="0">
                    <a:pos x="17" y="20"/>
                  </a:cxn>
                  <a:cxn ang="0">
                    <a:pos x="14" y="38"/>
                  </a:cxn>
                  <a:cxn ang="0">
                    <a:pos x="17" y="56"/>
                  </a:cxn>
                  <a:cxn ang="0">
                    <a:pos x="26" y="63"/>
                  </a:cxn>
                  <a:cxn ang="0">
                    <a:pos x="34" y="56"/>
                  </a:cxn>
                  <a:cxn ang="0">
                    <a:pos x="38" y="38"/>
                  </a:cxn>
                </a:cxnLst>
                <a:rect l="0" t="0" r="r" b="b"/>
                <a:pathLst>
                  <a:path w="52" h="76">
                    <a:moveTo>
                      <a:pt x="52" y="38"/>
                    </a:moveTo>
                    <a:cubicBezTo>
                      <a:pt x="52" y="49"/>
                      <a:pt x="49" y="58"/>
                      <a:pt x="44" y="65"/>
                    </a:cubicBezTo>
                    <a:cubicBezTo>
                      <a:pt x="40" y="72"/>
                      <a:pt x="33" y="76"/>
                      <a:pt x="26" y="76"/>
                    </a:cubicBezTo>
                    <a:cubicBezTo>
                      <a:pt x="18" y="76"/>
                      <a:pt x="12" y="72"/>
                      <a:pt x="7" y="65"/>
                    </a:cubicBezTo>
                    <a:cubicBezTo>
                      <a:pt x="2" y="59"/>
                      <a:pt x="0" y="49"/>
                      <a:pt x="0" y="38"/>
                    </a:cubicBezTo>
                    <a:cubicBezTo>
                      <a:pt x="0" y="27"/>
                      <a:pt x="2" y="17"/>
                      <a:pt x="7" y="11"/>
                    </a:cubicBezTo>
                    <a:cubicBezTo>
                      <a:pt x="12" y="4"/>
                      <a:pt x="18" y="0"/>
                      <a:pt x="26" y="0"/>
                    </a:cubicBezTo>
                    <a:cubicBezTo>
                      <a:pt x="34" y="0"/>
                      <a:pt x="40" y="4"/>
                      <a:pt x="45" y="10"/>
                    </a:cubicBezTo>
                    <a:cubicBezTo>
                      <a:pt x="49" y="17"/>
                      <a:pt x="52" y="26"/>
                      <a:pt x="52" y="38"/>
                    </a:cubicBezTo>
                    <a:close/>
                    <a:moveTo>
                      <a:pt x="38" y="38"/>
                    </a:moveTo>
                    <a:cubicBezTo>
                      <a:pt x="38" y="30"/>
                      <a:pt x="37" y="24"/>
                      <a:pt x="34" y="20"/>
                    </a:cubicBezTo>
                    <a:cubicBezTo>
                      <a:pt x="32" y="15"/>
                      <a:pt x="29" y="13"/>
                      <a:pt x="26" y="13"/>
                    </a:cubicBezTo>
                    <a:cubicBezTo>
                      <a:pt x="22" y="13"/>
                      <a:pt x="19" y="15"/>
                      <a:pt x="17" y="20"/>
                    </a:cubicBezTo>
                    <a:cubicBezTo>
                      <a:pt x="15" y="24"/>
                      <a:pt x="14" y="30"/>
                      <a:pt x="14" y="38"/>
                    </a:cubicBezTo>
                    <a:cubicBezTo>
                      <a:pt x="14" y="45"/>
                      <a:pt x="15" y="52"/>
                      <a:pt x="17" y="56"/>
                    </a:cubicBezTo>
                    <a:cubicBezTo>
                      <a:pt x="19" y="61"/>
                      <a:pt x="22" y="63"/>
                      <a:pt x="26" y="63"/>
                    </a:cubicBezTo>
                    <a:cubicBezTo>
                      <a:pt x="29" y="63"/>
                      <a:pt x="32" y="61"/>
                      <a:pt x="34" y="56"/>
                    </a:cubicBezTo>
                    <a:cubicBezTo>
                      <a:pt x="37" y="52"/>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2" name="Freeform 242"/>
              <p:cNvSpPr>
                <a:spLocks noEditPoints="1"/>
              </p:cNvSpPr>
              <p:nvPr/>
            </p:nvSpPr>
            <p:spPr bwMode="auto">
              <a:xfrm>
                <a:off x="2771544" y="3741444"/>
                <a:ext cx="62501" cy="92355"/>
              </a:xfrm>
              <a:custGeom>
                <a:avLst/>
                <a:gdLst/>
                <a:ahLst/>
                <a:cxnLst>
                  <a:cxn ang="0">
                    <a:pos x="52" y="38"/>
                  </a:cxn>
                  <a:cxn ang="0">
                    <a:pos x="45" y="65"/>
                  </a:cxn>
                  <a:cxn ang="0">
                    <a:pos x="26" y="76"/>
                  </a:cxn>
                  <a:cxn ang="0">
                    <a:pos x="7" y="65"/>
                  </a:cxn>
                  <a:cxn ang="0">
                    <a:pos x="0" y="38"/>
                  </a:cxn>
                  <a:cxn ang="0">
                    <a:pos x="7" y="11"/>
                  </a:cxn>
                  <a:cxn ang="0">
                    <a:pos x="26" y="0"/>
                  </a:cxn>
                  <a:cxn ang="0">
                    <a:pos x="45" y="10"/>
                  </a:cxn>
                  <a:cxn ang="0">
                    <a:pos x="52" y="38"/>
                  </a:cxn>
                  <a:cxn ang="0">
                    <a:pos x="38" y="38"/>
                  </a:cxn>
                  <a:cxn ang="0">
                    <a:pos x="35" y="20"/>
                  </a:cxn>
                  <a:cxn ang="0">
                    <a:pos x="26" y="13"/>
                  </a:cxn>
                  <a:cxn ang="0">
                    <a:pos x="18" y="20"/>
                  </a:cxn>
                  <a:cxn ang="0">
                    <a:pos x="14" y="38"/>
                  </a:cxn>
                  <a:cxn ang="0">
                    <a:pos x="18" y="56"/>
                  </a:cxn>
                  <a:cxn ang="0">
                    <a:pos x="26" y="63"/>
                  </a:cxn>
                  <a:cxn ang="0">
                    <a:pos x="35" y="56"/>
                  </a:cxn>
                  <a:cxn ang="0">
                    <a:pos x="38" y="38"/>
                  </a:cxn>
                </a:cxnLst>
                <a:rect l="0" t="0" r="r" b="b"/>
                <a:pathLst>
                  <a:path w="52" h="76">
                    <a:moveTo>
                      <a:pt x="52" y="38"/>
                    </a:moveTo>
                    <a:cubicBezTo>
                      <a:pt x="52" y="49"/>
                      <a:pt x="50" y="58"/>
                      <a:pt x="45" y="65"/>
                    </a:cubicBezTo>
                    <a:cubicBezTo>
                      <a:pt x="40" y="72"/>
                      <a:pt x="34" y="76"/>
                      <a:pt x="26" y="76"/>
                    </a:cubicBezTo>
                    <a:cubicBezTo>
                      <a:pt x="18" y="76"/>
                      <a:pt x="12" y="72"/>
                      <a:pt x="7" y="65"/>
                    </a:cubicBezTo>
                    <a:cubicBezTo>
                      <a:pt x="3" y="59"/>
                      <a:pt x="0" y="49"/>
                      <a:pt x="0" y="38"/>
                    </a:cubicBezTo>
                    <a:cubicBezTo>
                      <a:pt x="0" y="27"/>
                      <a:pt x="3" y="17"/>
                      <a:pt x="7" y="11"/>
                    </a:cubicBezTo>
                    <a:cubicBezTo>
                      <a:pt x="12" y="4"/>
                      <a:pt x="18" y="0"/>
                      <a:pt x="26" y="0"/>
                    </a:cubicBezTo>
                    <a:cubicBezTo>
                      <a:pt x="34" y="0"/>
                      <a:pt x="40" y="4"/>
                      <a:pt x="45" y="10"/>
                    </a:cubicBezTo>
                    <a:cubicBezTo>
                      <a:pt x="50" y="17"/>
                      <a:pt x="52" y="26"/>
                      <a:pt x="52" y="38"/>
                    </a:cubicBezTo>
                    <a:close/>
                    <a:moveTo>
                      <a:pt x="38" y="38"/>
                    </a:moveTo>
                    <a:cubicBezTo>
                      <a:pt x="38" y="30"/>
                      <a:pt x="37" y="24"/>
                      <a:pt x="35" y="20"/>
                    </a:cubicBezTo>
                    <a:cubicBezTo>
                      <a:pt x="33" y="15"/>
                      <a:pt x="30" y="13"/>
                      <a:pt x="26" y="13"/>
                    </a:cubicBezTo>
                    <a:cubicBezTo>
                      <a:pt x="23" y="13"/>
                      <a:pt x="20" y="15"/>
                      <a:pt x="18" y="20"/>
                    </a:cubicBezTo>
                    <a:cubicBezTo>
                      <a:pt x="15" y="24"/>
                      <a:pt x="14" y="30"/>
                      <a:pt x="14" y="38"/>
                    </a:cubicBezTo>
                    <a:cubicBezTo>
                      <a:pt x="14" y="45"/>
                      <a:pt x="15" y="52"/>
                      <a:pt x="18" y="56"/>
                    </a:cubicBezTo>
                    <a:cubicBezTo>
                      <a:pt x="20" y="61"/>
                      <a:pt x="23" y="63"/>
                      <a:pt x="26" y="63"/>
                    </a:cubicBezTo>
                    <a:cubicBezTo>
                      <a:pt x="30" y="63"/>
                      <a:pt x="33" y="61"/>
                      <a:pt x="35" y="56"/>
                    </a:cubicBezTo>
                    <a:cubicBezTo>
                      <a:pt x="37" y="52"/>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3" name="Freeform 243"/>
              <p:cNvSpPr>
                <a:spLocks/>
              </p:cNvSpPr>
              <p:nvPr/>
            </p:nvSpPr>
            <p:spPr bwMode="auto">
              <a:xfrm>
                <a:off x="2835608" y="3744575"/>
                <a:ext cx="32813" cy="86094"/>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4" name="Freeform 244"/>
              <p:cNvSpPr>
                <a:spLocks noEditPoints="1"/>
              </p:cNvSpPr>
              <p:nvPr/>
            </p:nvSpPr>
            <p:spPr bwMode="auto">
              <a:xfrm>
                <a:off x="2882484" y="3741444"/>
                <a:ext cx="62501" cy="92355"/>
              </a:xfrm>
              <a:custGeom>
                <a:avLst/>
                <a:gdLst/>
                <a:ahLst/>
                <a:cxnLst>
                  <a:cxn ang="0">
                    <a:pos x="51" y="38"/>
                  </a:cxn>
                  <a:cxn ang="0">
                    <a:pos x="44" y="65"/>
                  </a:cxn>
                  <a:cxn ang="0">
                    <a:pos x="25" y="76"/>
                  </a:cxn>
                  <a:cxn ang="0">
                    <a:pos x="7" y="65"/>
                  </a:cxn>
                  <a:cxn ang="0">
                    <a:pos x="0" y="38"/>
                  </a:cxn>
                  <a:cxn ang="0">
                    <a:pos x="7" y="11"/>
                  </a:cxn>
                  <a:cxn ang="0">
                    <a:pos x="25" y="0"/>
                  </a:cxn>
                  <a:cxn ang="0">
                    <a:pos x="44" y="10"/>
                  </a:cxn>
                  <a:cxn ang="0">
                    <a:pos x="51" y="38"/>
                  </a:cxn>
                  <a:cxn ang="0">
                    <a:pos x="38" y="38"/>
                  </a:cxn>
                  <a:cxn ang="0">
                    <a:pos x="34" y="20"/>
                  </a:cxn>
                  <a:cxn ang="0">
                    <a:pos x="25" y="13"/>
                  </a:cxn>
                  <a:cxn ang="0">
                    <a:pos x="17" y="20"/>
                  </a:cxn>
                  <a:cxn ang="0">
                    <a:pos x="14" y="38"/>
                  </a:cxn>
                  <a:cxn ang="0">
                    <a:pos x="17" y="56"/>
                  </a:cxn>
                  <a:cxn ang="0">
                    <a:pos x="25" y="63"/>
                  </a:cxn>
                  <a:cxn ang="0">
                    <a:pos x="34" y="56"/>
                  </a:cxn>
                  <a:cxn ang="0">
                    <a:pos x="38" y="38"/>
                  </a:cxn>
                </a:cxnLst>
                <a:rect l="0" t="0" r="r" b="b"/>
                <a:pathLst>
                  <a:path w="51" h="76">
                    <a:moveTo>
                      <a:pt x="51" y="38"/>
                    </a:moveTo>
                    <a:cubicBezTo>
                      <a:pt x="51" y="49"/>
                      <a:pt x="49" y="58"/>
                      <a:pt x="44" y="65"/>
                    </a:cubicBezTo>
                    <a:cubicBezTo>
                      <a:pt x="40" y="72"/>
                      <a:pt x="33" y="76"/>
                      <a:pt x="25" y="76"/>
                    </a:cubicBezTo>
                    <a:cubicBezTo>
                      <a:pt x="18" y="76"/>
                      <a:pt x="11" y="72"/>
                      <a:pt x="7" y="65"/>
                    </a:cubicBezTo>
                    <a:cubicBezTo>
                      <a:pt x="2" y="59"/>
                      <a:pt x="0" y="49"/>
                      <a:pt x="0" y="38"/>
                    </a:cubicBezTo>
                    <a:cubicBezTo>
                      <a:pt x="0" y="27"/>
                      <a:pt x="2" y="17"/>
                      <a:pt x="7" y="11"/>
                    </a:cubicBezTo>
                    <a:cubicBezTo>
                      <a:pt x="11" y="4"/>
                      <a:pt x="18" y="0"/>
                      <a:pt x="25" y="0"/>
                    </a:cubicBezTo>
                    <a:cubicBezTo>
                      <a:pt x="33" y="0"/>
                      <a:pt x="40" y="4"/>
                      <a:pt x="44" y="10"/>
                    </a:cubicBezTo>
                    <a:cubicBezTo>
                      <a:pt x="49" y="17"/>
                      <a:pt x="51" y="26"/>
                      <a:pt x="51" y="38"/>
                    </a:cubicBezTo>
                    <a:close/>
                    <a:moveTo>
                      <a:pt x="38" y="38"/>
                    </a:moveTo>
                    <a:cubicBezTo>
                      <a:pt x="38" y="30"/>
                      <a:pt x="36" y="24"/>
                      <a:pt x="34" y="20"/>
                    </a:cubicBezTo>
                    <a:cubicBezTo>
                      <a:pt x="32" y="15"/>
                      <a:pt x="29" y="13"/>
                      <a:pt x="25" y="13"/>
                    </a:cubicBezTo>
                    <a:cubicBezTo>
                      <a:pt x="22" y="13"/>
                      <a:pt x="19" y="15"/>
                      <a:pt x="17" y="20"/>
                    </a:cubicBezTo>
                    <a:cubicBezTo>
                      <a:pt x="15" y="24"/>
                      <a:pt x="14" y="30"/>
                      <a:pt x="14" y="38"/>
                    </a:cubicBezTo>
                    <a:cubicBezTo>
                      <a:pt x="14" y="45"/>
                      <a:pt x="15" y="52"/>
                      <a:pt x="17" y="56"/>
                    </a:cubicBezTo>
                    <a:cubicBezTo>
                      <a:pt x="19" y="61"/>
                      <a:pt x="22" y="63"/>
                      <a:pt x="25" y="63"/>
                    </a:cubicBezTo>
                    <a:cubicBezTo>
                      <a:pt x="29" y="63"/>
                      <a:pt x="32" y="61"/>
                      <a:pt x="34" y="56"/>
                    </a:cubicBezTo>
                    <a:cubicBezTo>
                      <a:pt x="36" y="52"/>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5" name="Freeform 245"/>
              <p:cNvSpPr>
                <a:spLocks/>
              </p:cNvSpPr>
              <p:nvPr/>
            </p:nvSpPr>
            <p:spPr bwMode="auto">
              <a:xfrm>
                <a:off x="2944985" y="3744575"/>
                <a:ext cx="34376" cy="86094"/>
              </a:xfrm>
              <a:custGeom>
                <a:avLst/>
                <a:gdLst/>
                <a:ahLst/>
                <a:cxnLst>
                  <a:cxn ang="0">
                    <a:pos x="22" y="55"/>
                  </a:cxn>
                  <a:cxn ang="0">
                    <a:pos x="11" y="55"/>
                  </a:cxn>
                  <a:cxn ang="0">
                    <a:pos x="11" y="9"/>
                  </a:cxn>
                  <a:cxn ang="0">
                    <a:pos x="0" y="9"/>
                  </a:cxn>
                  <a:cxn ang="0">
                    <a:pos x="5" y="0"/>
                  </a:cxn>
                  <a:cxn ang="0">
                    <a:pos x="22" y="0"/>
                  </a:cxn>
                  <a:cxn ang="0">
                    <a:pos x="22" y="55"/>
                  </a:cxn>
                </a:cxnLst>
                <a:rect l="0" t="0" r="r" b="b"/>
                <a:pathLst>
                  <a:path w="22" h="55">
                    <a:moveTo>
                      <a:pt x="22" y="55"/>
                    </a:moveTo>
                    <a:lnTo>
                      <a:pt x="11" y="55"/>
                    </a:lnTo>
                    <a:lnTo>
                      <a:pt x="11" y="9"/>
                    </a:lnTo>
                    <a:lnTo>
                      <a:pt x="0" y="9"/>
                    </a:lnTo>
                    <a:lnTo>
                      <a:pt x="5" y="0"/>
                    </a:lnTo>
                    <a:lnTo>
                      <a:pt x="22" y="0"/>
                    </a:lnTo>
                    <a:lnTo>
                      <a:pt x="22"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6" name="Freeform 246"/>
              <p:cNvSpPr>
                <a:spLocks noEditPoints="1"/>
              </p:cNvSpPr>
              <p:nvPr/>
            </p:nvSpPr>
            <p:spPr bwMode="auto">
              <a:xfrm>
                <a:off x="2993423" y="3741444"/>
                <a:ext cx="62501" cy="92355"/>
              </a:xfrm>
              <a:custGeom>
                <a:avLst/>
                <a:gdLst/>
                <a:ahLst/>
                <a:cxnLst>
                  <a:cxn ang="0">
                    <a:pos x="52" y="38"/>
                  </a:cxn>
                  <a:cxn ang="0">
                    <a:pos x="44" y="65"/>
                  </a:cxn>
                  <a:cxn ang="0">
                    <a:pos x="26" y="76"/>
                  </a:cxn>
                  <a:cxn ang="0">
                    <a:pos x="7" y="65"/>
                  </a:cxn>
                  <a:cxn ang="0">
                    <a:pos x="0" y="38"/>
                  </a:cxn>
                  <a:cxn ang="0">
                    <a:pos x="7" y="11"/>
                  </a:cxn>
                  <a:cxn ang="0">
                    <a:pos x="26" y="0"/>
                  </a:cxn>
                  <a:cxn ang="0">
                    <a:pos x="45" y="10"/>
                  </a:cxn>
                  <a:cxn ang="0">
                    <a:pos x="52" y="38"/>
                  </a:cxn>
                  <a:cxn ang="0">
                    <a:pos x="38" y="38"/>
                  </a:cxn>
                  <a:cxn ang="0">
                    <a:pos x="34" y="20"/>
                  </a:cxn>
                  <a:cxn ang="0">
                    <a:pos x="26" y="13"/>
                  </a:cxn>
                  <a:cxn ang="0">
                    <a:pos x="17" y="20"/>
                  </a:cxn>
                  <a:cxn ang="0">
                    <a:pos x="14" y="38"/>
                  </a:cxn>
                  <a:cxn ang="0">
                    <a:pos x="17" y="56"/>
                  </a:cxn>
                  <a:cxn ang="0">
                    <a:pos x="26" y="63"/>
                  </a:cxn>
                  <a:cxn ang="0">
                    <a:pos x="34" y="56"/>
                  </a:cxn>
                  <a:cxn ang="0">
                    <a:pos x="38" y="38"/>
                  </a:cxn>
                </a:cxnLst>
                <a:rect l="0" t="0" r="r" b="b"/>
                <a:pathLst>
                  <a:path w="52" h="76">
                    <a:moveTo>
                      <a:pt x="52" y="38"/>
                    </a:moveTo>
                    <a:cubicBezTo>
                      <a:pt x="52" y="49"/>
                      <a:pt x="49" y="58"/>
                      <a:pt x="44" y="65"/>
                    </a:cubicBezTo>
                    <a:cubicBezTo>
                      <a:pt x="40" y="72"/>
                      <a:pt x="33" y="76"/>
                      <a:pt x="26" y="76"/>
                    </a:cubicBezTo>
                    <a:cubicBezTo>
                      <a:pt x="18" y="76"/>
                      <a:pt x="12" y="72"/>
                      <a:pt x="7" y="65"/>
                    </a:cubicBezTo>
                    <a:cubicBezTo>
                      <a:pt x="2" y="59"/>
                      <a:pt x="0" y="49"/>
                      <a:pt x="0" y="38"/>
                    </a:cubicBezTo>
                    <a:cubicBezTo>
                      <a:pt x="0" y="27"/>
                      <a:pt x="2" y="17"/>
                      <a:pt x="7" y="11"/>
                    </a:cubicBezTo>
                    <a:cubicBezTo>
                      <a:pt x="12" y="4"/>
                      <a:pt x="18" y="0"/>
                      <a:pt x="26" y="0"/>
                    </a:cubicBezTo>
                    <a:cubicBezTo>
                      <a:pt x="34" y="0"/>
                      <a:pt x="40" y="4"/>
                      <a:pt x="45" y="10"/>
                    </a:cubicBezTo>
                    <a:cubicBezTo>
                      <a:pt x="49" y="17"/>
                      <a:pt x="52" y="26"/>
                      <a:pt x="52" y="38"/>
                    </a:cubicBezTo>
                    <a:close/>
                    <a:moveTo>
                      <a:pt x="38" y="38"/>
                    </a:moveTo>
                    <a:cubicBezTo>
                      <a:pt x="38" y="30"/>
                      <a:pt x="37" y="24"/>
                      <a:pt x="34" y="20"/>
                    </a:cubicBezTo>
                    <a:cubicBezTo>
                      <a:pt x="32" y="15"/>
                      <a:pt x="29" y="13"/>
                      <a:pt x="26" y="13"/>
                    </a:cubicBezTo>
                    <a:cubicBezTo>
                      <a:pt x="22" y="13"/>
                      <a:pt x="19" y="15"/>
                      <a:pt x="17" y="20"/>
                    </a:cubicBezTo>
                    <a:cubicBezTo>
                      <a:pt x="15" y="24"/>
                      <a:pt x="14" y="30"/>
                      <a:pt x="14" y="38"/>
                    </a:cubicBezTo>
                    <a:cubicBezTo>
                      <a:pt x="14" y="45"/>
                      <a:pt x="15" y="52"/>
                      <a:pt x="17" y="56"/>
                    </a:cubicBezTo>
                    <a:cubicBezTo>
                      <a:pt x="19" y="61"/>
                      <a:pt x="22" y="63"/>
                      <a:pt x="26" y="63"/>
                    </a:cubicBezTo>
                    <a:cubicBezTo>
                      <a:pt x="29" y="63"/>
                      <a:pt x="32" y="61"/>
                      <a:pt x="34" y="56"/>
                    </a:cubicBezTo>
                    <a:cubicBezTo>
                      <a:pt x="37" y="52"/>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7" name="Freeform 247"/>
              <p:cNvSpPr>
                <a:spLocks/>
              </p:cNvSpPr>
              <p:nvPr/>
            </p:nvSpPr>
            <p:spPr bwMode="auto">
              <a:xfrm>
                <a:off x="3057486" y="3744575"/>
                <a:ext cx="32813" cy="86094"/>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8" name="Freeform 248"/>
              <p:cNvSpPr>
                <a:spLocks/>
              </p:cNvSpPr>
              <p:nvPr/>
            </p:nvSpPr>
            <p:spPr bwMode="auto">
              <a:xfrm>
                <a:off x="3098112" y="3744575"/>
                <a:ext cx="32813" cy="86094"/>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9" name="Freeform 259"/>
              <p:cNvSpPr>
                <a:spLocks/>
              </p:cNvSpPr>
              <p:nvPr/>
            </p:nvSpPr>
            <p:spPr bwMode="auto">
              <a:xfrm>
                <a:off x="2366851" y="3882325"/>
                <a:ext cx="32813" cy="87659"/>
              </a:xfrm>
              <a:custGeom>
                <a:avLst/>
                <a:gdLst/>
                <a:ahLst/>
                <a:cxnLst>
                  <a:cxn ang="0">
                    <a:pos x="21" y="56"/>
                  </a:cxn>
                  <a:cxn ang="0">
                    <a:pos x="10" y="56"/>
                  </a:cxn>
                  <a:cxn ang="0">
                    <a:pos x="10" y="9"/>
                  </a:cxn>
                  <a:cxn ang="0">
                    <a:pos x="0" y="9"/>
                  </a:cxn>
                  <a:cxn ang="0">
                    <a:pos x="5" y="0"/>
                  </a:cxn>
                  <a:cxn ang="0">
                    <a:pos x="21" y="0"/>
                  </a:cxn>
                  <a:cxn ang="0">
                    <a:pos x="21" y="56"/>
                  </a:cxn>
                </a:cxnLst>
                <a:rect l="0" t="0" r="r" b="b"/>
                <a:pathLst>
                  <a:path w="21" h="56">
                    <a:moveTo>
                      <a:pt x="21" y="56"/>
                    </a:moveTo>
                    <a:lnTo>
                      <a:pt x="10" y="56"/>
                    </a:lnTo>
                    <a:lnTo>
                      <a:pt x="10" y="9"/>
                    </a:lnTo>
                    <a:lnTo>
                      <a:pt x="0" y="9"/>
                    </a:lnTo>
                    <a:lnTo>
                      <a:pt x="5"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0" name="Freeform 260"/>
              <p:cNvSpPr>
                <a:spLocks/>
              </p:cNvSpPr>
              <p:nvPr/>
            </p:nvSpPr>
            <p:spPr bwMode="auto">
              <a:xfrm>
                <a:off x="2407476" y="3882325"/>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1" name="Freeform 261"/>
              <p:cNvSpPr>
                <a:spLocks/>
              </p:cNvSpPr>
              <p:nvPr/>
            </p:nvSpPr>
            <p:spPr bwMode="auto">
              <a:xfrm>
                <a:off x="2449664" y="3882325"/>
                <a:ext cx="31250" cy="87659"/>
              </a:xfrm>
              <a:custGeom>
                <a:avLst/>
                <a:gdLst/>
                <a:ahLst/>
                <a:cxnLst>
                  <a:cxn ang="0">
                    <a:pos x="20" y="56"/>
                  </a:cxn>
                  <a:cxn ang="0">
                    <a:pos x="10" y="56"/>
                  </a:cxn>
                  <a:cxn ang="0">
                    <a:pos x="10" y="9"/>
                  </a:cxn>
                  <a:cxn ang="0">
                    <a:pos x="0" y="9"/>
                  </a:cxn>
                  <a:cxn ang="0">
                    <a:pos x="3" y="0"/>
                  </a:cxn>
                  <a:cxn ang="0">
                    <a:pos x="20" y="0"/>
                  </a:cxn>
                  <a:cxn ang="0">
                    <a:pos x="20" y="56"/>
                  </a:cxn>
                </a:cxnLst>
                <a:rect l="0" t="0" r="r" b="b"/>
                <a:pathLst>
                  <a:path w="20" h="56">
                    <a:moveTo>
                      <a:pt x="20" y="56"/>
                    </a:moveTo>
                    <a:lnTo>
                      <a:pt x="10" y="56"/>
                    </a:lnTo>
                    <a:lnTo>
                      <a:pt x="10" y="9"/>
                    </a:lnTo>
                    <a:lnTo>
                      <a:pt x="0" y="9"/>
                    </a:lnTo>
                    <a:lnTo>
                      <a:pt x="3" y="0"/>
                    </a:lnTo>
                    <a:lnTo>
                      <a:pt x="20" y="0"/>
                    </a:lnTo>
                    <a:lnTo>
                      <a:pt x="20"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2" name="Freeform 262"/>
              <p:cNvSpPr>
                <a:spLocks noEditPoints="1"/>
              </p:cNvSpPr>
              <p:nvPr/>
            </p:nvSpPr>
            <p:spPr bwMode="auto">
              <a:xfrm>
                <a:off x="2496540" y="3880759"/>
                <a:ext cx="62501" cy="90790"/>
              </a:xfrm>
              <a:custGeom>
                <a:avLst/>
                <a:gdLst/>
                <a:ahLst/>
                <a:cxnLst>
                  <a:cxn ang="0">
                    <a:pos x="52" y="38"/>
                  </a:cxn>
                  <a:cxn ang="0">
                    <a:pos x="45" y="66"/>
                  </a:cxn>
                  <a:cxn ang="0">
                    <a:pos x="26" y="76"/>
                  </a:cxn>
                  <a:cxn ang="0">
                    <a:pos x="7" y="66"/>
                  </a:cxn>
                  <a:cxn ang="0">
                    <a:pos x="0" y="38"/>
                  </a:cxn>
                  <a:cxn ang="0">
                    <a:pos x="7" y="11"/>
                  </a:cxn>
                  <a:cxn ang="0">
                    <a:pos x="26" y="0"/>
                  </a:cxn>
                  <a:cxn ang="0">
                    <a:pos x="45" y="11"/>
                  </a:cxn>
                  <a:cxn ang="0">
                    <a:pos x="52" y="38"/>
                  </a:cxn>
                  <a:cxn ang="0">
                    <a:pos x="38" y="38"/>
                  </a:cxn>
                  <a:cxn ang="0">
                    <a:pos x="34" y="20"/>
                  </a:cxn>
                  <a:cxn ang="0">
                    <a:pos x="26" y="13"/>
                  </a:cxn>
                  <a:cxn ang="0">
                    <a:pos x="17" y="20"/>
                  </a:cxn>
                  <a:cxn ang="0">
                    <a:pos x="14" y="38"/>
                  </a:cxn>
                  <a:cxn ang="0">
                    <a:pos x="17" y="57"/>
                  </a:cxn>
                  <a:cxn ang="0">
                    <a:pos x="26" y="64"/>
                  </a:cxn>
                  <a:cxn ang="0">
                    <a:pos x="34" y="57"/>
                  </a:cxn>
                  <a:cxn ang="0">
                    <a:pos x="38" y="38"/>
                  </a:cxn>
                </a:cxnLst>
                <a:rect l="0" t="0" r="r" b="b"/>
                <a:pathLst>
                  <a:path w="52" h="76">
                    <a:moveTo>
                      <a:pt x="52" y="38"/>
                    </a:moveTo>
                    <a:cubicBezTo>
                      <a:pt x="52" y="49"/>
                      <a:pt x="49" y="59"/>
                      <a:pt x="45" y="66"/>
                    </a:cubicBezTo>
                    <a:cubicBezTo>
                      <a:pt x="40" y="72"/>
                      <a:pt x="34" y="76"/>
                      <a:pt x="26" y="76"/>
                    </a:cubicBezTo>
                    <a:cubicBezTo>
                      <a:pt x="18" y="76"/>
                      <a:pt x="12" y="73"/>
                      <a:pt x="7" y="66"/>
                    </a:cubicBezTo>
                    <a:cubicBezTo>
                      <a:pt x="2" y="59"/>
                      <a:pt x="0" y="50"/>
                      <a:pt x="0" y="38"/>
                    </a:cubicBezTo>
                    <a:cubicBezTo>
                      <a:pt x="0" y="27"/>
                      <a:pt x="2" y="18"/>
                      <a:pt x="7" y="11"/>
                    </a:cubicBezTo>
                    <a:cubicBezTo>
                      <a:pt x="12" y="4"/>
                      <a:pt x="18" y="0"/>
                      <a:pt x="26" y="0"/>
                    </a:cubicBezTo>
                    <a:cubicBezTo>
                      <a:pt x="34" y="0"/>
                      <a:pt x="40" y="4"/>
                      <a:pt x="45" y="11"/>
                    </a:cubicBezTo>
                    <a:cubicBezTo>
                      <a:pt x="49" y="18"/>
                      <a:pt x="52" y="27"/>
                      <a:pt x="52" y="38"/>
                    </a:cubicBezTo>
                    <a:close/>
                    <a:moveTo>
                      <a:pt x="38" y="38"/>
                    </a:moveTo>
                    <a:cubicBezTo>
                      <a:pt x="38" y="31"/>
                      <a:pt x="37" y="24"/>
                      <a:pt x="34" y="20"/>
                    </a:cubicBezTo>
                    <a:cubicBezTo>
                      <a:pt x="32" y="15"/>
                      <a:pt x="29" y="13"/>
                      <a:pt x="26" y="13"/>
                    </a:cubicBezTo>
                    <a:cubicBezTo>
                      <a:pt x="22" y="13"/>
                      <a:pt x="19" y="15"/>
                      <a:pt x="17" y="20"/>
                    </a:cubicBezTo>
                    <a:cubicBezTo>
                      <a:pt x="15" y="25"/>
                      <a:pt x="14" y="31"/>
                      <a:pt x="14" y="38"/>
                    </a:cubicBezTo>
                    <a:cubicBezTo>
                      <a:pt x="14" y="46"/>
                      <a:pt x="15" y="52"/>
                      <a:pt x="17" y="57"/>
                    </a:cubicBezTo>
                    <a:cubicBezTo>
                      <a:pt x="19" y="61"/>
                      <a:pt x="22" y="64"/>
                      <a:pt x="26" y="64"/>
                    </a:cubicBezTo>
                    <a:cubicBezTo>
                      <a:pt x="29" y="64"/>
                      <a:pt x="32" y="61"/>
                      <a:pt x="34" y="57"/>
                    </a:cubicBezTo>
                    <a:cubicBezTo>
                      <a:pt x="37" y="52"/>
                      <a:pt x="38" y="46"/>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3" name="Freeform 263"/>
              <p:cNvSpPr>
                <a:spLocks noEditPoints="1"/>
              </p:cNvSpPr>
              <p:nvPr/>
            </p:nvSpPr>
            <p:spPr bwMode="auto">
              <a:xfrm>
                <a:off x="2562166" y="3880759"/>
                <a:ext cx="62501" cy="90790"/>
              </a:xfrm>
              <a:custGeom>
                <a:avLst/>
                <a:gdLst/>
                <a:ahLst/>
                <a:cxnLst>
                  <a:cxn ang="0">
                    <a:pos x="52" y="38"/>
                  </a:cxn>
                  <a:cxn ang="0">
                    <a:pos x="45" y="66"/>
                  </a:cxn>
                  <a:cxn ang="0">
                    <a:pos x="26" y="76"/>
                  </a:cxn>
                  <a:cxn ang="0">
                    <a:pos x="7" y="66"/>
                  </a:cxn>
                  <a:cxn ang="0">
                    <a:pos x="0" y="38"/>
                  </a:cxn>
                  <a:cxn ang="0">
                    <a:pos x="7" y="11"/>
                  </a:cxn>
                  <a:cxn ang="0">
                    <a:pos x="26" y="0"/>
                  </a:cxn>
                  <a:cxn ang="0">
                    <a:pos x="45" y="11"/>
                  </a:cxn>
                  <a:cxn ang="0">
                    <a:pos x="52" y="38"/>
                  </a:cxn>
                  <a:cxn ang="0">
                    <a:pos x="38" y="38"/>
                  </a:cxn>
                  <a:cxn ang="0">
                    <a:pos x="35" y="20"/>
                  </a:cxn>
                  <a:cxn ang="0">
                    <a:pos x="26" y="13"/>
                  </a:cxn>
                  <a:cxn ang="0">
                    <a:pos x="18" y="20"/>
                  </a:cxn>
                  <a:cxn ang="0">
                    <a:pos x="14" y="38"/>
                  </a:cxn>
                  <a:cxn ang="0">
                    <a:pos x="18" y="57"/>
                  </a:cxn>
                  <a:cxn ang="0">
                    <a:pos x="26" y="64"/>
                  </a:cxn>
                  <a:cxn ang="0">
                    <a:pos x="35" y="57"/>
                  </a:cxn>
                  <a:cxn ang="0">
                    <a:pos x="38" y="38"/>
                  </a:cxn>
                </a:cxnLst>
                <a:rect l="0" t="0" r="r" b="b"/>
                <a:pathLst>
                  <a:path w="52" h="76">
                    <a:moveTo>
                      <a:pt x="52" y="38"/>
                    </a:moveTo>
                    <a:cubicBezTo>
                      <a:pt x="52" y="49"/>
                      <a:pt x="50" y="59"/>
                      <a:pt x="45" y="66"/>
                    </a:cubicBezTo>
                    <a:cubicBezTo>
                      <a:pt x="40" y="72"/>
                      <a:pt x="34" y="76"/>
                      <a:pt x="26" y="76"/>
                    </a:cubicBezTo>
                    <a:cubicBezTo>
                      <a:pt x="18" y="76"/>
                      <a:pt x="12" y="73"/>
                      <a:pt x="7" y="66"/>
                    </a:cubicBezTo>
                    <a:cubicBezTo>
                      <a:pt x="3" y="59"/>
                      <a:pt x="0" y="50"/>
                      <a:pt x="0" y="38"/>
                    </a:cubicBezTo>
                    <a:cubicBezTo>
                      <a:pt x="0" y="27"/>
                      <a:pt x="3" y="18"/>
                      <a:pt x="7" y="11"/>
                    </a:cubicBezTo>
                    <a:cubicBezTo>
                      <a:pt x="12" y="4"/>
                      <a:pt x="18" y="0"/>
                      <a:pt x="26" y="0"/>
                    </a:cubicBezTo>
                    <a:cubicBezTo>
                      <a:pt x="34" y="0"/>
                      <a:pt x="40" y="4"/>
                      <a:pt x="45" y="11"/>
                    </a:cubicBezTo>
                    <a:cubicBezTo>
                      <a:pt x="50" y="18"/>
                      <a:pt x="52" y="27"/>
                      <a:pt x="52" y="38"/>
                    </a:cubicBezTo>
                    <a:close/>
                    <a:moveTo>
                      <a:pt x="38" y="38"/>
                    </a:moveTo>
                    <a:cubicBezTo>
                      <a:pt x="38" y="31"/>
                      <a:pt x="37" y="24"/>
                      <a:pt x="35" y="20"/>
                    </a:cubicBezTo>
                    <a:cubicBezTo>
                      <a:pt x="33" y="15"/>
                      <a:pt x="30" y="13"/>
                      <a:pt x="26" y="13"/>
                    </a:cubicBezTo>
                    <a:cubicBezTo>
                      <a:pt x="23" y="13"/>
                      <a:pt x="20" y="15"/>
                      <a:pt x="18" y="20"/>
                    </a:cubicBezTo>
                    <a:cubicBezTo>
                      <a:pt x="15" y="25"/>
                      <a:pt x="14" y="31"/>
                      <a:pt x="14" y="38"/>
                    </a:cubicBezTo>
                    <a:cubicBezTo>
                      <a:pt x="14" y="46"/>
                      <a:pt x="15" y="52"/>
                      <a:pt x="18" y="57"/>
                    </a:cubicBezTo>
                    <a:cubicBezTo>
                      <a:pt x="20" y="61"/>
                      <a:pt x="23" y="64"/>
                      <a:pt x="26" y="64"/>
                    </a:cubicBezTo>
                    <a:cubicBezTo>
                      <a:pt x="30" y="64"/>
                      <a:pt x="33" y="61"/>
                      <a:pt x="35" y="57"/>
                    </a:cubicBezTo>
                    <a:cubicBezTo>
                      <a:pt x="37" y="52"/>
                      <a:pt x="38" y="46"/>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4" name="Freeform 264"/>
              <p:cNvSpPr>
                <a:spLocks/>
              </p:cNvSpPr>
              <p:nvPr/>
            </p:nvSpPr>
            <p:spPr bwMode="auto">
              <a:xfrm>
                <a:off x="2626230" y="3882325"/>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5" name="Freeform 265"/>
              <p:cNvSpPr>
                <a:spLocks noEditPoints="1"/>
              </p:cNvSpPr>
              <p:nvPr/>
            </p:nvSpPr>
            <p:spPr bwMode="auto">
              <a:xfrm>
                <a:off x="2673105" y="3880759"/>
                <a:ext cx="62501" cy="90790"/>
              </a:xfrm>
              <a:custGeom>
                <a:avLst/>
                <a:gdLst/>
                <a:ahLst/>
                <a:cxnLst>
                  <a:cxn ang="0">
                    <a:pos x="51" y="38"/>
                  </a:cxn>
                  <a:cxn ang="0">
                    <a:pos x="44" y="66"/>
                  </a:cxn>
                  <a:cxn ang="0">
                    <a:pos x="25" y="76"/>
                  </a:cxn>
                  <a:cxn ang="0">
                    <a:pos x="7" y="66"/>
                  </a:cxn>
                  <a:cxn ang="0">
                    <a:pos x="0" y="38"/>
                  </a:cxn>
                  <a:cxn ang="0">
                    <a:pos x="7" y="11"/>
                  </a:cxn>
                  <a:cxn ang="0">
                    <a:pos x="25" y="0"/>
                  </a:cxn>
                  <a:cxn ang="0">
                    <a:pos x="44" y="11"/>
                  </a:cxn>
                  <a:cxn ang="0">
                    <a:pos x="51" y="38"/>
                  </a:cxn>
                  <a:cxn ang="0">
                    <a:pos x="38" y="38"/>
                  </a:cxn>
                  <a:cxn ang="0">
                    <a:pos x="34" y="20"/>
                  </a:cxn>
                  <a:cxn ang="0">
                    <a:pos x="25" y="13"/>
                  </a:cxn>
                  <a:cxn ang="0">
                    <a:pos x="17" y="20"/>
                  </a:cxn>
                  <a:cxn ang="0">
                    <a:pos x="14" y="38"/>
                  </a:cxn>
                  <a:cxn ang="0">
                    <a:pos x="17" y="57"/>
                  </a:cxn>
                  <a:cxn ang="0">
                    <a:pos x="25" y="64"/>
                  </a:cxn>
                  <a:cxn ang="0">
                    <a:pos x="34" y="57"/>
                  </a:cxn>
                  <a:cxn ang="0">
                    <a:pos x="38" y="38"/>
                  </a:cxn>
                </a:cxnLst>
                <a:rect l="0" t="0" r="r" b="b"/>
                <a:pathLst>
                  <a:path w="51" h="76">
                    <a:moveTo>
                      <a:pt x="51" y="38"/>
                    </a:moveTo>
                    <a:cubicBezTo>
                      <a:pt x="51" y="49"/>
                      <a:pt x="49" y="59"/>
                      <a:pt x="44" y="66"/>
                    </a:cubicBezTo>
                    <a:cubicBezTo>
                      <a:pt x="40" y="72"/>
                      <a:pt x="33" y="76"/>
                      <a:pt x="25" y="76"/>
                    </a:cubicBezTo>
                    <a:cubicBezTo>
                      <a:pt x="18" y="76"/>
                      <a:pt x="11" y="73"/>
                      <a:pt x="7" y="66"/>
                    </a:cubicBezTo>
                    <a:cubicBezTo>
                      <a:pt x="2" y="59"/>
                      <a:pt x="0" y="50"/>
                      <a:pt x="0" y="38"/>
                    </a:cubicBezTo>
                    <a:cubicBezTo>
                      <a:pt x="0" y="27"/>
                      <a:pt x="2" y="18"/>
                      <a:pt x="7" y="11"/>
                    </a:cubicBezTo>
                    <a:cubicBezTo>
                      <a:pt x="11" y="4"/>
                      <a:pt x="18" y="0"/>
                      <a:pt x="25" y="0"/>
                    </a:cubicBezTo>
                    <a:cubicBezTo>
                      <a:pt x="33" y="0"/>
                      <a:pt x="40" y="4"/>
                      <a:pt x="44" y="11"/>
                    </a:cubicBezTo>
                    <a:cubicBezTo>
                      <a:pt x="49" y="18"/>
                      <a:pt x="51" y="27"/>
                      <a:pt x="51" y="38"/>
                    </a:cubicBezTo>
                    <a:close/>
                    <a:moveTo>
                      <a:pt x="38" y="38"/>
                    </a:moveTo>
                    <a:cubicBezTo>
                      <a:pt x="38" y="31"/>
                      <a:pt x="36" y="24"/>
                      <a:pt x="34" y="20"/>
                    </a:cubicBezTo>
                    <a:cubicBezTo>
                      <a:pt x="32" y="15"/>
                      <a:pt x="29" y="13"/>
                      <a:pt x="25" y="13"/>
                    </a:cubicBezTo>
                    <a:cubicBezTo>
                      <a:pt x="22" y="13"/>
                      <a:pt x="19" y="15"/>
                      <a:pt x="17" y="20"/>
                    </a:cubicBezTo>
                    <a:cubicBezTo>
                      <a:pt x="15" y="25"/>
                      <a:pt x="14" y="31"/>
                      <a:pt x="14" y="38"/>
                    </a:cubicBezTo>
                    <a:cubicBezTo>
                      <a:pt x="14" y="46"/>
                      <a:pt x="15" y="52"/>
                      <a:pt x="17" y="57"/>
                    </a:cubicBezTo>
                    <a:cubicBezTo>
                      <a:pt x="19" y="61"/>
                      <a:pt x="22" y="64"/>
                      <a:pt x="25" y="64"/>
                    </a:cubicBezTo>
                    <a:cubicBezTo>
                      <a:pt x="29" y="64"/>
                      <a:pt x="32" y="61"/>
                      <a:pt x="34" y="57"/>
                    </a:cubicBezTo>
                    <a:cubicBezTo>
                      <a:pt x="36" y="52"/>
                      <a:pt x="38" y="46"/>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6" name="Freeform 266"/>
              <p:cNvSpPr>
                <a:spLocks/>
              </p:cNvSpPr>
              <p:nvPr/>
            </p:nvSpPr>
            <p:spPr bwMode="auto">
              <a:xfrm>
                <a:off x="2737169" y="3882325"/>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7" name="Freeform 267"/>
              <p:cNvSpPr>
                <a:spLocks noEditPoints="1"/>
              </p:cNvSpPr>
              <p:nvPr/>
            </p:nvSpPr>
            <p:spPr bwMode="auto">
              <a:xfrm>
                <a:off x="2784045" y="3880759"/>
                <a:ext cx="62501" cy="90790"/>
              </a:xfrm>
              <a:custGeom>
                <a:avLst/>
                <a:gdLst/>
                <a:ahLst/>
                <a:cxnLst>
                  <a:cxn ang="0">
                    <a:pos x="52" y="38"/>
                  </a:cxn>
                  <a:cxn ang="0">
                    <a:pos x="45" y="66"/>
                  </a:cxn>
                  <a:cxn ang="0">
                    <a:pos x="26" y="76"/>
                  </a:cxn>
                  <a:cxn ang="0">
                    <a:pos x="7" y="66"/>
                  </a:cxn>
                  <a:cxn ang="0">
                    <a:pos x="0" y="38"/>
                  </a:cxn>
                  <a:cxn ang="0">
                    <a:pos x="7" y="11"/>
                  </a:cxn>
                  <a:cxn ang="0">
                    <a:pos x="26" y="0"/>
                  </a:cxn>
                  <a:cxn ang="0">
                    <a:pos x="45" y="11"/>
                  </a:cxn>
                  <a:cxn ang="0">
                    <a:pos x="52" y="38"/>
                  </a:cxn>
                  <a:cxn ang="0">
                    <a:pos x="38" y="38"/>
                  </a:cxn>
                  <a:cxn ang="0">
                    <a:pos x="34" y="20"/>
                  </a:cxn>
                  <a:cxn ang="0">
                    <a:pos x="26" y="13"/>
                  </a:cxn>
                  <a:cxn ang="0">
                    <a:pos x="17" y="20"/>
                  </a:cxn>
                  <a:cxn ang="0">
                    <a:pos x="14" y="38"/>
                  </a:cxn>
                  <a:cxn ang="0">
                    <a:pos x="17" y="57"/>
                  </a:cxn>
                  <a:cxn ang="0">
                    <a:pos x="26" y="64"/>
                  </a:cxn>
                  <a:cxn ang="0">
                    <a:pos x="34" y="57"/>
                  </a:cxn>
                  <a:cxn ang="0">
                    <a:pos x="38" y="38"/>
                  </a:cxn>
                </a:cxnLst>
                <a:rect l="0" t="0" r="r" b="b"/>
                <a:pathLst>
                  <a:path w="52" h="76">
                    <a:moveTo>
                      <a:pt x="52" y="38"/>
                    </a:moveTo>
                    <a:cubicBezTo>
                      <a:pt x="52" y="49"/>
                      <a:pt x="49" y="59"/>
                      <a:pt x="45" y="66"/>
                    </a:cubicBezTo>
                    <a:cubicBezTo>
                      <a:pt x="40" y="72"/>
                      <a:pt x="34" y="76"/>
                      <a:pt x="26" y="76"/>
                    </a:cubicBezTo>
                    <a:cubicBezTo>
                      <a:pt x="18" y="76"/>
                      <a:pt x="12" y="73"/>
                      <a:pt x="7" y="66"/>
                    </a:cubicBezTo>
                    <a:cubicBezTo>
                      <a:pt x="2" y="59"/>
                      <a:pt x="0" y="50"/>
                      <a:pt x="0" y="38"/>
                    </a:cubicBezTo>
                    <a:cubicBezTo>
                      <a:pt x="0" y="27"/>
                      <a:pt x="2" y="18"/>
                      <a:pt x="7" y="11"/>
                    </a:cubicBezTo>
                    <a:cubicBezTo>
                      <a:pt x="12" y="4"/>
                      <a:pt x="18" y="0"/>
                      <a:pt x="26" y="0"/>
                    </a:cubicBezTo>
                    <a:cubicBezTo>
                      <a:pt x="34" y="0"/>
                      <a:pt x="40" y="4"/>
                      <a:pt x="45" y="11"/>
                    </a:cubicBezTo>
                    <a:cubicBezTo>
                      <a:pt x="49" y="18"/>
                      <a:pt x="52" y="27"/>
                      <a:pt x="52" y="38"/>
                    </a:cubicBezTo>
                    <a:close/>
                    <a:moveTo>
                      <a:pt x="38" y="38"/>
                    </a:moveTo>
                    <a:cubicBezTo>
                      <a:pt x="38" y="31"/>
                      <a:pt x="37" y="24"/>
                      <a:pt x="34" y="20"/>
                    </a:cubicBezTo>
                    <a:cubicBezTo>
                      <a:pt x="32" y="15"/>
                      <a:pt x="29" y="13"/>
                      <a:pt x="26" y="13"/>
                    </a:cubicBezTo>
                    <a:cubicBezTo>
                      <a:pt x="22" y="13"/>
                      <a:pt x="19" y="15"/>
                      <a:pt x="17" y="20"/>
                    </a:cubicBezTo>
                    <a:cubicBezTo>
                      <a:pt x="15" y="25"/>
                      <a:pt x="14" y="31"/>
                      <a:pt x="14" y="38"/>
                    </a:cubicBezTo>
                    <a:cubicBezTo>
                      <a:pt x="14" y="46"/>
                      <a:pt x="15" y="52"/>
                      <a:pt x="17" y="57"/>
                    </a:cubicBezTo>
                    <a:cubicBezTo>
                      <a:pt x="19" y="61"/>
                      <a:pt x="22" y="64"/>
                      <a:pt x="26" y="64"/>
                    </a:cubicBezTo>
                    <a:cubicBezTo>
                      <a:pt x="29" y="64"/>
                      <a:pt x="32" y="61"/>
                      <a:pt x="34" y="57"/>
                    </a:cubicBezTo>
                    <a:cubicBezTo>
                      <a:pt x="37" y="52"/>
                      <a:pt x="38" y="46"/>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8" name="Freeform 268"/>
              <p:cNvSpPr>
                <a:spLocks/>
              </p:cNvSpPr>
              <p:nvPr/>
            </p:nvSpPr>
            <p:spPr bwMode="auto">
              <a:xfrm>
                <a:off x="2848108" y="3882325"/>
                <a:ext cx="32813" cy="87659"/>
              </a:xfrm>
              <a:custGeom>
                <a:avLst/>
                <a:gdLst/>
                <a:ahLst/>
                <a:cxnLst>
                  <a:cxn ang="0">
                    <a:pos x="21" y="56"/>
                  </a:cxn>
                  <a:cxn ang="0">
                    <a:pos x="11" y="56"/>
                  </a:cxn>
                  <a:cxn ang="0">
                    <a:pos x="11" y="9"/>
                  </a:cxn>
                  <a:cxn ang="0">
                    <a:pos x="0" y="9"/>
                  </a:cxn>
                  <a:cxn ang="0">
                    <a:pos x="5" y="0"/>
                  </a:cxn>
                  <a:cxn ang="0">
                    <a:pos x="21" y="0"/>
                  </a:cxn>
                  <a:cxn ang="0">
                    <a:pos x="21" y="56"/>
                  </a:cxn>
                </a:cxnLst>
                <a:rect l="0" t="0" r="r" b="b"/>
                <a:pathLst>
                  <a:path w="21" h="56">
                    <a:moveTo>
                      <a:pt x="21" y="56"/>
                    </a:moveTo>
                    <a:lnTo>
                      <a:pt x="11" y="56"/>
                    </a:lnTo>
                    <a:lnTo>
                      <a:pt x="11" y="9"/>
                    </a:lnTo>
                    <a:lnTo>
                      <a:pt x="0" y="9"/>
                    </a:lnTo>
                    <a:lnTo>
                      <a:pt x="5"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9" name="Freeform 269"/>
              <p:cNvSpPr>
                <a:spLocks/>
              </p:cNvSpPr>
              <p:nvPr/>
            </p:nvSpPr>
            <p:spPr bwMode="auto">
              <a:xfrm>
                <a:off x="2888734" y="3882325"/>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0" name="Freeform 270"/>
              <p:cNvSpPr>
                <a:spLocks noEditPoints="1"/>
              </p:cNvSpPr>
              <p:nvPr/>
            </p:nvSpPr>
            <p:spPr bwMode="auto">
              <a:xfrm>
                <a:off x="2935610" y="3880759"/>
                <a:ext cx="62501" cy="90790"/>
              </a:xfrm>
              <a:custGeom>
                <a:avLst/>
                <a:gdLst/>
                <a:ahLst/>
                <a:cxnLst>
                  <a:cxn ang="0">
                    <a:pos x="52" y="38"/>
                  </a:cxn>
                  <a:cxn ang="0">
                    <a:pos x="45" y="66"/>
                  </a:cxn>
                  <a:cxn ang="0">
                    <a:pos x="26" y="76"/>
                  </a:cxn>
                  <a:cxn ang="0">
                    <a:pos x="7" y="66"/>
                  </a:cxn>
                  <a:cxn ang="0">
                    <a:pos x="0" y="38"/>
                  </a:cxn>
                  <a:cxn ang="0">
                    <a:pos x="7" y="11"/>
                  </a:cxn>
                  <a:cxn ang="0">
                    <a:pos x="26" y="0"/>
                  </a:cxn>
                  <a:cxn ang="0">
                    <a:pos x="45" y="11"/>
                  </a:cxn>
                  <a:cxn ang="0">
                    <a:pos x="52" y="38"/>
                  </a:cxn>
                  <a:cxn ang="0">
                    <a:pos x="38" y="38"/>
                  </a:cxn>
                  <a:cxn ang="0">
                    <a:pos x="35" y="20"/>
                  </a:cxn>
                  <a:cxn ang="0">
                    <a:pos x="26" y="13"/>
                  </a:cxn>
                  <a:cxn ang="0">
                    <a:pos x="17" y="20"/>
                  </a:cxn>
                  <a:cxn ang="0">
                    <a:pos x="14" y="38"/>
                  </a:cxn>
                  <a:cxn ang="0">
                    <a:pos x="17" y="57"/>
                  </a:cxn>
                  <a:cxn ang="0">
                    <a:pos x="26" y="64"/>
                  </a:cxn>
                  <a:cxn ang="0">
                    <a:pos x="35" y="57"/>
                  </a:cxn>
                  <a:cxn ang="0">
                    <a:pos x="38" y="38"/>
                  </a:cxn>
                </a:cxnLst>
                <a:rect l="0" t="0" r="r" b="b"/>
                <a:pathLst>
                  <a:path w="52" h="76">
                    <a:moveTo>
                      <a:pt x="52" y="38"/>
                    </a:moveTo>
                    <a:cubicBezTo>
                      <a:pt x="52" y="49"/>
                      <a:pt x="49" y="59"/>
                      <a:pt x="45" y="66"/>
                    </a:cubicBezTo>
                    <a:cubicBezTo>
                      <a:pt x="40" y="72"/>
                      <a:pt x="34" y="76"/>
                      <a:pt x="26" y="76"/>
                    </a:cubicBezTo>
                    <a:cubicBezTo>
                      <a:pt x="18" y="76"/>
                      <a:pt x="12" y="73"/>
                      <a:pt x="7" y="66"/>
                    </a:cubicBezTo>
                    <a:cubicBezTo>
                      <a:pt x="2" y="59"/>
                      <a:pt x="0" y="50"/>
                      <a:pt x="0" y="38"/>
                    </a:cubicBezTo>
                    <a:cubicBezTo>
                      <a:pt x="0" y="27"/>
                      <a:pt x="2" y="18"/>
                      <a:pt x="7" y="11"/>
                    </a:cubicBezTo>
                    <a:cubicBezTo>
                      <a:pt x="12" y="4"/>
                      <a:pt x="18" y="0"/>
                      <a:pt x="26" y="0"/>
                    </a:cubicBezTo>
                    <a:cubicBezTo>
                      <a:pt x="34" y="0"/>
                      <a:pt x="40" y="4"/>
                      <a:pt x="45" y="11"/>
                    </a:cubicBezTo>
                    <a:cubicBezTo>
                      <a:pt x="49" y="18"/>
                      <a:pt x="52" y="27"/>
                      <a:pt x="52" y="38"/>
                    </a:cubicBezTo>
                    <a:close/>
                    <a:moveTo>
                      <a:pt x="38" y="38"/>
                    </a:moveTo>
                    <a:cubicBezTo>
                      <a:pt x="38" y="31"/>
                      <a:pt x="37" y="24"/>
                      <a:pt x="35" y="20"/>
                    </a:cubicBezTo>
                    <a:cubicBezTo>
                      <a:pt x="32" y="15"/>
                      <a:pt x="29" y="13"/>
                      <a:pt x="26" y="13"/>
                    </a:cubicBezTo>
                    <a:cubicBezTo>
                      <a:pt x="22" y="13"/>
                      <a:pt x="19" y="15"/>
                      <a:pt x="17" y="20"/>
                    </a:cubicBezTo>
                    <a:cubicBezTo>
                      <a:pt x="15" y="25"/>
                      <a:pt x="14" y="31"/>
                      <a:pt x="14" y="38"/>
                    </a:cubicBezTo>
                    <a:cubicBezTo>
                      <a:pt x="14" y="46"/>
                      <a:pt x="15" y="52"/>
                      <a:pt x="17" y="57"/>
                    </a:cubicBezTo>
                    <a:cubicBezTo>
                      <a:pt x="19" y="61"/>
                      <a:pt x="22" y="64"/>
                      <a:pt x="26" y="64"/>
                    </a:cubicBezTo>
                    <a:cubicBezTo>
                      <a:pt x="29" y="64"/>
                      <a:pt x="32" y="61"/>
                      <a:pt x="35" y="57"/>
                    </a:cubicBezTo>
                    <a:cubicBezTo>
                      <a:pt x="37" y="52"/>
                      <a:pt x="38" y="46"/>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1" name="Freeform 271"/>
              <p:cNvSpPr>
                <a:spLocks noEditPoints="1"/>
              </p:cNvSpPr>
              <p:nvPr/>
            </p:nvSpPr>
            <p:spPr bwMode="auto">
              <a:xfrm>
                <a:off x="3002798" y="3880759"/>
                <a:ext cx="62501" cy="90790"/>
              </a:xfrm>
              <a:custGeom>
                <a:avLst/>
                <a:gdLst/>
                <a:ahLst/>
                <a:cxnLst>
                  <a:cxn ang="0">
                    <a:pos x="51" y="38"/>
                  </a:cxn>
                  <a:cxn ang="0">
                    <a:pos x="44" y="66"/>
                  </a:cxn>
                  <a:cxn ang="0">
                    <a:pos x="25" y="76"/>
                  </a:cxn>
                  <a:cxn ang="0">
                    <a:pos x="7" y="66"/>
                  </a:cxn>
                  <a:cxn ang="0">
                    <a:pos x="0" y="38"/>
                  </a:cxn>
                  <a:cxn ang="0">
                    <a:pos x="7" y="11"/>
                  </a:cxn>
                  <a:cxn ang="0">
                    <a:pos x="25" y="0"/>
                  </a:cxn>
                  <a:cxn ang="0">
                    <a:pos x="44" y="11"/>
                  </a:cxn>
                  <a:cxn ang="0">
                    <a:pos x="51" y="38"/>
                  </a:cxn>
                  <a:cxn ang="0">
                    <a:pos x="37" y="38"/>
                  </a:cxn>
                  <a:cxn ang="0">
                    <a:pos x="34" y="20"/>
                  </a:cxn>
                  <a:cxn ang="0">
                    <a:pos x="25" y="13"/>
                  </a:cxn>
                  <a:cxn ang="0">
                    <a:pos x="17" y="20"/>
                  </a:cxn>
                  <a:cxn ang="0">
                    <a:pos x="13" y="38"/>
                  </a:cxn>
                  <a:cxn ang="0">
                    <a:pos x="17" y="57"/>
                  </a:cxn>
                  <a:cxn ang="0">
                    <a:pos x="25" y="64"/>
                  </a:cxn>
                  <a:cxn ang="0">
                    <a:pos x="34" y="57"/>
                  </a:cxn>
                  <a:cxn ang="0">
                    <a:pos x="37" y="38"/>
                  </a:cxn>
                </a:cxnLst>
                <a:rect l="0" t="0" r="r" b="b"/>
                <a:pathLst>
                  <a:path w="51" h="76">
                    <a:moveTo>
                      <a:pt x="51" y="38"/>
                    </a:moveTo>
                    <a:cubicBezTo>
                      <a:pt x="51" y="49"/>
                      <a:pt x="49" y="59"/>
                      <a:pt x="44" y="66"/>
                    </a:cubicBezTo>
                    <a:cubicBezTo>
                      <a:pt x="39" y="72"/>
                      <a:pt x="33" y="76"/>
                      <a:pt x="25" y="76"/>
                    </a:cubicBezTo>
                    <a:cubicBezTo>
                      <a:pt x="18" y="76"/>
                      <a:pt x="11" y="73"/>
                      <a:pt x="7" y="66"/>
                    </a:cubicBezTo>
                    <a:cubicBezTo>
                      <a:pt x="2" y="59"/>
                      <a:pt x="0" y="50"/>
                      <a:pt x="0" y="38"/>
                    </a:cubicBezTo>
                    <a:cubicBezTo>
                      <a:pt x="0" y="27"/>
                      <a:pt x="2" y="18"/>
                      <a:pt x="7" y="11"/>
                    </a:cubicBezTo>
                    <a:cubicBezTo>
                      <a:pt x="11" y="4"/>
                      <a:pt x="18" y="0"/>
                      <a:pt x="25" y="0"/>
                    </a:cubicBezTo>
                    <a:cubicBezTo>
                      <a:pt x="33" y="0"/>
                      <a:pt x="40" y="4"/>
                      <a:pt x="44" y="11"/>
                    </a:cubicBezTo>
                    <a:cubicBezTo>
                      <a:pt x="49" y="18"/>
                      <a:pt x="51" y="27"/>
                      <a:pt x="51" y="38"/>
                    </a:cubicBezTo>
                    <a:close/>
                    <a:moveTo>
                      <a:pt x="37" y="38"/>
                    </a:moveTo>
                    <a:cubicBezTo>
                      <a:pt x="37" y="31"/>
                      <a:pt x="36" y="24"/>
                      <a:pt x="34" y="20"/>
                    </a:cubicBezTo>
                    <a:cubicBezTo>
                      <a:pt x="32" y="15"/>
                      <a:pt x="29" y="13"/>
                      <a:pt x="25" y="13"/>
                    </a:cubicBezTo>
                    <a:cubicBezTo>
                      <a:pt x="22" y="13"/>
                      <a:pt x="19" y="15"/>
                      <a:pt x="17" y="20"/>
                    </a:cubicBezTo>
                    <a:cubicBezTo>
                      <a:pt x="15" y="25"/>
                      <a:pt x="13" y="31"/>
                      <a:pt x="13" y="38"/>
                    </a:cubicBezTo>
                    <a:cubicBezTo>
                      <a:pt x="13" y="46"/>
                      <a:pt x="15" y="52"/>
                      <a:pt x="17" y="57"/>
                    </a:cubicBezTo>
                    <a:cubicBezTo>
                      <a:pt x="19" y="61"/>
                      <a:pt x="22" y="64"/>
                      <a:pt x="25" y="64"/>
                    </a:cubicBezTo>
                    <a:cubicBezTo>
                      <a:pt x="29" y="64"/>
                      <a:pt x="32" y="61"/>
                      <a:pt x="34" y="57"/>
                    </a:cubicBezTo>
                    <a:cubicBezTo>
                      <a:pt x="36" y="52"/>
                      <a:pt x="37" y="46"/>
                      <a:pt x="37"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2" name="Freeform 272"/>
              <p:cNvSpPr>
                <a:spLocks/>
              </p:cNvSpPr>
              <p:nvPr/>
            </p:nvSpPr>
            <p:spPr bwMode="auto">
              <a:xfrm>
                <a:off x="3065299" y="3882325"/>
                <a:ext cx="34376" cy="87659"/>
              </a:xfrm>
              <a:custGeom>
                <a:avLst/>
                <a:gdLst/>
                <a:ahLst/>
                <a:cxnLst>
                  <a:cxn ang="0">
                    <a:pos x="22" y="56"/>
                  </a:cxn>
                  <a:cxn ang="0">
                    <a:pos x="11" y="56"/>
                  </a:cxn>
                  <a:cxn ang="0">
                    <a:pos x="11" y="9"/>
                  </a:cxn>
                  <a:cxn ang="0">
                    <a:pos x="0" y="9"/>
                  </a:cxn>
                  <a:cxn ang="0">
                    <a:pos x="5" y="0"/>
                  </a:cxn>
                  <a:cxn ang="0">
                    <a:pos x="22" y="0"/>
                  </a:cxn>
                  <a:cxn ang="0">
                    <a:pos x="22" y="56"/>
                  </a:cxn>
                </a:cxnLst>
                <a:rect l="0" t="0" r="r" b="b"/>
                <a:pathLst>
                  <a:path w="22" h="56">
                    <a:moveTo>
                      <a:pt x="22" y="56"/>
                    </a:moveTo>
                    <a:lnTo>
                      <a:pt x="11" y="56"/>
                    </a:lnTo>
                    <a:lnTo>
                      <a:pt x="11" y="9"/>
                    </a:lnTo>
                    <a:lnTo>
                      <a:pt x="0" y="9"/>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3" name="Freeform 273"/>
              <p:cNvSpPr>
                <a:spLocks/>
              </p:cNvSpPr>
              <p:nvPr/>
            </p:nvSpPr>
            <p:spPr bwMode="auto">
              <a:xfrm>
                <a:off x="3105925" y="3882325"/>
                <a:ext cx="34376" cy="87659"/>
              </a:xfrm>
              <a:custGeom>
                <a:avLst/>
                <a:gdLst/>
                <a:ahLst/>
                <a:cxnLst>
                  <a:cxn ang="0">
                    <a:pos x="22" y="56"/>
                  </a:cxn>
                  <a:cxn ang="0">
                    <a:pos x="11" y="56"/>
                  </a:cxn>
                  <a:cxn ang="0">
                    <a:pos x="11" y="9"/>
                  </a:cxn>
                  <a:cxn ang="0">
                    <a:pos x="0" y="9"/>
                  </a:cxn>
                  <a:cxn ang="0">
                    <a:pos x="5" y="0"/>
                  </a:cxn>
                  <a:cxn ang="0">
                    <a:pos x="22" y="0"/>
                  </a:cxn>
                  <a:cxn ang="0">
                    <a:pos x="22" y="56"/>
                  </a:cxn>
                </a:cxnLst>
                <a:rect l="0" t="0" r="r" b="b"/>
                <a:pathLst>
                  <a:path w="22" h="56">
                    <a:moveTo>
                      <a:pt x="22" y="56"/>
                    </a:moveTo>
                    <a:lnTo>
                      <a:pt x="11" y="56"/>
                    </a:lnTo>
                    <a:lnTo>
                      <a:pt x="11" y="9"/>
                    </a:lnTo>
                    <a:lnTo>
                      <a:pt x="0" y="9"/>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5" name="Freeform 284"/>
              <p:cNvSpPr>
                <a:spLocks/>
              </p:cNvSpPr>
              <p:nvPr/>
            </p:nvSpPr>
            <p:spPr bwMode="auto">
              <a:xfrm>
                <a:off x="2384038" y="402164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6" name="Freeform 285"/>
              <p:cNvSpPr>
                <a:spLocks/>
              </p:cNvSpPr>
              <p:nvPr/>
            </p:nvSpPr>
            <p:spPr bwMode="auto">
              <a:xfrm>
                <a:off x="2424664" y="402164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7" name="Freeform 286"/>
              <p:cNvSpPr>
                <a:spLocks/>
              </p:cNvSpPr>
              <p:nvPr/>
            </p:nvSpPr>
            <p:spPr bwMode="auto">
              <a:xfrm>
                <a:off x="2465290" y="402164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8" name="Freeform 287"/>
              <p:cNvSpPr>
                <a:spLocks/>
              </p:cNvSpPr>
              <p:nvPr/>
            </p:nvSpPr>
            <p:spPr bwMode="auto">
              <a:xfrm>
                <a:off x="2505915" y="4021640"/>
                <a:ext cx="32813" cy="87659"/>
              </a:xfrm>
              <a:custGeom>
                <a:avLst/>
                <a:gdLst/>
                <a:ahLst/>
                <a:cxnLst>
                  <a:cxn ang="0">
                    <a:pos x="21" y="56"/>
                  </a:cxn>
                  <a:cxn ang="0">
                    <a:pos x="11" y="56"/>
                  </a:cxn>
                  <a:cxn ang="0">
                    <a:pos x="11" y="10"/>
                  </a:cxn>
                  <a:cxn ang="0">
                    <a:pos x="0" y="10"/>
                  </a:cxn>
                  <a:cxn ang="0">
                    <a:pos x="4" y="0"/>
                  </a:cxn>
                  <a:cxn ang="0">
                    <a:pos x="21" y="0"/>
                  </a:cxn>
                  <a:cxn ang="0">
                    <a:pos x="21" y="56"/>
                  </a:cxn>
                </a:cxnLst>
                <a:rect l="0" t="0" r="r" b="b"/>
                <a:pathLst>
                  <a:path w="21" h="56">
                    <a:moveTo>
                      <a:pt x="21" y="56"/>
                    </a:moveTo>
                    <a:lnTo>
                      <a:pt x="11" y="56"/>
                    </a:lnTo>
                    <a:lnTo>
                      <a:pt x="11"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9" name="Freeform 288"/>
              <p:cNvSpPr>
                <a:spLocks noEditPoints="1"/>
              </p:cNvSpPr>
              <p:nvPr/>
            </p:nvSpPr>
            <p:spPr bwMode="auto">
              <a:xfrm>
                <a:off x="2554354" y="4020075"/>
                <a:ext cx="60938" cy="90790"/>
              </a:xfrm>
              <a:custGeom>
                <a:avLst/>
                <a:gdLst/>
                <a:ahLst/>
                <a:cxnLst>
                  <a:cxn ang="0">
                    <a:pos x="51" y="37"/>
                  </a:cxn>
                  <a:cxn ang="0">
                    <a:pos x="44" y="65"/>
                  </a:cxn>
                  <a:cxn ang="0">
                    <a:pos x="26" y="75"/>
                  </a:cxn>
                  <a:cxn ang="0">
                    <a:pos x="7" y="65"/>
                  </a:cxn>
                  <a:cxn ang="0">
                    <a:pos x="0" y="37"/>
                  </a:cxn>
                  <a:cxn ang="0">
                    <a:pos x="7" y="10"/>
                  </a:cxn>
                  <a:cxn ang="0">
                    <a:pos x="26" y="0"/>
                  </a:cxn>
                  <a:cxn ang="0">
                    <a:pos x="44" y="10"/>
                  </a:cxn>
                  <a:cxn ang="0">
                    <a:pos x="51" y="37"/>
                  </a:cxn>
                  <a:cxn ang="0">
                    <a:pos x="38" y="37"/>
                  </a:cxn>
                  <a:cxn ang="0">
                    <a:pos x="34" y="19"/>
                  </a:cxn>
                  <a:cxn ang="0">
                    <a:pos x="26" y="12"/>
                  </a:cxn>
                  <a:cxn ang="0">
                    <a:pos x="17" y="19"/>
                  </a:cxn>
                  <a:cxn ang="0">
                    <a:pos x="14" y="37"/>
                  </a:cxn>
                  <a:cxn ang="0">
                    <a:pos x="17" y="56"/>
                  </a:cxn>
                  <a:cxn ang="0">
                    <a:pos x="26" y="63"/>
                  </a:cxn>
                  <a:cxn ang="0">
                    <a:pos x="34" y="56"/>
                  </a:cxn>
                  <a:cxn ang="0">
                    <a:pos x="38" y="37"/>
                  </a:cxn>
                </a:cxnLst>
                <a:rect l="0" t="0" r="r" b="b"/>
                <a:pathLst>
                  <a:path w="51" h="75">
                    <a:moveTo>
                      <a:pt x="51" y="37"/>
                    </a:moveTo>
                    <a:cubicBezTo>
                      <a:pt x="51" y="49"/>
                      <a:pt x="49" y="58"/>
                      <a:pt x="44" y="65"/>
                    </a:cubicBezTo>
                    <a:cubicBezTo>
                      <a:pt x="40" y="72"/>
                      <a:pt x="33" y="75"/>
                      <a:pt x="26" y="75"/>
                    </a:cubicBezTo>
                    <a:cubicBezTo>
                      <a:pt x="18" y="75"/>
                      <a:pt x="11" y="72"/>
                      <a:pt x="7" y="65"/>
                    </a:cubicBezTo>
                    <a:cubicBezTo>
                      <a:pt x="2" y="58"/>
                      <a:pt x="0" y="49"/>
                      <a:pt x="0" y="37"/>
                    </a:cubicBezTo>
                    <a:cubicBezTo>
                      <a:pt x="0" y="26"/>
                      <a:pt x="2" y="17"/>
                      <a:pt x="7" y="10"/>
                    </a:cubicBezTo>
                    <a:cubicBezTo>
                      <a:pt x="11" y="3"/>
                      <a:pt x="18" y="0"/>
                      <a:pt x="26" y="0"/>
                    </a:cubicBezTo>
                    <a:cubicBezTo>
                      <a:pt x="33" y="0"/>
                      <a:pt x="40" y="3"/>
                      <a:pt x="44" y="10"/>
                    </a:cubicBezTo>
                    <a:cubicBezTo>
                      <a:pt x="49" y="17"/>
                      <a:pt x="51" y="26"/>
                      <a:pt x="51" y="37"/>
                    </a:cubicBezTo>
                    <a:close/>
                    <a:moveTo>
                      <a:pt x="38" y="37"/>
                    </a:moveTo>
                    <a:cubicBezTo>
                      <a:pt x="38" y="30"/>
                      <a:pt x="37" y="24"/>
                      <a:pt x="34" y="19"/>
                    </a:cubicBezTo>
                    <a:cubicBezTo>
                      <a:pt x="32" y="14"/>
                      <a:pt x="29" y="12"/>
                      <a:pt x="26" y="12"/>
                    </a:cubicBezTo>
                    <a:cubicBezTo>
                      <a:pt x="22" y="12"/>
                      <a:pt x="19" y="14"/>
                      <a:pt x="17" y="19"/>
                    </a:cubicBezTo>
                    <a:cubicBezTo>
                      <a:pt x="15" y="24"/>
                      <a:pt x="14" y="30"/>
                      <a:pt x="14" y="37"/>
                    </a:cubicBezTo>
                    <a:cubicBezTo>
                      <a:pt x="14" y="45"/>
                      <a:pt x="15" y="51"/>
                      <a:pt x="17" y="56"/>
                    </a:cubicBezTo>
                    <a:cubicBezTo>
                      <a:pt x="19" y="60"/>
                      <a:pt x="22" y="63"/>
                      <a:pt x="26" y="63"/>
                    </a:cubicBezTo>
                    <a:cubicBezTo>
                      <a:pt x="29" y="63"/>
                      <a:pt x="32" y="61"/>
                      <a:pt x="34"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0" name="Freeform 289"/>
              <p:cNvSpPr>
                <a:spLocks noEditPoints="1"/>
              </p:cNvSpPr>
              <p:nvPr/>
            </p:nvSpPr>
            <p:spPr bwMode="auto">
              <a:xfrm>
                <a:off x="2619980" y="4020075"/>
                <a:ext cx="62501" cy="90790"/>
              </a:xfrm>
              <a:custGeom>
                <a:avLst/>
                <a:gdLst/>
                <a:ahLst/>
                <a:cxnLst>
                  <a:cxn ang="0">
                    <a:pos x="52" y="37"/>
                  </a:cxn>
                  <a:cxn ang="0">
                    <a:pos x="45" y="65"/>
                  </a:cxn>
                  <a:cxn ang="0">
                    <a:pos x="26" y="75"/>
                  </a:cxn>
                  <a:cxn ang="0">
                    <a:pos x="7" y="65"/>
                  </a:cxn>
                  <a:cxn ang="0">
                    <a:pos x="0" y="37"/>
                  </a:cxn>
                  <a:cxn ang="0">
                    <a:pos x="7" y="10"/>
                  </a:cxn>
                  <a:cxn ang="0">
                    <a:pos x="26" y="0"/>
                  </a:cxn>
                  <a:cxn ang="0">
                    <a:pos x="45" y="10"/>
                  </a:cxn>
                  <a:cxn ang="0">
                    <a:pos x="52" y="37"/>
                  </a:cxn>
                  <a:cxn ang="0">
                    <a:pos x="38" y="37"/>
                  </a:cxn>
                  <a:cxn ang="0">
                    <a:pos x="35" y="19"/>
                  </a:cxn>
                  <a:cxn ang="0">
                    <a:pos x="26" y="12"/>
                  </a:cxn>
                  <a:cxn ang="0">
                    <a:pos x="17" y="19"/>
                  </a:cxn>
                  <a:cxn ang="0">
                    <a:pos x="14" y="37"/>
                  </a:cxn>
                  <a:cxn ang="0">
                    <a:pos x="17" y="56"/>
                  </a:cxn>
                  <a:cxn ang="0">
                    <a:pos x="26" y="63"/>
                  </a:cxn>
                  <a:cxn ang="0">
                    <a:pos x="35" y="56"/>
                  </a:cxn>
                  <a:cxn ang="0">
                    <a:pos x="38" y="37"/>
                  </a:cxn>
                </a:cxnLst>
                <a:rect l="0" t="0" r="r" b="b"/>
                <a:pathLst>
                  <a:path w="52" h="75">
                    <a:moveTo>
                      <a:pt x="52" y="37"/>
                    </a:moveTo>
                    <a:cubicBezTo>
                      <a:pt x="52" y="49"/>
                      <a:pt x="50" y="58"/>
                      <a:pt x="45" y="65"/>
                    </a:cubicBezTo>
                    <a:cubicBezTo>
                      <a:pt x="40" y="72"/>
                      <a:pt x="34" y="75"/>
                      <a:pt x="26" y="75"/>
                    </a:cubicBezTo>
                    <a:cubicBezTo>
                      <a:pt x="18" y="75"/>
                      <a:pt x="12" y="72"/>
                      <a:pt x="7" y="65"/>
                    </a:cubicBezTo>
                    <a:cubicBezTo>
                      <a:pt x="3" y="58"/>
                      <a:pt x="0" y="49"/>
                      <a:pt x="0" y="37"/>
                    </a:cubicBezTo>
                    <a:cubicBezTo>
                      <a:pt x="0" y="26"/>
                      <a:pt x="3" y="17"/>
                      <a:pt x="7" y="10"/>
                    </a:cubicBezTo>
                    <a:cubicBezTo>
                      <a:pt x="12" y="3"/>
                      <a:pt x="18" y="0"/>
                      <a:pt x="26" y="0"/>
                    </a:cubicBezTo>
                    <a:cubicBezTo>
                      <a:pt x="34" y="0"/>
                      <a:pt x="40" y="3"/>
                      <a:pt x="45" y="10"/>
                    </a:cubicBezTo>
                    <a:cubicBezTo>
                      <a:pt x="50" y="17"/>
                      <a:pt x="52" y="26"/>
                      <a:pt x="52" y="37"/>
                    </a:cubicBezTo>
                    <a:close/>
                    <a:moveTo>
                      <a:pt x="38" y="37"/>
                    </a:moveTo>
                    <a:cubicBezTo>
                      <a:pt x="38" y="30"/>
                      <a:pt x="37" y="24"/>
                      <a:pt x="35" y="19"/>
                    </a:cubicBezTo>
                    <a:cubicBezTo>
                      <a:pt x="33" y="14"/>
                      <a:pt x="30" y="12"/>
                      <a:pt x="26" y="12"/>
                    </a:cubicBezTo>
                    <a:cubicBezTo>
                      <a:pt x="22" y="12"/>
                      <a:pt x="20" y="14"/>
                      <a:pt x="17" y="19"/>
                    </a:cubicBezTo>
                    <a:cubicBezTo>
                      <a:pt x="15" y="24"/>
                      <a:pt x="14" y="30"/>
                      <a:pt x="14" y="37"/>
                    </a:cubicBezTo>
                    <a:cubicBezTo>
                      <a:pt x="14" y="45"/>
                      <a:pt x="15" y="51"/>
                      <a:pt x="17" y="56"/>
                    </a:cubicBezTo>
                    <a:cubicBezTo>
                      <a:pt x="20" y="60"/>
                      <a:pt x="23" y="63"/>
                      <a:pt x="26" y="63"/>
                    </a:cubicBezTo>
                    <a:cubicBezTo>
                      <a:pt x="30" y="63"/>
                      <a:pt x="33" y="61"/>
                      <a:pt x="35"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1" name="Freeform 290"/>
              <p:cNvSpPr>
                <a:spLocks/>
              </p:cNvSpPr>
              <p:nvPr/>
            </p:nvSpPr>
            <p:spPr bwMode="auto">
              <a:xfrm>
                <a:off x="2684043" y="402164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2" name="Freeform 291"/>
              <p:cNvSpPr>
                <a:spLocks noEditPoints="1"/>
              </p:cNvSpPr>
              <p:nvPr/>
            </p:nvSpPr>
            <p:spPr bwMode="auto">
              <a:xfrm>
                <a:off x="2730919" y="4020075"/>
                <a:ext cx="62501" cy="90790"/>
              </a:xfrm>
              <a:custGeom>
                <a:avLst/>
                <a:gdLst/>
                <a:ahLst/>
                <a:cxnLst>
                  <a:cxn ang="0">
                    <a:pos x="51" y="37"/>
                  </a:cxn>
                  <a:cxn ang="0">
                    <a:pos x="44" y="65"/>
                  </a:cxn>
                  <a:cxn ang="0">
                    <a:pos x="25" y="75"/>
                  </a:cxn>
                  <a:cxn ang="0">
                    <a:pos x="7" y="65"/>
                  </a:cxn>
                  <a:cxn ang="0">
                    <a:pos x="0" y="37"/>
                  </a:cxn>
                  <a:cxn ang="0">
                    <a:pos x="7" y="10"/>
                  </a:cxn>
                  <a:cxn ang="0">
                    <a:pos x="25" y="0"/>
                  </a:cxn>
                  <a:cxn ang="0">
                    <a:pos x="44" y="10"/>
                  </a:cxn>
                  <a:cxn ang="0">
                    <a:pos x="51" y="37"/>
                  </a:cxn>
                  <a:cxn ang="0">
                    <a:pos x="37" y="37"/>
                  </a:cxn>
                  <a:cxn ang="0">
                    <a:pos x="34" y="19"/>
                  </a:cxn>
                  <a:cxn ang="0">
                    <a:pos x="25" y="12"/>
                  </a:cxn>
                  <a:cxn ang="0">
                    <a:pos x="17" y="19"/>
                  </a:cxn>
                  <a:cxn ang="0">
                    <a:pos x="13" y="37"/>
                  </a:cxn>
                  <a:cxn ang="0">
                    <a:pos x="17" y="56"/>
                  </a:cxn>
                  <a:cxn ang="0">
                    <a:pos x="25" y="63"/>
                  </a:cxn>
                  <a:cxn ang="0">
                    <a:pos x="34" y="56"/>
                  </a:cxn>
                  <a:cxn ang="0">
                    <a:pos x="37" y="37"/>
                  </a:cxn>
                </a:cxnLst>
                <a:rect l="0" t="0" r="r" b="b"/>
                <a:pathLst>
                  <a:path w="51" h="75">
                    <a:moveTo>
                      <a:pt x="51" y="37"/>
                    </a:moveTo>
                    <a:cubicBezTo>
                      <a:pt x="51" y="49"/>
                      <a:pt x="49" y="58"/>
                      <a:pt x="44" y="65"/>
                    </a:cubicBezTo>
                    <a:cubicBezTo>
                      <a:pt x="39" y="72"/>
                      <a:pt x="33" y="75"/>
                      <a:pt x="25" y="75"/>
                    </a:cubicBezTo>
                    <a:cubicBezTo>
                      <a:pt x="17" y="75"/>
                      <a:pt x="11" y="72"/>
                      <a:pt x="7" y="65"/>
                    </a:cubicBezTo>
                    <a:cubicBezTo>
                      <a:pt x="2" y="58"/>
                      <a:pt x="0" y="49"/>
                      <a:pt x="0" y="37"/>
                    </a:cubicBezTo>
                    <a:cubicBezTo>
                      <a:pt x="0" y="26"/>
                      <a:pt x="2" y="17"/>
                      <a:pt x="7" y="10"/>
                    </a:cubicBezTo>
                    <a:cubicBezTo>
                      <a:pt x="11" y="3"/>
                      <a:pt x="17" y="0"/>
                      <a:pt x="25" y="0"/>
                    </a:cubicBezTo>
                    <a:cubicBezTo>
                      <a:pt x="33" y="0"/>
                      <a:pt x="39" y="3"/>
                      <a:pt x="44" y="10"/>
                    </a:cubicBezTo>
                    <a:cubicBezTo>
                      <a:pt x="49" y="17"/>
                      <a:pt x="51" y="26"/>
                      <a:pt x="51" y="37"/>
                    </a:cubicBezTo>
                    <a:close/>
                    <a:moveTo>
                      <a:pt x="37" y="37"/>
                    </a:moveTo>
                    <a:cubicBezTo>
                      <a:pt x="37" y="30"/>
                      <a:pt x="36" y="24"/>
                      <a:pt x="34" y="19"/>
                    </a:cubicBezTo>
                    <a:cubicBezTo>
                      <a:pt x="32" y="14"/>
                      <a:pt x="29" y="12"/>
                      <a:pt x="25" y="12"/>
                    </a:cubicBezTo>
                    <a:cubicBezTo>
                      <a:pt x="22" y="12"/>
                      <a:pt x="19" y="14"/>
                      <a:pt x="17" y="19"/>
                    </a:cubicBezTo>
                    <a:cubicBezTo>
                      <a:pt x="14" y="24"/>
                      <a:pt x="13" y="30"/>
                      <a:pt x="13" y="37"/>
                    </a:cubicBezTo>
                    <a:cubicBezTo>
                      <a:pt x="13" y="45"/>
                      <a:pt x="14" y="51"/>
                      <a:pt x="17" y="56"/>
                    </a:cubicBezTo>
                    <a:cubicBezTo>
                      <a:pt x="19" y="60"/>
                      <a:pt x="22" y="63"/>
                      <a:pt x="25" y="63"/>
                    </a:cubicBezTo>
                    <a:cubicBezTo>
                      <a:pt x="29" y="63"/>
                      <a:pt x="32" y="61"/>
                      <a:pt x="34" y="56"/>
                    </a:cubicBezTo>
                    <a:cubicBezTo>
                      <a:pt x="36" y="51"/>
                      <a:pt x="37" y="45"/>
                      <a:pt x="37"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3" name="Freeform 292"/>
              <p:cNvSpPr>
                <a:spLocks/>
              </p:cNvSpPr>
              <p:nvPr/>
            </p:nvSpPr>
            <p:spPr bwMode="auto">
              <a:xfrm>
                <a:off x="2793420" y="4021640"/>
                <a:ext cx="34376" cy="87659"/>
              </a:xfrm>
              <a:custGeom>
                <a:avLst/>
                <a:gdLst/>
                <a:ahLst/>
                <a:cxnLst>
                  <a:cxn ang="0">
                    <a:pos x="22" y="56"/>
                  </a:cxn>
                  <a:cxn ang="0">
                    <a:pos x="11" y="56"/>
                  </a:cxn>
                  <a:cxn ang="0">
                    <a:pos x="11" y="10"/>
                  </a:cxn>
                  <a:cxn ang="0">
                    <a:pos x="0" y="10"/>
                  </a:cxn>
                  <a:cxn ang="0">
                    <a:pos x="5" y="0"/>
                  </a:cxn>
                  <a:cxn ang="0">
                    <a:pos x="22" y="0"/>
                  </a:cxn>
                  <a:cxn ang="0">
                    <a:pos x="22" y="56"/>
                  </a:cxn>
                </a:cxnLst>
                <a:rect l="0" t="0" r="r" b="b"/>
                <a:pathLst>
                  <a:path w="22" h="56">
                    <a:moveTo>
                      <a:pt x="22" y="56"/>
                    </a:moveTo>
                    <a:lnTo>
                      <a:pt x="11" y="56"/>
                    </a:lnTo>
                    <a:lnTo>
                      <a:pt x="11" y="10"/>
                    </a:lnTo>
                    <a:lnTo>
                      <a:pt x="0" y="10"/>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4" name="Freeform 293"/>
              <p:cNvSpPr>
                <a:spLocks/>
              </p:cNvSpPr>
              <p:nvPr/>
            </p:nvSpPr>
            <p:spPr bwMode="auto">
              <a:xfrm>
                <a:off x="2835608" y="402164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5" name="Freeform 294"/>
              <p:cNvSpPr>
                <a:spLocks noEditPoints="1"/>
              </p:cNvSpPr>
              <p:nvPr/>
            </p:nvSpPr>
            <p:spPr bwMode="auto">
              <a:xfrm>
                <a:off x="2882484" y="4020075"/>
                <a:ext cx="62501" cy="90790"/>
              </a:xfrm>
              <a:custGeom>
                <a:avLst/>
                <a:gdLst/>
                <a:ahLst/>
                <a:cxnLst>
                  <a:cxn ang="0">
                    <a:pos x="51" y="37"/>
                  </a:cxn>
                  <a:cxn ang="0">
                    <a:pos x="44" y="65"/>
                  </a:cxn>
                  <a:cxn ang="0">
                    <a:pos x="25" y="75"/>
                  </a:cxn>
                  <a:cxn ang="0">
                    <a:pos x="7" y="65"/>
                  </a:cxn>
                  <a:cxn ang="0">
                    <a:pos x="0" y="37"/>
                  </a:cxn>
                  <a:cxn ang="0">
                    <a:pos x="7" y="10"/>
                  </a:cxn>
                  <a:cxn ang="0">
                    <a:pos x="25" y="0"/>
                  </a:cxn>
                  <a:cxn ang="0">
                    <a:pos x="44" y="10"/>
                  </a:cxn>
                  <a:cxn ang="0">
                    <a:pos x="51" y="37"/>
                  </a:cxn>
                  <a:cxn ang="0">
                    <a:pos x="38" y="37"/>
                  </a:cxn>
                  <a:cxn ang="0">
                    <a:pos x="34" y="19"/>
                  </a:cxn>
                  <a:cxn ang="0">
                    <a:pos x="25" y="12"/>
                  </a:cxn>
                  <a:cxn ang="0">
                    <a:pos x="17" y="19"/>
                  </a:cxn>
                  <a:cxn ang="0">
                    <a:pos x="14" y="37"/>
                  </a:cxn>
                  <a:cxn ang="0">
                    <a:pos x="17" y="56"/>
                  </a:cxn>
                  <a:cxn ang="0">
                    <a:pos x="25" y="63"/>
                  </a:cxn>
                  <a:cxn ang="0">
                    <a:pos x="34" y="56"/>
                  </a:cxn>
                  <a:cxn ang="0">
                    <a:pos x="38" y="37"/>
                  </a:cxn>
                </a:cxnLst>
                <a:rect l="0" t="0" r="r" b="b"/>
                <a:pathLst>
                  <a:path w="51" h="75">
                    <a:moveTo>
                      <a:pt x="51" y="37"/>
                    </a:moveTo>
                    <a:cubicBezTo>
                      <a:pt x="51" y="49"/>
                      <a:pt x="49" y="58"/>
                      <a:pt x="44" y="65"/>
                    </a:cubicBezTo>
                    <a:cubicBezTo>
                      <a:pt x="40" y="72"/>
                      <a:pt x="33" y="75"/>
                      <a:pt x="25" y="75"/>
                    </a:cubicBezTo>
                    <a:cubicBezTo>
                      <a:pt x="18" y="75"/>
                      <a:pt x="11" y="72"/>
                      <a:pt x="7" y="65"/>
                    </a:cubicBezTo>
                    <a:cubicBezTo>
                      <a:pt x="2" y="58"/>
                      <a:pt x="0" y="49"/>
                      <a:pt x="0" y="37"/>
                    </a:cubicBezTo>
                    <a:cubicBezTo>
                      <a:pt x="0" y="26"/>
                      <a:pt x="2" y="17"/>
                      <a:pt x="7" y="10"/>
                    </a:cubicBezTo>
                    <a:cubicBezTo>
                      <a:pt x="11" y="3"/>
                      <a:pt x="18" y="0"/>
                      <a:pt x="25" y="0"/>
                    </a:cubicBezTo>
                    <a:cubicBezTo>
                      <a:pt x="33" y="0"/>
                      <a:pt x="40" y="3"/>
                      <a:pt x="44" y="10"/>
                    </a:cubicBezTo>
                    <a:cubicBezTo>
                      <a:pt x="49" y="17"/>
                      <a:pt x="51" y="26"/>
                      <a:pt x="51" y="37"/>
                    </a:cubicBezTo>
                    <a:close/>
                    <a:moveTo>
                      <a:pt x="38" y="37"/>
                    </a:moveTo>
                    <a:cubicBezTo>
                      <a:pt x="38" y="30"/>
                      <a:pt x="36" y="24"/>
                      <a:pt x="34" y="19"/>
                    </a:cubicBezTo>
                    <a:cubicBezTo>
                      <a:pt x="32" y="14"/>
                      <a:pt x="29" y="12"/>
                      <a:pt x="25" y="12"/>
                    </a:cubicBezTo>
                    <a:cubicBezTo>
                      <a:pt x="22" y="12"/>
                      <a:pt x="19" y="14"/>
                      <a:pt x="17" y="19"/>
                    </a:cubicBezTo>
                    <a:cubicBezTo>
                      <a:pt x="15" y="24"/>
                      <a:pt x="14" y="30"/>
                      <a:pt x="14" y="37"/>
                    </a:cubicBezTo>
                    <a:cubicBezTo>
                      <a:pt x="14" y="45"/>
                      <a:pt x="15" y="51"/>
                      <a:pt x="17" y="56"/>
                    </a:cubicBezTo>
                    <a:cubicBezTo>
                      <a:pt x="19" y="60"/>
                      <a:pt x="22" y="63"/>
                      <a:pt x="25" y="63"/>
                    </a:cubicBezTo>
                    <a:cubicBezTo>
                      <a:pt x="29" y="63"/>
                      <a:pt x="32" y="61"/>
                      <a:pt x="34" y="56"/>
                    </a:cubicBezTo>
                    <a:cubicBezTo>
                      <a:pt x="36"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6" name="Freeform 295"/>
              <p:cNvSpPr>
                <a:spLocks/>
              </p:cNvSpPr>
              <p:nvPr/>
            </p:nvSpPr>
            <p:spPr bwMode="auto">
              <a:xfrm>
                <a:off x="2944985" y="4021640"/>
                <a:ext cx="34376" cy="87659"/>
              </a:xfrm>
              <a:custGeom>
                <a:avLst/>
                <a:gdLst/>
                <a:ahLst/>
                <a:cxnLst>
                  <a:cxn ang="0">
                    <a:pos x="22" y="56"/>
                  </a:cxn>
                  <a:cxn ang="0">
                    <a:pos x="11" y="56"/>
                  </a:cxn>
                  <a:cxn ang="0">
                    <a:pos x="11" y="10"/>
                  </a:cxn>
                  <a:cxn ang="0">
                    <a:pos x="0" y="10"/>
                  </a:cxn>
                  <a:cxn ang="0">
                    <a:pos x="5" y="0"/>
                  </a:cxn>
                  <a:cxn ang="0">
                    <a:pos x="22" y="0"/>
                  </a:cxn>
                  <a:cxn ang="0">
                    <a:pos x="22" y="56"/>
                  </a:cxn>
                </a:cxnLst>
                <a:rect l="0" t="0" r="r" b="b"/>
                <a:pathLst>
                  <a:path w="22" h="56">
                    <a:moveTo>
                      <a:pt x="22" y="56"/>
                    </a:moveTo>
                    <a:lnTo>
                      <a:pt x="11" y="56"/>
                    </a:lnTo>
                    <a:lnTo>
                      <a:pt x="11" y="10"/>
                    </a:lnTo>
                    <a:lnTo>
                      <a:pt x="0" y="10"/>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7" name="Freeform 296"/>
              <p:cNvSpPr>
                <a:spLocks noEditPoints="1"/>
              </p:cNvSpPr>
              <p:nvPr/>
            </p:nvSpPr>
            <p:spPr bwMode="auto">
              <a:xfrm>
                <a:off x="2993423" y="4020075"/>
                <a:ext cx="62501" cy="90790"/>
              </a:xfrm>
              <a:custGeom>
                <a:avLst/>
                <a:gdLst/>
                <a:ahLst/>
                <a:cxnLst>
                  <a:cxn ang="0">
                    <a:pos x="52" y="37"/>
                  </a:cxn>
                  <a:cxn ang="0">
                    <a:pos x="44" y="65"/>
                  </a:cxn>
                  <a:cxn ang="0">
                    <a:pos x="26" y="75"/>
                  </a:cxn>
                  <a:cxn ang="0">
                    <a:pos x="7" y="65"/>
                  </a:cxn>
                  <a:cxn ang="0">
                    <a:pos x="0" y="37"/>
                  </a:cxn>
                  <a:cxn ang="0">
                    <a:pos x="7" y="10"/>
                  </a:cxn>
                  <a:cxn ang="0">
                    <a:pos x="26" y="0"/>
                  </a:cxn>
                  <a:cxn ang="0">
                    <a:pos x="45" y="10"/>
                  </a:cxn>
                  <a:cxn ang="0">
                    <a:pos x="52" y="37"/>
                  </a:cxn>
                  <a:cxn ang="0">
                    <a:pos x="38" y="37"/>
                  </a:cxn>
                  <a:cxn ang="0">
                    <a:pos x="34" y="19"/>
                  </a:cxn>
                  <a:cxn ang="0">
                    <a:pos x="26" y="12"/>
                  </a:cxn>
                  <a:cxn ang="0">
                    <a:pos x="17" y="19"/>
                  </a:cxn>
                  <a:cxn ang="0">
                    <a:pos x="14" y="37"/>
                  </a:cxn>
                  <a:cxn ang="0">
                    <a:pos x="17" y="56"/>
                  </a:cxn>
                  <a:cxn ang="0">
                    <a:pos x="26" y="63"/>
                  </a:cxn>
                  <a:cxn ang="0">
                    <a:pos x="34" y="56"/>
                  </a:cxn>
                  <a:cxn ang="0">
                    <a:pos x="38" y="37"/>
                  </a:cxn>
                </a:cxnLst>
                <a:rect l="0" t="0" r="r" b="b"/>
                <a:pathLst>
                  <a:path w="52" h="75">
                    <a:moveTo>
                      <a:pt x="52" y="37"/>
                    </a:moveTo>
                    <a:cubicBezTo>
                      <a:pt x="52" y="49"/>
                      <a:pt x="49" y="58"/>
                      <a:pt x="44" y="65"/>
                    </a:cubicBezTo>
                    <a:cubicBezTo>
                      <a:pt x="40" y="72"/>
                      <a:pt x="33" y="75"/>
                      <a:pt x="26" y="75"/>
                    </a:cubicBezTo>
                    <a:cubicBezTo>
                      <a:pt x="18" y="75"/>
                      <a:pt x="12" y="72"/>
                      <a:pt x="7" y="65"/>
                    </a:cubicBezTo>
                    <a:cubicBezTo>
                      <a:pt x="2" y="58"/>
                      <a:pt x="0" y="49"/>
                      <a:pt x="0" y="37"/>
                    </a:cubicBezTo>
                    <a:cubicBezTo>
                      <a:pt x="0" y="26"/>
                      <a:pt x="2" y="17"/>
                      <a:pt x="7" y="10"/>
                    </a:cubicBezTo>
                    <a:cubicBezTo>
                      <a:pt x="12" y="3"/>
                      <a:pt x="18" y="0"/>
                      <a:pt x="26" y="0"/>
                    </a:cubicBezTo>
                    <a:cubicBezTo>
                      <a:pt x="34" y="0"/>
                      <a:pt x="40" y="3"/>
                      <a:pt x="45" y="10"/>
                    </a:cubicBezTo>
                    <a:cubicBezTo>
                      <a:pt x="49" y="17"/>
                      <a:pt x="52" y="26"/>
                      <a:pt x="52" y="37"/>
                    </a:cubicBezTo>
                    <a:close/>
                    <a:moveTo>
                      <a:pt x="38" y="37"/>
                    </a:moveTo>
                    <a:cubicBezTo>
                      <a:pt x="38" y="30"/>
                      <a:pt x="37" y="24"/>
                      <a:pt x="34" y="19"/>
                    </a:cubicBezTo>
                    <a:cubicBezTo>
                      <a:pt x="32" y="14"/>
                      <a:pt x="29" y="12"/>
                      <a:pt x="26" y="12"/>
                    </a:cubicBezTo>
                    <a:cubicBezTo>
                      <a:pt x="22" y="12"/>
                      <a:pt x="19" y="14"/>
                      <a:pt x="17" y="19"/>
                    </a:cubicBezTo>
                    <a:cubicBezTo>
                      <a:pt x="15" y="24"/>
                      <a:pt x="14" y="30"/>
                      <a:pt x="14" y="37"/>
                    </a:cubicBezTo>
                    <a:cubicBezTo>
                      <a:pt x="14" y="45"/>
                      <a:pt x="15" y="51"/>
                      <a:pt x="17" y="56"/>
                    </a:cubicBezTo>
                    <a:cubicBezTo>
                      <a:pt x="19" y="60"/>
                      <a:pt x="22" y="63"/>
                      <a:pt x="26" y="63"/>
                    </a:cubicBezTo>
                    <a:cubicBezTo>
                      <a:pt x="29" y="63"/>
                      <a:pt x="32" y="61"/>
                      <a:pt x="34"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8" name="Freeform 297"/>
              <p:cNvSpPr>
                <a:spLocks/>
              </p:cNvSpPr>
              <p:nvPr/>
            </p:nvSpPr>
            <p:spPr bwMode="auto">
              <a:xfrm>
                <a:off x="3057486" y="402164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9" name="Freeform 298"/>
              <p:cNvSpPr>
                <a:spLocks/>
              </p:cNvSpPr>
              <p:nvPr/>
            </p:nvSpPr>
            <p:spPr bwMode="auto">
              <a:xfrm>
                <a:off x="3098112" y="402164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1" name="Freeform 310"/>
              <p:cNvSpPr>
                <a:spLocks/>
              </p:cNvSpPr>
              <p:nvPr/>
            </p:nvSpPr>
            <p:spPr bwMode="auto">
              <a:xfrm>
                <a:off x="2424664" y="415939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2" name="Freeform 311"/>
              <p:cNvSpPr>
                <a:spLocks noEditPoints="1"/>
              </p:cNvSpPr>
              <p:nvPr/>
            </p:nvSpPr>
            <p:spPr bwMode="auto">
              <a:xfrm>
                <a:off x="2471540" y="4159390"/>
                <a:ext cx="62501" cy="89224"/>
              </a:xfrm>
              <a:custGeom>
                <a:avLst/>
                <a:gdLst/>
                <a:ahLst/>
                <a:cxnLst>
                  <a:cxn ang="0">
                    <a:pos x="52" y="38"/>
                  </a:cxn>
                  <a:cxn ang="0">
                    <a:pos x="45" y="65"/>
                  </a:cxn>
                  <a:cxn ang="0">
                    <a:pos x="26" y="75"/>
                  </a:cxn>
                  <a:cxn ang="0">
                    <a:pos x="7" y="65"/>
                  </a:cxn>
                  <a:cxn ang="0">
                    <a:pos x="0" y="38"/>
                  </a:cxn>
                  <a:cxn ang="0">
                    <a:pos x="7" y="10"/>
                  </a:cxn>
                  <a:cxn ang="0">
                    <a:pos x="26" y="0"/>
                  </a:cxn>
                  <a:cxn ang="0">
                    <a:pos x="45" y="10"/>
                  </a:cxn>
                  <a:cxn ang="0">
                    <a:pos x="52" y="38"/>
                  </a:cxn>
                  <a:cxn ang="0">
                    <a:pos x="38" y="37"/>
                  </a:cxn>
                  <a:cxn ang="0">
                    <a:pos x="34" y="19"/>
                  </a:cxn>
                  <a:cxn ang="0">
                    <a:pos x="26" y="12"/>
                  </a:cxn>
                  <a:cxn ang="0">
                    <a:pos x="17" y="19"/>
                  </a:cxn>
                  <a:cxn ang="0">
                    <a:pos x="14" y="38"/>
                  </a:cxn>
                  <a:cxn ang="0">
                    <a:pos x="17" y="56"/>
                  </a:cxn>
                  <a:cxn ang="0">
                    <a:pos x="26" y="63"/>
                  </a:cxn>
                  <a:cxn ang="0">
                    <a:pos x="35" y="56"/>
                  </a:cxn>
                  <a:cxn ang="0">
                    <a:pos x="38" y="37"/>
                  </a:cxn>
                </a:cxnLst>
                <a:rect l="0" t="0" r="r" b="b"/>
                <a:pathLst>
                  <a:path w="52" h="75">
                    <a:moveTo>
                      <a:pt x="52" y="38"/>
                    </a:moveTo>
                    <a:cubicBezTo>
                      <a:pt x="52" y="49"/>
                      <a:pt x="49" y="58"/>
                      <a:pt x="45" y="65"/>
                    </a:cubicBezTo>
                    <a:cubicBezTo>
                      <a:pt x="40" y="72"/>
                      <a:pt x="34" y="75"/>
                      <a:pt x="26" y="75"/>
                    </a:cubicBezTo>
                    <a:cubicBezTo>
                      <a:pt x="18" y="75"/>
                      <a:pt x="12" y="72"/>
                      <a:pt x="7" y="65"/>
                    </a:cubicBezTo>
                    <a:cubicBezTo>
                      <a:pt x="2" y="58"/>
                      <a:pt x="0" y="49"/>
                      <a:pt x="0" y="38"/>
                    </a:cubicBezTo>
                    <a:cubicBezTo>
                      <a:pt x="0" y="26"/>
                      <a:pt x="2" y="17"/>
                      <a:pt x="7" y="10"/>
                    </a:cubicBezTo>
                    <a:cubicBezTo>
                      <a:pt x="12" y="3"/>
                      <a:pt x="18" y="0"/>
                      <a:pt x="26" y="0"/>
                    </a:cubicBezTo>
                    <a:cubicBezTo>
                      <a:pt x="34" y="0"/>
                      <a:pt x="40" y="3"/>
                      <a:pt x="45" y="10"/>
                    </a:cubicBezTo>
                    <a:cubicBezTo>
                      <a:pt x="49" y="17"/>
                      <a:pt x="52" y="26"/>
                      <a:pt x="52" y="38"/>
                    </a:cubicBezTo>
                    <a:close/>
                    <a:moveTo>
                      <a:pt x="38" y="37"/>
                    </a:moveTo>
                    <a:cubicBezTo>
                      <a:pt x="38" y="30"/>
                      <a:pt x="37" y="24"/>
                      <a:pt x="34" y="19"/>
                    </a:cubicBezTo>
                    <a:cubicBezTo>
                      <a:pt x="32" y="14"/>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5"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3" name="Freeform 312"/>
              <p:cNvSpPr>
                <a:spLocks/>
              </p:cNvSpPr>
              <p:nvPr/>
            </p:nvSpPr>
            <p:spPr bwMode="auto">
              <a:xfrm>
                <a:off x="2535603" y="4159390"/>
                <a:ext cx="32813" cy="87659"/>
              </a:xfrm>
              <a:custGeom>
                <a:avLst/>
                <a:gdLst/>
                <a:ahLst/>
                <a:cxnLst>
                  <a:cxn ang="0">
                    <a:pos x="21" y="56"/>
                  </a:cxn>
                  <a:cxn ang="0">
                    <a:pos x="11" y="56"/>
                  </a:cxn>
                  <a:cxn ang="0">
                    <a:pos x="11" y="10"/>
                  </a:cxn>
                  <a:cxn ang="0">
                    <a:pos x="0" y="10"/>
                  </a:cxn>
                  <a:cxn ang="0">
                    <a:pos x="5" y="0"/>
                  </a:cxn>
                  <a:cxn ang="0">
                    <a:pos x="21" y="0"/>
                  </a:cxn>
                  <a:cxn ang="0">
                    <a:pos x="21" y="56"/>
                  </a:cxn>
                </a:cxnLst>
                <a:rect l="0" t="0" r="r" b="b"/>
                <a:pathLst>
                  <a:path w="21" h="56">
                    <a:moveTo>
                      <a:pt x="21" y="56"/>
                    </a:moveTo>
                    <a:lnTo>
                      <a:pt x="11" y="56"/>
                    </a:lnTo>
                    <a:lnTo>
                      <a:pt x="11" y="10"/>
                    </a:lnTo>
                    <a:lnTo>
                      <a:pt x="0" y="10"/>
                    </a:lnTo>
                    <a:lnTo>
                      <a:pt x="5"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4" name="Freeform 313"/>
              <p:cNvSpPr>
                <a:spLocks/>
              </p:cNvSpPr>
              <p:nvPr/>
            </p:nvSpPr>
            <p:spPr bwMode="auto">
              <a:xfrm>
                <a:off x="2576229" y="415939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5" name="Freeform 314"/>
              <p:cNvSpPr>
                <a:spLocks/>
              </p:cNvSpPr>
              <p:nvPr/>
            </p:nvSpPr>
            <p:spPr bwMode="auto">
              <a:xfrm>
                <a:off x="2616855" y="415939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6" name="Freeform 315"/>
              <p:cNvSpPr>
                <a:spLocks/>
              </p:cNvSpPr>
              <p:nvPr/>
            </p:nvSpPr>
            <p:spPr bwMode="auto">
              <a:xfrm>
                <a:off x="2657480" y="415939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7" name="Freeform 316"/>
              <p:cNvSpPr>
                <a:spLocks noEditPoints="1"/>
              </p:cNvSpPr>
              <p:nvPr/>
            </p:nvSpPr>
            <p:spPr bwMode="auto">
              <a:xfrm>
                <a:off x="2704356" y="4159390"/>
                <a:ext cx="62501" cy="89224"/>
              </a:xfrm>
              <a:custGeom>
                <a:avLst/>
                <a:gdLst/>
                <a:ahLst/>
                <a:cxnLst>
                  <a:cxn ang="0">
                    <a:pos x="52" y="38"/>
                  </a:cxn>
                  <a:cxn ang="0">
                    <a:pos x="44" y="65"/>
                  </a:cxn>
                  <a:cxn ang="0">
                    <a:pos x="26" y="75"/>
                  </a:cxn>
                  <a:cxn ang="0">
                    <a:pos x="7" y="65"/>
                  </a:cxn>
                  <a:cxn ang="0">
                    <a:pos x="0" y="38"/>
                  </a:cxn>
                  <a:cxn ang="0">
                    <a:pos x="7" y="10"/>
                  </a:cxn>
                  <a:cxn ang="0">
                    <a:pos x="26" y="0"/>
                  </a:cxn>
                  <a:cxn ang="0">
                    <a:pos x="45" y="10"/>
                  </a:cxn>
                  <a:cxn ang="0">
                    <a:pos x="52" y="38"/>
                  </a:cxn>
                  <a:cxn ang="0">
                    <a:pos x="38" y="37"/>
                  </a:cxn>
                  <a:cxn ang="0">
                    <a:pos x="34" y="19"/>
                  </a:cxn>
                  <a:cxn ang="0">
                    <a:pos x="26" y="12"/>
                  </a:cxn>
                  <a:cxn ang="0">
                    <a:pos x="17" y="19"/>
                  </a:cxn>
                  <a:cxn ang="0">
                    <a:pos x="14" y="38"/>
                  </a:cxn>
                  <a:cxn ang="0">
                    <a:pos x="17" y="56"/>
                  </a:cxn>
                  <a:cxn ang="0">
                    <a:pos x="26" y="63"/>
                  </a:cxn>
                  <a:cxn ang="0">
                    <a:pos x="34" y="56"/>
                  </a:cxn>
                  <a:cxn ang="0">
                    <a:pos x="38" y="37"/>
                  </a:cxn>
                </a:cxnLst>
                <a:rect l="0" t="0" r="r" b="b"/>
                <a:pathLst>
                  <a:path w="52" h="75">
                    <a:moveTo>
                      <a:pt x="52" y="38"/>
                    </a:moveTo>
                    <a:cubicBezTo>
                      <a:pt x="52" y="49"/>
                      <a:pt x="49" y="58"/>
                      <a:pt x="44" y="65"/>
                    </a:cubicBezTo>
                    <a:cubicBezTo>
                      <a:pt x="40" y="72"/>
                      <a:pt x="33" y="75"/>
                      <a:pt x="26" y="75"/>
                    </a:cubicBezTo>
                    <a:cubicBezTo>
                      <a:pt x="18" y="75"/>
                      <a:pt x="12" y="72"/>
                      <a:pt x="7" y="65"/>
                    </a:cubicBezTo>
                    <a:cubicBezTo>
                      <a:pt x="2" y="58"/>
                      <a:pt x="0" y="49"/>
                      <a:pt x="0" y="38"/>
                    </a:cubicBezTo>
                    <a:cubicBezTo>
                      <a:pt x="0" y="26"/>
                      <a:pt x="2" y="17"/>
                      <a:pt x="7" y="10"/>
                    </a:cubicBezTo>
                    <a:cubicBezTo>
                      <a:pt x="12" y="3"/>
                      <a:pt x="18" y="0"/>
                      <a:pt x="26" y="0"/>
                    </a:cubicBezTo>
                    <a:cubicBezTo>
                      <a:pt x="34" y="0"/>
                      <a:pt x="40" y="3"/>
                      <a:pt x="45" y="10"/>
                    </a:cubicBezTo>
                    <a:cubicBezTo>
                      <a:pt x="49" y="17"/>
                      <a:pt x="52" y="26"/>
                      <a:pt x="52" y="38"/>
                    </a:cubicBezTo>
                    <a:close/>
                    <a:moveTo>
                      <a:pt x="38" y="37"/>
                    </a:moveTo>
                    <a:cubicBezTo>
                      <a:pt x="38" y="30"/>
                      <a:pt x="37" y="24"/>
                      <a:pt x="34" y="19"/>
                    </a:cubicBezTo>
                    <a:cubicBezTo>
                      <a:pt x="32" y="14"/>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4"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8" name="Freeform 317"/>
              <p:cNvSpPr>
                <a:spLocks noEditPoints="1"/>
              </p:cNvSpPr>
              <p:nvPr/>
            </p:nvSpPr>
            <p:spPr bwMode="auto">
              <a:xfrm>
                <a:off x="2771544" y="4159390"/>
                <a:ext cx="62501" cy="89224"/>
              </a:xfrm>
              <a:custGeom>
                <a:avLst/>
                <a:gdLst/>
                <a:ahLst/>
                <a:cxnLst>
                  <a:cxn ang="0">
                    <a:pos x="52" y="38"/>
                  </a:cxn>
                  <a:cxn ang="0">
                    <a:pos x="45" y="65"/>
                  </a:cxn>
                  <a:cxn ang="0">
                    <a:pos x="26" y="75"/>
                  </a:cxn>
                  <a:cxn ang="0">
                    <a:pos x="7" y="65"/>
                  </a:cxn>
                  <a:cxn ang="0">
                    <a:pos x="0" y="38"/>
                  </a:cxn>
                  <a:cxn ang="0">
                    <a:pos x="7" y="10"/>
                  </a:cxn>
                  <a:cxn ang="0">
                    <a:pos x="26" y="0"/>
                  </a:cxn>
                  <a:cxn ang="0">
                    <a:pos x="45" y="10"/>
                  </a:cxn>
                  <a:cxn ang="0">
                    <a:pos x="52" y="38"/>
                  </a:cxn>
                  <a:cxn ang="0">
                    <a:pos x="38" y="37"/>
                  </a:cxn>
                  <a:cxn ang="0">
                    <a:pos x="35" y="19"/>
                  </a:cxn>
                  <a:cxn ang="0">
                    <a:pos x="26" y="12"/>
                  </a:cxn>
                  <a:cxn ang="0">
                    <a:pos x="18" y="19"/>
                  </a:cxn>
                  <a:cxn ang="0">
                    <a:pos x="14" y="38"/>
                  </a:cxn>
                  <a:cxn ang="0">
                    <a:pos x="18" y="56"/>
                  </a:cxn>
                  <a:cxn ang="0">
                    <a:pos x="26" y="63"/>
                  </a:cxn>
                  <a:cxn ang="0">
                    <a:pos x="35" y="56"/>
                  </a:cxn>
                  <a:cxn ang="0">
                    <a:pos x="38" y="37"/>
                  </a:cxn>
                </a:cxnLst>
                <a:rect l="0" t="0" r="r" b="b"/>
                <a:pathLst>
                  <a:path w="52" h="75">
                    <a:moveTo>
                      <a:pt x="52" y="38"/>
                    </a:moveTo>
                    <a:cubicBezTo>
                      <a:pt x="52" y="49"/>
                      <a:pt x="50" y="58"/>
                      <a:pt x="45" y="65"/>
                    </a:cubicBezTo>
                    <a:cubicBezTo>
                      <a:pt x="40" y="72"/>
                      <a:pt x="34" y="75"/>
                      <a:pt x="26" y="75"/>
                    </a:cubicBezTo>
                    <a:cubicBezTo>
                      <a:pt x="18" y="75"/>
                      <a:pt x="12" y="72"/>
                      <a:pt x="7" y="65"/>
                    </a:cubicBezTo>
                    <a:cubicBezTo>
                      <a:pt x="3" y="58"/>
                      <a:pt x="0" y="49"/>
                      <a:pt x="0" y="38"/>
                    </a:cubicBezTo>
                    <a:cubicBezTo>
                      <a:pt x="0" y="26"/>
                      <a:pt x="3" y="17"/>
                      <a:pt x="7" y="10"/>
                    </a:cubicBezTo>
                    <a:cubicBezTo>
                      <a:pt x="12" y="3"/>
                      <a:pt x="18" y="0"/>
                      <a:pt x="26" y="0"/>
                    </a:cubicBezTo>
                    <a:cubicBezTo>
                      <a:pt x="34" y="0"/>
                      <a:pt x="40" y="3"/>
                      <a:pt x="45" y="10"/>
                    </a:cubicBezTo>
                    <a:cubicBezTo>
                      <a:pt x="50" y="17"/>
                      <a:pt x="52" y="26"/>
                      <a:pt x="52" y="38"/>
                    </a:cubicBezTo>
                    <a:close/>
                    <a:moveTo>
                      <a:pt x="38" y="37"/>
                    </a:moveTo>
                    <a:cubicBezTo>
                      <a:pt x="38" y="30"/>
                      <a:pt x="37" y="24"/>
                      <a:pt x="35" y="19"/>
                    </a:cubicBezTo>
                    <a:cubicBezTo>
                      <a:pt x="33" y="14"/>
                      <a:pt x="30" y="12"/>
                      <a:pt x="26" y="12"/>
                    </a:cubicBezTo>
                    <a:cubicBezTo>
                      <a:pt x="23" y="12"/>
                      <a:pt x="20" y="15"/>
                      <a:pt x="18" y="19"/>
                    </a:cubicBezTo>
                    <a:cubicBezTo>
                      <a:pt x="15" y="24"/>
                      <a:pt x="14" y="30"/>
                      <a:pt x="14" y="38"/>
                    </a:cubicBezTo>
                    <a:cubicBezTo>
                      <a:pt x="14" y="45"/>
                      <a:pt x="15" y="51"/>
                      <a:pt x="18" y="56"/>
                    </a:cubicBezTo>
                    <a:cubicBezTo>
                      <a:pt x="20" y="61"/>
                      <a:pt x="23" y="63"/>
                      <a:pt x="26" y="63"/>
                    </a:cubicBezTo>
                    <a:cubicBezTo>
                      <a:pt x="30" y="63"/>
                      <a:pt x="33" y="61"/>
                      <a:pt x="35"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9" name="Freeform 318"/>
              <p:cNvSpPr>
                <a:spLocks/>
              </p:cNvSpPr>
              <p:nvPr/>
            </p:nvSpPr>
            <p:spPr bwMode="auto">
              <a:xfrm>
                <a:off x="2835608" y="415939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400" name="Freeform 319"/>
              <p:cNvSpPr>
                <a:spLocks noEditPoints="1"/>
              </p:cNvSpPr>
              <p:nvPr/>
            </p:nvSpPr>
            <p:spPr bwMode="auto">
              <a:xfrm>
                <a:off x="2882484" y="4159390"/>
                <a:ext cx="62501" cy="89224"/>
              </a:xfrm>
              <a:custGeom>
                <a:avLst/>
                <a:gdLst/>
                <a:ahLst/>
                <a:cxnLst>
                  <a:cxn ang="0">
                    <a:pos x="51" y="38"/>
                  </a:cxn>
                  <a:cxn ang="0">
                    <a:pos x="44" y="65"/>
                  </a:cxn>
                  <a:cxn ang="0">
                    <a:pos x="25" y="75"/>
                  </a:cxn>
                  <a:cxn ang="0">
                    <a:pos x="7" y="65"/>
                  </a:cxn>
                  <a:cxn ang="0">
                    <a:pos x="0" y="38"/>
                  </a:cxn>
                  <a:cxn ang="0">
                    <a:pos x="7" y="10"/>
                  </a:cxn>
                  <a:cxn ang="0">
                    <a:pos x="25" y="0"/>
                  </a:cxn>
                  <a:cxn ang="0">
                    <a:pos x="44" y="10"/>
                  </a:cxn>
                  <a:cxn ang="0">
                    <a:pos x="51" y="38"/>
                  </a:cxn>
                  <a:cxn ang="0">
                    <a:pos x="38" y="37"/>
                  </a:cxn>
                  <a:cxn ang="0">
                    <a:pos x="34" y="19"/>
                  </a:cxn>
                  <a:cxn ang="0">
                    <a:pos x="25" y="12"/>
                  </a:cxn>
                  <a:cxn ang="0">
                    <a:pos x="17" y="19"/>
                  </a:cxn>
                  <a:cxn ang="0">
                    <a:pos x="14" y="38"/>
                  </a:cxn>
                  <a:cxn ang="0">
                    <a:pos x="17" y="56"/>
                  </a:cxn>
                  <a:cxn ang="0">
                    <a:pos x="25" y="63"/>
                  </a:cxn>
                  <a:cxn ang="0">
                    <a:pos x="34" y="56"/>
                  </a:cxn>
                  <a:cxn ang="0">
                    <a:pos x="38" y="37"/>
                  </a:cxn>
                </a:cxnLst>
                <a:rect l="0" t="0" r="r" b="b"/>
                <a:pathLst>
                  <a:path w="51" h="75">
                    <a:moveTo>
                      <a:pt x="51" y="38"/>
                    </a:moveTo>
                    <a:cubicBezTo>
                      <a:pt x="51" y="49"/>
                      <a:pt x="49" y="58"/>
                      <a:pt x="44" y="65"/>
                    </a:cubicBezTo>
                    <a:cubicBezTo>
                      <a:pt x="40" y="72"/>
                      <a:pt x="33" y="75"/>
                      <a:pt x="25" y="75"/>
                    </a:cubicBezTo>
                    <a:cubicBezTo>
                      <a:pt x="18" y="75"/>
                      <a:pt x="11" y="72"/>
                      <a:pt x="7" y="65"/>
                    </a:cubicBezTo>
                    <a:cubicBezTo>
                      <a:pt x="2" y="58"/>
                      <a:pt x="0" y="49"/>
                      <a:pt x="0" y="38"/>
                    </a:cubicBezTo>
                    <a:cubicBezTo>
                      <a:pt x="0" y="26"/>
                      <a:pt x="2" y="17"/>
                      <a:pt x="7" y="10"/>
                    </a:cubicBezTo>
                    <a:cubicBezTo>
                      <a:pt x="11" y="3"/>
                      <a:pt x="18" y="0"/>
                      <a:pt x="25" y="0"/>
                    </a:cubicBezTo>
                    <a:cubicBezTo>
                      <a:pt x="33" y="0"/>
                      <a:pt x="40" y="3"/>
                      <a:pt x="44" y="10"/>
                    </a:cubicBezTo>
                    <a:cubicBezTo>
                      <a:pt x="49" y="17"/>
                      <a:pt x="51" y="26"/>
                      <a:pt x="51" y="38"/>
                    </a:cubicBezTo>
                    <a:close/>
                    <a:moveTo>
                      <a:pt x="38" y="37"/>
                    </a:moveTo>
                    <a:cubicBezTo>
                      <a:pt x="38" y="30"/>
                      <a:pt x="36" y="24"/>
                      <a:pt x="34" y="19"/>
                    </a:cubicBezTo>
                    <a:cubicBezTo>
                      <a:pt x="32" y="14"/>
                      <a:pt x="29" y="12"/>
                      <a:pt x="25" y="12"/>
                    </a:cubicBezTo>
                    <a:cubicBezTo>
                      <a:pt x="22" y="12"/>
                      <a:pt x="19" y="15"/>
                      <a:pt x="17" y="19"/>
                    </a:cubicBezTo>
                    <a:cubicBezTo>
                      <a:pt x="15" y="24"/>
                      <a:pt x="14" y="30"/>
                      <a:pt x="14" y="38"/>
                    </a:cubicBezTo>
                    <a:cubicBezTo>
                      <a:pt x="14" y="45"/>
                      <a:pt x="15" y="51"/>
                      <a:pt x="17" y="56"/>
                    </a:cubicBezTo>
                    <a:cubicBezTo>
                      <a:pt x="19" y="61"/>
                      <a:pt x="22" y="63"/>
                      <a:pt x="25" y="63"/>
                    </a:cubicBezTo>
                    <a:cubicBezTo>
                      <a:pt x="29" y="63"/>
                      <a:pt x="32" y="61"/>
                      <a:pt x="34" y="56"/>
                    </a:cubicBezTo>
                    <a:cubicBezTo>
                      <a:pt x="36"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401" name="Freeform 320"/>
              <p:cNvSpPr>
                <a:spLocks/>
              </p:cNvSpPr>
              <p:nvPr/>
            </p:nvSpPr>
            <p:spPr bwMode="auto">
              <a:xfrm>
                <a:off x="2944985" y="4159390"/>
                <a:ext cx="34376" cy="87659"/>
              </a:xfrm>
              <a:custGeom>
                <a:avLst/>
                <a:gdLst/>
                <a:ahLst/>
                <a:cxnLst>
                  <a:cxn ang="0">
                    <a:pos x="22" y="56"/>
                  </a:cxn>
                  <a:cxn ang="0">
                    <a:pos x="11" y="56"/>
                  </a:cxn>
                  <a:cxn ang="0">
                    <a:pos x="11" y="10"/>
                  </a:cxn>
                  <a:cxn ang="0">
                    <a:pos x="0" y="10"/>
                  </a:cxn>
                  <a:cxn ang="0">
                    <a:pos x="5" y="0"/>
                  </a:cxn>
                  <a:cxn ang="0">
                    <a:pos x="22" y="0"/>
                  </a:cxn>
                  <a:cxn ang="0">
                    <a:pos x="22" y="56"/>
                  </a:cxn>
                </a:cxnLst>
                <a:rect l="0" t="0" r="r" b="b"/>
                <a:pathLst>
                  <a:path w="22" h="56">
                    <a:moveTo>
                      <a:pt x="22" y="56"/>
                    </a:moveTo>
                    <a:lnTo>
                      <a:pt x="11" y="56"/>
                    </a:lnTo>
                    <a:lnTo>
                      <a:pt x="11" y="10"/>
                    </a:lnTo>
                    <a:lnTo>
                      <a:pt x="0" y="10"/>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402" name="Freeform 321"/>
              <p:cNvSpPr>
                <a:spLocks noEditPoints="1"/>
              </p:cNvSpPr>
              <p:nvPr/>
            </p:nvSpPr>
            <p:spPr bwMode="auto">
              <a:xfrm>
                <a:off x="2993423" y="4159390"/>
                <a:ext cx="62501" cy="89224"/>
              </a:xfrm>
              <a:custGeom>
                <a:avLst/>
                <a:gdLst/>
                <a:ahLst/>
                <a:cxnLst>
                  <a:cxn ang="0">
                    <a:pos x="52" y="38"/>
                  </a:cxn>
                  <a:cxn ang="0">
                    <a:pos x="44" y="65"/>
                  </a:cxn>
                  <a:cxn ang="0">
                    <a:pos x="26" y="75"/>
                  </a:cxn>
                  <a:cxn ang="0">
                    <a:pos x="7" y="65"/>
                  </a:cxn>
                  <a:cxn ang="0">
                    <a:pos x="0" y="38"/>
                  </a:cxn>
                  <a:cxn ang="0">
                    <a:pos x="7" y="10"/>
                  </a:cxn>
                  <a:cxn ang="0">
                    <a:pos x="26" y="0"/>
                  </a:cxn>
                  <a:cxn ang="0">
                    <a:pos x="45" y="10"/>
                  </a:cxn>
                  <a:cxn ang="0">
                    <a:pos x="52" y="38"/>
                  </a:cxn>
                  <a:cxn ang="0">
                    <a:pos x="38" y="37"/>
                  </a:cxn>
                  <a:cxn ang="0">
                    <a:pos x="34" y="19"/>
                  </a:cxn>
                  <a:cxn ang="0">
                    <a:pos x="26" y="12"/>
                  </a:cxn>
                  <a:cxn ang="0">
                    <a:pos x="17" y="19"/>
                  </a:cxn>
                  <a:cxn ang="0">
                    <a:pos x="14" y="38"/>
                  </a:cxn>
                  <a:cxn ang="0">
                    <a:pos x="17" y="56"/>
                  </a:cxn>
                  <a:cxn ang="0">
                    <a:pos x="26" y="63"/>
                  </a:cxn>
                  <a:cxn ang="0">
                    <a:pos x="34" y="56"/>
                  </a:cxn>
                  <a:cxn ang="0">
                    <a:pos x="38" y="37"/>
                  </a:cxn>
                </a:cxnLst>
                <a:rect l="0" t="0" r="r" b="b"/>
                <a:pathLst>
                  <a:path w="52" h="75">
                    <a:moveTo>
                      <a:pt x="52" y="38"/>
                    </a:moveTo>
                    <a:cubicBezTo>
                      <a:pt x="52" y="49"/>
                      <a:pt x="49" y="58"/>
                      <a:pt x="44" y="65"/>
                    </a:cubicBezTo>
                    <a:cubicBezTo>
                      <a:pt x="40" y="72"/>
                      <a:pt x="33" y="75"/>
                      <a:pt x="26" y="75"/>
                    </a:cubicBezTo>
                    <a:cubicBezTo>
                      <a:pt x="18" y="75"/>
                      <a:pt x="12" y="72"/>
                      <a:pt x="7" y="65"/>
                    </a:cubicBezTo>
                    <a:cubicBezTo>
                      <a:pt x="2" y="58"/>
                      <a:pt x="0" y="49"/>
                      <a:pt x="0" y="38"/>
                    </a:cubicBezTo>
                    <a:cubicBezTo>
                      <a:pt x="0" y="26"/>
                      <a:pt x="2" y="17"/>
                      <a:pt x="7" y="10"/>
                    </a:cubicBezTo>
                    <a:cubicBezTo>
                      <a:pt x="12" y="3"/>
                      <a:pt x="18" y="0"/>
                      <a:pt x="26" y="0"/>
                    </a:cubicBezTo>
                    <a:cubicBezTo>
                      <a:pt x="34" y="0"/>
                      <a:pt x="40" y="3"/>
                      <a:pt x="45" y="10"/>
                    </a:cubicBezTo>
                    <a:cubicBezTo>
                      <a:pt x="49" y="17"/>
                      <a:pt x="52" y="26"/>
                      <a:pt x="52" y="38"/>
                    </a:cubicBezTo>
                    <a:close/>
                    <a:moveTo>
                      <a:pt x="38" y="37"/>
                    </a:moveTo>
                    <a:cubicBezTo>
                      <a:pt x="38" y="30"/>
                      <a:pt x="37" y="24"/>
                      <a:pt x="34" y="19"/>
                    </a:cubicBezTo>
                    <a:cubicBezTo>
                      <a:pt x="32" y="14"/>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4"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403" name="Freeform 322"/>
              <p:cNvSpPr>
                <a:spLocks/>
              </p:cNvSpPr>
              <p:nvPr/>
            </p:nvSpPr>
            <p:spPr bwMode="auto">
              <a:xfrm>
                <a:off x="3057486" y="415939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404" name="Freeform 323"/>
              <p:cNvSpPr>
                <a:spLocks/>
              </p:cNvSpPr>
              <p:nvPr/>
            </p:nvSpPr>
            <p:spPr bwMode="auto">
              <a:xfrm>
                <a:off x="3098112" y="415939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grpSp>
        <p:sp>
          <p:nvSpPr>
            <p:cNvPr id="431" name="Right Arrow 430"/>
            <p:cNvSpPr/>
            <p:nvPr/>
          </p:nvSpPr>
          <p:spPr>
            <a:xfrm rot="5400000">
              <a:off x="4596424" y="2103395"/>
              <a:ext cx="1036557" cy="312517"/>
            </a:xfrm>
            <a:prstGeom prst="rightArrow">
              <a:avLst>
                <a:gd name="adj1" fmla="val 42593"/>
                <a:gd name="adj2" fmla="val 87037"/>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微软雅黑" pitchFamily="34" charset="-122"/>
                <a:ea typeface="微软雅黑" pitchFamily="34" charset="-122"/>
              </a:endParaRPr>
            </a:p>
          </p:txBody>
        </p:sp>
        <p:grpSp>
          <p:nvGrpSpPr>
            <p:cNvPr id="265" name="Group 264"/>
            <p:cNvGrpSpPr/>
            <p:nvPr/>
          </p:nvGrpSpPr>
          <p:grpSpPr>
            <a:xfrm>
              <a:off x="4592950" y="1949920"/>
              <a:ext cx="1043504" cy="321946"/>
              <a:chOff x="161386" y="1052961"/>
              <a:chExt cx="314542" cy="387627"/>
            </a:xfrm>
          </p:grpSpPr>
          <p:sp>
            <p:nvSpPr>
              <p:cNvPr id="266" name="Round Diagonal Corner Rectangle 265"/>
              <p:cNvSpPr/>
              <p:nvPr/>
            </p:nvSpPr>
            <p:spPr>
              <a:xfrm flipV="1">
                <a:off x="171035" y="1052961"/>
                <a:ext cx="291924" cy="387627"/>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00" dirty="0">
                  <a:latin typeface="微软雅黑" pitchFamily="34" charset="-122"/>
                  <a:ea typeface="微软雅黑" pitchFamily="34" charset="-122"/>
                </a:endParaRPr>
              </a:p>
            </p:txBody>
          </p:sp>
          <p:sp>
            <p:nvSpPr>
              <p:cNvPr id="267" name="Round Diagonal Corner Rectangle 266"/>
              <p:cNvSpPr/>
              <p:nvPr/>
            </p:nvSpPr>
            <p:spPr>
              <a:xfrm>
                <a:off x="161386" y="1052962"/>
                <a:ext cx="314542" cy="387626"/>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2300" dirty="0">
                    <a:latin typeface="微软雅黑" pitchFamily="34" charset="-122"/>
                    <a:ea typeface="微软雅黑" pitchFamily="34" charset="-122"/>
                  </a:rPr>
                  <a:t>发现</a:t>
                </a:r>
                <a:endParaRPr lang="en-US" sz="2300" dirty="0">
                  <a:latin typeface="微软雅黑" pitchFamily="34" charset="-122"/>
                  <a:ea typeface="微软雅黑" pitchFamily="34" charset="-122"/>
                </a:endParaRPr>
              </a:p>
            </p:txBody>
          </p:sp>
        </p:grpSp>
      </p:grpSp>
      <p:sp>
        <p:nvSpPr>
          <p:cNvPr id="3" name="Title 2"/>
          <p:cNvSpPr>
            <a:spLocks noGrp="1"/>
          </p:cNvSpPr>
          <p:nvPr>
            <p:ph type="title"/>
          </p:nvPr>
        </p:nvSpPr>
        <p:spPr>
          <a:xfrm>
            <a:off x="497909" y="351028"/>
            <a:ext cx="12513487" cy="612817"/>
          </a:xfrm>
        </p:spPr>
        <p:txBody>
          <a:bodyPr/>
          <a:lstStyle/>
          <a:p>
            <a:r>
              <a:rPr lang="zh-CN" altLang="en-US" dirty="0" smtClean="0">
                <a:solidFill>
                  <a:srgbClr val="C00000"/>
                </a:solidFill>
                <a:latin typeface="微软雅黑" pitchFamily="34" charset="-122"/>
                <a:ea typeface="微软雅黑" pitchFamily="34" charset="-122"/>
              </a:rPr>
              <a:t>如何应对新型的信息安全攻击</a:t>
            </a:r>
            <a:endParaRPr lang="en-US" b="0" dirty="0">
              <a:solidFill>
                <a:srgbClr val="C00000"/>
              </a:solidFill>
              <a:latin typeface="微软雅黑" pitchFamily="34" charset="-122"/>
              <a:ea typeface="微软雅黑" pitchFamily="34" charset="-122"/>
            </a:endParaRPr>
          </a:p>
        </p:txBody>
      </p:sp>
      <p:grpSp>
        <p:nvGrpSpPr>
          <p:cNvPr id="239" name="Group 105"/>
          <p:cNvGrpSpPr>
            <a:grpSpLocks/>
          </p:cNvGrpSpPr>
          <p:nvPr/>
        </p:nvGrpSpPr>
        <p:grpSpPr bwMode="auto">
          <a:xfrm>
            <a:off x="5470361" y="7480640"/>
            <a:ext cx="725602" cy="997507"/>
            <a:chOff x="7162800" y="1447800"/>
            <a:chExt cx="877888" cy="1328738"/>
          </a:xfrm>
          <a:solidFill>
            <a:schemeClr val="accent5"/>
          </a:solidFill>
        </p:grpSpPr>
        <p:sp>
          <p:nvSpPr>
            <p:cNvPr id="243" name="Freeform 191"/>
            <p:cNvSpPr>
              <a:spLocks/>
            </p:cNvSpPr>
            <p:nvPr/>
          </p:nvSpPr>
          <p:spPr bwMode="auto">
            <a:xfrm>
              <a:off x="7208838" y="1981200"/>
              <a:ext cx="488950" cy="500062"/>
            </a:xfrm>
            <a:custGeom>
              <a:avLst/>
              <a:gdLst>
                <a:gd name="T0" fmla="*/ 22742 w 43"/>
                <a:gd name="T1" fmla="*/ 465967 h 44"/>
                <a:gd name="T2" fmla="*/ 22742 w 43"/>
                <a:gd name="T3" fmla="*/ 431872 h 44"/>
                <a:gd name="T4" fmla="*/ 22742 w 43"/>
                <a:gd name="T5" fmla="*/ 431872 h 44"/>
                <a:gd name="T6" fmla="*/ 45484 w 43"/>
                <a:gd name="T7" fmla="*/ 431872 h 44"/>
                <a:gd name="T8" fmla="*/ 45484 w 43"/>
                <a:gd name="T9" fmla="*/ 431872 h 44"/>
                <a:gd name="T10" fmla="*/ 159193 w 43"/>
                <a:gd name="T11" fmla="*/ 454602 h 44"/>
                <a:gd name="T12" fmla="*/ 159193 w 43"/>
                <a:gd name="T13" fmla="*/ 454602 h 44"/>
                <a:gd name="T14" fmla="*/ 261531 w 43"/>
                <a:gd name="T15" fmla="*/ 443237 h 44"/>
                <a:gd name="T16" fmla="*/ 261531 w 43"/>
                <a:gd name="T17" fmla="*/ 443237 h 44"/>
                <a:gd name="T18" fmla="*/ 386612 w 43"/>
                <a:gd name="T19" fmla="*/ 329586 h 44"/>
                <a:gd name="T20" fmla="*/ 386612 w 43"/>
                <a:gd name="T21" fmla="*/ 329586 h 44"/>
                <a:gd name="T22" fmla="*/ 443466 w 43"/>
                <a:gd name="T23" fmla="*/ 204571 h 44"/>
                <a:gd name="T24" fmla="*/ 443466 w 43"/>
                <a:gd name="T25" fmla="*/ 204571 h 44"/>
                <a:gd name="T26" fmla="*/ 443466 w 43"/>
                <a:gd name="T27" fmla="*/ 181841 h 44"/>
                <a:gd name="T28" fmla="*/ 443466 w 43"/>
                <a:gd name="T29" fmla="*/ 181841 h 44"/>
                <a:gd name="T30" fmla="*/ 420724 w 43"/>
                <a:gd name="T31" fmla="*/ 90920 h 44"/>
                <a:gd name="T32" fmla="*/ 420724 w 43"/>
                <a:gd name="T33" fmla="*/ 90920 h 44"/>
                <a:gd name="T34" fmla="*/ 363870 w 43"/>
                <a:gd name="T35" fmla="*/ 45460 h 44"/>
                <a:gd name="T36" fmla="*/ 363870 w 43"/>
                <a:gd name="T37" fmla="*/ 45460 h 44"/>
                <a:gd name="T38" fmla="*/ 341128 w 43"/>
                <a:gd name="T39" fmla="*/ 56825 h 44"/>
                <a:gd name="T40" fmla="*/ 341128 w 43"/>
                <a:gd name="T41" fmla="*/ 56825 h 44"/>
                <a:gd name="T42" fmla="*/ 159193 w 43"/>
                <a:gd name="T43" fmla="*/ 215936 h 44"/>
                <a:gd name="T44" fmla="*/ 159193 w 43"/>
                <a:gd name="T45" fmla="*/ 215936 h 44"/>
                <a:gd name="T46" fmla="*/ 45484 w 43"/>
                <a:gd name="T47" fmla="*/ 397777 h 44"/>
                <a:gd name="T48" fmla="*/ 45484 w 43"/>
                <a:gd name="T49" fmla="*/ 397777 h 44"/>
                <a:gd name="T50" fmla="*/ 45484 w 43"/>
                <a:gd name="T51" fmla="*/ 397777 h 44"/>
                <a:gd name="T52" fmla="*/ 11371 w 43"/>
                <a:gd name="T53" fmla="*/ 397777 h 44"/>
                <a:gd name="T54" fmla="*/ 11371 w 43"/>
                <a:gd name="T55" fmla="*/ 397777 h 44"/>
                <a:gd name="T56" fmla="*/ 11371 w 43"/>
                <a:gd name="T57" fmla="*/ 363682 h 44"/>
                <a:gd name="T58" fmla="*/ 11371 w 43"/>
                <a:gd name="T59" fmla="*/ 363682 h 44"/>
                <a:gd name="T60" fmla="*/ 125080 w 43"/>
                <a:gd name="T61" fmla="*/ 193206 h 44"/>
                <a:gd name="T62" fmla="*/ 125080 w 43"/>
                <a:gd name="T63" fmla="*/ 193206 h 44"/>
                <a:gd name="T64" fmla="*/ 318386 w 43"/>
                <a:gd name="T65" fmla="*/ 11365 h 44"/>
                <a:gd name="T66" fmla="*/ 318386 w 43"/>
                <a:gd name="T67" fmla="*/ 11365 h 44"/>
                <a:gd name="T68" fmla="*/ 363870 w 43"/>
                <a:gd name="T69" fmla="*/ 0 h 44"/>
                <a:gd name="T70" fmla="*/ 363870 w 43"/>
                <a:gd name="T71" fmla="*/ 0 h 44"/>
                <a:gd name="T72" fmla="*/ 466208 w 43"/>
                <a:gd name="T73" fmla="*/ 68190 h 44"/>
                <a:gd name="T74" fmla="*/ 466208 w 43"/>
                <a:gd name="T75" fmla="*/ 68190 h 44"/>
                <a:gd name="T76" fmla="*/ 488950 w 43"/>
                <a:gd name="T77" fmla="*/ 181841 h 44"/>
                <a:gd name="T78" fmla="*/ 488950 w 43"/>
                <a:gd name="T79" fmla="*/ 181841 h 44"/>
                <a:gd name="T80" fmla="*/ 488950 w 43"/>
                <a:gd name="T81" fmla="*/ 204571 h 44"/>
                <a:gd name="T82" fmla="*/ 488950 w 43"/>
                <a:gd name="T83" fmla="*/ 204571 h 44"/>
                <a:gd name="T84" fmla="*/ 420724 w 43"/>
                <a:gd name="T85" fmla="*/ 363682 h 44"/>
                <a:gd name="T86" fmla="*/ 420724 w 43"/>
                <a:gd name="T87" fmla="*/ 363682 h 44"/>
                <a:gd name="T88" fmla="*/ 284273 w 43"/>
                <a:gd name="T89" fmla="*/ 477332 h 44"/>
                <a:gd name="T90" fmla="*/ 284273 w 43"/>
                <a:gd name="T91" fmla="*/ 477332 h 44"/>
                <a:gd name="T92" fmla="*/ 159193 w 43"/>
                <a:gd name="T93" fmla="*/ 500062 h 44"/>
                <a:gd name="T94" fmla="*/ 159193 w 43"/>
                <a:gd name="T95" fmla="*/ 500062 h 44"/>
                <a:gd name="T96" fmla="*/ 22742 w 43"/>
                <a:gd name="T97" fmla="*/ 465967 h 4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44"/>
                <a:gd name="T149" fmla="*/ 43 w 43"/>
                <a:gd name="T150" fmla="*/ 44 h 4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44">
                  <a:moveTo>
                    <a:pt x="2" y="41"/>
                  </a:moveTo>
                  <a:cubicBezTo>
                    <a:pt x="1" y="40"/>
                    <a:pt x="1" y="39"/>
                    <a:pt x="2" y="38"/>
                  </a:cubicBezTo>
                  <a:cubicBezTo>
                    <a:pt x="2" y="38"/>
                    <a:pt x="2" y="38"/>
                    <a:pt x="2" y="38"/>
                  </a:cubicBezTo>
                  <a:cubicBezTo>
                    <a:pt x="2" y="37"/>
                    <a:pt x="4" y="37"/>
                    <a:pt x="4" y="38"/>
                  </a:cubicBezTo>
                  <a:cubicBezTo>
                    <a:pt x="4" y="38"/>
                    <a:pt x="4" y="38"/>
                    <a:pt x="4" y="38"/>
                  </a:cubicBezTo>
                  <a:cubicBezTo>
                    <a:pt x="6" y="39"/>
                    <a:pt x="10" y="40"/>
                    <a:pt x="14" y="40"/>
                  </a:cubicBezTo>
                  <a:cubicBezTo>
                    <a:pt x="14" y="40"/>
                    <a:pt x="14" y="40"/>
                    <a:pt x="14" y="40"/>
                  </a:cubicBezTo>
                  <a:cubicBezTo>
                    <a:pt x="17" y="40"/>
                    <a:pt x="21" y="39"/>
                    <a:pt x="23" y="39"/>
                  </a:cubicBezTo>
                  <a:cubicBezTo>
                    <a:pt x="23" y="39"/>
                    <a:pt x="23" y="39"/>
                    <a:pt x="23" y="39"/>
                  </a:cubicBezTo>
                  <a:cubicBezTo>
                    <a:pt x="27" y="37"/>
                    <a:pt x="31" y="34"/>
                    <a:pt x="34" y="29"/>
                  </a:cubicBezTo>
                  <a:cubicBezTo>
                    <a:pt x="34" y="29"/>
                    <a:pt x="34" y="29"/>
                    <a:pt x="34" y="29"/>
                  </a:cubicBezTo>
                  <a:cubicBezTo>
                    <a:pt x="37" y="25"/>
                    <a:pt x="39" y="21"/>
                    <a:pt x="39" y="18"/>
                  </a:cubicBezTo>
                  <a:cubicBezTo>
                    <a:pt x="39" y="18"/>
                    <a:pt x="39" y="18"/>
                    <a:pt x="39" y="18"/>
                  </a:cubicBezTo>
                  <a:cubicBezTo>
                    <a:pt x="39" y="17"/>
                    <a:pt x="39" y="17"/>
                    <a:pt x="39" y="16"/>
                  </a:cubicBezTo>
                  <a:cubicBezTo>
                    <a:pt x="39" y="16"/>
                    <a:pt x="39" y="16"/>
                    <a:pt x="39" y="16"/>
                  </a:cubicBezTo>
                  <a:cubicBezTo>
                    <a:pt x="39" y="14"/>
                    <a:pt x="39" y="10"/>
                    <a:pt x="37" y="8"/>
                  </a:cubicBezTo>
                  <a:cubicBezTo>
                    <a:pt x="37" y="8"/>
                    <a:pt x="37" y="8"/>
                    <a:pt x="37" y="8"/>
                  </a:cubicBezTo>
                  <a:cubicBezTo>
                    <a:pt x="36" y="6"/>
                    <a:pt x="35" y="4"/>
                    <a:pt x="32" y="4"/>
                  </a:cubicBezTo>
                  <a:cubicBezTo>
                    <a:pt x="32" y="4"/>
                    <a:pt x="32" y="4"/>
                    <a:pt x="32" y="4"/>
                  </a:cubicBezTo>
                  <a:cubicBezTo>
                    <a:pt x="31" y="4"/>
                    <a:pt x="31" y="4"/>
                    <a:pt x="30" y="5"/>
                  </a:cubicBezTo>
                  <a:cubicBezTo>
                    <a:pt x="30" y="5"/>
                    <a:pt x="30" y="5"/>
                    <a:pt x="30" y="5"/>
                  </a:cubicBezTo>
                  <a:cubicBezTo>
                    <a:pt x="25" y="6"/>
                    <a:pt x="19" y="13"/>
                    <a:pt x="14" y="19"/>
                  </a:cubicBezTo>
                  <a:cubicBezTo>
                    <a:pt x="14" y="19"/>
                    <a:pt x="14" y="19"/>
                    <a:pt x="14" y="19"/>
                  </a:cubicBezTo>
                  <a:cubicBezTo>
                    <a:pt x="9" y="26"/>
                    <a:pt x="5" y="33"/>
                    <a:pt x="4" y="35"/>
                  </a:cubicBezTo>
                  <a:cubicBezTo>
                    <a:pt x="4" y="35"/>
                    <a:pt x="4" y="35"/>
                    <a:pt x="4" y="35"/>
                  </a:cubicBezTo>
                  <a:cubicBezTo>
                    <a:pt x="4" y="35"/>
                    <a:pt x="4" y="35"/>
                    <a:pt x="4" y="35"/>
                  </a:cubicBezTo>
                  <a:cubicBezTo>
                    <a:pt x="3" y="36"/>
                    <a:pt x="2" y="36"/>
                    <a:pt x="1" y="35"/>
                  </a:cubicBezTo>
                  <a:cubicBezTo>
                    <a:pt x="1" y="35"/>
                    <a:pt x="1" y="35"/>
                    <a:pt x="1" y="35"/>
                  </a:cubicBezTo>
                  <a:cubicBezTo>
                    <a:pt x="0" y="34"/>
                    <a:pt x="0" y="33"/>
                    <a:pt x="1" y="32"/>
                  </a:cubicBezTo>
                  <a:cubicBezTo>
                    <a:pt x="1" y="32"/>
                    <a:pt x="1" y="32"/>
                    <a:pt x="1" y="32"/>
                  </a:cubicBezTo>
                  <a:cubicBezTo>
                    <a:pt x="2" y="31"/>
                    <a:pt x="6" y="24"/>
                    <a:pt x="11" y="17"/>
                  </a:cubicBezTo>
                  <a:cubicBezTo>
                    <a:pt x="11" y="17"/>
                    <a:pt x="11" y="17"/>
                    <a:pt x="11" y="17"/>
                  </a:cubicBezTo>
                  <a:cubicBezTo>
                    <a:pt x="16" y="10"/>
                    <a:pt x="22" y="3"/>
                    <a:pt x="28" y="1"/>
                  </a:cubicBezTo>
                  <a:cubicBezTo>
                    <a:pt x="28" y="1"/>
                    <a:pt x="28" y="1"/>
                    <a:pt x="28" y="1"/>
                  </a:cubicBezTo>
                  <a:cubicBezTo>
                    <a:pt x="30" y="1"/>
                    <a:pt x="31" y="0"/>
                    <a:pt x="32" y="0"/>
                  </a:cubicBezTo>
                  <a:cubicBezTo>
                    <a:pt x="32" y="0"/>
                    <a:pt x="32" y="0"/>
                    <a:pt x="32" y="0"/>
                  </a:cubicBezTo>
                  <a:cubicBezTo>
                    <a:pt x="36" y="0"/>
                    <a:pt x="39" y="3"/>
                    <a:pt x="41" y="6"/>
                  </a:cubicBezTo>
                  <a:cubicBezTo>
                    <a:pt x="41" y="6"/>
                    <a:pt x="41" y="6"/>
                    <a:pt x="41" y="6"/>
                  </a:cubicBezTo>
                  <a:cubicBezTo>
                    <a:pt x="43" y="9"/>
                    <a:pt x="43" y="13"/>
                    <a:pt x="43" y="16"/>
                  </a:cubicBezTo>
                  <a:cubicBezTo>
                    <a:pt x="43" y="16"/>
                    <a:pt x="43" y="16"/>
                    <a:pt x="43" y="16"/>
                  </a:cubicBezTo>
                  <a:cubicBezTo>
                    <a:pt x="43" y="17"/>
                    <a:pt x="43" y="18"/>
                    <a:pt x="43" y="18"/>
                  </a:cubicBezTo>
                  <a:cubicBezTo>
                    <a:pt x="43" y="18"/>
                    <a:pt x="43" y="18"/>
                    <a:pt x="43" y="18"/>
                  </a:cubicBezTo>
                  <a:cubicBezTo>
                    <a:pt x="43" y="22"/>
                    <a:pt x="41" y="27"/>
                    <a:pt x="37" y="32"/>
                  </a:cubicBezTo>
                  <a:cubicBezTo>
                    <a:pt x="37" y="32"/>
                    <a:pt x="37" y="32"/>
                    <a:pt x="37" y="32"/>
                  </a:cubicBezTo>
                  <a:cubicBezTo>
                    <a:pt x="34" y="36"/>
                    <a:pt x="29" y="40"/>
                    <a:pt x="25" y="42"/>
                  </a:cubicBezTo>
                  <a:cubicBezTo>
                    <a:pt x="25" y="42"/>
                    <a:pt x="25" y="42"/>
                    <a:pt x="25" y="42"/>
                  </a:cubicBezTo>
                  <a:cubicBezTo>
                    <a:pt x="22" y="43"/>
                    <a:pt x="18" y="44"/>
                    <a:pt x="14" y="44"/>
                  </a:cubicBezTo>
                  <a:cubicBezTo>
                    <a:pt x="14" y="44"/>
                    <a:pt x="14" y="44"/>
                    <a:pt x="14" y="44"/>
                  </a:cubicBezTo>
                  <a:cubicBezTo>
                    <a:pt x="10" y="44"/>
                    <a:pt x="5" y="43"/>
                    <a:pt x="2" y="41"/>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44" name="Freeform 192"/>
            <p:cNvSpPr>
              <a:spLocks/>
            </p:cNvSpPr>
            <p:nvPr/>
          </p:nvSpPr>
          <p:spPr bwMode="auto">
            <a:xfrm>
              <a:off x="7310438" y="2084387"/>
              <a:ext cx="307975" cy="306387"/>
            </a:xfrm>
            <a:custGeom>
              <a:avLst/>
              <a:gdLst>
                <a:gd name="T0" fmla="*/ 22813 w 27"/>
                <a:gd name="T1" fmla="*/ 306387 h 27"/>
                <a:gd name="T2" fmla="*/ 0 w 27"/>
                <a:gd name="T3" fmla="*/ 283692 h 27"/>
                <a:gd name="T4" fmla="*/ 0 w 27"/>
                <a:gd name="T5" fmla="*/ 283692 h 27"/>
                <a:gd name="T6" fmla="*/ 34219 w 27"/>
                <a:gd name="T7" fmla="*/ 260996 h 27"/>
                <a:gd name="T8" fmla="*/ 34219 w 27"/>
                <a:gd name="T9" fmla="*/ 260996 h 27"/>
                <a:gd name="T10" fmla="*/ 57032 w 27"/>
                <a:gd name="T11" fmla="*/ 260996 h 27"/>
                <a:gd name="T12" fmla="*/ 57032 w 27"/>
                <a:gd name="T13" fmla="*/ 260996 h 27"/>
                <a:gd name="T14" fmla="*/ 171097 w 27"/>
                <a:gd name="T15" fmla="*/ 238301 h 27"/>
                <a:gd name="T16" fmla="*/ 171097 w 27"/>
                <a:gd name="T17" fmla="*/ 238301 h 27"/>
                <a:gd name="T18" fmla="*/ 262349 w 27"/>
                <a:gd name="T19" fmla="*/ 124824 h 27"/>
                <a:gd name="T20" fmla="*/ 262349 w 27"/>
                <a:gd name="T21" fmla="*/ 124824 h 27"/>
                <a:gd name="T22" fmla="*/ 262349 w 27"/>
                <a:gd name="T23" fmla="*/ 102129 h 27"/>
                <a:gd name="T24" fmla="*/ 262349 w 27"/>
                <a:gd name="T25" fmla="*/ 102129 h 27"/>
                <a:gd name="T26" fmla="*/ 250943 w 27"/>
                <a:gd name="T27" fmla="*/ 56738 h 27"/>
                <a:gd name="T28" fmla="*/ 250943 w 27"/>
                <a:gd name="T29" fmla="*/ 56738 h 27"/>
                <a:gd name="T30" fmla="*/ 228130 w 27"/>
                <a:gd name="T31" fmla="*/ 45391 h 27"/>
                <a:gd name="T32" fmla="*/ 228130 w 27"/>
                <a:gd name="T33" fmla="*/ 45391 h 27"/>
                <a:gd name="T34" fmla="*/ 228130 w 27"/>
                <a:gd name="T35" fmla="*/ 45391 h 27"/>
                <a:gd name="T36" fmla="*/ 228130 w 27"/>
                <a:gd name="T37" fmla="*/ 45391 h 27"/>
                <a:gd name="T38" fmla="*/ 148284 w 27"/>
                <a:gd name="T39" fmla="*/ 113477 h 27"/>
                <a:gd name="T40" fmla="*/ 148284 w 27"/>
                <a:gd name="T41" fmla="*/ 113477 h 27"/>
                <a:gd name="T42" fmla="*/ 102658 w 27"/>
                <a:gd name="T43" fmla="*/ 192910 h 27"/>
                <a:gd name="T44" fmla="*/ 102658 w 27"/>
                <a:gd name="T45" fmla="*/ 192910 h 27"/>
                <a:gd name="T46" fmla="*/ 68439 w 27"/>
                <a:gd name="T47" fmla="*/ 192910 h 27"/>
                <a:gd name="T48" fmla="*/ 68439 w 27"/>
                <a:gd name="T49" fmla="*/ 192910 h 27"/>
                <a:gd name="T50" fmla="*/ 57032 w 27"/>
                <a:gd name="T51" fmla="*/ 158867 h 27"/>
                <a:gd name="T52" fmla="*/ 57032 w 27"/>
                <a:gd name="T53" fmla="*/ 158867 h 27"/>
                <a:gd name="T54" fmla="*/ 114065 w 27"/>
                <a:gd name="T55" fmla="*/ 79434 h 27"/>
                <a:gd name="T56" fmla="*/ 114065 w 27"/>
                <a:gd name="T57" fmla="*/ 79434 h 27"/>
                <a:gd name="T58" fmla="*/ 216723 w 27"/>
                <a:gd name="T59" fmla="*/ 0 h 27"/>
                <a:gd name="T60" fmla="*/ 216723 w 27"/>
                <a:gd name="T61" fmla="*/ 0 h 27"/>
                <a:gd name="T62" fmla="*/ 228130 w 27"/>
                <a:gd name="T63" fmla="*/ 0 h 27"/>
                <a:gd name="T64" fmla="*/ 228130 w 27"/>
                <a:gd name="T65" fmla="*/ 0 h 27"/>
                <a:gd name="T66" fmla="*/ 285162 w 27"/>
                <a:gd name="T67" fmla="*/ 34043 h 27"/>
                <a:gd name="T68" fmla="*/ 285162 w 27"/>
                <a:gd name="T69" fmla="*/ 34043 h 27"/>
                <a:gd name="T70" fmla="*/ 307975 w 27"/>
                <a:gd name="T71" fmla="*/ 102129 h 27"/>
                <a:gd name="T72" fmla="*/ 307975 w 27"/>
                <a:gd name="T73" fmla="*/ 102129 h 27"/>
                <a:gd name="T74" fmla="*/ 307975 w 27"/>
                <a:gd name="T75" fmla="*/ 136172 h 27"/>
                <a:gd name="T76" fmla="*/ 307975 w 27"/>
                <a:gd name="T77" fmla="*/ 136172 h 27"/>
                <a:gd name="T78" fmla="*/ 182504 w 27"/>
                <a:gd name="T79" fmla="*/ 283692 h 27"/>
                <a:gd name="T80" fmla="*/ 182504 w 27"/>
                <a:gd name="T81" fmla="*/ 283692 h 27"/>
                <a:gd name="T82" fmla="*/ 57032 w 27"/>
                <a:gd name="T83" fmla="*/ 306387 h 27"/>
                <a:gd name="T84" fmla="*/ 57032 w 27"/>
                <a:gd name="T85" fmla="*/ 306387 h 27"/>
                <a:gd name="T86" fmla="*/ 22813 w 27"/>
                <a:gd name="T87" fmla="*/ 306387 h 2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7"/>
                <a:gd name="T133" fmla="*/ 0 h 27"/>
                <a:gd name="T134" fmla="*/ 27 w 27"/>
                <a:gd name="T135" fmla="*/ 27 h 2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7" h="27">
                  <a:moveTo>
                    <a:pt x="2" y="27"/>
                  </a:moveTo>
                  <a:cubicBezTo>
                    <a:pt x="1" y="27"/>
                    <a:pt x="0" y="26"/>
                    <a:pt x="0" y="25"/>
                  </a:cubicBezTo>
                  <a:cubicBezTo>
                    <a:pt x="0" y="25"/>
                    <a:pt x="0" y="25"/>
                    <a:pt x="0" y="25"/>
                  </a:cubicBezTo>
                  <a:cubicBezTo>
                    <a:pt x="0" y="24"/>
                    <a:pt x="1" y="23"/>
                    <a:pt x="3" y="23"/>
                  </a:cubicBezTo>
                  <a:cubicBezTo>
                    <a:pt x="3" y="23"/>
                    <a:pt x="3" y="23"/>
                    <a:pt x="3" y="23"/>
                  </a:cubicBezTo>
                  <a:cubicBezTo>
                    <a:pt x="3" y="23"/>
                    <a:pt x="4" y="23"/>
                    <a:pt x="5" y="23"/>
                  </a:cubicBezTo>
                  <a:cubicBezTo>
                    <a:pt x="5" y="23"/>
                    <a:pt x="5" y="23"/>
                    <a:pt x="5" y="23"/>
                  </a:cubicBezTo>
                  <a:cubicBezTo>
                    <a:pt x="8" y="23"/>
                    <a:pt x="11" y="23"/>
                    <a:pt x="15" y="21"/>
                  </a:cubicBezTo>
                  <a:cubicBezTo>
                    <a:pt x="15" y="21"/>
                    <a:pt x="15" y="21"/>
                    <a:pt x="15" y="21"/>
                  </a:cubicBezTo>
                  <a:cubicBezTo>
                    <a:pt x="18" y="20"/>
                    <a:pt x="22" y="14"/>
                    <a:pt x="23" y="11"/>
                  </a:cubicBezTo>
                  <a:cubicBezTo>
                    <a:pt x="23" y="11"/>
                    <a:pt x="23" y="11"/>
                    <a:pt x="23" y="11"/>
                  </a:cubicBezTo>
                  <a:cubicBezTo>
                    <a:pt x="23" y="10"/>
                    <a:pt x="23" y="10"/>
                    <a:pt x="23" y="9"/>
                  </a:cubicBezTo>
                  <a:cubicBezTo>
                    <a:pt x="23" y="9"/>
                    <a:pt x="23" y="9"/>
                    <a:pt x="23" y="9"/>
                  </a:cubicBezTo>
                  <a:cubicBezTo>
                    <a:pt x="23" y="8"/>
                    <a:pt x="22" y="6"/>
                    <a:pt x="22" y="5"/>
                  </a:cubicBezTo>
                  <a:cubicBezTo>
                    <a:pt x="22" y="5"/>
                    <a:pt x="22" y="5"/>
                    <a:pt x="22" y="5"/>
                  </a:cubicBezTo>
                  <a:cubicBezTo>
                    <a:pt x="21" y="4"/>
                    <a:pt x="21" y="4"/>
                    <a:pt x="20" y="4"/>
                  </a:cubicBezTo>
                  <a:cubicBezTo>
                    <a:pt x="20" y="4"/>
                    <a:pt x="20" y="4"/>
                    <a:pt x="20" y="4"/>
                  </a:cubicBezTo>
                  <a:cubicBezTo>
                    <a:pt x="20" y="4"/>
                    <a:pt x="20" y="4"/>
                    <a:pt x="20" y="4"/>
                  </a:cubicBezTo>
                  <a:cubicBezTo>
                    <a:pt x="20" y="4"/>
                    <a:pt x="20" y="4"/>
                    <a:pt x="20" y="4"/>
                  </a:cubicBezTo>
                  <a:cubicBezTo>
                    <a:pt x="18" y="4"/>
                    <a:pt x="16" y="7"/>
                    <a:pt x="13" y="10"/>
                  </a:cubicBezTo>
                  <a:cubicBezTo>
                    <a:pt x="13" y="10"/>
                    <a:pt x="13" y="10"/>
                    <a:pt x="13" y="10"/>
                  </a:cubicBezTo>
                  <a:cubicBezTo>
                    <a:pt x="11" y="13"/>
                    <a:pt x="9" y="16"/>
                    <a:pt x="9" y="17"/>
                  </a:cubicBezTo>
                  <a:cubicBezTo>
                    <a:pt x="9" y="17"/>
                    <a:pt x="9" y="17"/>
                    <a:pt x="9" y="17"/>
                  </a:cubicBezTo>
                  <a:cubicBezTo>
                    <a:pt x="8" y="17"/>
                    <a:pt x="7" y="18"/>
                    <a:pt x="6" y="17"/>
                  </a:cubicBezTo>
                  <a:cubicBezTo>
                    <a:pt x="6" y="17"/>
                    <a:pt x="6" y="17"/>
                    <a:pt x="6" y="17"/>
                  </a:cubicBezTo>
                  <a:cubicBezTo>
                    <a:pt x="5" y="16"/>
                    <a:pt x="5" y="15"/>
                    <a:pt x="5" y="14"/>
                  </a:cubicBezTo>
                  <a:cubicBezTo>
                    <a:pt x="5" y="14"/>
                    <a:pt x="5" y="14"/>
                    <a:pt x="5" y="14"/>
                  </a:cubicBezTo>
                  <a:cubicBezTo>
                    <a:pt x="6" y="14"/>
                    <a:pt x="8" y="10"/>
                    <a:pt x="10" y="7"/>
                  </a:cubicBezTo>
                  <a:cubicBezTo>
                    <a:pt x="10" y="7"/>
                    <a:pt x="10" y="7"/>
                    <a:pt x="10" y="7"/>
                  </a:cubicBezTo>
                  <a:cubicBezTo>
                    <a:pt x="13" y="4"/>
                    <a:pt x="15" y="1"/>
                    <a:pt x="19" y="0"/>
                  </a:cubicBezTo>
                  <a:cubicBezTo>
                    <a:pt x="19" y="0"/>
                    <a:pt x="19" y="0"/>
                    <a:pt x="19" y="0"/>
                  </a:cubicBezTo>
                  <a:cubicBezTo>
                    <a:pt x="19" y="0"/>
                    <a:pt x="20" y="0"/>
                    <a:pt x="20" y="0"/>
                  </a:cubicBezTo>
                  <a:cubicBezTo>
                    <a:pt x="20" y="0"/>
                    <a:pt x="20" y="0"/>
                    <a:pt x="20" y="0"/>
                  </a:cubicBezTo>
                  <a:cubicBezTo>
                    <a:pt x="23" y="0"/>
                    <a:pt x="24" y="2"/>
                    <a:pt x="25" y="3"/>
                  </a:cubicBezTo>
                  <a:cubicBezTo>
                    <a:pt x="25" y="3"/>
                    <a:pt x="25" y="3"/>
                    <a:pt x="25" y="3"/>
                  </a:cubicBezTo>
                  <a:cubicBezTo>
                    <a:pt x="26" y="5"/>
                    <a:pt x="27" y="7"/>
                    <a:pt x="27" y="9"/>
                  </a:cubicBezTo>
                  <a:cubicBezTo>
                    <a:pt x="27" y="9"/>
                    <a:pt x="27" y="9"/>
                    <a:pt x="27" y="9"/>
                  </a:cubicBezTo>
                  <a:cubicBezTo>
                    <a:pt x="27" y="10"/>
                    <a:pt x="27" y="11"/>
                    <a:pt x="27" y="12"/>
                  </a:cubicBezTo>
                  <a:cubicBezTo>
                    <a:pt x="27" y="12"/>
                    <a:pt x="27" y="12"/>
                    <a:pt x="27" y="12"/>
                  </a:cubicBezTo>
                  <a:cubicBezTo>
                    <a:pt x="26" y="16"/>
                    <a:pt x="22" y="22"/>
                    <a:pt x="16" y="25"/>
                  </a:cubicBezTo>
                  <a:cubicBezTo>
                    <a:pt x="16" y="25"/>
                    <a:pt x="16" y="25"/>
                    <a:pt x="16" y="25"/>
                  </a:cubicBezTo>
                  <a:cubicBezTo>
                    <a:pt x="12" y="27"/>
                    <a:pt x="8" y="27"/>
                    <a:pt x="5" y="27"/>
                  </a:cubicBezTo>
                  <a:cubicBezTo>
                    <a:pt x="5" y="27"/>
                    <a:pt x="5" y="27"/>
                    <a:pt x="5" y="27"/>
                  </a:cubicBezTo>
                  <a:cubicBezTo>
                    <a:pt x="4" y="27"/>
                    <a:pt x="3" y="27"/>
                    <a:pt x="2" y="27"/>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45" name="Freeform 193"/>
            <p:cNvSpPr>
              <a:spLocks/>
            </p:cNvSpPr>
            <p:nvPr/>
          </p:nvSpPr>
          <p:spPr bwMode="auto">
            <a:xfrm>
              <a:off x="7435850" y="2185988"/>
              <a:ext cx="103188" cy="114300"/>
            </a:xfrm>
            <a:custGeom>
              <a:avLst/>
              <a:gdLst>
                <a:gd name="T0" fmla="*/ 11465 w 9"/>
                <a:gd name="T1" fmla="*/ 114300 h 10"/>
                <a:gd name="T2" fmla="*/ 11465 w 9"/>
                <a:gd name="T3" fmla="*/ 80010 h 10"/>
                <a:gd name="T4" fmla="*/ 11465 w 9"/>
                <a:gd name="T5" fmla="*/ 80010 h 10"/>
                <a:gd name="T6" fmla="*/ 45861 w 9"/>
                <a:gd name="T7" fmla="*/ 45720 h 10"/>
                <a:gd name="T8" fmla="*/ 45861 w 9"/>
                <a:gd name="T9" fmla="*/ 45720 h 10"/>
                <a:gd name="T10" fmla="*/ 57327 w 9"/>
                <a:gd name="T11" fmla="*/ 11430 h 10"/>
                <a:gd name="T12" fmla="*/ 57327 w 9"/>
                <a:gd name="T13" fmla="*/ 11430 h 10"/>
                <a:gd name="T14" fmla="*/ 91723 w 9"/>
                <a:gd name="T15" fmla="*/ 0 h 10"/>
                <a:gd name="T16" fmla="*/ 91723 w 9"/>
                <a:gd name="T17" fmla="*/ 0 h 10"/>
                <a:gd name="T18" fmla="*/ 103188 w 9"/>
                <a:gd name="T19" fmla="*/ 34290 h 10"/>
                <a:gd name="T20" fmla="*/ 103188 w 9"/>
                <a:gd name="T21" fmla="*/ 34290 h 10"/>
                <a:gd name="T22" fmla="*/ 80257 w 9"/>
                <a:gd name="T23" fmla="*/ 80010 h 10"/>
                <a:gd name="T24" fmla="*/ 80257 w 9"/>
                <a:gd name="T25" fmla="*/ 80010 h 10"/>
                <a:gd name="T26" fmla="*/ 45861 w 9"/>
                <a:gd name="T27" fmla="*/ 102870 h 10"/>
                <a:gd name="T28" fmla="*/ 45861 w 9"/>
                <a:gd name="T29" fmla="*/ 102870 h 10"/>
                <a:gd name="T30" fmla="*/ 45861 w 9"/>
                <a:gd name="T31" fmla="*/ 102870 h 10"/>
                <a:gd name="T32" fmla="*/ 22931 w 9"/>
                <a:gd name="T33" fmla="*/ 114300 h 10"/>
                <a:gd name="T34" fmla="*/ 22931 w 9"/>
                <a:gd name="T35" fmla="*/ 114300 h 10"/>
                <a:gd name="T36" fmla="*/ 11465 w 9"/>
                <a:gd name="T37" fmla="*/ 114300 h 1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
                <a:gd name="T58" fmla="*/ 0 h 10"/>
                <a:gd name="T59" fmla="*/ 9 w 9"/>
                <a:gd name="T60" fmla="*/ 10 h 1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 h="10">
                  <a:moveTo>
                    <a:pt x="1" y="10"/>
                  </a:moveTo>
                  <a:cubicBezTo>
                    <a:pt x="0" y="9"/>
                    <a:pt x="0" y="8"/>
                    <a:pt x="1" y="7"/>
                  </a:cubicBezTo>
                  <a:cubicBezTo>
                    <a:pt x="1" y="7"/>
                    <a:pt x="1" y="7"/>
                    <a:pt x="1" y="7"/>
                  </a:cubicBezTo>
                  <a:cubicBezTo>
                    <a:pt x="2" y="5"/>
                    <a:pt x="3" y="5"/>
                    <a:pt x="4" y="4"/>
                  </a:cubicBezTo>
                  <a:cubicBezTo>
                    <a:pt x="4" y="4"/>
                    <a:pt x="4" y="4"/>
                    <a:pt x="4" y="4"/>
                  </a:cubicBezTo>
                  <a:cubicBezTo>
                    <a:pt x="4" y="4"/>
                    <a:pt x="5" y="3"/>
                    <a:pt x="5" y="1"/>
                  </a:cubicBezTo>
                  <a:cubicBezTo>
                    <a:pt x="5" y="1"/>
                    <a:pt x="5" y="1"/>
                    <a:pt x="5" y="1"/>
                  </a:cubicBezTo>
                  <a:cubicBezTo>
                    <a:pt x="6" y="0"/>
                    <a:pt x="7" y="0"/>
                    <a:pt x="8" y="0"/>
                  </a:cubicBezTo>
                  <a:cubicBezTo>
                    <a:pt x="8" y="0"/>
                    <a:pt x="8" y="0"/>
                    <a:pt x="8" y="0"/>
                  </a:cubicBezTo>
                  <a:cubicBezTo>
                    <a:pt x="9" y="0"/>
                    <a:pt x="9" y="1"/>
                    <a:pt x="9" y="3"/>
                  </a:cubicBezTo>
                  <a:cubicBezTo>
                    <a:pt x="9" y="3"/>
                    <a:pt x="9" y="3"/>
                    <a:pt x="9" y="3"/>
                  </a:cubicBezTo>
                  <a:cubicBezTo>
                    <a:pt x="8" y="5"/>
                    <a:pt x="8" y="6"/>
                    <a:pt x="7" y="7"/>
                  </a:cubicBezTo>
                  <a:cubicBezTo>
                    <a:pt x="7" y="7"/>
                    <a:pt x="7" y="7"/>
                    <a:pt x="7" y="7"/>
                  </a:cubicBezTo>
                  <a:cubicBezTo>
                    <a:pt x="6" y="8"/>
                    <a:pt x="5" y="8"/>
                    <a:pt x="4" y="9"/>
                  </a:cubicBezTo>
                  <a:cubicBezTo>
                    <a:pt x="4" y="9"/>
                    <a:pt x="4" y="9"/>
                    <a:pt x="4" y="9"/>
                  </a:cubicBezTo>
                  <a:cubicBezTo>
                    <a:pt x="4" y="9"/>
                    <a:pt x="4" y="9"/>
                    <a:pt x="4" y="9"/>
                  </a:cubicBezTo>
                  <a:cubicBezTo>
                    <a:pt x="3" y="10"/>
                    <a:pt x="3" y="10"/>
                    <a:pt x="2" y="10"/>
                  </a:cubicBezTo>
                  <a:cubicBezTo>
                    <a:pt x="2" y="10"/>
                    <a:pt x="2" y="10"/>
                    <a:pt x="2" y="10"/>
                  </a:cubicBezTo>
                  <a:cubicBezTo>
                    <a:pt x="2" y="10"/>
                    <a:pt x="1" y="10"/>
                    <a:pt x="1" y="10"/>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46" name="Freeform 194"/>
            <p:cNvSpPr>
              <a:spLocks/>
            </p:cNvSpPr>
            <p:nvPr/>
          </p:nvSpPr>
          <p:spPr bwMode="auto">
            <a:xfrm>
              <a:off x="7277100" y="2117726"/>
              <a:ext cx="717550" cy="465137"/>
            </a:xfrm>
            <a:custGeom>
              <a:avLst/>
              <a:gdLst>
                <a:gd name="T0" fmla="*/ 0 w 63"/>
                <a:gd name="T1" fmla="*/ 442447 h 41"/>
                <a:gd name="T2" fmla="*/ 22779 w 63"/>
                <a:gd name="T3" fmla="*/ 419758 h 41"/>
                <a:gd name="T4" fmla="*/ 22779 w 63"/>
                <a:gd name="T5" fmla="*/ 419758 h 41"/>
                <a:gd name="T6" fmla="*/ 364470 w 63"/>
                <a:gd name="T7" fmla="*/ 260931 h 41"/>
                <a:gd name="T8" fmla="*/ 364470 w 63"/>
                <a:gd name="T9" fmla="*/ 260931 h 41"/>
                <a:gd name="T10" fmla="*/ 444198 w 63"/>
                <a:gd name="T11" fmla="*/ 45379 h 41"/>
                <a:gd name="T12" fmla="*/ 444198 w 63"/>
                <a:gd name="T13" fmla="*/ 45379 h 41"/>
                <a:gd name="T14" fmla="*/ 444198 w 63"/>
                <a:gd name="T15" fmla="*/ 22690 h 41"/>
                <a:gd name="T16" fmla="*/ 444198 w 63"/>
                <a:gd name="T17" fmla="*/ 22690 h 41"/>
                <a:gd name="T18" fmla="*/ 466977 w 63"/>
                <a:gd name="T19" fmla="*/ 0 h 41"/>
                <a:gd name="T20" fmla="*/ 466977 w 63"/>
                <a:gd name="T21" fmla="*/ 0 h 41"/>
                <a:gd name="T22" fmla="*/ 489756 w 63"/>
                <a:gd name="T23" fmla="*/ 11345 h 41"/>
                <a:gd name="T24" fmla="*/ 489756 w 63"/>
                <a:gd name="T25" fmla="*/ 11345 h 41"/>
                <a:gd name="T26" fmla="*/ 489756 w 63"/>
                <a:gd name="T27" fmla="*/ 22690 h 41"/>
                <a:gd name="T28" fmla="*/ 489756 w 63"/>
                <a:gd name="T29" fmla="*/ 22690 h 41"/>
                <a:gd name="T30" fmla="*/ 501146 w 63"/>
                <a:gd name="T31" fmla="*/ 34034 h 41"/>
                <a:gd name="T32" fmla="*/ 501146 w 63"/>
                <a:gd name="T33" fmla="*/ 34034 h 41"/>
                <a:gd name="T34" fmla="*/ 535315 w 63"/>
                <a:gd name="T35" fmla="*/ 102103 h 41"/>
                <a:gd name="T36" fmla="*/ 535315 w 63"/>
                <a:gd name="T37" fmla="*/ 102103 h 41"/>
                <a:gd name="T38" fmla="*/ 694771 w 63"/>
                <a:gd name="T39" fmla="*/ 272275 h 41"/>
                <a:gd name="T40" fmla="*/ 694771 w 63"/>
                <a:gd name="T41" fmla="*/ 272275 h 41"/>
                <a:gd name="T42" fmla="*/ 706160 w 63"/>
                <a:gd name="T43" fmla="*/ 294965 h 41"/>
                <a:gd name="T44" fmla="*/ 706160 w 63"/>
                <a:gd name="T45" fmla="*/ 294965 h 41"/>
                <a:gd name="T46" fmla="*/ 671991 w 63"/>
                <a:gd name="T47" fmla="*/ 306310 h 41"/>
                <a:gd name="T48" fmla="*/ 671991 w 63"/>
                <a:gd name="T49" fmla="*/ 306310 h 41"/>
                <a:gd name="T50" fmla="*/ 478367 w 63"/>
                <a:gd name="T51" fmla="*/ 113448 h 41"/>
                <a:gd name="T52" fmla="*/ 478367 w 63"/>
                <a:gd name="T53" fmla="*/ 113448 h 41"/>
                <a:gd name="T54" fmla="*/ 398639 w 63"/>
                <a:gd name="T55" fmla="*/ 283620 h 41"/>
                <a:gd name="T56" fmla="*/ 398639 w 63"/>
                <a:gd name="T57" fmla="*/ 283620 h 41"/>
                <a:gd name="T58" fmla="*/ 22779 w 63"/>
                <a:gd name="T59" fmla="*/ 465137 h 41"/>
                <a:gd name="T60" fmla="*/ 22779 w 63"/>
                <a:gd name="T61" fmla="*/ 465137 h 41"/>
                <a:gd name="T62" fmla="*/ 22779 w 63"/>
                <a:gd name="T63" fmla="*/ 465137 h 41"/>
                <a:gd name="T64" fmla="*/ 22779 w 63"/>
                <a:gd name="T65" fmla="*/ 465137 h 41"/>
                <a:gd name="T66" fmla="*/ 0 w 63"/>
                <a:gd name="T67" fmla="*/ 442447 h 4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3"/>
                <a:gd name="T103" fmla="*/ 0 h 41"/>
                <a:gd name="T104" fmla="*/ 63 w 63"/>
                <a:gd name="T105" fmla="*/ 41 h 4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3" h="41">
                  <a:moveTo>
                    <a:pt x="0" y="39"/>
                  </a:moveTo>
                  <a:cubicBezTo>
                    <a:pt x="0" y="38"/>
                    <a:pt x="1" y="37"/>
                    <a:pt x="2" y="37"/>
                  </a:cubicBezTo>
                  <a:cubicBezTo>
                    <a:pt x="2" y="37"/>
                    <a:pt x="2" y="37"/>
                    <a:pt x="2" y="37"/>
                  </a:cubicBezTo>
                  <a:cubicBezTo>
                    <a:pt x="18" y="35"/>
                    <a:pt x="27" y="29"/>
                    <a:pt x="32" y="23"/>
                  </a:cubicBezTo>
                  <a:cubicBezTo>
                    <a:pt x="32" y="23"/>
                    <a:pt x="32" y="23"/>
                    <a:pt x="32" y="23"/>
                  </a:cubicBezTo>
                  <a:cubicBezTo>
                    <a:pt x="38" y="16"/>
                    <a:pt x="39" y="8"/>
                    <a:pt x="39" y="4"/>
                  </a:cubicBezTo>
                  <a:cubicBezTo>
                    <a:pt x="39" y="4"/>
                    <a:pt x="39" y="4"/>
                    <a:pt x="39" y="4"/>
                  </a:cubicBezTo>
                  <a:cubicBezTo>
                    <a:pt x="39" y="3"/>
                    <a:pt x="39" y="2"/>
                    <a:pt x="39" y="2"/>
                  </a:cubicBezTo>
                  <a:cubicBezTo>
                    <a:pt x="39" y="2"/>
                    <a:pt x="39" y="2"/>
                    <a:pt x="39" y="2"/>
                  </a:cubicBezTo>
                  <a:cubicBezTo>
                    <a:pt x="39" y="1"/>
                    <a:pt x="40" y="0"/>
                    <a:pt x="41" y="0"/>
                  </a:cubicBezTo>
                  <a:cubicBezTo>
                    <a:pt x="41" y="0"/>
                    <a:pt x="41" y="0"/>
                    <a:pt x="41" y="0"/>
                  </a:cubicBezTo>
                  <a:cubicBezTo>
                    <a:pt x="42" y="0"/>
                    <a:pt x="43" y="0"/>
                    <a:pt x="43" y="1"/>
                  </a:cubicBezTo>
                  <a:cubicBezTo>
                    <a:pt x="43" y="1"/>
                    <a:pt x="43" y="1"/>
                    <a:pt x="43" y="1"/>
                  </a:cubicBezTo>
                  <a:cubicBezTo>
                    <a:pt x="43" y="1"/>
                    <a:pt x="43" y="1"/>
                    <a:pt x="43" y="2"/>
                  </a:cubicBezTo>
                  <a:cubicBezTo>
                    <a:pt x="43" y="2"/>
                    <a:pt x="43" y="2"/>
                    <a:pt x="43" y="2"/>
                  </a:cubicBezTo>
                  <a:cubicBezTo>
                    <a:pt x="43" y="2"/>
                    <a:pt x="43" y="3"/>
                    <a:pt x="44" y="3"/>
                  </a:cubicBezTo>
                  <a:cubicBezTo>
                    <a:pt x="44" y="3"/>
                    <a:pt x="44" y="3"/>
                    <a:pt x="44" y="3"/>
                  </a:cubicBezTo>
                  <a:cubicBezTo>
                    <a:pt x="44" y="5"/>
                    <a:pt x="45" y="7"/>
                    <a:pt x="47" y="9"/>
                  </a:cubicBezTo>
                  <a:cubicBezTo>
                    <a:pt x="47" y="9"/>
                    <a:pt x="47" y="9"/>
                    <a:pt x="47" y="9"/>
                  </a:cubicBezTo>
                  <a:cubicBezTo>
                    <a:pt x="50" y="14"/>
                    <a:pt x="54" y="19"/>
                    <a:pt x="61" y="24"/>
                  </a:cubicBezTo>
                  <a:cubicBezTo>
                    <a:pt x="61" y="24"/>
                    <a:pt x="61" y="24"/>
                    <a:pt x="61" y="24"/>
                  </a:cubicBezTo>
                  <a:cubicBezTo>
                    <a:pt x="62" y="24"/>
                    <a:pt x="63" y="25"/>
                    <a:pt x="62" y="26"/>
                  </a:cubicBezTo>
                  <a:cubicBezTo>
                    <a:pt x="62" y="26"/>
                    <a:pt x="62" y="26"/>
                    <a:pt x="62" y="26"/>
                  </a:cubicBezTo>
                  <a:cubicBezTo>
                    <a:pt x="61" y="27"/>
                    <a:pt x="60" y="27"/>
                    <a:pt x="59" y="27"/>
                  </a:cubicBezTo>
                  <a:cubicBezTo>
                    <a:pt x="59" y="27"/>
                    <a:pt x="59" y="27"/>
                    <a:pt x="59" y="27"/>
                  </a:cubicBezTo>
                  <a:cubicBezTo>
                    <a:pt x="51" y="22"/>
                    <a:pt x="45" y="15"/>
                    <a:pt x="42" y="10"/>
                  </a:cubicBezTo>
                  <a:cubicBezTo>
                    <a:pt x="42" y="10"/>
                    <a:pt x="42" y="10"/>
                    <a:pt x="42" y="10"/>
                  </a:cubicBezTo>
                  <a:cubicBezTo>
                    <a:pt x="41" y="14"/>
                    <a:pt x="39" y="20"/>
                    <a:pt x="35" y="25"/>
                  </a:cubicBezTo>
                  <a:cubicBezTo>
                    <a:pt x="35" y="25"/>
                    <a:pt x="35" y="25"/>
                    <a:pt x="35" y="25"/>
                  </a:cubicBezTo>
                  <a:cubicBezTo>
                    <a:pt x="29" y="33"/>
                    <a:pt x="19" y="39"/>
                    <a:pt x="2" y="41"/>
                  </a:cubicBezTo>
                  <a:cubicBezTo>
                    <a:pt x="2" y="41"/>
                    <a:pt x="2" y="41"/>
                    <a:pt x="2" y="41"/>
                  </a:cubicBezTo>
                  <a:cubicBezTo>
                    <a:pt x="2" y="41"/>
                    <a:pt x="2" y="41"/>
                    <a:pt x="2" y="41"/>
                  </a:cubicBezTo>
                  <a:cubicBezTo>
                    <a:pt x="2" y="41"/>
                    <a:pt x="2" y="41"/>
                    <a:pt x="2" y="41"/>
                  </a:cubicBezTo>
                  <a:cubicBezTo>
                    <a:pt x="1" y="41"/>
                    <a:pt x="0" y="40"/>
                    <a:pt x="0" y="39"/>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47" name="Freeform 195"/>
            <p:cNvSpPr>
              <a:spLocks/>
            </p:cNvSpPr>
            <p:nvPr/>
          </p:nvSpPr>
          <p:spPr bwMode="auto">
            <a:xfrm>
              <a:off x="7413625" y="2617788"/>
              <a:ext cx="387350" cy="112712"/>
            </a:xfrm>
            <a:custGeom>
              <a:avLst/>
              <a:gdLst>
                <a:gd name="T0" fmla="*/ 0 w 34"/>
                <a:gd name="T1" fmla="*/ 101441 h 10"/>
                <a:gd name="T2" fmla="*/ 11393 w 34"/>
                <a:gd name="T3" fmla="*/ 78898 h 10"/>
                <a:gd name="T4" fmla="*/ 11393 w 34"/>
                <a:gd name="T5" fmla="*/ 78898 h 10"/>
                <a:gd name="T6" fmla="*/ 227853 w 34"/>
                <a:gd name="T7" fmla="*/ 0 h 10"/>
                <a:gd name="T8" fmla="*/ 227853 w 34"/>
                <a:gd name="T9" fmla="*/ 0 h 10"/>
                <a:gd name="T10" fmla="*/ 364565 w 34"/>
                <a:gd name="T11" fmla="*/ 33814 h 10"/>
                <a:gd name="T12" fmla="*/ 364565 w 34"/>
                <a:gd name="T13" fmla="*/ 33814 h 10"/>
                <a:gd name="T14" fmla="*/ 375957 w 34"/>
                <a:gd name="T15" fmla="*/ 67627 h 10"/>
                <a:gd name="T16" fmla="*/ 375957 w 34"/>
                <a:gd name="T17" fmla="*/ 67627 h 10"/>
                <a:gd name="T18" fmla="*/ 341779 w 34"/>
                <a:gd name="T19" fmla="*/ 78898 h 10"/>
                <a:gd name="T20" fmla="*/ 341779 w 34"/>
                <a:gd name="T21" fmla="*/ 78898 h 10"/>
                <a:gd name="T22" fmla="*/ 227853 w 34"/>
                <a:gd name="T23" fmla="*/ 45085 h 10"/>
                <a:gd name="T24" fmla="*/ 227853 w 34"/>
                <a:gd name="T25" fmla="*/ 45085 h 10"/>
                <a:gd name="T26" fmla="*/ 34178 w 34"/>
                <a:gd name="T27" fmla="*/ 112712 h 10"/>
                <a:gd name="T28" fmla="*/ 34178 w 34"/>
                <a:gd name="T29" fmla="*/ 112712 h 10"/>
                <a:gd name="T30" fmla="*/ 22785 w 34"/>
                <a:gd name="T31" fmla="*/ 112712 h 10"/>
                <a:gd name="T32" fmla="*/ 22785 w 34"/>
                <a:gd name="T33" fmla="*/ 112712 h 10"/>
                <a:gd name="T34" fmla="*/ 0 w 34"/>
                <a:gd name="T35" fmla="*/ 101441 h 1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4"/>
                <a:gd name="T55" fmla="*/ 0 h 10"/>
                <a:gd name="T56" fmla="*/ 34 w 34"/>
                <a:gd name="T57" fmla="*/ 10 h 1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4" h="10">
                  <a:moveTo>
                    <a:pt x="0" y="9"/>
                  </a:moveTo>
                  <a:cubicBezTo>
                    <a:pt x="0" y="8"/>
                    <a:pt x="0" y="7"/>
                    <a:pt x="1" y="7"/>
                  </a:cubicBezTo>
                  <a:cubicBezTo>
                    <a:pt x="1" y="7"/>
                    <a:pt x="1" y="7"/>
                    <a:pt x="1" y="7"/>
                  </a:cubicBezTo>
                  <a:cubicBezTo>
                    <a:pt x="6" y="4"/>
                    <a:pt x="13" y="0"/>
                    <a:pt x="20" y="0"/>
                  </a:cubicBezTo>
                  <a:cubicBezTo>
                    <a:pt x="20" y="0"/>
                    <a:pt x="20" y="0"/>
                    <a:pt x="20" y="0"/>
                  </a:cubicBezTo>
                  <a:cubicBezTo>
                    <a:pt x="24" y="0"/>
                    <a:pt x="28" y="1"/>
                    <a:pt x="32" y="3"/>
                  </a:cubicBezTo>
                  <a:cubicBezTo>
                    <a:pt x="32" y="3"/>
                    <a:pt x="32" y="3"/>
                    <a:pt x="32" y="3"/>
                  </a:cubicBezTo>
                  <a:cubicBezTo>
                    <a:pt x="33" y="4"/>
                    <a:pt x="34" y="5"/>
                    <a:pt x="33" y="6"/>
                  </a:cubicBezTo>
                  <a:cubicBezTo>
                    <a:pt x="33" y="6"/>
                    <a:pt x="33" y="6"/>
                    <a:pt x="33" y="6"/>
                  </a:cubicBezTo>
                  <a:cubicBezTo>
                    <a:pt x="32" y="7"/>
                    <a:pt x="31" y="7"/>
                    <a:pt x="30" y="7"/>
                  </a:cubicBezTo>
                  <a:cubicBezTo>
                    <a:pt x="30" y="7"/>
                    <a:pt x="30" y="7"/>
                    <a:pt x="30" y="7"/>
                  </a:cubicBezTo>
                  <a:cubicBezTo>
                    <a:pt x="27" y="5"/>
                    <a:pt x="24" y="4"/>
                    <a:pt x="20" y="4"/>
                  </a:cubicBezTo>
                  <a:cubicBezTo>
                    <a:pt x="20" y="4"/>
                    <a:pt x="20" y="4"/>
                    <a:pt x="20" y="4"/>
                  </a:cubicBezTo>
                  <a:cubicBezTo>
                    <a:pt x="14" y="4"/>
                    <a:pt x="8" y="7"/>
                    <a:pt x="3" y="10"/>
                  </a:cubicBezTo>
                  <a:cubicBezTo>
                    <a:pt x="3" y="10"/>
                    <a:pt x="3" y="10"/>
                    <a:pt x="3" y="10"/>
                  </a:cubicBezTo>
                  <a:cubicBezTo>
                    <a:pt x="3" y="10"/>
                    <a:pt x="3" y="10"/>
                    <a:pt x="2" y="10"/>
                  </a:cubicBezTo>
                  <a:cubicBezTo>
                    <a:pt x="2" y="10"/>
                    <a:pt x="2" y="10"/>
                    <a:pt x="2" y="10"/>
                  </a:cubicBezTo>
                  <a:cubicBezTo>
                    <a:pt x="2" y="10"/>
                    <a:pt x="1" y="10"/>
                    <a:pt x="0" y="9"/>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48" name="Freeform 196"/>
            <p:cNvSpPr>
              <a:spLocks/>
            </p:cNvSpPr>
            <p:nvPr/>
          </p:nvSpPr>
          <p:spPr bwMode="auto">
            <a:xfrm>
              <a:off x="7675563" y="2527301"/>
              <a:ext cx="171450" cy="123825"/>
            </a:xfrm>
            <a:custGeom>
              <a:avLst/>
              <a:gdLst>
                <a:gd name="T0" fmla="*/ 137160 w 15"/>
                <a:gd name="T1" fmla="*/ 112568 h 11"/>
                <a:gd name="T2" fmla="*/ 68580 w 15"/>
                <a:gd name="T3" fmla="*/ 67541 h 11"/>
                <a:gd name="T4" fmla="*/ 68580 w 15"/>
                <a:gd name="T5" fmla="*/ 67541 h 11"/>
                <a:gd name="T6" fmla="*/ 22860 w 15"/>
                <a:gd name="T7" fmla="*/ 45027 h 11"/>
                <a:gd name="T8" fmla="*/ 22860 w 15"/>
                <a:gd name="T9" fmla="*/ 45027 h 11"/>
                <a:gd name="T10" fmla="*/ 11430 w 15"/>
                <a:gd name="T11" fmla="*/ 22514 h 11"/>
                <a:gd name="T12" fmla="*/ 11430 w 15"/>
                <a:gd name="T13" fmla="*/ 22514 h 11"/>
                <a:gd name="T14" fmla="*/ 34290 w 15"/>
                <a:gd name="T15" fmla="*/ 11257 h 11"/>
                <a:gd name="T16" fmla="*/ 34290 w 15"/>
                <a:gd name="T17" fmla="*/ 11257 h 11"/>
                <a:gd name="T18" fmla="*/ 91440 w 15"/>
                <a:gd name="T19" fmla="*/ 33770 h 11"/>
                <a:gd name="T20" fmla="*/ 91440 w 15"/>
                <a:gd name="T21" fmla="*/ 33770 h 11"/>
                <a:gd name="T22" fmla="*/ 171450 w 15"/>
                <a:gd name="T23" fmla="*/ 78798 h 11"/>
                <a:gd name="T24" fmla="*/ 171450 w 15"/>
                <a:gd name="T25" fmla="*/ 78798 h 11"/>
                <a:gd name="T26" fmla="*/ 160020 w 15"/>
                <a:gd name="T27" fmla="*/ 112568 h 11"/>
                <a:gd name="T28" fmla="*/ 160020 w 15"/>
                <a:gd name="T29" fmla="*/ 112568 h 11"/>
                <a:gd name="T30" fmla="*/ 148590 w 15"/>
                <a:gd name="T31" fmla="*/ 123825 h 11"/>
                <a:gd name="T32" fmla="*/ 148590 w 15"/>
                <a:gd name="T33" fmla="*/ 123825 h 11"/>
                <a:gd name="T34" fmla="*/ 137160 w 15"/>
                <a:gd name="T35" fmla="*/ 112568 h 1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5"/>
                <a:gd name="T55" fmla="*/ 0 h 11"/>
                <a:gd name="T56" fmla="*/ 15 w 15"/>
                <a:gd name="T57" fmla="*/ 11 h 1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5" h="11">
                  <a:moveTo>
                    <a:pt x="12" y="10"/>
                  </a:moveTo>
                  <a:cubicBezTo>
                    <a:pt x="11" y="9"/>
                    <a:pt x="8" y="7"/>
                    <a:pt x="6" y="6"/>
                  </a:cubicBezTo>
                  <a:cubicBezTo>
                    <a:pt x="6" y="6"/>
                    <a:pt x="6" y="6"/>
                    <a:pt x="6" y="6"/>
                  </a:cubicBezTo>
                  <a:cubicBezTo>
                    <a:pt x="4" y="5"/>
                    <a:pt x="2" y="4"/>
                    <a:pt x="2" y="4"/>
                  </a:cubicBezTo>
                  <a:cubicBezTo>
                    <a:pt x="2" y="4"/>
                    <a:pt x="2" y="4"/>
                    <a:pt x="2" y="4"/>
                  </a:cubicBezTo>
                  <a:cubicBezTo>
                    <a:pt x="1" y="4"/>
                    <a:pt x="0" y="3"/>
                    <a:pt x="1" y="2"/>
                  </a:cubicBezTo>
                  <a:cubicBezTo>
                    <a:pt x="1" y="2"/>
                    <a:pt x="1" y="2"/>
                    <a:pt x="1" y="2"/>
                  </a:cubicBezTo>
                  <a:cubicBezTo>
                    <a:pt x="1" y="1"/>
                    <a:pt x="2" y="0"/>
                    <a:pt x="3" y="1"/>
                  </a:cubicBezTo>
                  <a:cubicBezTo>
                    <a:pt x="3" y="1"/>
                    <a:pt x="3" y="1"/>
                    <a:pt x="3" y="1"/>
                  </a:cubicBezTo>
                  <a:cubicBezTo>
                    <a:pt x="3" y="1"/>
                    <a:pt x="5" y="1"/>
                    <a:pt x="8" y="3"/>
                  </a:cubicBezTo>
                  <a:cubicBezTo>
                    <a:pt x="8" y="3"/>
                    <a:pt x="8" y="3"/>
                    <a:pt x="8" y="3"/>
                  </a:cubicBezTo>
                  <a:cubicBezTo>
                    <a:pt x="10" y="4"/>
                    <a:pt x="13" y="5"/>
                    <a:pt x="15" y="7"/>
                  </a:cubicBezTo>
                  <a:cubicBezTo>
                    <a:pt x="15" y="7"/>
                    <a:pt x="15" y="7"/>
                    <a:pt x="15" y="7"/>
                  </a:cubicBezTo>
                  <a:cubicBezTo>
                    <a:pt x="15" y="8"/>
                    <a:pt x="15" y="10"/>
                    <a:pt x="14" y="10"/>
                  </a:cubicBezTo>
                  <a:cubicBezTo>
                    <a:pt x="14" y="10"/>
                    <a:pt x="14" y="10"/>
                    <a:pt x="14" y="10"/>
                  </a:cubicBezTo>
                  <a:cubicBezTo>
                    <a:pt x="14" y="11"/>
                    <a:pt x="14" y="11"/>
                    <a:pt x="13" y="11"/>
                  </a:cubicBezTo>
                  <a:cubicBezTo>
                    <a:pt x="13" y="11"/>
                    <a:pt x="13" y="11"/>
                    <a:pt x="13" y="11"/>
                  </a:cubicBezTo>
                  <a:cubicBezTo>
                    <a:pt x="13" y="11"/>
                    <a:pt x="12" y="10"/>
                    <a:pt x="12" y="10"/>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49" name="Freeform 197"/>
            <p:cNvSpPr>
              <a:spLocks/>
            </p:cNvSpPr>
            <p:nvPr/>
          </p:nvSpPr>
          <p:spPr bwMode="auto">
            <a:xfrm>
              <a:off x="7732713" y="2459038"/>
              <a:ext cx="171450" cy="123825"/>
            </a:xfrm>
            <a:custGeom>
              <a:avLst/>
              <a:gdLst>
                <a:gd name="T0" fmla="*/ 137160 w 15"/>
                <a:gd name="T1" fmla="*/ 123825 h 11"/>
                <a:gd name="T2" fmla="*/ 80010 w 15"/>
                <a:gd name="T3" fmla="*/ 67541 h 11"/>
                <a:gd name="T4" fmla="*/ 80010 w 15"/>
                <a:gd name="T5" fmla="*/ 67541 h 11"/>
                <a:gd name="T6" fmla="*/ 22860 w 15"/>
                <a:gd name="T7" fmla="*/ 45027 h 11"/>
                <a:gd name="T8" fmla="*/ 22860 w 15"/>
                <a:gd name="T9" fmla="*/ 45027 h 11"/>
                <a:gd name="T10" fmla="*/ 22860 w 15"/>
                <a:gd name="T11" fmla="*/ 45027 h 11"/>
                <a:gd name="T12" fmla="*/ 0 w 15"/>
                <a:gd name="T13" fmla="*/ 11257 h 11"/>
                <a:gd name="T14" fmla="*/ 0 w 15"/>
                <a:gd name="T15" fmla="*/ 11257 h 11"/>
                <a:gd name="T16" fmla="*/ 34290 w 15"/>
                <a:gd name="T17" fmla="*/ 0 h 11"/>
                <a:gd name="T18" fmla="*/ 34290 w 15"/>
                <a:gd name="T19" fmla="*/ 0 h 11"/>
                <a:gd name="T20" fmla="*/ 102870 w 15"/>
                <a:gd name="T21" fmla="*/ 33770 h 11"/>
                <a:gd name="T22" fmla="*/ 102870 w 15"/>
                <a:gd name="T23" fmla="*/ 33770 h 11"/>
                <a:gd name="T24" fmla="*/ 160020 w 15"/>
                <a:gd name="T25" fmla="*/ 90055 h 11"/>
                <a:gd name="T26" fmla="*/ 160020 w 15"/>
                <a:gd name="T27" fmla="*/ 90055 h 11"/>
                <a:gd name="T28" fmla="*/ 171450 w 15"/>
                <a:gd name="T29" fmla="*/ 112568 h 11"/>
                <a:gd name="T30" fmla="*/ 171450 w 15"/>
                <a:gd name="T31" fmla="*/ 112568 h 11"/>
                <a:gd name="T32" fmla="*/ 148590 w 15"/>
                <a:gd name="T33" fmla="*/ 123825 h 11"/>
                <a:gd name="T34" fmla="*/ 148590 w 15"/>
                <a:gd name="T35" fmla="*/ 123825 h 11"/>
                <a:gd name="T36" fmla="*/ 137160 w 15"/>
                <a:gd name="T37" fmla="*/ 123825 h 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
                <a:gd name="T58" fmla="*/ 0 h 11"/>
                <a:gd name="T59" fmla="*/ 15 w 15"/>
                <a:gd name="T60" fmla="*/ 11 h 1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 h="11">
                  <a:moveTo>
                    <a:pt x="12" y="11"/>
                  </a:moveTo>
                  <a:cubicBezTo>
                    <a:pt x="10" y="9"/>
                    <a:pt x="8" y="7"/>
                    <a:pt x="7" y="6"/>
                  </a:cubicBezTo>
                  <a:cubicBezTo>
                    <a:pt x="7" y="6"/>
                    <a:pt x="7" y="6"/>
                    <a:pt x="7" y="6"/>
                  </a:cubicBezTo>
                  <a:cubicBezTo>
                    <a:pt x="5" y="5"/>
                    <a:pt x="4" y="5"/>
                    <a:pt x="2" y="4"/>
                  </a:cubicBezTo>
                  <a:cubicBezTo>
                    <a:pt x="2" y="4"/>
                    <a:pt x="2" y="4"/>
                    <a:pt x="2" y="4"/>
                  </a:cubicBezTo>
                  <a:cubicBezTo>
                    <a:pt x="2" y="4"/>
                    <a:pt x="2" y="4"/>
                    <a:pt x="2" y="4"/>
                  </a:cubicBezTo>
                  <a:cubicBezTo>
                    <a:pt x="1" y="4"/>
                    <a:pt x="0" y="3"/>
                    <a:pt x="0" y="1"/>
                  </a:cubicBezTo>
                  <a:cubicBezTo>
                    <a:pt x="0" y="1"/>
                    <a:pt x="0" y="1"/>
                    <a:pt x="0" y="1"/>
                  </a:cubicBezTo>
                  <a:cubicBezTo>
                    <a:pt x="1" y="0"/>
                    <a:pt x="2" y="0"/>
                    <a:pt x="3" y="0"/>
                  </a:cubicBezTo>
                  <a:cubicBezTo>
                    <a:pt x="3" y="0"/>
                    <a:pt x="3" y="0"/>
                    <a:pt x="3" y="0"/>
                  </a:cubicBezTo>
                  <a:cubicBezTo>
                    <a:pt x="6" y="1"/>
                    <a:pt x="8" y="2"/>
                    <a:pt x="9" y="3"/>
                  </a:cubicBezTo>
                  <a:cubicBezTo>
                    <a:pt x="9" y="3"/>
                    <a:pt x="9" y="3"/>
                    <a:pt x="9" y="3"/>
                  </a:cubicBezTo>
                  <a:cubicBezTo>
                    <a:pt x="11" y="5"/>
                    <a:pt x="12" y="6"/>
                    <a:pt x="14" y="8"/>
                  </a:cubicBezTo>
                  <a:cubicBezTo>
                    <a:pt x="14" y="8"/>
                    <a:pt x="14" y="8"/>
                    <a:pt x="14" y="8"/>
                  </a:cubicBezTo>
                  <a:cubicBezTo>
                    <a:pt x="15" y="8"/>
                    <a:pt x="15" y="10"/>
                    <a:pt x="15" y="10"/>
                  </a:cubicBezTo>
                  <a:cubicBezTo>
                    <a:pt x="15" y="10"/>
                    <a:pt x="15" y="10"/>
                    <a:pt x="15" y="10"/>
                  </a:cubicBezTo>
                  <a:cubicBezTo>
                    <a:pt x="14" y="11"/>
                    <a:pt x="14" y="11"/>
                    <a:pt x="13" y="11"/>
                  </a:cubicBezTo>
                  <a:cubicBezTo>
                    <a:pt x="13" y="11"/>
                    <a:pt x="13" y="11"/>
                    <a:pt x="13" y="11"/>
                  </a:cubicBezTo>
                  <a:cubicBezTo>
                    <a:pt x="13" y="11"/>
                    <a:pt x="12" y="11"/>
                    <a:pt x="12" y="11"/>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50" name="Freeform 198"/>
            <p:cNvSpPr>
              <a:spLocks/>
            </p:cNvSpPr>
            <p:nvPr/>
          </p:nvSpPr>
          <p:spPr bwMode="auto">
            <a:xfrm>
              <a:off x="7585075" y="1912937"/>
              <a:ext cx="420688" cy="442912"/>
            </a:xfrm>
            <a:custGeom>
              <a:avLst/>
              <a:gdLst>
                <a:gd name="T0" fmla="*/ 386578 w 37"/>
                <a:gd name="T1" fmla="*/ 431555 h 39"/>
                <a:gd name="T2" fmla="*/ 204659 w 37"/>
                <a:gd name="T3" fmla="*/ 193064 h 39"/>
                <a:gd name="T4" fmla="*/ 204659 w 37"/>
                <a:gd name="T5" fmla="*/ 193064 h 39"/>
                <a:gd name="T6" fmla="*/ 147809 w 37"/>
                <a:gd name="T7" fmla="*/ 79497 h 39"/>
                <a:gd name="T8" fmla="*/ 147809 w 37"/>
                <a:gd name="T9" fmla="*/ 79497 h 39"/>
                <a:gd name="T10" fmla="*/ 34110 w 37"/>
                <a:gd name="T11" fmla="*/ 45427 h 39"/>
                <a:gd name="T12" fmla="*/ 34110 w 37"/>
                <a:gd name="T13" fmla="*/ 45427 h 39"/>
                <a:gd name="T14" fmla="*/ 22740 w 37"/>
                <a:gd name="T15" fmla="*/ 45427 h 39"/>
                <a:gd name="T16" fmla="*/ 22740 w 37"/>
                <a:gd name="T17" fmla="*/ 45427 h 39"/>
                <a:gd name="T18" fmla="*/ 0 w 37"/>
                <a:gd name="T19" fmla="*/ 22713 h 39"/>
                <a:gd name="T20" fmla="*/ 0 w 37"/>
                <a:gd name="T21" fmla="*/ 22713 h 39"/>
                <a:gd name="T22" fmla="*/ 22740 w 37"/>
                <a:gd name="T23" fmla="*/ 0 h 39"/>
                <a:gd name="T24" fmla="*/ 22740 w 37"/>
                <a:gd name="T25" fmla="*/ 0 h 39"/>
                <a:gd name="T26" fmla="*/ 34110 w 37"/>
                <a:gd name="T27" fmla="*/ 0 h 39"/>
                <a:gd name="T28" fmla="*/ 34110 w 37"/>
                <a:gd name="T29" fmla="*/ 0 h 39"/>
                <a:gd name="T30" fmla="*/ 181919 w 37"/>
                <a:gd name="T31" fmla="*/ 56784 h 39"/>
                <a:gd name="T32" fmla="*/ 181919 w 37"/>
                <a:gd name="T33" fmla="*/ 56784 h 39"/>
                <a:gd name="T34" fmla="*/ 250139 w 37"/>
                <a:gd name="T35" fmla="*/ 170351 h 39"/>
                <a:gd name="T36" fmla="*/ 250139 w 37"/>
                <a:gd name="T37" fmla="*/ 170351 h 39"/>
                <a:gd name="T38" fmla="*/ 409318 w 37"/>
                <a:gd name="T39" fmla="*/ 397485 h 39"/>
                <a:gd name="T40" fmla="*/ 409318 w 37"/>
                <a:gd name="T41" fmla="*/ 397485 h 39"/>
                <a:gd name="T42" fmla="*/ 409318 w 37"/>
                <a:gd name="T43" fmla="*/ 431555 h 39"/>
                <a:gd name="T44" fmla="*/ 409318 w 37"/>
                <a:gd name="T45" fmla="*/ 431555 h 39"/>
                <a:gd name="T46" fmla="*/ 397948 w 37"/>
                <a:gd name="T47" fmla="*/ 442912 h 39"/>
                <a:gd name="T48" fmla="*/ 397948 w 37"/>
                <a:gd name="T49" fmla="*/ 442912 h 39"/>
                <a:gd name="T50" fmla="*/ 386578 w 37"/>
                <a:gd name="T51" fmla="*/ 431555 h 3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7"/>
                <a:gd name="T79" fmla="*/ 0 h 39"/>
                <a:gd name="T80" fmla="*/ 37 w 37"/>
                <a:gd name="T81" fmla="*/ 39 h 3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7" h="39">
                  <a:moveTo>
                    <a:pt x="34" y="38"/>
                  </a:moveTo>
                  <a:cubicBezTo>
                    <a:pt x="26" y="32"/>
                    <a:pt x="23" y="26"/>
                    <a:pt x="18" y="17"/>
                  </a:cubicBezTo>
                  <a:cubicBezTo>
                    <a:pt x="18" y="17"/>
                    <a:pt x="18" y="17"/>
                    <a:pt x="18" y="17"/>
                  </a:cubicBezTo>
                  <a:cubicBezTo>
                    <a:pt x="16" y="13"/>
                    <a:pt x="15" y="10"/>
                    <a:pt x="13" y="7"/>
                  </a:cubicBezTo>
                  <a:cubicBezTo>
                    <a:pt x="13" y="7"/>
                    <a:pt x="13" y="7"/>
                    <a:pt x="13" y="7"/>
                  </a:cubicBezTo>
                  <a:cubicBezTo>
                    <a:pt x="11" y="5"/>
                    <a:pt x="8" y="4"/>
                    <a:pt x="3" y="4"/>
                  </a:cubicBezTo>
                  <a:cubicBezTo>
                    <a:pt x="3" y="4"/>
                    <a:pt x="3" y="4"/>
                    <a:pt x="3" y="4"/>
                  </a:cubicBezTo>
                  <a:cubicBezTo>
                    <a:pt x="3" y="4"/>
                    <a:pt x="2" y="4"/>
                    <a:pt x="2" y="4"/>
                  </a:cubicBezTo>
                  <a:cubicBezTo>
                    <a:pt x="2" y="4"/>
                    <a:pt x="2" y="4"/>
                    <a:pt x="2" y="4"/>
                  </a:cubicBezTo>
                  <a:cubicBezTo>
                    <a:pt x="1" y="4"/>
                    <a:pt x="0" y="3"/>
                    <a:pt x="0" y="2"/>
                  </a:cubicBezTo>
                  <a:cubicBezTo>
                    <a:pt x="0" y="2"/>
                    <a:pt x="0" y="2"/>
                    <a:pt x="0" y="2"/>
                  </a:cubicBezTo>
                  <a:cubicBezTo>
                    <a:pt x="0" y="1"/>
                    <a:pt x="1" y="0"/>
                    <a:pt x="2" y="0"/>
                  </a:cubicBezTo>
                  <a:cubicBezTo>
                    <a:pt x="2" y="0"/>
                    <a:pt x="2" y="0"/>
                    <a:pt x="2" y="0"/>
                  </a:cubicBezTo>
                  <a:cubicBezTo>
                    <a:pt x="2" y="0"/>
                    <a:pt x="3" y="0"/>
                    <a:pt x="3" y="0"/>
                  </a:cubicBezTo>
                  <a:cubicBezTo>
                    <a:pt x="3" y="0"/>
                    <a:pt x="3" y="0"/>
                    <a:pt x="3" y="0"/>
                  </a:cubicBezTo>
                  <a:cubicBezTo>
                    <a:pt x="9" y="0"/>
                    <a:pt x="13" y="2"/>
                    <a:pt x="16" y="5"/>
                  </a:cubicBezTo>
                  <a:cubicBezTo>
                    <a:pt x="16" y="5"/>
                    <a:pt x="16" y="5"/>
                    <a:pt x="16" y="5"/>
                  </a:cubicBezTo>
                  <a:cubicBezTo>
                    <a:pt x="18" y="8"/>
                    <a:pt x="20" y="12"/>
                    <a:pt x="22" y="15"/>
                  </a:cubicBezTo>
                  <a:cubicBezTo>
                    <a:pt x="22" y="15"/>
                    <a:pt x="22" y="15"/>
                    <a:pt x="22" y="15"/>
                  </a:cubicBezTo>
                  <a:cubicBezTo>
                    <a:pt x="26" y="24"/>
                    <a:pt x="29" y="30"/>
                    <a:pt x="36" y="35"/>
                  </a:cubicBezTo>
                  <a:cubicBezTo>
                    <a:pt x="36" y="35"/>
                    <a:pt x="36" y="35"/>
                    <a:pt x="36" y="35"/>
                  </a:cubicBezTo>
                  <a:cubicBezTo>
                    <a:pt x="37" y="36"/>
                    <a:pt x="37" y="37"/>
                    <a:pt x="36" y="38"/>
                  </a:cubicBezTo>
                  <a:cubicBezTo>
                    <a:pt x="36" y="38"/>
                    <a:pt x="36" y="38"/>
                    <a:pt x="36" y="38"/>
                  </a:cubicBezTo>
                  <a:cubicBezTo>
                    <a:pt x="36" y="38"/>
                    <a:pt x="35" y="39"/>
                    <a:pt x="35" y="39"/>
                  </a:cubicBezTo>
                  <a:cubicBezTo>
                    <a:pt x="35" y="39"/>
                    <a:pt x="35" y="39"/>
                    <a:pt x="35" y="39"/>
                  </a:cubicBezTo>
                  <a:cubicBezTo>
                    <a:pt x="34" y="39"/>
                    <a:pt x="34" y="38"/>
                    <a:pt x="34" y="38"/>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51" name="Freeform 199"/>
            <p:cNvSpPr>
              <a:spLocks/>
            </p:cNvSpPr>
            <p:nvPr/>
          </p:nvSpPr>
          <p:spPr bwMode="auto">
            <a:xfrm>
              <a:off x="7185025" y="1833562"/>
              <a:ext cx="844550" cy="442912"/>
            </a:xfrm>
            <a:custGeom>
              <a:avLst/>
              <a:gdLst>
                <a:gd name="T0" fmla="*/ 11413 w 74"/>
                <a:gd name="T1" fmla="*/ 442912 h 39"/>
                <a:gd name="T2" fmla="*/ 11413 w 74"/>
                <a:gd name="T3" fmla="*/ 408842 h 39"/>
                <a:gd name="T4" fmla="*/ 11413 w 74"/>
                <a:gd name="T5" fmla="*/ 408842 h 39"/>
                <a:gd name="T6" fmla="*/ 159780 w 74"/>
                <a:gd name="T7" fmla="*/ 204421 h 39"/>
                <a:gd name="T8" fmla="*/ 159780 w 74"/>
                <a:gd name="T9" fmla="*/ 204421 h 39"/>
                <a:gd name="T10" fmla="*/ 388037 w 74"/>
                <a:gd name="T11" fmla="*/ 11357 h 39"/>
                <a:gd name="T12" fmla="*/ 388037 w 74"/>
                <a:gd name="T13" fmla="*/ 11357 h 39"/>
                <a:gd name="T14" fmla="*/ 467926 w 74"/>
                <a:gd name="T15" fmla="*/ 0 h 39"/>
                <a:gd name="T16" fmla="*/ 467926 w 74"/>
                <a:gd name="T17" fmla="*/ 0 h 39"/>
                <a:gd name="T18" fmla="*/ 627706 w 74"/>
                <a:gd name="T19" fmla="*/ 68140 h 39"/>
                <a:gd name="T20" fmla="*/ 627706 w 74"/>
                <a:gd name="T21" fmla="*/ 68140 h 39"/>
                <a:gd name="T22" fmla="*/ 719009 w 74"/>
                <a:gd name="T23" fmla="*/ 227134 h 39"/>
                <a:gd name="T24" fmla="*/ 719009 w 74"/>
                <a:gd name="T25" fmla="*/ 227134 h 39"/>
                <a:gd name="T26" fmla="*/ 833137 w 74"/>
                <a:gd name="T27" fmla="*/ 386128 h 39"/>
                <a:gd name="T28" fmla="*/ 833137 w 74"/>
                <a:gd name="T29" fmla="*/ 386128 h 39"/>
                <a:gd name="T30" fmla="*/ 833137 w 74"/>
                <a:gd name="T31" fmla="*/ 408842 h 39"/>
                <a:gd name="T32" fmla="*/ 833137 w 74"/>
                <a:gd name="T33" fmla="*/ 408842 h 39"/>
                <a:gd name="T34" fmla="*/ 798899 w 74"/>
                <a:gd name="T35" fmla="*/ 420199 h 39"/>
                <a:gd name="T36" fmla="*/ 798899 w 74"/>
                <a:gd name="T37" fmla="*/ 420199 h 39"/>
                <a:gd name="T38" fmla="*/ 684770 w 74"/>
                <a:gd name="T39" fmla="*/ 249848 h 39"/>
                <a:gd name="T40" fmla="*/ 684770 w 74"/>
                <a:gd name="T41" fmla="*/ 249848 h 39"/>
                <a:gd name="T42" fmla="*/ 593467 w 74"/>
                <a:gd name="T43" fmla="*/ 102210 h 39"/>
                <a:gd name="T44" fmla="*/ 593467 w 74"/>
                <a:gd name="T45" fmla="*/ 102210 h 39"/>
                <a:gd name="T46" fmla="*/ 467926 w 74"/>
                <a:gd name="T47" fmla="*/ 45427 h 39"/>
                <a:gd name="T48" fmla="*/ 467926 w 74"/>
                <a:gd name="T49" fmla="*/ 45427 h 39"/>
                <a:gd name="T50" fmla="*/ 399449 w 74"/>
                <a:gd name="T51" fmla="*/ 45427 h 39"/>
                <a:gd name="T52" fmla="*/ 399449 w 74"/>
                <a:gd name="T53" fmla="*/ 45427 h 39"/>
                <a:gd name="T54" fmla="*/ 194018 w 74"/>
                <a:gd name="T55" fmla="*/ 227134 h 39"/>
                <a:gd name="T56" fmla="*/ 194018 w 74"/>
                <a:gd name="T57" fmla="*/ 227134 h 39"/>
                <a:gd name="T58" fmla="*/ 45651 w 74"/>
                <a:gd name="T59" fmla="*/ 431555 h 39"/>
                <a:gd name="T60" fmla="*/ 45651 w 74"/>
                <a:gd name="T61" fmla="*/ 431555 h 39"/>
                <a:gd name="T62" fmla="*/ 45651 w 74"/>
                <a:gd name="T63" fmla="*/ 431555 h 39"/>
                <a:gd name="T64" fmla="*/ 22826 w 74"/>
                <a:gd name="T65" fmla="*/ 442912 h 39"/>
                <a:gd name="T66" fmla="*/ 22826 w 74"/>
                <a:gd name="T67" fmla="*/ 442912 h 39"/>
                <a:gd name="T68" fmla="*/ 11413 w 74"/>
                <a:gd name="T69" fmla="*/ 442912 h 3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4"/>
                <a:gd name="T106" fmla="*/ 0 h 39"/>
                <a:gd name="T107" fmla="*/ 74 w 74"/>
                <a:gd name="T108" fmla="*/ 39 h 3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4" h="39">
                  <a:moveTo>
                    <a:pt x="1" y="39"/>
                  </a:moveTo>
                  <a:cubicBezTo>
                    <a:pt x="0" y="38"/>
                    <a:pt x="0" y="37"/>
                    <a:pt x="1" y="36"/>
                  </a:cubicBezTo>
                  <a:cubicBezTo>
                    <a:pt x="1" y="36"/>
                    <a:pt x="1" y="36"/>
                    <a:pt x="1" y="36"/>
                  </a:cubicBezTo>
                  <a:cubicBezTo>
                    <a:pt x="3" y="33"/>
                    <a:pt x="8" y="25"/>
                    <a:pt x="14" y="18"/>
                  </a:cubicBezTo>
                  <a:cubicBezTo>
                    <a:pt x="14" y="18"/>
                    <a:pt x="14" y="18"/>
                    <a:pt x="14" y="18"/>
                  </a:cubicBezTo>
                  <a:cubicBezTo>
                    <a:pt x="20" y="10"/>
                    <a:pt x="27" y="3"/>
                    <a:pt x="34" y="1"/>
                  </a:cubicBezTo>
                  <a:cubicBezTo>
                    <a:pt x="34" y="1"/>
                    <a:pt x="34" y="1"/>
                    <a:pt x="34" y="1"/>
                  </a:cubicBezTo>
                  <a:cubicBezTo>
                    <a:pt x="36" y="0"/>
                    <a:pt x="39" y="0"/>
                    <a:pt x="41" y="0"/>
                  </a:cubicBezTo>
                  <a:cubicBezTo>
                    <a:pt x="41" y="0"/>
                    <a:pt x="41" y="0"/>
                    <a:pt x="41" y="0"/>
                  </a:cubicBezTo>
                  <a:cubicBezTo>
                    <a:pt x="46" y="0"/>
                    <a:pt x="51" y="2"/>
                    <a:pt x="55" y="6"/>
                  </a:cubicBezTo>
                  <a:cubicBezTo>
                    <a:pt x="55" y="6"/>
                    <a:pt x="55" y="6"/>
                    <a:pt x="55" y="6"/>
                  </a:cubicBezTo>
                  <a:cubicBezTo>
                    <a:pt x="59" y="10"/>
                    <a:pt x="61" y="15"/>
                    <a:pt x="63" y="20"/>
                  </a:cubicBezTo>
                  <a:cubicBezTo>
                    <a:pt x="63" y="20"/>
                    <a:pt x="63" y="20"/>
                    <a:pt x="63" y="20"/>
                  </a:cubicBezTo>
                  <a:cubicBezTo>
                    <a:pt x="65" y="23"/>
                    <a:pt x="68" y="31"/>
                    <a:pt x="73" y="34"/>
                  </a:cubicBezTo>
                  <a:cubicBezTo>
                    <a:pt x="73" y="34"/>
                    <a:pt x="73" y="34"/>
                    <a:pt x="73" y="34"/>
                  </a:cubicBezTo>
                  <a:cubicBezTo>
                    <a:pt x="73" y="34"/>
                    <a:pt x="74" y="35"/>
                    <a:pt x="73" y="36"/>
                  </a:cubicBezTo>
                  <a:cubicBezTo>
                    <a:pt x="73" y="36"/>
                    <a:pt x="73" y="36"/>
                    <a:pt x="73" y="36"/>
                  </a:cubicBezTo>
                  <a:cubicBezTo>
                    <a:pt x="72" y="37"/>
                    <a:pt x="71" y="37"/>
                    <a:pt x="70" y="37"/>
                  </a:cubicBezTo>
                  <a:cubicBezTo>
                    <a:pt x="70" y="37"/>
                    <a:pt x="70" y="37"/>
                    <a:pt x="70" y="37"/>
                  </a:cubicBezTo>
                  <a:cubicBezTo>
                    <a:pt x="64" y="33"/>
                    <a:pt x="61" y="25"/>
                    <a:pt x="60" y="22"/>
                  </a:cubicBezTo>
                  <a:cubicBezTo>
                    <a:pt x="60" y="22"/>
                    <a:pt x="60" y="22"/>
                    <a:pt x="60" y="22"/>
                  </a:cubicBezTo>
                  <a:cubicBezTo>
                    <a:pt x="58" y="17"/>
                    <a:pt x="55" y="12"/>
                    <a:pt x="52" y="9"/>
                  </a:cubicBezTo>
                  <a:cubicBezTo>
                    <a:pt x="52" y="9"/>
                    <a:pt x="52" y="9"/>
                    <a:pt x="52" y="9"/>
                  </a:cubicBezTo>
                  <a:cubicBezTo>
                    <a:pt x="49" y="6"/>
                    <a:pt x="45" y="4"/>
                    <a:pt x="41" y="4"/>
                  </a:cubicBezTo>
                  <a:cubicBezTo>
                    <a:pt x="41" y="4"/>
                    <a:pt x="41" y="4"/>
                    <a:pt x="41" y="4"/>
                  </a:cubicBezTo>
                  <a:cubicBezTo>
                    <a:pt x="39" y="4"/>
                    <a:pt x="37" y="4"/>
                    <a:pt x="35" y="4"/>
                  </a:cubicBezTo>
                  <a:cubicBezTo>
                    <a:pt x="35" y="4"/>
                    <a:pt x="35" y="4"/>
                    <a:pt x="35" y="4"/>
                  </a:cubicBezTo>
                  <a:cubicBezTo>
                    <a:pt x="29" y="6"/>
                    <a:pt x="23" y="13"/>
                    <a:pt x="17" y="20"/>
                  </a:cubicBezTo>
                  <a:cubicBezTo>
                    <a:pt x="17" y="20"/>
                    <a:pt x="17" y="20"/>
                    <a:pt x="17" y="20"/>
                  </a:cubicBezTo>
                  <a:cubicBezTo>
                    <a:pt x="11" y="27"/>
                    <a:pt x="7" y="35"/>
                    <a:pt x="4" y="38"/>
                  </a:cubicBezTo>
                  <a:cubicBezTo>
                    <a:pt x="4" y="38"/>
                    <a:pt x="4" y="38"/>
                    <a:pt x="4" y="38"/>
                  </a:cubicBezTo>
                  <a:cubicBezTo>
                    <a:pt x="4" y="38"/>
                    <a:pt x="4" y="38"/>
                    <a:pt x="4" y="38"/>
                  </a:cubicBezTo>
                  <a:cubicBezTo>
                    <a:pt x="3" y="39"/>
                    <a:pt x="3" y="39"/>
                    <a:pt x="2" y="39"/>
                  </a:cubicBezTo>
                  <a:cubicBezTo>
                    <a:pt x="2" y="39"/>
                    <a:pt x="2" y="39"/>
                    <a:pt x="2" y="39"/>
                  </a:cubicBezTo>
                  <a:cubicBezTo>
                    <a:pt x="2" y="39"/>
                    <a:pt x="1" y="39"/>
                    <a:pt x="1" y="39"/>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52" name="Freeform 200"/>
            <p:cNvSpPr>
              <a:spLocks/>
            </p:cNvSpPr>
            <p:nvPr/>
          </p:nvSpPr>
          <p:spPr bwMode="auto">
            <a:xfrm>
              <a:off x="7334250" y="1447800"/>
              <a:ext cx="546100" cy="125412"/>
            </a:xfrm>
            <a:custGeom>
              <a:avLst/>
              <a:gdLst>
                <a:gd name="T0" fmla="*/ 511969 w 48"/>
                <a:gd name="T1" fmla="*/ 125412 h 11"/>
                <a:gd name="T2" fmla="*/ 261673 w 48"/>
                <a:gd name="T3" fmla="*/ 45604 h 11"/>
                <a:gd name="T4" fmla="*/ 261673 w 48"/>
                <a:gd name="T5" fmla="*/ 45604 h 11"/>
                <a:gd name="T6" fmla="*/ 261673 w 48"/>
                <a:gd name="T7" fmla="*/ 45604 h 11"/>
                <a:gd name="T8" fmla="*/ 261673 w 48"/>
                <a:gd name="T9" fmla="*/ 45604 h 11"/>
                <a:gd name="T10" fmla="*/ 34131 w 48"/>
                <a:gd name="T11" fmla="*/ 114011 h 11"/>
                <a:gd name="T12" fmla="*/ 34131 w 48"/>
                <a:gd name="T13" fmla="*/ 114011 h 11"/>
                <a:gd name="T14" fmla="*/ 34131 w 48"/>
                <a:gd name="T15" fmla="*/ 114011 h 11"/>
                <a:gd name="T16" fmla="*/ 0 w 48"/>
                <a:gd name="T17" fmla="*/ 102610 h 11"/>
                <a:gd name="T18" fmla="*/ 0 w 48"/>
                <a:gd name="T19" fmla="*/ 102610 h 11"/>
                <a:gd name="T20" fmla="*/ 11377 w 48"/>
                <a:gd name="T21" fmla="*/ 79808 h 11"/>
                <a:gd name="T22" fmla="*/ 11377 w 48"/>
                <a:gd name="T23" fmla="*/ 79808 h 11"/>
                <a:gd name="T24" fmla="*/ 261673 w 48"/>
                <a:gd name="T25" fmla="*/ 0 h 11"/>
                <a:gd name="T26" fmla="*/ 261673 w 48"/>
                <a:gd name="T27" fmla="*/ 0 h 11"/>
                <a:gd name="T28" fmla="*/ 261673 w 48"/>
                <a:gd name="T29" fmla="*/ 0 h 11"/>
                <a:gd name="T30" fmla="*/ 261673 w 48"/>
                <a:gd name="T31" fmla="*/ 0 h 11"/>
                <a:gd name="T32" fmla="*/ 534723 w 48"/>
                <a:gd name="T33" fmla="*/ 91209 h 11"/>
                <a:gd name="T34" fmla="*/ 534723 w 48"/>
                <a:gd name="T35" fmla="*/ 91209 h 11"/>
                <a:gd name="T36" fmla="*/ 546100 w 48"/>
                <a:gd name="T37" fmla="*/ 125412 h 11"/>
                <a:gd name="T38" fmla="*/ 546100 w 48"/>
                <a:gd name="T39" fmla="*/ 125412 h 11"/>
                <a:gd name="T40" fmla="*/ 523346 w 48"/>
                <a:gd name="T41" fmla="*/ 125412 h 11"/>
                <a:gd name="T42" fmla="*/ 523346 w 48"/>
                <a:gd name="T43" fmla="*/ 125412 h 11"/>
                <a:gd name="T44" fmla="*/ 511969 w 48"/>
                <a:gd name="T45" fmla="*/ 125412 h 1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8"/>
                <a:gd name="T70" fmla="*/ 0 h 11"/>
                <a:gd name="T71" fmla="*/ 48 w 48"/>
                <a:gd name="T72" fmla="*/ 11 h 1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8" h="11">
                  <a:moveTo>
                    <a:pt x="45" y="11"/>
                  </a:moveTo>
                  <a:cubicBezTo>
                    <a:pt x="36" y="5"/>
                    <a:pt x="29" y="4"/>
                    <a:pt x="23" y="4"/>
                  </a:cubicBezTo>
                  <a:cubicBezTo>
                    <a:pt x="23" y="4"/>
                    <a:pt x="23" y="4"/>
                    <a:pt x="23" y="4"/>
                  </a:cubicBezTo>
                  <a:cubicBezTo>
                    <a:pt x="23" y="4"/>
                    <a:pt x="23" y="4"/>
                    <a:pt x="23" y="4"/>
                  </a:cubicBezTo>
                  <a:cubicBezTo>
                    <a:pt x="23" y="4"/>
                    <a:pt x="23" y="4"/>
                    <a:pt x="23" y="4"/>
                  </a:cubicBezTo>
                  <a:cubicBezTo>
                    <a:pt x="14" y="4"/>
                    <a:pt x="9" y="7"/>
                    <a:pt x="3" y="10"/>
                  </a:cubicBezTo>
                  <a:cubicBezTo>
                    <a:pt x="3" y="10"/>
                    <a:pt x="3" y="10"/>
                    <a:pt x="3" y="10"/>
                  </a:cubicBezTo>
                  <a:cubicBezTo>
                    <a:pt x="3" y="10"/>
                    <a:pt x="3" y="10"/>
                    <a:pt x="3" y="10"/>
                  </a:cubicBezTo>
                  <a:cubicBezTo>
                    <a:pt x="2" y="11"/>
                    <a:pt x="1" y="10"/>
                    <a:pt x="0" y="9"/>
                  </a:cubicBezTo>
                  <a:cubicBezTo>
                    <a:pt x="0" y="9"/>
                    <a:pt x="0" y="9"/>
                    <a:pt x="0" y="9"/>
                  </a:cubicBezTo>
                  <a:cubicBezTo>
                    <a:pt x="0" y="8"/>
                    <a:pt x="0" y="7"/>
                    <a:pt x="1" y="7"/>
                  </a:cubicBezTo>
                  <a:cubicBezTo>
                    <a:pt x="1" y="7"/>
                    <a:pt x="1" y="7"/>
                    <a:pt x="1" y="7"/>
                  </a:cubicBezTo>
                  <a:cubicBezTo>
                    <a:pt x="7" y="4"/>
                    <a:pt x="13" y="0"/>
                    <a:pt x="23" y="0"/>
                  </a:cubicBezTo>
                  <a:cubicBezTo>
                    <a:pt x="23" y="0"/>
                    <a:pt x="23" y="0"/>
                    <a:pt x="23" y="0"/>
                  </a:cubicBezTo>
                  <a:cubicBezTo>
                    <a:pt x="23" y="0"/>
                    <a:pt x="23" y="0"/>
                    <a:pt x="23" y="0"/>
                  </a:cubicBezTo>
                  <a:cubicBezTo>
                    <a:pt x="23" y="0"/>
                    <a:pt x="23" y="0"/>
                    <a:pt x="23" y="0"/>
                  </a:cubicBezTo>
                  <a:cubicBezTo>
                    <a:pt x="30" y="0"/>
                    <a:pt x="38" y="1"/>
                    <a:pt x="47" y="8"/>
                  </a:cubicBezTo>
                  <a:cubicBezTo>
                    <a:pt x="47" y="8"/>
                    <a:pt x="47" y="8"/>
                    <a:pt x="47" y="8"/>
                  </a:cubicBezTo>
                  <a:cubicBezTo>
                    <a:pt x="48" y="9"/>
                    <a:pt x="48" y="10"/>
                    <a:pt x="48" y="11"/>
                  </a:cubicBezTo>
                  <a:cubicBezTo>
                    <a:pt x="48" y="11"/>
                    <a:pt x="48" y="11"/>
                    <a:pt x="48" y="11"/>
                  </a:cubicBezTo>
                  <a:cubicBezTo>
                    <a:pt x="47" y="11"/>
                    <a:pt x="47" y="11"/>
                    <a:pt x="46" y="11"/>
                  </a:cubicBezTo>
                  <a:cubicBezTo>
                    <a:pt x="46" y="11"/>
                    <a:pt x="46" y="11"/>
                    <a:pt x="46" y="11"/>
                  </a:cubicBezTo>
                  <a:cubicBezTo>
                    <a:pt x="46" y="11"/>
                    <a:pt x="45" y="11"/>
                    <a:pt x="45" y="11"/>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53" name="Freeform 201"/>
            <p:cNvSpPr>
              <a:spLocks/>
            </p:cNvSpPr>
            <p:nvPr/>
          </p:nvSpPr>
          <p:spPr bwMode="auto">
            <a:xfrm>
              <a:off x="7231063" y="1538287"/>
              <a:ext cx="719138" cy="238125"/>
            </a:xfrm>
            <a:custGeom>
              <a:avLst/>
              <a:gdLst>
                <a:gd name="T0" fmla="*/ 0 w 63"/>
                <a:gd name="T1" fmla="*/ 226786 h 21"/>
                <a:gd name="T2" fmla="*/ 11415 w 63"/>
                <a:gd name="T3" fmla="*/ 192768 h 21"/>
                <a:gd name="T4" fmla="*/ 11415 w 63"/>
                <a:gd name="T5" fmla="*/ 192768 h 21"/>
                <a:gd name="T6" fmla="*/ 296787 w 63"/>
                <a:gd name="T7" fmla="*/ 11339 h 21"/>
                <a:gd name="T8" fmla="*/ 296787 w 63"/>
                <a:gd name="T9" fmla="*/ 11339 h 21"/>
                <a:gd name="T10" fmla="*/ 388106 w 63"/>
                <a:gd name="T11" fmla="*/ 0 h 21"/>
                <a:gd name="T12" fmla="*/ 388106 w 63"/>
                <a:gd name="T13" fmla="*/ 0 h 21"/>
                <a:gd name="T14" fmla="*/ 570744 w 63"/>
                <a:gd name="T15" fmla="*/ 56696 h 21"/>
                <a:gd name="T16" fmla="*/ 570744 w 63"/>
                <a:gd name="T17" fmla="*/ 56696 h 21"/>
                <a:gd name="T18" fmla="*/ 707723 w 63"/>
                <a:gd name="T19" fmla="*/ 147411 h 21"/>
                <a:gd name="T20" fmla="*/ 707723 w 63"/>
                <a:gd name="T21" fmla="*/ 147411 h 21"/>
                <a:gd name="T22" fmla="*/ 707723 w 63"/>
                <a:gd name="T23" fmla="*/ 181429 h 21"/>
                <a:gd name="T24" fmla="*/ 707723 w 63"/>
                <a:gd name="T25" fmla="*/ 181429 h 21"/>
                <a:gd name="T26" fmla="*/ 673478 w 63"/>
                <a:gd name="T27" fmla="*/ 181429 h 21"/>
                <a:gd name="T28" fmla="*/ 673478 w 63"/>
                <a:gd name="T29" fmla="*/ 181429 h 21"/>
                <a:gd name="T30" fmla="*/ 547915 w 63"/>
                <a:gd name="T31" fmla="*/ 90714 h 21"/>
                <a:gd name="T32" fmla="*/ 547915 w 63"/>
                <a:gd name="T33" fmla="*/ 90714 h 21"/>
                <a:gd name="T34" fmla="*/ 388106 w 63"/>
                <a:gd name="T35" fmla="*/ 45357 h 21"/>
                <a:gd name="T36" fmla="*/ 388106 w 63"/>
                <a:gd name="T37" fmla="*/ 45357 h 21"/>
                <a:gd name="T38" fmla="*/ 308202 w 63"/>
                <a:gd name="T39" fmla="*/ 56696 h 21"/>
                <a:gd name="T40" fmla="*/ 308202 w 63"/>
                <a:gd name="T41" fmla="*/ 56696 h 21"/>
                <a:gd name="T42" fmla="*/ 34245 w 63"/>
                <a:gd name="T43" fmla="*/ 226786 h 21"/>
                <a:gd name="T44" fmla="*/ 34245 w 63"/>
                <a:gd name="T45" fmla="*/ 226786 h 21"/>
                <a:gd name="T46" fmla="*/ 34245 w 63"/>
                <a:gd name="T47" fmla="*/ 226786 h 21"/>
                <a:gd name="T48" fmla="*/ 22830 w 63"/>
                <a:gd name="T49" fmla="*/ 238125 h 21"/>
                <a:gd name="T50" fmla="*/ 22830 w 63"/>
                <a:gd name="T51" fmla="*/ 238125 h 21"/>
                <a:gd name="T52" fmla="*/ 0 w 63"/>
                <a:gd name="T53" fmla="*/ 226786 h 2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3"/>
                <a:gd name="T82" fmla="*/ 0 h 21"/>
                <a:gd name="T83" fmla="*/ 63 w 63"/>
                <a:gd name="T84" fmla="*/ 21 h 21"/>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3" h="21">
                  <a:moveTo>
                    <a:pt x="0" y="20"/>
                  </a:moveTo>
                  <a:cubicBezTo>
                    <a:pt x="0" y="19"/>
                    <a:pt x="0" y="18"/>
                    <a:pt x="1" y="17"/>
                  </a:cubicBezTo>
                  <a:cubicBezTo>
                    <a:pt x="1" y="17"/>
                    <a:pt x="1" y="17"/>
                    <a:pt x="1" y="17"/>
                  </a:cubicBezTo>
                  <a:cubicBezTo>
                    <a:pt x="6" y="13"/>
                    <a:pt x="16" y="4"/>
                    <a:pt x="26" y="1"/>
                  </a:cubicBezTo>
                  <a:cubicBezTo>
                    <a:pt x="26" y="1"/>
                    <a:pt x="26" y="1"/>
                    <a:pt x="26" y="1"/>
                  </a:cubicBezTo>
                  <a:cubicBezTo>
                    <a:pt x="29" y="0"/>
                    <a:pt x="32" y="0"/>
                    <a:pt x="34" y="0"/>
                  </a:cubicBezTo>
                  <a:cubicBezTo>
                    <a:pt x="34" y="0"/>
                    <a:pt x="34" y="0"/>
                    <a:pt x="34" y="0"/>
                  </a:cubicBezTo>
                  <a:cubicBezTo>
                    <a:pt x="41" y="0"/>
                    <a:pt x="46" y="2"/>
                    <a:pt x="50" y="5"/>
                  </a:cubicBezTo>
                  <a:cubicBezTo>
                    <a:pt x="50" y="5"/>
                    <a:pt x="50" y="5"/>
                    <a:pt x="50" y="5"/>
                  </a:cubicBezTo>
                  <a:cubicBezTo>
                    <a:pt x="55" y="7"/>
                    <a:pt x="59" y="10"/>
                    <a:pt x="62" y="13"/>
                  </a:cubicBezTo>
                  <a:cubicBezTo>
                    <a:pt x="62" y="13"/>
                    <a:pt x="62" y="13"/>
                    <a:pt x="62" y="13"/>
                  </a:cubicBezTo>
                  <a:cubicBezTo>
                    <a:pt x="63" y="14"/>
                    <a:pt x="63" y="15"/>
                    <a:pt x="62" y="16"/>
                  </a:cubicBezTo>
                  <a:cubicBezTo>
                    <a:pt x="62" y="16"/>
                    <a:pt x="62" y="16"/>
                    <a:pt x="62" y="16"/>
                  </a:cubicBezTo>
                  <a:cubicBezTo>
                    <a:pt x="61" y="17"/>
                    <a:pt x="60" y="17"/>
                    <a:pt x="59" y="16"/>
                  </a:cubicBezTo>
                  <a:cubicBezTo>
                    <a:pt x="59" y="16"/>
                    <a:pt x="59" y="16"/>
                    <a:pt x="59" y="16"/>
                  </a:cubicBezTo>
                  <a:cubicBezTo>
                    <a:pt x="56" y="13"/>
                    <a:pt x="53" y="11"/>
                    <a:pt x="48" y="8"/>
                  </a:cubicBezTo>
                  <a:cubicBezTo>
                    <a:pt x="48" y="8"/>
                    <a:pt x="48" y="8"/>
                    <a:pt x="48" y="8"/>
                  </a:cubicBezTo>
                  <a:cubicBezTo>
                    <a:pt x="45" y="6"/>
                    <a:pt x="40" y="4"/>
                    <a:pt x="34" y="4"/>
                  </a:cubicBezTo>
                  <a:cubicBezTo>
                    <a:pt x="34" y="4"/>
                    <a:pt x="34" y="4"/>
                    <a:pt x="34" y="4"/>
                  </a:cubicBezTo>
                  <a:cubicBezTo>
                    <a:pt x="32" y="4"/>
                    <a:pt x="29" y="4"/>
                    <a:pt x="27" y="5"/>
                  </a:cubicBezTo>
                  <a:cubicBezTo>
                    <a:pt x="27" y="5"/>
                    <a:pt x="27" y="5"/>
                    <a:pt x="27" y="5"/>
                  </a:cubicBezTo>
                  <a:cubicBezTo>
                    <a:pt x="18" y="8"/>
                    <a:pt x="9" y="16"/>
                    <a:pt x="3" y="20"/>
                  </a:cubicBezTo>
                  <a:cubicBezTo>
                    <a:pt x="3" y="20"/>
                    <a:pt x="3" y="20"/>
                    <a:pt x="3" y="20"/>
                  </a:cubicBezTo>
                  <a:cubicBezTo>
                    <a:pt x="3" y="20"/>
                    <a:pt x="3" y="20"/>
                    <a:pt x="3" y="20"/>
                  </a:cubicBezTo>
                  <a:cubicBezTo>
                    <a:pt x="3" y="21"/>
                    <a:pt x="2" y="21"/>
                    <a:pt x="2" y="21"/>
                  </a:cubicBezTo>
                  <a:cubicBezTo>
                    <a:pt x="2" y="21"/>
                    <a:pt x="2" y="21"/>
                    <a:pt x="2" y="21"/>
                  </a:cubicBezTo>
                  <a:cubicBezTo>
                    <a:pt x="1" y="21"/>
                    <a:pt x="1" y="21"/>
                    <a:pt x="0" y="20"/>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54" name="Freeform 202"/>
            <p:cNvSpPr>
              <a:spLocks/>
            </p:cNvSpPr>
            <p:nvPr/>
          </p:nvSpPr>
          <p:spPr bwMode="auto">
            <a:xfrm>
              <a:off x="7196138" y="1628775"/>
              <a:ext cx="809625" cy="341312"/>
            </a:xfrm>
            <a:custGeom>
              <a:avLst/>
              <a:gdLst>
                <a:gd name="T0" fmla="*/ 11403 w 71"/>
                <a:gd name="T1" fmla="*/ 329935 h 30"/>
                <a:gd name="T2" fmla="*/ 11403 w 71"/>
                <a:gd name="T3" fmla="*/ 307181 h 30"/>
                <a:gd name="T4" fmla="*/ 11403 w 71"/>
                <a:gd name="T5" fmla="*/ 307181 h 30"/>
                <a:gd name="T6" fmla="*/ 205257 w 71"/>
                <a:gd name="T7" fmla="*/ 102394 h 30"/>
                <a:gd name="T8" fmla="*/ 205257 w 71"/>
                <a:gd name="T9" fmla="*/ 102394 h 30"/>
                <a:gd name="T10" fmla="*/ 444724 w 71"/>
                <a:gd name="T11" fmla="*/ 0 h 30"/>
                <a:gd name="T12" fmla="*/ 444724 w 71"/>
                <a:gd name="T13" fmla="*/ 0 h 30"/>
                <a:gd name="T14" fmla="*/ 592965 w 71"/>
                <a:gd name="T15" fmla="*/ 45508 h 30"/>
                <a:gd name="T16" fmla="*/ 592965 w 71"/>
                <a:gd name="T17" fmla="*/ 45508 h 30"/>
                <a:gd name="T18" fmla="*/ 798222 w 71"/>
                <a:gd name="T19" fmla="*/ 238918 h 30"/>
                <a:gd name="T20" fmla="*/ 798222 w 71"/>
                <a:gd name="T21" fmla="*/ 238918 h 30"/>
                <a:gd name="T22" fmla="*/ 798222 w 71"/>
                <a:gd name="T23" fmla="*/ 273050 h 30"/>
                <a:gd name="T24" fmla="*/ 798222 w 71"/>
                <a:gd name="T25" fmla="*/ 273050 h 30"/>
                <a:gd name="T26" fmla="*/ 764012 w 71"/>
                <a:gd name="T27" fmla="*/ 273050 h 30"/>
                <a:gd name="T28" fmla="*/ 764012 w 71"/>
                <a:gd name="T29" fmla="*/ 273050 h 30"/>
                <a:gd name="T30" fmla="*/ 570158 w 71"/>
                <a:gd name="T31" fmla="*/ 79639 h 30"/>
                <a:gd name="T32" fmla="*/ 570158 w 71"/>
                <a:gd name="T33" fmla="*/ 79639 h 30"/>
                <a:gd name="T34" fmla="*/ 444724 w 71"/>
                <a:gd name="T35" fmla="*/ 45508 h 30"/>
                <a:gd name="T36" fmla="*/ 444724 w 71"/>
                <a:gd name="T37" fmla="*/ 45508 h 30"/>
                <a:gd name="T38" fmla="*/ 239467 w 71"/>
                <a:gd name="T39" fmla="*/ 136525 h 30"/>
                <a:gd name="T40" fmla="*/ 239467 w 71"/>
                <a:gd name="T41" fmla="*/ 136525 h 30"/>
                <a:gd name="T42" fmla="*/ 45613 w 71"/>
                <a:gd name="T43" fmla="*/ 329935 h 30"/>
                <a:gd name="T44" fmla="*/ 45613 w 71"/>
                <a:gd name="T45" fmla="*/ 329935 h 30"/>
                <a:gd name="T46" fmla="*/ 45613 w 71"/>
                <a:gd name="T47" fmla="*/ 329935 h 30"/>
                <a:gd name="T48" fmla="*/ 22806 w 71"/>
                <a:gd name="T49" fmla="*/ 341312 h 30"/>
                <a:gd name="T50" fmla="*/ 22806 w 71"/>
                <a:gd name="T51" fmla="*/ 341312 h 30"/>
                <a:gd name="T52" fmla="*/ 11403 w 71"/>
                <a:gd name="T53" fmla="*/ 329935 h 3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71"/>
                <a:gd name="T82" fmla="*/ 0 h 30"/>
                <a:gd name="T83" fmla="*/ 71 w 71"/>
                <a:gd name="T84" fmla="*/ 30 h 3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71" h="30">
                  <a:moveTo>
                    <a:pt x="1" y="29"/>
                  </a:moveTo>
                  <a:cubicBezTo>
                    <a:pt x="0" y="29"/>
                    <a:pt x="0" y="28"/>
                    <a:pt x="1" y="27"/>
                  </a:cubicBezTo>
                  <a:cubicBezTo>
                    <a:pt x="1" y="27"/>
                    <a:pt x="1" y="27"/>
                    <a:pt x="1" y="27"/>
                  </a:cubicBezTo>
                  <a:cubicBezTo>
                    <a:pt x="8" y="20"/>
                    <a:pt x="10" y="16"/>
                    <a:pt x="18" y="9"/>
                  </a:cubicBezTo>
                  <a:cubicBezTo>
                    <a:pt x="18" y="9"/>
                    <a:pt x="18" y="9"/>
                    <a:pt x="18" y="9"/>
                  </a:cubicBezTo>
                  <a:cubicBezTo>
                    <a:pt x="25" y="3"/>
                    <a:pt x="32" y="0"/>
                    <a:pt x="39" y="0"/>
                  </a:cubicBezTo>
                  <a:cubicBezTo>
                    <a:pt x="39" y="0"/>
                    <a:pt x="39" y="0"/>
                    <a:pt x="39" y="0"/>
                  </a:cubicBezTo>
                  <a:cubicBezTo>
                    <a:pt x="43" y="0"/>
                    <a:pt x="48" y="2"/>
                    <a:pt x="52" y="4"/>
                  </a:cubicBezTo>
                  <a:cubicBezTo>
                    <a:pt x="52" y="4"/>
                    <a:pt x="52" y="4"/>
                    <a:pt x="52" y="4"/>
                  </a:cubicBezTo>
                  <a:cubicBezTo>
                    <a:pt x="58" y="7"/>
                    <a:pt x="65" y="15"/>
                    <a:pt x="70" y="21"/>
                  </a:cubicBezTo>
                  <a:cubicBezTo>
                    <a:pt x="70" y="21"/>
                    <a:pt x="70" y="21"/>
                    <a:pt x="70" y="21"/>
                  </a:cubicBezTo>
                  <a:cubicBezTo>
                    <a:pt x="71" y="22"/>
                    <a:pt x="71" y="23"/>
                    <a:pt x="70" y="24"/>
                  </a:cubicBezTo>
                  <a:cubicBezTo>
                    <a:pt x="70" y="24"/>
                    <a:pt x="70" y="24"/>
                    <a:pt x="70" y="24"/>
                  </a:cubicBezTo>
                  <a:cubicBezTo>
                    <a:pt x="69" y="25"/>
                    <a:pt x="68" y="25"/>
                    <a:pt x="67" y="24"/>
                  </a:cubicBezTo>
                  <a:cubicBezTo>
                    <a:pt x="67" y="24"/>
                    <a:pt x="67" y="24"/>
                    <a:pt x="67" y="24"/>
                  </a:cubicBezTo>
                  <a:cubicBezTo>
                    <a:pt x="62" y="18"/>
                    <a:pt x="55" y="10"/>
                    <a:pt x="50" y="7"/>
                  </a:cubicBezTo>
                  <a:cubicBezTo>
                    <a:pt x="50" y="7"/>
                    <a:pt x="50" y="7"/>
                    <a:pt x="50" y="7"/>
                  </a:cubicBezTo>
                  <a:cubicBezTo>
                    <a:pt x="46" y="5"/>
                    <a:pt x="43" y="4"/>
                    <a:pt x="39" y="4"/>
                  </a:cubicBezTo>
                  <a:cubicBezTo>
                    <a:pt x="39" y="4"/>
                    <a:pt x="39" y="4"/>
                    <a:pt x="39" y="4"/>
                  </a:cubicBezTo>
                  <a:cubicBezTo>
                    <a:pt x="33" y="4"/>
                    <a:pt x="28" y="6"/>
                    <a:pt x="21" y="12"/>
                  </a:cubicBezTo>
                  <a:cubicBezTo>
                    <a:pt x="21" y="12"/>
                    <a:pt x="21" y="12"/>
                    <a:pt x="21" y="12"/>
                  </a:cubicBezTo>
                  <a:cubicBezTo>
                    <a:pt x="13" y="19"/>
                    <a:pt x="11" y="22"/>
                    <a:pt x="4" y="29"/>
                  </a:cubicBezTo>
                  <a:cubicBezTo>
                    <a:pt x="4" y="29"/>
                    <a:pt x="4" y="29"/>
                    <a:pt x="4" y="29"/>
                  </a:cubicBezTo>
                  <a:cubicBezTo>
                    <a:pt x="4" y="29"/>
                    <a:pt x="4" y="29"/>
                    <a:pt x="4" y="29"/>
                  </a:cubicBezTo>
                  <a:cubicBezTo>
                    <a:pt x="3" y="30"/>
                    <a:pt x="3" y="30"/>
                    <a:pt x="2" y="30"/>
                  </a:cubicBezTo>
                  <a:cubicBezTo>
                    <a:pt x="2" y="30"/>
                    <a:pt x="2" y="30"/>
                    <a:pt x="2" y="30"/>
                  </a:cubicBezTo>
                  <a:cubicBezTo>
                    <a:pt x="2" y="30"/>
                    <a:pt x="1" y="30"/>
                    <a:pt x="1" y="29"/>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55" name="Freeform 203"/>
            <p:cNvSpPr>
              <a:spLocks/>
            </p:cNvSpPr>
            <p:nvPr/>
          </p:nvSpPr>
          <p:spPr bwMode="auto">
            <a:xfrm>
              <a:off x="7162800" y="1731962"/>
              <a:ext cx="877888" cy="431800"/>
            </a:xfrm>
            <a:custGeom>
              <a:avLst/>
              <a:gdLst>
                <a:gd name="T0" fmla="*/ 832283 w 77"/>
                <a:gd name="T1" fmla="*/ 431800 h 38"/>
                <a:gd name="T2" fmla="*/ 718272 w 77"/>
                <a:gd name="T3" fmla="*/ 204537 h 38"/>
                <a:gd name="T4" fmla="*/ 718272 w 77"/>
                <a:gd name="T5" fmla="*/ 204537 h 38"/>
                <a:gd name="T6" fmla="*/ 501650 w 77"/>
                <a:gd name="T7" fmla="*/ 45453 h 38"/>
                <a:gd name="T8" fmla="*/ 501650 w 77"/>
                <a:gd name="T9" fmla="*/ 45453 h 38"/>
                <a:gd name="T10" fmla="*/ 342034 w 77"/>
                <a:gd name="T11" fmla="*/ 102268 h 38"/>
                <a:gd name="T12" fmla="*/ 342034 w 77"/>
                <a:gd name="T13" fmla="*/ 102268 h 38"/>
                <a:gd name="T14" fmla="*/ 45605 w 77"/>
                <a:gd name="T15" fmla="*/ 420437 h 38"/>
                <a:gd name="T16" fmla="*/ 45605 w 77"/>
                <a:gd name="T17" fmla="*/ 420437 h 38"/>
                <a:gd name="T18" fmla="*/ 11401 w 77"/>
                <a:gd name="T19" fmla="*/ 431800 h 38"/>
                <a:gd name="T20" fmla="*/ 11401 w 77"/>
                <a:gd name="T21" fmla="*/ 431800 h 38"/>
                <a:gd name="T22" fmla="*/ 11401 w 77"/>
                <a:gd name="T23" fmla="*/ 397711 h 38"/>
                <a:gd name="T24" fmla="*/ 11401 w 77"/>
                <a:gd name="T25" fmla="*/ 397711 h 38"/>
                <a:gd name="T26" fmla="*/ 319232 w 77"/>
                <a:gd name="T27" fmla="*/ 56816 h 38"/>
                <a:gd name="T28" fmla="*/ 319232 w 77"/>
                <a:gd name="T29" fmla="*/ 56816 h 38"/>
                <a:gd name="T30" fmla="*/ 501650 w 77"/>
                <a:gd name="T31" fmla="*/ 11363 h 38"/>
                <a:gd name="T32" fmla="*/ 501650 w 77"/>
                <a:gd name="T33" fmla="*/ 11363 h 38"/>
                <a:gd name="T34" fmla="*/ 752475 w 77"/>
                <a:gd name="T35" fmla="*/ 181811 h 38"/>
                <a:gd name="T36" fmla="*/ 752475 w 77"/>
                <a:gd name="T37" fmla="*/ 181811 h 38"/>
                <a:gd name="T38" fmla="*/ 866487 w 77"/>
                <a:gd name="T39" fmla="*/ 397711 h 38"/>
                <a:gd name="T40" fmla="*/ 866487 w 77"/>
                <a:gd name="T41" fmla="*/ 397711 h 38"/>
                <a:gd name="T42" fmla="*/ 866487 w 77"/>
                <a:gd name="T43" fmla="*/ 431800 h 38"/>
                <a:gd name="T44" fmla="*/ 866487 w 77"/>
                <a:gd name="T45" fmla="*/ 431800 h 38"/>
                <a:gd name="T46" fmla="*/ 855086 w 77"/>
                <a:gd name="T47" fmla="*/ 431800 h 38"/>
                <a:gd name="T48" fmla="*/ 855086 w 77"/>
                <a:gd name="T49" fmla="*/ 431800 h 38"/>
                <a:gd name="T50" fmla="*/ 832283 w 77"/>
                <a:gd name="T51" fmla="*/ 431800 h 3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7"/>
                <a:gd name="T79" fmla="*/ 0 h 38"/>
                <a:gd name="T80" fmla="*/ 77 w 77"/>
                <a:gd name="T81" fmla="*/ 38 h 3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7" h="38">
                  <a:moveTo>
                    <a:pt x="73" y="38"/>
                  </a:moveTo>
                  <a:cubicBezTo>
                    <a:pt x="67" y="30"/>
                    <a:pt x="67" y="24"/>
                    <a:pt x="63" y="18"/>
                  </a:cubicBezTo>
                  <a:cubicBezTo>
                    <a:pt x="63" y="18"/>
                    <a:pt x="63" y="18"/>
                    <a:pt x="63" y="18"/>
                  </a:cubicBezTo>
                  <a:cubicBezTo>
                    <a:pt x="57" y="8"/>
                    <a:pt x="50" y="4"/>
                    <a:pt x="44" y="4"/>
                  </a:cubicBezTo>
                  <a:cubicBezTo>
                    <a:pt x="44" y="4"/>
                    <a:pt x="44" y="4"/>
                    <a:pt x="44" y="4"/>
                  </a:cubicBezTo>
                  <a:cubicBezTo>
                    <a:pt x="39" y="4"/>
                    <a:pt x="35" y="6"/>
                    <a:pt x="30" y="9"/>
                  </a:cubicBezTo>
                  <a:cubicBezTo>
                    <a:pt x="30" y="9"/>
                    <a:pt x="30" y="9"/>
                    <a:pt x="30" y="9"/>
                  </a:cubicBezTo>
                  <a:cubicBezTo>
                    <a:pt x="20" y="14"/>
                    <a:pt x="10" y="30"/>
                    <a:pt x="4" y="37"/>
                  </a:cubicBezTo>
                  <a:cubicBezTo>
                    <a:pt x="4" y="37"/>
                    <a:pt x="4" y="37"/>
                    <a:pt x="4" y="37"/>
                  </a:cubicBezTo>
                  <a:cubicBezTo>
                    <a:pt x="3" y="38"/>
                    <a:pt x="2" y="38"/>
                    <a:pt x="1" y="38"/>
                  </a:cubicBezTo>
                  <a:cubicBezTo>
                    <a:pt x="1" y="38"/>
                    <a:pt x="1" y="38"/>
                    <a:pt x="1" y="38"/>
                  </a:cubicBezTo>
                  <a:cubicBezTo>
                    <a:pt x="0" y="37"/>
                    <a:pt x="0" y="36"/>
                    <a:pt x="1" y="35"/>
                  </a:cubicBezTo>
                  <a:cubicBezTo>
                    <a:pt x="1" y="35"/>
                    <a:pt x="1" y="35"/>
                    <a:pt x="1" y="35"/>
                  </a:cubicBezTo>
                  <a:cubicBezTo>
                    <a:pt x="7" y="28"/>
                    <a:pt x="17" y="12"/>
                    <a:pt x="28" y="5"/>
                  </a:cubicBezTo>
                  <a:cubicBezTo>
                    <a:pt x="28" y="5"/>
                    <a:pt x="28" y="5"/>
                    <a:pt x="28" y="5"/>
                  </a:cubicBezTo>
                  <a:cubicBezTo>
                    <a:pt x="33" y="2"/>
                    <a:pt x="38" y="1"/>
                    <a:pt x="44" y="1"/>
                  </a:cubicBezTo>
                  <a:cubicBezTo>
                    <a:pt x="44" y="1"/>
                    <a:pt x="44" y="1"/>
                    <a:pt x="44" y="1"/>
                  </a:cubicBezTo>
                  <a:cubicBezTo>
                    <a:pt x="52" y="0"/>
                    <a:pt x="60" y="5"/>
                    <a:pt x="66" y="16"/>
                  </a:cubicBezTo>
                  <a:cubicBezTo>
                    <a:pt x="66" y="16"/>
                    <a:pt x="66" y="16"/>
                    <a:pt x="66" y="16"/>
                  </a:cubicBezTo>
                  <a:cubicBezTo>
                    <a:pt x="70" y="23"/>
                    <a:pt x="71" y="28"/>
                    <a:pt x="76" y="35"/>
                  </a:cubicBezTo>
                  <a:cubicBezTo>
                    <a:pt x="76" y="35"/>
                    <a:pt x="76" y="35"/>
                    <a:pt x="76" y="35"/>
                  </a:cubicBezTo>
                  <a:cubicBezTo>
                    <a:pt x="77" y="36"/>
                    <a:pt x="77" y="37"/>
                    <a:pt x="76" y="38"/>
                  </a:cubicBezTo>
                  <a:cubicBezTo>
                    <a:pt x="76" y="38"/>
                    <a:pt x="76" y="38"/>
                    <a:pt x="76" y="38"/>
                  </a:cubicBezTo>
                  <a:cubicBezTo>
                    <a:pt x="76" y="38"/>
                    <a:pt x="75" y="38"/>
                    <a:pt x="75" y="38"/>
                  </a:cubicBezTo>
                  <a:cubicBezTo>
                    <a:pt x="75" y="38"/>
                    <a:pt x="75" y="38"/>
                    <a:pt x="75" y="38"/>
                  </a:cubicBezTo>
                  <a:cubicBezTo>
                    <a:pt x="74" y="38"/>
                    <a:pt x="74" y="38"/>
                    <a:pt x="73" y="38"/>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56" name="Freeform 204"/>
            <p:cNvSpPr>
              <a:spLocks/>
            </p:cNvSpPr>
            <p:nvPr/>
          </p:nvSpPr>
          <p:spPr bwMode="auto">
            <a:xfrm>
              <a:off x="7321550" y="2311401"/>
              <a:ext cx="639763" cy="339725"/>
            </a:xfrm>
            <a:custGeom>
              <a:avLst/>
              <a:gdLst>
                <a:gd name="T0" fmla="*/ 0 w 56"/>
                <a:gd name="T1" fmla="*/ 317077 h 30"/>
                <a:gd name="T2" fmla="*/ 11424 w 56"/>
                <a:gd name="T3" fmla="*/ 294428 h 30"/>
                <a:gd name="T4" fmla="*/ 11424 w 56"/>
                <a:gd name="T5" fmla="*/ 294428 h 30"/>
                <a:gd name="T6" fmla="*/ 217062 w 56"/>
                <a:gd name="T7" fmla="*/ 237808 h 30"/>
                <a:gd name="T8" fmla="*/ 217062 w 56"/>
                <a:gd name="T9" fmla="*/ 237808 h 30"/>
                <a:gd name="T10" fmla="*/ 434125 w 56"/>
                <a:gd name="T11" fmla="*/ 22648 h 30"/>
                <a:gd name="T12" fmla="*/ 434125 w 56"/>
                <a:gd name="T13" fmla="*/ 22648 h 30"/>
                <a:gd name="T14" fmla="*/ 445549 w 56"/>
                <a:gd name="T15" fmla="*/ 0 h 30"/>
                <a:gd name="T16" fmla="*/ 445549 w 56"/>
                <a:gd name="T17" fmla="*/ 0 h 30"/>
                <a:gd name="T18" fmla="*/ 468398 w 56"/>
                <a:gd name="T19" fmla="*/ 11324 h 30"/>
                <a:gd name="T20" fmla="*/ 468398 w 56"/>
                <a:gd name="T21" fmla="*/ 11324 h 30"/>
                <a:gd name="T22" fmla="*/ 479822 w 56"/>
                <a:gd name="T23" fmla="*/ 33973 h 30"/>
                <a:gd name="T24" fmla="*/ 479822 w 56"/>
                <a:gd name="T25" fmla="*/ 33973 h 30"/>
                <a:gd name="T26" fmla="*/ 525520 w 56"/>
                <a:gd name="T27" fmla="*/ 67945 h 30"/>
                <a:gd name="T28" fmla="*/ 525520 w 56"/>
                <a:gd name="T29" fmla="*/ 67945 h 30"/>
                <a:gd name="T30" fmla="*/ 628339 w 56"/>
                <a:gd name="T31" fmla="*/ 147214 h 30"/>
                <a:gd name="T32" fmla="*/ 628339 w 56"/>
                <a:gd name="T33" fmla="*/ 147214 h 30"/>
                <a:gd name="T34" fmla="*/ 639763 w 56"/>
                <a:gd name="T35" fmla="*/ 181187 h 30"/>
                <a:gd name="T36" fmla="*/ 639763 w 56"/>
                <a:gd name="T37" fmla="*/ 181187 h 30"/>
                <a:gd name="T38" fmla="*/ 605490 w 56"/>
                <a:gd name="T39" fmla="*/ 181187 h 30"/>
                <a:gd name="T40" fmla="*/ 605490 w 56"/>
                <a:gd name="T41" fmla="*/ 181187 h 30"/>
                <a:gd name="T42" fmla="*/ 456974 w 56"/>
                <a:gd name="T43" fmla="*/ 67945 h 30"/>
                <a:gd name="T44" fmla="*/ 456974 w 56"/>
                <a:gd name="T45" fmla="*/ 67945 h 30"/>
                <a:gd name="T46" fmla="*/ 239911 w 56"/>
                <a:gd name="T47" fmla="*/ 283104 h 30"/>
                <a:gd name="T48" fmla="*/ 239911 w 56"/>
                <a:gd name="T49" fmla="*/ 283104 h 30"/>
                <a:gd name="T50" fmla="*/ 22849 w 56"/>
                <a:gd name="T51" fmla="*/ 339725 h 30"/>
                <a:gd name="T52" fmla="*/ 22849 w 56"/>
                <a:gd name="T53" fmla="*/ 339725 h 30"/>
                <a:gd name="T54" fmla="*/ 22849 w 56"/>
                <a:gd name="T55" fmla="*/ 339725 h 30"/>
                <a:gd name="T56" fmla="*/ 22849 w 56"/>
                <a:gd name="T57" fmla="*/ 339725 h 30"/>
                <a:gd name="T58" fmla="*/ 22849 w 56"/>
                <a:gd name="T59" fmla="*/ 339725 h 30"/>
                <a:gd name="T60" fmla="*/ 0 w 56"/>
                <a:gd name="T61" fmla="*/ 317077 h 3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6"/>
                <a:gd name="T94" fmla="*/ 0 h 30"/>
                <a:gd name="T95" fmla="*/ 56 w 56"/>
                <a:gd name="T96" fmla="*/ 30 h 3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6" h="30">
                  <a:moveTo>
                    <a:pt x="0" y="28"/>
                  </a:moveTo>
                  <a:cubicBezTo>
                    <a:pt x="0" y="27"/>
                    <a:pt x="0" y="26"/>
                    <a:pt x="1" y="26"/>
                  </a:cubicBezTo>
                  <a:cubicBezTo>
                    <a:pt x="1" y="26"/>
                    <a:pt x="1" y="26"/>
                    <a:pt x="1" y="26"/>
                  </a:cubicBezTo>
                  <a:cubicBezTo>
                    <a:pt x="5" y="26"/>
                    <a:pt x="12" y="25"/>
                    <a:pt x="19" y="21"/>
                  </a:cubicBezTo>
                  <a:cubicBezTo>
                    <a:pt x="19" y="21"/>
                    <a:pt x="19" y="21"/>
                    <a:pt x="19" y="21"/>
                  </a:cubicBezTo>
                  <a:cubicBezTo>
                    <a:pt x="27" y="18"/>
                    <a:pt x="34" y="12"/>
                    <a:pt x="38" y="2"/>
                  </a:cubicBezTo>
                  <a:cubicBezTo>
                    <a:pt x="38" y="2"/>
                    <a:pt x="38" y="2"/>
                    <a:pt x="38" y="2"/>
                  </a:cubicBezTo>
                  <a:cubicBezTo>
                    <a:pt x="38" y="1"/>
                    <a:pt x="39" y="1"/>
                    <a:pt x="39" y="0"/>
                  </a:cubicBezTo>
                  <a:cubicBezTo>
                    <a:pt x="39" y="0"/>
                    <a:pt x="39" y="0"/>
                    <a:pt x="39" y="0"/>
                  </a:cubicBezTo>
                  <a:cubicBezTo>
                    <a:pt x="40" y="0"/>
                    <a:pt x="41" y="1"/>
                    <a:pt x="41" y="1"/>
                  </a:cubicBezTo>
                  <a:cubicBezTo>
                    <a:pt x="41" y="1"/>
                    <a:pt x="41" y="1"/>
                    <a:pt x="41" y="1"/>
                  </a:cubicBezTo>
                  <a:cubicBezTo>
                    <a:pt x="41" y="1"/>
                    <a:pt x="42" y="2"/>
                    <a:pt x="42" y="3"/>
                  </a:cubicBezTo>
                  <a:cubicBezTo>
                    <a:pt x="42" y="3"/>
                    <a:pt x="42" y="3"/>
                    <a:pt x="42" y="3"/>
                  </a:cubicBezTo>
                  <a:cubicBezTo>
                    <a:pt x="43" y="3"/>
                    <a:pt x="44" y="5"/>
                    <a:pt x="46" y="6"/>
                  </a:cubicBezTo>
                  <a:cubicBezTo>
                    <a:pt x="46" y="6"/>
                    <a:pt x="46" y="6"/>
                    <a:pt x="46" y="6"/>
                  </a:cubicBezTo>
                  <a:cubicBezTo>
                    <a:pt x="48" y="8"/>
                    <a:pt x="52" y="11"/>
                    <a:pt x="55" y="13"/>
                  </a:cubicBezTo>
                  <a:cubicBezTo>
                    <a:pt x="55" y="13"/>
                    <a:pt x="55" y="13"/>
                    <a:pt x="55" y="13"/>
                  </a:cubicBezTo>
                  <a:cubicBezTo>
                    <a:pt x="56" y="13"/>
                    <a:pt x="56" y="15"/>
                    <a:pt x="56" y="16"/>
                  </a:cubicBezTo>
                  <a:cubicBezTo>
                    <a:pt x="56" y="16"/>
                    <a:pt x="56" y="16"/>
                    <a:pt x="56" y="16"/>
                  </a:cubicBezTo>
                  <a:cubicBezTo>
                    <a:pt x="55" y="17"/>
                    <a:pt x="54" y="17"/>
                    <a:pt x="53" y="16"/>
                  </a:cubicBezTo>
                  <a:cubicBezTo>
                    <a:pt x="53" y="16"/>
                    <a:pt x="53" y="16"/>
                    <a:pt x="53" y="16"/>
                  </a:cubicBezTo>
                  <a:cubicBezTo>
                    <a:pt x="48" y="14"/>
                    <a:pt x="43" y="9"/>
                    <a:pt x="40" y="6"/>
                  </a:cubicBezTo>
                  <a:cubicBezTo>
                    <a:pt x="40" y="6"/>
                    <a:pt x="40" y="6"/>
                    <a:pt x="40" y="6"/>
                  </a:cubicBezTo>
                  <a:cubicBezTo>
                    <a:pt x="36" y="16"/>
                    <a:pt x="28" y="21"/>
                    <a:pt x="21" y="25"/>
                  </a:cubicBezTo>
                  <a:cubicBezTo>
                    <a:pt x="21" y="25"/>
                    <a:pt x="21" y="25"/>
                    <a:pt x="21" y="25"/>
                  </a:cubicBezTo>
                  <a:cubicBezTo>
                    <a:pt x="13" y="29"/>
                    <a:pt x="6" y="30"/>
                    <a:pt x="2" y="30"/>
                  </a:cubicBezTo>
                  <a:cubicBezTo>
                    <a:pt x="2" y="30"/>
                    <a:pt x="2" y="30"/>
                    <a:pt x="2" y="30"/>
                  </a:cubicBezTo>
                  <a:cubicBezTo>
                    <a:pt x="2" y="30"/>
                    <a:pt x="2" y="30"/>
                    <a:pt x="2" y="30"/>
                  </a:cubicBezTo>
                  <a:cubicBezTo>
                    <a:pt x="2" y="30"/>
                    <a:pt x="2" y="30"/>
                    <a:pt x="2" y="30"/>
                  </a:cubicBezTo>
                  <a:cubicBezTo>
                    <a:pt x="2" y="30"/>
                    <a:pt x="2" y="30"/>
                    <a:pt x="2" y="30"/>
                  </a:cubicBezTo>
                  <a:cubicBezTo>
                    <a:pt x="0" y="30"/>
                    <a:pt x="0" y="29"/>
                    <a:pt x="0" y="28"/>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57" name="Freeform 205"/>
            <p:cNvSpPr>
              <a:spLocks/>
            </p:cNvSpPr>
            <p:nvPr/>
          </p:nvSpPr>
          <p:spPr bwMode="auto">
            <a:xfrm>
              <a:off x="7516813" y="2719388"/>
              <a:ext cx="169863" cy="57150"/>
            </a:xfrm>
            <a:custGeom>
              <a:avLst/>
              <a:gdLst>
                <a:gd name="T0" fmla="*/ 0 w 15"/>
                <a:gd name="T1" fmla="*/ 45720 h 5"/>
                <a:gd name="T2" fmla="*/ 11324 w 15"/>
                <a:gd name="T3" fmla="*/ 11430 h 5"/>
                <a:gd name="T4" fmla="*/ 11324 w 15"/>
                <a:gd name="T5" fmla="*/ 11430 h 5"/>
                <a:gd name="T6" fmla="*/ 79269 w 15"/>
                <a:gd name="T7" fmla="*/ 0 h 5"/>
                <a:gd name="T8" fmla="*/ 79269 w 15"/>
                <a:gd name="T9" fmla="*/ 0 h 5"/>
                <a:gd name="T10" fmla="*/ 147215 w 15"/>
                <a:gd name="T11" fmla="*/ 11430 h 5"/>
                <a:gd name="T12" fmla="*/ 147215 w 15"/>
                <a:gd name="T13" fmla="*/ 11430 h 5"/>
                <a:gd name="T14" fmla="*/ 158539 w 15"/>
                <a:gd name="T15" fmla="*/ 34290 h 5"/>
                <a:gd name="T16" fmla="*/ 158539 w 15"/>
                <a:gd name="T17" fmla="*/ 34290 h 5"/>
                <a:gd name="T18" fmla="*/ 135890 w 15"/>
                <a:gd name="T19" fmla="*/ 57150 h 5"/>
                <a:gd name="T20" fmla="*/ 135890 w 15"/>
                <a:gd name="T21" fmla="*/ 57150 h 5"/>
                <a:gd name="T22" fmla="*/ 79269 w 15"/>
                <a:gd name="T23" fmla="*/ 45720 h 5"/>
                <a:gd name="T24" fmla="*/ 79269 w 15"/>
                <a:gd name="T25" fmla="*/ 45720 h 5"/>
                <a:gd name="T26" fmla="*/ 33973 w 15"/>
                <a:gd name="T27" fmla="*/ 57150 h 5"/>
                <a:gd name="T28" fmla="*/ 33973 w 15"/>
                <a:gd name="T29" fmla="*/ 57150 h 5"/>
                <a:gd name="T30" fmla="*/ 33973 w 15"/>
                <a:gd name="T31" fmla="*/ 57150 h 5"/>
                <a:gd name="T32" fmla="*/ 22648 w 15"/>
                <a:gd name="T33" fmla="*/ 57150 h 5"/>
                <a:gd name="T34" fmla="*/ 22648 w 15"/>
                <a:gd name="T35" fmla="*/ 57150 h 5"/>
                <a:gd name="T36" fmla="*/ 0 w 15"/>
                <a:gd name="T37" fmla="*/ 45720 h 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
                <a:gd name="T58" fmla="*/ 0 h 5"/>
                <a:gd name="T59" fmla="*/ 15 w 15"/>
                <a:gd name="T60" fmla="*/ 5 h 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 h="5">
                  <a:moveTo>
                    <a:pt x="0" y="4"/>
                  </a:moveTo>
                  <a:cubicBezTo>
                    <a:pt x="0" y="3"/>
                    <a:pt x="0" y="2"/>
                    <a:pt x="1" y="1"/>
                  </a:cubicBezTo>
                  <a:cubicBezTo>
                    <a:pt x="1" y="1"/>
                    <a:pt x="1" y="1"/>
                    <a:pt x="1" y="1"/>
                  </a:cubicBezTo>
                  <a:cubicBezTo>
                    <a:pt x="3" y="0"/>
                    <a:pt x="5" y="0"/>
                    <a:pt x="7" y="0"/>
                  </a:cubicBezTo>
                  <a:cubicBezTo>
                    <a:pt x="7" y="0"/>
                    <a:pt x="7" y="0"/>
                    <a:pt x="7" y="0"/>
                  </a:cubicBezTo>
                  <a:cubicBezTo>
                    <a:pt x="10" y="0"/>
                    <a:pt x="12" y="0"/>
                    <a:pt x="13" y="1"/>
                  </a:cubicBezTo>
                  <a:cubicBezTo>
                    <a:pt x="13" y="1"/>
                    <a:pt x="13" y="1"/>
                    <a:pt x="13" y="1"/>
                  </a:cubicBezTo>
                  <a:cubicBezTo>
                    <a:pt x="14" y="1"/>
                    <a:pt x="15" y="2"/>
                    <a:pt x="14" y="3"/>
                  </a:cubicBezTo>
                  <a:cubicBezTo>
                    <a:pt x="14" y="3"/>
                    <a:pt x="14" y="3"/>
                    <a:pt x="14" y="3"/>
                  </a:cubicBezTo>
                  <a:cubicBezTo>
                    <a:pt x="14" y="4"/>
                    <a:pt x="13" y="5"/>
                    <a:pt x="12" y="5"/>
                  </a:cubicBezTo>
                  <a:cubicBezTo>
                    <a:pt x="12" y="5"/>
                    <a:pt x="12" y="5"/>
                    <a:pt x="12" y="5"/>
                  </a:cubicBezTo>
                  <a:cubicBezTo>
                    <a:pt x="11" y="4"/>
                    <a:pt x="9" y="4"/>
                    <a:pt x="7" y="4"/>
                  </a:cubicBezTo>
                  <a:cubicBezTo>
                    <a:pt x="7" y="4"/>
                    <a:pt x="7" y="4"/>
                    <a:pt x="7" y="4"/>
                  </a:cubicBezTo>
                  <a:cubicBezTo>
                    <a:pt x="6" y="4"/>
                    <a:pt x="4" y="4"/>
                    <a:pt x="3" y="5"/>
                  </a:cubicBezTo>
                  <a:cubicBezTo>
                    <a:pt x="3" y="5"/>
                    <a:pt x="3" y="5"/>
                    <a:pt x="3" y="5"/>
                  </a:cubicBezTo>
                  <a:cubicBezTo>
                    <a:pt x="3" y="5"/>
                    <a:pt x="3" y="5"/>
                    <a:pt x="3" y="5"/>
                  </a:cubicBezTo>
                  <a:cubicBezTo>
                    <a:pt x="2" y="5"/>
                    <a:pt x="2" y="5"/>
                    <a:pt x="2" y="5"/>
                  </a:cubicBezTo>
                  <a:cubicBezTo>
                    <a:pt x="2" y="5"/>
                    <a:pt x="2" y="5"/>
                    <a:pt x="2" y="5"/>
                  </a:cubicBezTo>
                  <a:cubicBezTo>
                    <a:pt x="1" y="5"/>
                    <a:pt x="0" y="5"/>
                    <a:pt x="0" y="4"/>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grpSp>
      <p:sp>
        <p:nvSpPr>
          <p:cNvPr id="428" name="Freeform 575"/>
          <p:cNvSpPr>
            <a:spLocks noEditPoints="1"/>
          </p:cNvSpPr>
          <p:nvPr/>
        </p:nvSpPr>
        <p:spPr bwMode="auto">
          <a:xfrm>
            <a:off x="8350556" y="4476947"/>
            <a:ext cx="1053058" cy="2129222"/>
          </a:xfrm>
          <a:custGeom>
            <a:avLst/>
            <a:gdLst>
              <a:gd name="T0" fmla="*/ 156 w 180"/>
              <a:gd name="T1" fmla="*/ 0 h 364"/>
              <a:gd name="T2" fmla="*/ 0 w 180"/>
              <a:gd name="T3" fmla="*/ 0 h 364"/>
              <a:gd name="T4" fmla="*/ 0 w 180"/>
              <a:gd name="T5" fmla="*/ 340 h 364"/>
              <a:gd name="T6" fmla="*/ 24 w 180"/>
              <a:gd name="T7" fmla="*/ 364 h 364"/>
              <a:gd name="T8" fmla="*/ 180 w 180"/>
              <a:gd name="T9" fmla="*/ 364 h 364"/>
              <a:gd name="T10" fmla="*/ 180 w 180"/>
              <a:gd name="T11" fmla="*/ 24 h 364"/>
              <a:gd name="T12" fmla="*/ 156 w 180"/>
              <a:gd name="T13" fmla="*/ 0 h 364"/>
              <a:gd name="T14" fmla="*/ 76 w 180"/>
              <a:gd name="T15" fmla="*/ 292 h 364"/>
              <a:gd name="T16" fmla="*/ 28 w 180"/>
              <a:gd name="T17" fmla="*/ 292 h 364"/>
              <a:gd name="T18" fmla="*/ 28 w 180"/>
              <a:gd name="T19" fmla="*/ 244 h 364"/>
              <a:gd name="T20" fmla="*/ 76 w 180"/>
              <a:gd name="T21" fmla="*/ 244 h 364"/>
              <a:gd name="T22" fmla="*/ 76 w 180"/>
              <a:gd name="T23" fmla="*/ 292 h 364"/>
              <a:gd name="T24" fmla="*/ 76 w 180"/>
              <a:gd name="T25" fmla="*/ 220 h 364"/>
              <a:gd name="T26" fmla="*/ 28 w 180"/>
              <a:gd name="T27" fmla="*/ 220 h 364"/>
              <a:gd name="T28" fmla="*/ 28 w 180"/>
              <a:gd name="T29" fmla="*/ 172 h 364"/>
              <a:gd name="T30" fmla="*/ 76 w 180"/>
              <a:gd name="T31" fmla="*/ 172 h 364"/>
              <a:gd name="T32" fmla="*/ 76 w 180"/>
              <a:gd name="T33" fmla="*/ 220 h 364"/>
              <a:gd name="T34" fmla="*/ 76 w 180"/>
              <a:gd name="T35" fmla="*/ 148 h 364"/>
              <a:gd name="T36" fmla="*/ 28 w 180"/>
              <a:gd name="T37" fmla="*/ 148 h 364"/>
              <a:gd name="T38" fmla="*/ 28 w 180"/>
              <a:gd name="T39" fmla="*/ 100 h 364"/>
              <a:gd name="T40" fmla="*/ 76 w 180"/>
              <a:gd name="T41" fmla="*/ 100 h 364"/>
              <a:gd name="T42" fmla="*/ 76 w 180"/>
              <a:gd name="T43" fmla="*/ 148 h 364"/>
              <a:gd name="T44" fmla="*/ 76 w 180"/>
              <a:gd name="T45" fmla="*/ 76 h 364"/>
              <a:gd name="T46" fmla="*/ 28 w 180"/>
              <a:gd name="T47" fmla="*/ 76 h 364"/>
              <a:gd name="T48" fmla="*/ 28 w 180"/>
              <a:gd name="T49" fmla="*/ 28 h 364"/>
              <a:gd name="T50" fmla="*/ 76 w 180"/>
              <a:gd name="T51" fmla="*/ 28 h 364"/>
              <a:gd name="T52" fmla="*/ 76 w 180"/>
              <a:gd name="T53" fmla="*/ 76 h 364"/>
              <a:gd name="T54" fmla="*/ 152 w 180"/>
              <a:gd name="T55" fmla="*/ 220 h 364"/>
              <a:gd name="T56" fmla="*/ 104 w 180"/>
              <a:gd name="T57" fmla="*/ 220 h 364"/>
              <a:gd name="T58" fmla="*/ 104 w 180"/>
              <a:gd name="T59" fmla="*/ 172 h 364"/>
              <a:gd name="T60" fmla="*/ 152 w 180"/>
              <a:gd name="T61" fmla="*/ 172 h 364"/>
              <a:gd name="T62" fmla="*/ 152 w 180"/>
              <a:gd name="T63" fmla="*/ 220 h 364"/>
              <a:gd name="T64" fmla="*/ 152 w 180"/>
              <a:gd name="T65" fmla="*/ 148 h 364"/>
              <a:gd name="T66" fmla="*/ 104 w 180"/>
              <a:gd name="T67" fmla="*/ 148 h 364"/>
              <a:gd name="T68" fmla="*/ 104 w 180"/>
              <a:gd name="T69" fmla="*/ 100 h 364"/>
              <a:gd name="T70" fmla="*/ 152 w 180"/>
              <a:gd name="T71" fmla="*/ 100 h 364"/>
              <a:gd name="T72" fmla="*/ 152 w 180"/>
              <a:gd name="T73" fmla="*/ 148 h 364"/>
              <a:gd name="T74" fmla="*/ 152 w 180"/>
              <a:gd name="T75" fmla="*/ 76 h 364"/>
              <a:gd name="T76" fmla="*/ 104 w 180"/>
              <a:gd name="T77" fmla="*/ 76 h 364"/>
              <a:gd name="T78" fmla="*/ 104 w 180"/>
              <a:gd name="T79" fmla="*/ 28 h 364"/>
              <a:gd name="T80" fmla="*/ 152 w 180"/>
              <a:gd name="T81" fmla="*/ 28 h 364"/>
              <a:gd name="T82" fmla="*/ 152 w 180"/>
              <a:gd name="T83" fmla="*/ 76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0" h="364">
                <a:moveTo>
                  <a:pt x="156" y="0"/>
                </a:moveTo>
                <a:cubicBezTo>
                  <a:pt x="0" y="0"/>
                  <a:pt x="0" y="0"/>
                  <a:pt x="0" y="0"/>
                </a:cubicBezTo>
                <a:cubicBezTo>
                  <a:pt x="0" y="340"/>
                  <a:pt x="0" y="340"/>
                  <a:pt x="0" y="340"/>
                </a:cubicBezTo>
                <a:cubicBezTo>
                  <a:pt x="0" y="353"/>
                  <a:pt x="10" y="364"/>
                  <a:pt x="24" y="364"/>
                </a:cubicBezTo>
                <a:cubicBezTo>
                  <a:pt x="180" y="364"/>
                  <a:pt x="180" y="364"/>
                  <a:pt x="180" y="364"/>
                </a:cubicBezTo>
                <a:cubicBezTo>
                  <a:pt x="180" y="24"/>
                  <a:pt x="180" y="24"/>
                  <a:pt x="180" y="24"/>
                </a:cubicBezTo>
                <a:cubicBezTo>
                  <a:pt x="180" y="11"/>
                  <a:pt x="169" y="0"/>
                  <a:pt x="156" y="0"/>
                </a:cubicBezTo>
                <a:moveTo>
                  <a:pt x="76" y="292"/>
                </a:moveTo>
                <a:cubicBezTo>
                  <a:pt x="28" y="292"/>
                  <a:pt x="28" y="292"/>
                  <a:pt x="28" y="292"/>
                </a:cubicBezTo>
                <a:cubicBezTo>
                  <a:pt x="28" y="244"/>
                  <a:pt x="28" y="244"/>
                  <a:pt x="28" y="244"/>
                </a:cubicBezTo>
                <a:cubicBezTo>
                  <a:pt x="76" y="244"/>
                  <a:pt x="76" y="244"/>
                  <a:pt x="76" y="244"/>
                </a:cubicBezTo>
                <a:lnTo>
                  <a:pt x="76" y="292"/>
                </a:lnTo>
                <a:close/>
                <a:moveTo>
                  <a:pt x="76" y="220"/>
                </a:moveTo>
                <a:cubicBezTo>
                  <a:pt x="28" y="220"/>
                  <a:pt x="28" y="220"/>
                  <a:pt x="28" y="220"/>
                </a:cubicBezTo>
                <a:cubicBezTo>
                  <a:pt x="28" y="172"/>
                  <a:pt x="28" y="172"/>
                  <a:pt x="28" y="172"/>
                </a:cubicBezTo>
                <a:cubicBezTo>
                  <a:pt x="76" y="172"/>
                  <a:pt x="76" y="172"/>
                  <a:pt x="76" y="172"/>
                </a:cubicBezTo>
                <a:lnTo>
                  <a:pt x="76" y="220"/>
                </a:lnTo>
                <a:close/>
                <a:moveTo>
                  <a:pt x="76" y="148"/>
                </a:moveTo>
                <a:cubicBezTo>
                  <a:pt x="28" y="148"/>
                  <a:pt x="28" y="148"/>
                  <a:pt x="28" y="148"/>
                </a:cubicBezTo>
                <a:cubicBezTo>
                  <a:pt x="28" y="100"/>
                  <a:pt x="28" y="100"/>
                  <a:pt x="28" y="100"/>
                </a:cubicBezTo>
                <a:cubicBezTo>
                  <a:pt x="76" y="100"/>
                  <a:pt x="76" y="100"/>
                  <a:pt x="76" y="100"/>
                </a:cubicBezTo>
                <a:lnTo>
                  <a:pt x="76" y="148"/>
                </a:lnTo>
                <a:close/>
                <a:moveTo>
                  <a:pt x="76" y="76"/>
                </a:moveTo>
                <a:cubicBezTo>
                  <a:pt x="28" y="76"/>
                  <a:pt x="28" y="76"/>
                  <a:pt x="28" y="76"/>
                </a:cubicBezTo>
                <a:cubicBezTo>
                  <a:pt x="28" y="28"/>
                  <a:pt x="28" y="28"/>
                  <a:pt x="28" y="28"/>
                </a:cubicBezTo>
                <a:cubicBezTo>
                  <a:pt x="76" y="28"/>
                  <a:pt x="76" y="28"/>
                  <a:pt x="76" y="28"/>
                </a:cubicBezTo>
                <a:lnTo>
                  <a:pt x="76" y="76"/>
                </a:lnTo>
                <a:close/>
                <a:moveTo>
                  <a:pt x="152" y="220"/>
                </a:moveTo>
                <a:cubicBezTo>
                  <a:pt x="104" y="220"/>
                  <a:pt x="104" y="220"/>
                  <a:pt x="104" y="220"/>
                </a:cubicBezTo>
                <a:cubicBezTo>
                  <a:pt x="104" y="172"/>
                  <a:pt x="104" y="172"/>
                  <a:pt x="104" y="172"/>
                </a:cubicBezTo>
                <a:cubicBezTo>
                  <a:pt x="152" y="172"/>
                  <a:pt x="152" y="172"/>
                  <a:pt x="152" y="172"/>
                </a:cubicBezTo>
                <a:lnTo>
                  <a:pt x="152" y="220"/>
                </a:lnTo>
                <a:close/>
                <a:moveTo>
                  <a:pt x="152" y="148"/>
                </a:moveTo>
                <a:cubicBezTo>
                  <a:pt x="104" y="148"/>
                  <a:pt x="104" y="148"/>
                  <a:pt x="104" y="148"/>
                </a:cubicBezTo>
                <a:cubicBezTo>
                  <a:pt x="104" y="100"/>
                  <a:pt x="104" y="100"/>
                  <a:pt x="104" y="100"/>
                </a:cubicBezTo>
                <a:cubicBezTo>
                  <a:pt x="152" y="100"/>
                  <a:pt x="152" y="100"/>
                  <a:pt x="152" y="100"/>
                </a:cubicBezTo>
                <a:lnTo>
                  <a:pt x="152" y="148"/>
                </a:lnTo>
                <a:close/>
                <a:moveTo>
                  <a:pt x="152" y="76"/>
                </a:moveTo>
                <a:cubicBezTo>
                  <a:pt x="104" y="76"/>
                  <a:pt x="104" y="76"/>
                  <a:pt x="104" y="76"/>
                </a:cubicBezTo>
                <a:cubicBezTo>
                  <a:pt x="104" y="28"/>
                  <a:pt x="104" y="28"/>
                  <a:pt x="104" y="28"/>
                </a:cubicBezTo>
                <a:cubicBezTo>
                  <a:pt x="152" y="28"/>
                  <a:pt x="152" y="28"/>
                  <a:pt x="152" y="28"/>
                </a:cubicBezTo>
                <a:lnTo>
                  <a:pt x="152" y="76"/>
                </a:lnTo>
                <a:close/>
              </a:path>
            </a:pathLst>
          </a:custGeom>
          <a:solidFill>
            <a:schemeClr val="accent4">
              <a:lumMod val="40000"/>
              <a:lumOff val="60000"/>
            </a:schemeClr>
          </a:solidFill>
          <a:ln>
            <a:noFill/>
          </a:ln>
        </p:spPr>
        <p:txBody>
          <a:bodyPr vert="horz" wrap="square" lIns="129909" tIns="64954" rIns="129909" bIns="64954" numCol="1" anchor="t" anchorCtr="0" compatLnSpc="1">
            <a:prstTxWarp prst="textNoShape">
              <a:avLst/>
            </a:prstTxWarp>
          </a:bodyPr>
          <a:lstStyle/>
          <a:p>
            <a:endParaRPr lang="en-US">
              <a:latin typeface="微软雅黑" pitchFamily="34" charset="-122"/>
              <a:ea typeface="微软雅黑" pitchFamily="34" charset="-122"/>
            </a:endParaRPr>
          </a:p>
        </p:txBody>
      </p:sp>
      <p:grpSp>
        <p:nvGrpSpPr>
          <p:cNvPr id="6" name="Group 5"/>
          <p:cNvGrpSpPr/>
          <p:nvPr/>
        </p:nvGrpSpPr>
        <p:grpSpPr>
          <a:xfrm>
            <a:off x="3000810" y="1414046"/>
            <a:ext cx="1481740" cy="1221955"/>
            <a:chOff x="2113298" y="994251"/>
            <a:chExt cx="1043504" cy="859187"/>
          </a:xfrm>
        </p:grpSpPr>
        <p:grpSp>
          <p:nvGrpSpPr>
            <p:cNvPr id="405" name="Group 404"/>
            <p:cNvGrpSpPr/>
            <p:nvPr/>
          </p:nvGrpSpPr>
          <p:grpSpPr>
            <a:xfrm>
              <a:off x="2113298" y="994251"/>
              <a:ext cx="1043504" cy="321946"/>
              <a:chOff x="161386" y="954156"/>
              <a:chExt cx="314542" cy="387627"/>
            </a:xfrm>
          </p:grpSpPr>
          <p:sp>
            <p:nvSpPr>
              <p:cNvPr id="406" name="Round Diagonal Corner Rectangle 405"/>
              <p:cNvSpPr/>
              <p:nvPr/>
            </p:nvSpPr>
            <p:spPr>
              <a:xfrm flipV="1">
                <a:off x="171035" y="954156"/>
                <a:ext cx="291924" cy="387626"/>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00" dirty="0">
                  <a:latin typeface="微软雅黑" pitchFamily="34" charset="-122"/>
                  <a:ea typeface="微软雅黑" pitchFamily="34" charset="-122"/>
                </a:endParaRPr>
              </a:p>
            </p:txBody>
          </p:sp>
          <p:sp>
            <p:nvSpPr>
              <p:cNvPr id="407" name="Round Diagonal Corner Rectangle 406"/>
              <p:cNvSpPr/>
              <p:nvPr/>
            </p:nvSpPr>
            <p:spPr>
              <a:xfrm>
                <a:off x="161386" y="954157"/>
                <a:ext cx="314542" cy="387626"/>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2300" dirty="0">
                    <a:latin typeface="微软雅黑" pitchFamily="34" charset="-122"/>
                    <a:ea typeface="微软雅黑" pitchFamily="34" charset="-122"/>
                  </a:rPr>
                  <a:t>研究</a:t>
                </a:r>
                <a:endParaRPr lang="en-US" sz="2300" dirty="0">
                  <a:latin typeface="微软雅黑" pitchFamily="34" charset="-122"/>
                  <a:ea typeface="微软雅黑" pitchFamily="34" charset="-122"/>
                </a:endParaRPr>
              </a:p>
            </p:txBody>
          </p:sp>
        </p:grpSp>
        <p:sp>
          <p:nvSpPr>
            <p:cNvPr id="422" name="Freeform 248"/>
            <p:cNvSpPr>
              <a:spLocks noEditPoints="1"/>
            </p:cNvSpPr>
            <p:nvPr/>
          </p:nvSpPr>
          <p:spPr bwMode="auto">
            <a:xfrm>
              <a:off x="2246142" y="1370083"/>
              <a:ext cx="492004" cy="483355"/>
            </a:xfrm>
            <a:custGeom>
              <a:avLst/>
              <a:gdLst>
                <a:gd name="T0" fmla="*/ 136 w 216"/>
                <a:gd name="T1" fmla="*/ 134 h 212"/>
                <a:gd name="T2" fmla="*/ 116 w 216"/>
                <a:gd name="T3" fmla="*/ 130 h 212"/>
                <a:gd name="T4" fmla="*/ 87 w 216"/>
                <a:gd name="T5" fmla="*/ 101 h 212"/>
                <a:gd name="T6" fmla="*/ 83 w 216"/>
                <a:gd name="T7" fmla="*/ 81 h 212"/>
                <a:gd name="T8" fmla="*/ 136 w 216"/>
                <a:gd name="T9" fmla="*/ 28 h 212"/>
                <a:gd name="T10" fmla="*/ 189 w 216"/>
                <a:gd name="T11" fmla="*/ 81 h 212"/>
                <a:gd name="T12" fmla="*/ 136 w 216"/>
                <a:gd name="T13" fmla="*/ 134 h 212"/>
                <a:gd name="T14" fmla="*/ 136 w 216"/>
                <a:gd name="T15" fmla="*/ 0 h 212"/>
                <a:gd name="T16" fmla="*/ 56 w 216"/>
                <a:gd name="T17" fmla="*/ 81 h 212"/>
                <a:gd name="T18" fmla="*/ 67 w 216"/>
                <a:gd name="T19" fmla="*/ 121 h 212"/>
                <a:gd name="T20" fmla="*/ 15 w 216"/>
                <a:gd name="T21" fmla="*/ 173 h 212"/>
                <a:gd name="T22" fmla="*/ 15 w 216"/>
                <a:gd name="T23" fmla="*/ 173 h 212"/>
                <a:gd name="T24" fmla="*/ 0 w 216"/>
                <a:gd name="T25" fmla="*/ 189 h 212"/>
                <a:gd name="T26" fmla="*/ 17 w 216"/>
                <a:gd name="T27" fmla="*/ 207 h 212"/>
                <a:gd name="T28" fmla="*/ 39 w 216"/>
                <a:gd name="T29" fmla="*/ 207 h 212"/>
                <a:gd name="T30" fmla="*/ 96 w 216"/>
                <a:gd name="T31" fmla="*/ 150 h 212"/>
                <a:gd name="T32" fmla="*/ 136 w 216"/>
                <a:gd name="T33" fmla="*/ 161 h 212"/>
                <a:gd name="T34" fmla="*/ 216 w 216"/>
                <a:gd name="T35" fmla="*/ 81 h 212"/>
                <a:gd name="T36" fmla="*/ 136 w 216"/>
                <a:gd name="T3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6" h="212">
                  <a:moveTo>
                    <a:pt x="136" y="134"/>
                  </a:moveTo>
                  <a:cubicBezTo>
                    <a:pt x="129" y="134"/>
                    <a:pt x="122" y="132"/>
                    <a:pt x="116" y="130"/>
                  </a:cubicBezTo>
                  <a:cubicBezTo>
                    <a:pt x="103" y="124"/>
                    <a:pt x="93" y="114"/>
                    <a:pt x="87" y="101"/>
                  </a:cubicBezTo>
                  <a:cubicBezTo>
                    <a:pt x="84" y="95"/>
                    <a:pt x="83" y="88"/>
                    <a:pt x="83" y="81"/>
                  </a:cubicBezTo>
                  <a:cubicBezTo>
                    <a:pt x="83" y="51"/>
                    <a:pt x="107" y="28"/>
                    <a:pt x="136" y="28"/>
                  </a:cubicBezTo>
                  <a:cubicBezTo>
                    <a:pt x="165" y="28"/>
                    <a:pt x="189" y="51"/>
                    <a:pt x="189" y="81"/>
                  </a:cubicBezTo>
                  <a:cubicBezTo>
                    <a:pt x="189" y="110"/>
                    <a:pt x="165" y="134"/>
                    <a:pt x="136" y="134"/>
                  </a:cubicBezTo>
                  <a:moveTo>
                    <a:pt x="136" y="0"/>
                  </a:moveTo>
                  <a:cubicBezTo>
                    <a:pt x="92" y="0"/>
                    <a:pt x="56" y="36"/>
                    <a:pt x="56" y="81"/>
                  </a:cubicBezTo>
                  <a:cubicBezTo>
                    <a:pt x="56" y="95"/>
                    <a:pt x="60" y="109"/>
                    <a:pt x="67" y="121"/>
                  </a:cubicBezTo>
                  <a:cubicBezTo>
                    <a:pt x="15" y="173"/>
                    <a:pt x="15" y="173"/>
                    <a:pt x="15" y="173"/>
                  </a:cubicBezTo>
                  <a:cubicBezTo>
                    <a:pt x="15" y="173"/>
                    <a:pt x="15" y="173"/>
                    <a:pt x="15" y="173"/>
                  </a:cubicBezTo>
                  <a:cubicBezTo>
                    <a:pt x="0" y="189"/>
                    <a:pt x="0" y="189"/>
                    <a:pt x="0" y="189"/>
                  </a:cubicBezTo>
                  <a:cubicBezTo>
                    <a:pt x="17" y="207"/>
                    <a:pt x="17" y="207"/>
                    <a:pt x="17" y="207"/>
                  </a:cubicBezTo>
                  <a:cubicBezTo>
                    <a:pt x="23" y="212"/>
                    <a:pt x="33" y="212"/>
                    <a:pt x="39" y="207"/>
                  </a:cubicBezTo>
                  <a:cubicBezTo>
                    <a:pt x="96" y="150"/>
                    <a:pt x="96" y="150"/>
                    <a:pt x="96" y="150"/>
                  </a:cubicBezTo>
                  <a:cubicBezTo>
                    <a:pt x="108" y="157"/>
                    <a:pt x="121" y="161"/>
                    <a:pt x="136" y="161"/>
                  </a:cubicBezTo>
                  <a:cubicBezTo>
                    <a:pt x="180" y="161"/>
                    <a:pt x="216" y="125"/>
                    <a:pt x="216" y="81"/>
                  </a:cubicBezTo>
                  <a:cubicBezTo>
                    <a:pt x="216" y="36"/>
                    <a:pt x="180" y="0"/>
                    <a:pt x="136" y="0"/>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nvGrpSpPr>
          <p:cNvPr id="432" name="Group 431"/>
          <p:cNvGrpSpPr/>
          <p:nvPr/>
        </p:nvGrpSpPr>
        <p:grpSpPr>
          <a:xfrm>
            <a:off x="3055350" y="5170062"/>
            <a:ext cx="1004809" cy="1200649"/>
            <a:chOff x="4008438" y="1887538"/>
            <a:chExt cx="1135063" cy="1354138"/>
          </a:xfrm>
          <a:solidFill>
            <a:srgbClr val="000000"/>
          </a:solidFill>
        </p:grpSpPr>
        <p:sp>
          <p:nvSpPr>
            <p:cNvPr id="433" name="Oval 796"/>
            <p:cNvSpPr>
              <a:spLocks noChangeArrowheads="1"/>
            </p:cNvSpPr>
            <p:nvPr/>
          </p:nvSpPr>
          <p:spPr bwMode="auto">
            <a:xfrm>
              <a:off x="4094163" y="2252663"/>
              <a:ext cx="184150" cy="195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34" name="Freeform 797"/>
            <p:cNvSpPr>
              <a:spLocks/>
            </p:cNvSpPr>
            <p:nvPr/>
          </p:nvSpPr>
          <p:spPr bwMode="auto">
            <a:xfrm>
              <a:off x="4008438" y="2478088"/>
              <a:ext cx="357188" cy="665163"/>
            </a:xfrm>
            <a:custGeom>
              <a:avLst/>
              <a:gdLst>
                <a:gd name="T0" fmla="*/ 75 w 95"/>
                <a:gd name="T1" fmla="*/ 0 h 177"/>
                <a:gd name="T2" fmla="*/ 48 w 95"/>
                <a:gd name="T3" fmla="*/ 0 h 177"/>
                <a:gd name="T4" fmla="*/ 20 w 95"/>
                <a:gd name="T5" fmla="*/ 0 h 177"/>
                <a:gd name="T6" fmla="*/ 0 w 95"/>
                <a:gd name="T7" fmla="*/ 21 h 177"/>
                <a:gd name="T8" fmla="*/ 0 w 95"/>
                <a:gd name="T9" fmla="*/ 24 h 177"/>
                <a:gd name="T10" fmla="*/ 0 w 95"/>
                <a:gd name="T11" fmla="*/ 40 h 177"/>
                <a:gd name="T12" fmla="*/ 0 w 95"/>
                <a:gd name="T13" fmla="*/ 55 h 177"/>
                <a:gd name="T14" fmla="*/ 0 w 95"/>
                <a:gd name="T15" fmla="*/ 83 h 177"/>
                <a:gd name="T16" fmla="*/ 0 w 95"/>
                <a:gd name="T17" fmla="*/ 83 h 177"/>
                <a:gd name="T18" fmla="*/ 8 w 95"/>
                <a:gd name="T19" fmla="*/ 91 h 177"/>
                <a:gd name="T20" fmla="*/ 16 w 95"/>
                <a:gd name="T21" fmla="*/ 84 h 177"/>
                <a:gd name="T22" fmla="*/ 16 w 95"/>
                <a:gd name="T23" fmla="*/ 83 h 177"/>
                <a:gd name="T24" fmla="*/ 16 w 95"/>
                <a:gd name="T25" fmla="*/ 27 h 177"/>
                <a:gd name="T26" fmla="*/ 18 w 95"/>
                <a:gd name="T27" fmla="*/ 25 h 177"/>
                <a:gd name="T28" fmla="*/ 20 w 95"/>
                <a:gd name="T29" fmla="*/ 27 h 177"/>
                <a:gd name="T30" fmla="*/ 20 w 95"/>
                <a:gd name="T31" fmla="*/ 87 h 177"/>
                <a:gd name="T32" fmla="*/ 20 w 95"/>
                <a:gd name="T33" fmla="*/ 95 h 177"/>
                <a:gd name="T34" fmla="*/ 20 w 95"/>
                <a:gd name="T35" fmla="*/ 96 h 177"/>
                <a:gd name="T36" fmla="*/ 20 w 95"/>
                <a:gd name="T37" fmla="*/ 96 h 177"/>
                <a:gd name="T38" fmla="*/ 26 w 95"/>
                <a:gd name="T39" fmla="*/ 163 h 177"/>
                <a:gd name="T40" fmla="*/ 40 w 95"/>
                <a:gd name="T41" fmla="*/ 177 h 177"/>
                <a:gd name="T42" fmla="*/ 48 w 95"/>
                <a:gd name="T43" fmla="*/ 177 h 177"/>
                <a:gd name="T44" fmla="*/ 55 w 95"/>
                <a:gd name="T45" fmla="*/ 177 h 177"/>
                <a:gd name="T46" fmla="*/ 69 w 95"/>
                <a:gd name="T47" fmla="*/ 163 h 177"/>
                <a:gd name="T48" fmla="*/ 75 w 95"/>
                <a:gd name="T49" fmla="*/ 96 h 177"/>
                <a:gd name="T50" fmla="*/ 75 w 95"/>
                <a:gd name="T51" fmla="*/ 96 h 177"/>
                <a:gd name="T52" fmla="*/ 75 w 95"/>
                <a:gd name="T53" fmla="*/ 95 h 177"/>
                <a:gd name="T54" fmla="*/ 75 w 95"/>
                <a:gd name="T55" fmla="*/ 87 h 177"/>
                <a:gd name="T56" fmla="*/ 75 w 95"/>
                <a:gd name="T57" fmla="*/ 27 h 177"/>
                <a:gd name="T58" fmla="*/ 77 w 95"/>
                <a:gd name="T59" fmla="*/ 25 h 177"/>
                <a:gd name="T60" fmla="*/ 79 w 95"/>
                <a:gd name="T61" fmla="*/ 27 h 177"/>
                <a:gd name="T62" fmla="*/ 79 w 95"/>
                <a:gd name="T63" fmla="*/ 83 h 177"/>
                <a:gd name="T64" fmla="*/ 79 w 95"/>
                <a:gd name="T65" fmla="*/ 84 h 177"/>
                <a:gd name="T66" fmla="*/ 87 w 95"/>
                <a:gd name="T67" fmla="*/ 91 h 177"/>
                <a:gd name="T68" fmla="*/ 95 w 95"/>
                <a:gd name="T69" fmla="*/ 83 h 177"/>
                <a:gd name="T70" fmla="*/ 95 w 95"/>
                <a:gd name="T71" fmla="*/ 83 h 177"/>
                <a:gd name="T72" fmla="*/ 95 w 95"/>
                <a:gd name="T73" fmla="*/ 40 h 177"/>
                <a:gd name="T74" fmla="*/ 95 w 95"/>
                <a:gd name="T75" fmla="*/ 24 h 177"/>
                <a:gd name="T76" fmla="*/ 95 w 95"/>
                <a:gd name="T77" fmla="*/ 21 h 177"/>
                <a:gd name="T78" fmla="*/ 75 w 95"/>
                <a:gd name="T79"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5" h="177">
                  <a:moveTo>
                    <a:pt x="75" y="0"/>
                  </a:moveTo>
                  <a:cubicBezTo>
                    <a:pt x="48" y="0"/>
                    <a:pt x="48" y="0"/>
                    <a:pt x="48" y="0"/>
                  </a:cubicBezTo>
                  <a:cubicBezTo>
                    <a:pt x="20" y="0"/>
                    <a:pt x="20" y="0"/>
                    <a:pt x="20" y="0"/>
                  </a:cubicBezTo>
                  <a:cubicBezTo>
                    <a:pt x="7" y="0"/>
                    <a:pt x="0" y="6"/>
                    <a:pt x="0" y="21"/>
                  </a:cubicBezTo>
                  <a:cubicBezTo>
                    <a:pt x="0" y="24"/>
                    <a:pt x="0" y="24"/>
                    <a:pt x="0" y="24"/>
                  </a:cubicBezTo>
                  <a:cubicBezTo>
                    <a:pt x="0" y="40"/>
                    <a:pt x="0" y="40"/>
                    <a:pt x="0" y="40"/>
                  </a:cubicBezTo>
                  <a:cubicBezTo>
                    <a:pt x="0" y="55"/>
                    <a:pt x="0" y="55"/>
                    <a:pt x="0" y="55"/>
                  </a:cubicBezTo>
                  <a:cubicBezTo>
                    <a:pt x="0" y="83"/>
                    <a:pt x="0" y="83"/>
                    <a:pt x="0" y="83"/>
                  </a:cubicBezTo>
                  <a:cubicBezTo>
                    <a:pt x="0" y="83"/>
                    <a:pt x="0" y="83"/>
                    <a:pt x="0" y="83"/>
                  </a:cubicBezTo>
                  <a:cubicBezTo>
                    <a:pt x="0" y="88"/>
                    <a:pt x="4" y="91"/>
                    <a:pt x="8" y="91"/>
                  </a:cubicBezTo>
                  <a:cubicBezTo>
                    <a:pt x="12" y="91"/>
                    <a:pt x="15" y="88"/>
                    <a:pt x="16" y="84"/>
                  </a:cubicBezTo>
                  <a:cubicBezTo>
                    <a:pt x="16" y="84"/>
                    <a:pt x="16" y="84"/>
                    <a:pt x="16" y="83"/>
                  </a:cubicBezTo>
                  <a:cubicBezTo>
                    <a:pt x="16" y="27"/>
                    <a:pt x="16" y="27"/>
                    <a:pt x="16" y="27"/>
                  </a:cubicBezTo>
                  <a:cubicBezTo>
                    <a:pt x="16" y="26"/>
                    <a:pt x="17" y="25"/>
                    <a:pt x="18" y="25"/>
                  </a:cubicBezTo>
                  <a:cubicBezTo>
                    <a:pt x="19" y="25"/>
                    <a:pt x="20" y="26"/>
                    <a:pt x="20" y="27"/>
                  </a:cubicBezTo>
                  <a:cubicBezTo>
                    <a:pt x="20" y="87"/>
                    <a:pt x="20" y="87"/>
                    <a:pt x="20" y="87"/>
                  </a:cubicBezTo>
                  <a:cubicBezTo>
                    <a:pt x="20" y="87"/>
                    <a:pt x="20" y="92"/>
                    <a:pt x="20" y="95"/>
                  </a:cubicBezTo>
                  <a:cubicBezTo>
                    <a:pt x="20" y="96"/>
                    <a:pt x="20" y="96"/>
                    <a:pt x="20" y="96"/>
                  </a:cubicBezTo>
                  <a:cubicBezTo>
                    <a:pt x="20" y="96"/>
                    <a:pt x="20" y="96"/>
                    <a:pt x="20" y="96"/>
                  </a:cubicBezTo>
                  <a:cubicBezTo>
                    <a:pt x="26" y="163"/>
                    <a:pt x="26" y="163"/>
                    <a:pt x="26" y="163"/>
                  </a:cubicBezTo>
                  <a:cubicBezTo>
                    <a:pt x="27" y="173"/>
                    <a:pt x="31" y="177"/>
                    <a:pt x="40" y="177"/>
                  </a:cubicBezTo>
                  <a:cubicBezTo>
                    <a:pt x="48" y="177"/>
                    <a:pt x="48" y="177"/>
                    <a:pt x="48" y="177"/>
                  </a:cubicBezTo>
                  <a:cubicBezTo>
                    <a:pt x="55" y="177"/>
                    <a:pt x="55" y="177"/>
                    <a:pt x="55" y="177"/>
                  </a:cubicBezTo>
                  <a:cubicBezTo>
                    <a:pt x="64" y="177"/>
                    <a:pt x="68" y="173"/>
                    <a:pt x="69" y="163"/>
                  </a:cubicBezTo>
                  <a:cubicBezTo>
                    <a:pt x="75" y="96"/>
                    <a:pt x="75" y="96"/>
                    <a:pt x="75" y="96"/>
                  </a:cubicBezTo>
                  <a:cubicBezTo>
                    <a:pt x="75" y="96"/>
                    <a:pt x="75" y="96"/>
                    <a:pt x="75" y="96"/>
                  </a:cubicBezTo>
                  <a:cubicBezTo>
                    <a:pt x="75" y="95"/>
                    <a:pt x="75" y="95"/>
                    <a:pt x="75" y="95"/>
                  </a:cubicBezTo>
                  <a:cubicBezTo>
                    <a:pt x="75" y="92"/>
                    <a:pt x="75" y="87"/>
                    <a:pt x="75" y="87"/>
                  </a:cubicBezTo>
                  <a:cubicBezTo>
                    <a:pt x="75" y="27"/>
                    <a:pt x="75" y="27"/>
                    <a:pt x="75" y="27"/>
                  </a:cubicBezTo>
                  <a:cubicBezTo>
                    <a:pt x="75" y="26"/>
                    <a:pt x="76" y="25"/>
                    <a:pt x="77" y="25"/>
                  </a:cubicBezTo>
                  <a:cubicBezTo>
                    <a:pt x="78" y="25"/>
                    <a:pt x="79" y="26"/>
                    <a:pt x="79" y="27"/>
                  </a:cubicBezTo>
                  <a:cubicBezTo>
                    <a:pt x="79" y="83"/>
                    <a:pt x="79" y="83"/>
                    <a:pt x="79" y="83"/>
                  </a:cubicBezTo>
                  <a:cubicBezTo>
                    <a:pt x="79" y="84"/>
                    <a:pt x="79" y="84"/>
                    <a:pt x="79" y="84"/>
                  </a:cubicBezTo>
                  <a:cubicBezTo>
                    <a:pt x="80" y="88"/>
                    <a:pt x="83" y="91"/>
                    <a:pt x="87" y="91"/>
                  </a:cubicBezTo>
                  <a:cubicBezTo>
                    <a:pt x="91" y="91"/>
                    <a:pt x="95" y="88"/>
                    <a:pt x="95" y="83"/>
                  </a:cubicBezTo>
                  <a:cubicBezTo>
                    <a:pt x="95" y="83"/>
                    <a:pt x="95" y="83"/>
                    <a:pt x="95" y="83"/>
                  </a:cubicBezTo>
                  <a:cubicBezTo>
                    <a:pt x="95" y="40"/>
                    <a:pt x="95" y="40"/>
                    <a:pt x="95" y="40"/>
                  </a:cubicBezTo>
                  <a:cubicBezTo>
                    <a:pt x="95" y="24"/>
                    <a:pt x="95" y="24"/>
                    <a:pt x="95" y="24"/>
                  </a:cubicBezTo>
                  <a:cubicBezTo>
                    <a:pt x="95" y="21"/>
                    <a:pt x="95" y="21"/>
                    <a:pt x="95" y="21"/>
                  </a:cubicBezTo>
                  <a:cubicBezTo>
                    <a:pt x="95" y="6"/>
                    <a:pt x="88" y="0"/>
                    <a:pt x="7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35" name="Oval 798"/>
            <p:cNvSpPr>
              <a:spLocks noChangeArrowheads="1"/>
            </p:cNvSpPr>
            <p:nvPr/>
          </p:nvSpPr>
          <p:spPr bwMode="auto">
            <a:xfrm>
              <a:off x="4778376" y="2041526"/>
              <a:ext cx="249238" cy="2667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36" name="Freeform 799"/>
            <p:cNvSpPr>
              <a:spLocks/>
            </p:cNvSpPr>
            <p:nvPr/>
          </p:nvSpPr>
          <p:spPr bwMode="auto">
            <a:xfrm>
              <a:off x="4157663" y="1887538"/>
              <a:ext cx="771525" cy="250825"/>
            </a:xfrm>
            <a:custGeom>
              <a:avLst/>
              <a:gdLst>
                <a:gd name="T0" fmla="*/ 16 w 205"/>
                <a:gd name="T1" fmla="*/ 16 h 67"/>
                <a:gd name="T2" fmla="*/ 104 w 205"/>
                <a:gd name="T3" fmla="*/ 16 h 67"/>
                <a:gd name="T4" fmla="*/ 104 w 205"/>
                <a:gd name="T5" fmla="*/ 67 h 67"/>
                <a:gd name="T6" fmla="*/ 120 w 205"/>
                <a:gd name="T7" fmla="*/ 67 h 67"/>
                <a:gd name="T8" fmla="*/ 120 w 205"/>
                <a:gd name="T9" fmla="*/ 16 h 67"/>
                <a:gd name="T10" fmla="*/ 189 w 205"/>
                <a:gd name="T11" fmla="*/ 16 h 67"/>
                <a:gd name="T12" fmla="*/ 189 w 205"/>
                <a:gd name="T13" fmla="*/ 32 h 67"/>
                <a:gd name="T14" fmla="*/ 198 w 205"/>
                <a:gd name="T15" fmla="*/ 32 h 67"/>
                <a:gd name="T16" fmla="*/ 205 w 205"/>
                <a:gd name="T17" fmla="*/ 32 h 67"/>
                <a:gd name="T18" fmla="*/ 205 w 205"/>
                <a:gd name="T19" fmla="*/ 0 h 67"/>
                <a:gd name="T20" fmla="*/ 0 w 205"/>
                <a:gd name="T21" fmla="*/ 0 h 67"/>
                <a:gd name="T22" fmla="*/ 0 w 205"/>
                <a:gd name="T23" fmla="*/ 67 h 67"/>
                <a:gd name="T24" fmla="*/ 16 w 205"/>
                <a:gd name="T25" fmla="*/ 67 h 67"/>
                <a:gd name="T26" fmla="*/ 16 w 205"/>
                <a:gd name="T27" fmla="*/ 16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5" h="67">
                  <a:moveTo>
                    <a:pt x="16" y="16"/>
                  </a:moveTo>
                  <a:cubicBezTo>
                    <a:pt x="104" y="16"/>
                    <a:pt x="104" y="16"/>
                    <a:pt x="104" y="16"/>
                  </a:cubicBezTo>
                  <a:cubicBezTo>
                    <a:pt x="104" y="67"/>
                    <a:pt x="104" y="67"/>
                    <a:pt x="104" y="67"/>
                  </a:cubicBezTo>
                  <a:cubicBezTo>
                    <a:pt x="120" y="67"/>
                    <a:pt x="120" y="67"/>
                    <a:pt x="120" y="67"/>
                  </a:cubicBezTo>
                  <a:cubicBezTo>
                    <a:pt x="120" y="16"/>
                    <a:pt x="120" y="16"/>
                    <a:pt x="120" y="16"/>
                  </a:cubicBezTo>
                  <a:cubicBezTo>
                    <a:pt x="189" y="16"/>
                    <a:pt x="189" y="16"/>
                    <a:pt x="189" y="16"/>
                  </a:cubicBezTo>
                  <a:cubicBezTo>
                    <a:pt x="189" y="32"/>
                    <a:pt x="189" y="32"/>
                    <a:pt x="189" y="32"/>
                  </a:cubicBezTo>
                  <a:cubicBezTo>
                    <a:pt x="192" y="32"/>
                    <a:pt x="195" y="32"/>
                    <a:pt x="198" y="32"/>
                  </a:cubicBezTo>
                  <a:cubicBezTo>
                    <a:pt x="201" y="32"/>
                    <a:pt x="203" y="32"/>
                    <a:pt x="205" y="32"/>
                  </a:cubicBezTo>
                  <a:cubicBezTo>
                    <a:pt x="205" y="0"/>
                    <a:pt x="205" y="0"/>
                    <a:pt x="205" y="0"/>
                  </a:cubicBezTo>
                  <a:cubicBezTo>
                    <a:pt x="0" y="0"/>
                    <a:pt x="0" y="0"/>
                    <a:pt x="0" y="0"/>
                  </a:cubicBezTo>
                  <a:cubicBezTo>
                    <a:pt x="0" y="67"/>
                    <a:pt x="0" y="67"/>
                    <a:pt x="0" y="67"/>
                  </a:cubicBezTo>
                  <a:cubicBezTo>
                    <a:pt x="16" y="67"/>
                    <a:pt x="16" y="67"/>
                    <a:pt x="16" y="67"/>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37" name="Freeform 800"/>
            <p:cNvSpPr>
              <a:spLocks/>
            </p:cNvSpPr>
            <p:nvPr/>
          </p:nvSpPr>
          <p:spPr bwMode="auto">
            <a:xfrm>
              <a:off x="4489451" y="2252663"/>
              <a:ext cx="184150" cy="195263"/>
            </a:xfrm>
            <a:custGeom>
              <a:avLst/>
              <a:gdLst>
                <a:gd name="T0" fmla="*/ 0 w 49"/>
                <a:gd name="T1" fmla="*/ 26 h 52"/>
                <a:gd name="T2" fmla="*/ 25 w 49"/>
                <a:gd name="T3" fmla="*/ 52 h 52"/>
                <a:gd name="T4" fmla="*/ 38 w 49"/>
                <a:gd name="T5" fmla="*/ 50 h 52"/>
                <a:gd name="T6" fmla="*/ 49 w 49"/>
                <a:gd name="T7" fmla="*/ 25 h 52"/>
                <a:gd name="T8" fmla="*/ 25 w 49"/>
                <a:gd name="T9" fmla="*/ 0 h 52"/>
                <a:gd name="T10" fmla="*/ 0 w 49"/>
                <a:gd name="T11" fmla="*/ 26 h 52"/>
              </a:gdLst>
              <a:ahLst/>
              <a:cxnLst>
                <a:cxn ang="0">
                  <a:pos x="T0" y="T1"/>
                </a:cxn>
                <a:cxn ang="0">
                  <a:pos x="T2" y="T3"/>
                </a:cxn>
                <a:cxn ang="0">
                  <a:pos x="T4" y="T5"/>
                </a:cxn>
                <a:cxn ang="0">
                  <a:pos x="T6" y="T7"/>
                </a:cxn>
                <a:cxn ang="0">
                  <a:pos x="T8" y="T9"/>
                </a:cxn>
                <a:cxn ang="0">
                  <a:pos x="T10" y="T11"/>
                </a:cxn>
              </a:cxnLst>
              <a:rect l="0" t="0" r="r" b="b"/>
              <a:pathLst>
                <a:path w="49" h="52">
                  <a:moveTo>
                    <a:pt x="0" y="26"/>
                  </a:moveTo>
                  <a:cubicBezTo>
                    <a:pt x="0" y="45"/>
                    <a:pt x="7" y="52"/>
                    <a:pt x="25" y="52"/>
                  </a:cubicBezTo>
                  <a:cubicBezTo>
                    <a:pt x="30" y="52"/>
                    <a:pt x="35" y="52"/>
                    <a:pt x="38" y="50"/>
                  </a:cubicBezTo>
                  <a:cubicBezTo>
                    <a:pt x="39" y="39"/>
                    <a:pt x="43" y="30"/>
                    <a:pt x="49" y="25"/>
                  </a:cubicBezTo>
                  <a:cubicBezTo>
                    <a:pt x="49" y="7"/>
                    <a:pt x="42" y="0"/>
                    <a:pt x="25" y="0"/>
                  </a:cubicBezTo>
                  <a:cubicBezTo>
                    <a:pt x="7" y="0"/>
                    <a:pt x="0" y="7"/>
                    <a:pt x="0" y="2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38" name="Freeform 801"/>
            <p:cNvSpPr>
              <a:spLocks/>
            </p:cNvSpPr>
            <p:nvPr/>
          </p:nvSpPr>
          <p:spPr bwMode="auto">
            <a:xfrm>
              <a:off x="4402138" y="2478088"/>
              <a:ext cx="282575" cy="665163"/>
            </a:xfrm>
            <a:custGeom>
              <a:avLst/>
              <a:gdLst>
                <a:gd name="T0" fmla="*/ 61 w 75"/>
                <a:gd name="T1" fmla="*/ 77 h 177"/>
                <a:gd name="T2" fmla="*/ 61 w 75"/>
                <a:gd name="T3" fmla="*/ 0 h 177"/>
                <a:gd name="T4" fmla="*/ 48 w 75"/>
                <a:gd name="T5" fmla="*/ 0 h 177"/>
                <a:gd name="T6" fmla="*/ 20 w 75"/>
                <a:gd name="T7" fmla="*/ 0 h 177"/>
                <a:gd name="T8" fmla="*/ 0 w 75"/>
                <a:gd name="T9" fmla="*/ 21 h 177"/>
                <a:gd name="T10" fmla="*/ 0 w 75"/>
                <a:gd name="T11" fmla="*/ 24 h 177"/>
                <a:gd name="T12" fmla="*/ 0 w 75"/>
                <a:gd name="T13" fmla="*/ 40 h 177"/>
                <a:gd name="T14" fmla="*/ 0 w 75"/>
                <a:gd name="T15" fmla="*/ 55 h 177"/>
                <a:gd name="T16" fmla="*/ 0 w 75"/>
                <a:gd name="T17" fmla="*/ 83 h 177"/>
                <a:gd name="T18" fmla="*/ 0 w 75"/>
                <a:gd name="T19" fmla="*/ 83 h 177"/>
                <a:gd name="T20" fmla="*/ 8 w 75"/>
                <a:gd name="T21" fmla="*/ 91 h 177"/>
                <a:gd name="T22" fmla="*/ 16 w 75"/>
                <a:gd name="T23" fmla="*/ 84 h 177"/>
                <a:gd name="T24" fmla="*/ 16 w 75"/>
                <a:gd name="T25" fmla="*/ 83 h 177"/>
                <a:gd name="T26" fmla="*/ 16 w 75"/>
                <a:gd name="T27" fmla="*/ 27 h 177"/>
                <a:gd name="T28" fmla="*/ 18 w 75"/>
                <a:gd name="T29" fmla="*/ 25 h 177"/>
                <a:gd name="T30" fmla="*/ 20 w 75"/>
                <a:gd name="T31" fmla="*/ 27 h 177"/>
                <a:gd name="T32" fmla="*/ 20 w 75"/>
                <a:gd name="T33" fmla="*/ 87 h 177"/>
                <a:gd name="T34" fmla="*/ 20 w 75"/>
                <a:gd name="T35" fmla="*/ 95 h 177"/>
                <a:gd name="T36" fmla="*/ 20 w 75"/>
                <a:gd name="T37" fmla="*/ 96 h 177"/>
                <a:gd name="T38" fmla="*/ 20 w 75"/>
                <a:gd name="T39" fmla="*/ 96 h 177"/>
                <a:gd name="T40" fmla="*/ 27 w 75"/>
                <a:gd name="T41" fmla="*/ 163 h 177"/>
                <a:gd name="T42" fmla="*/ 40 w 75"/>
                <a:gd name="T43" fmla="*/ 177 h 177"/>
                <a:gd name="T44" fmla="*/ 48 w 75"/>
                <a:gd name="T45" fmla="*/ 177 h 177"/>
                <a:gd name="T46" fmla="*/ 55 w 75"/>
                <a:gd name="T47" fmla="*/ 177 h 177"/>
                <a:gd name="T48" fmla="*/ 69 w 75"/>
                <a:gd name="T49" fmla="*/ 163 h 177"/>
                <a:gd name="T50" fmla="*/ 75 w 75"/>
                <a:gd name="T51" fmla="*/ 96 h 177"/>
                <a:gd name="T52" fmla="*/ 75 w 75"/>
                <a:gd name="T53" fmla="*/ 96 h 177"/>
                <a:gd name="T54" fmla="*/ 75 w 75"/>
                <a:gd name="T55" fmla="*/ 95 h 177"/>
                <a:gd name="T56" fmla="*/ 75 w 75"/>
                <a:gd name="T57" fmla="*/ 95 h 177"/>
                <a:gd name="T58" fmla="*/ 61 w 75"/>
                <a:gd name="T59" fmla="*/ 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5" h="177">
                  <a:moveTo>
                    <a:pt x="61" y="77"/>
                  </a:moveTo>
                  <a:cubicBezTo>
                    <a:pt x="61" y="0"/>
                    <a:pt x="61" y="0"/>
                    <a:pt x="61" y="0"/>
                  </a:cubicBezTo>
                  <a:cubicBezTo>
                    <a:pt x="48" y="0"/>
                    <a:pt x="48" y="0"/>
                    <a:pt x="48" y="0"/>
                  </a:cubicBezTo>
                  <a:cubicBezTo>
                    <a:pt x="20" y="0"/>
                    <a:pt x="20" y="0"/>
                    <a:pt x="20" y="0"/>
                  </a:cubicBezTo>
                  <a:cubicBezTo>
                    <a:pt x="7" y="0"/>
                    <a:pt x="0" y="6"/>
                    <a:pt x="0" y="21"/>
                  </a:cubicBezTo>
                  <a:cubicBezTo>
                    <a:pt x="0" y="24"/>
                    <a:pt x="0" y="24"/>
                    <a:pt x="0" y="24"/>
                  </a:cubicBezTo>
                  <a:cubicBezTo>
                    <a:pt x="0" y="40"/>
                    <a:pt x="0" y="40"/>
                    <a:pt x="0" y="40"/>
                  </a:cubicBezTo>
                  <a:cubicBezTo>
                    <a:pt x="0" y="55"/>
                    <a:pt x="0" y="55"/>
                    <a:pt x="0" y="55"/>
                  </a:cubicBezTo>
                  <a:cubicBezTo>
                    <a:pt x="0" y="83"/>
                    <a:pt x="0" y="83"/>
                    <a:pt x="0" y="83"/>
                  </a:cubicBezTo>
                  <a:cubicBezTo>
                    <a:pt x="0" y="83"/>
                    <a:pt x="0" y="83"/>
                    <a:pt x="0" y="83"/>
                  </a:cubicBezTo>
                  <a:cubicBezTo>
                    <a:pt x="0" y="88"/>
                    <a:pt x="4" y="91"/>
                    <a:pt x="8" y="91"/>
                  </a:cubicBezTo>
                  <a:cubicBezTo>
                    <a:pt x="12" y="91"/>
                    <a:pt x="15" y="88"/>
                    <a:pt x="16" y="84"/>
                  </a:cubicBezTo>
                  <a:cubicBezTo>
                    <a:pt x="16" y="84"/>
                    <a:pt x="16" y="84"/>
                    <a:pt x="16" y="83"/>
                  </a:cubicBezTo>
                  <a:cubicBezTo>
                    <a:pt x="16" y="27"/>
                    <a:pt x="16" y="27"/>
                    <a:pt x="16" y="27"/>
                  </a:cubicBezTo>
                  <a:cubicBezTo>
                    <a:pt x="16" y="26"/>
                    <a:pt x="17" y="25"/>
                    <a:pt x="18" y="25"/>
                  </a:cubicBezTo>
                  <a:cubicBezTo>
                    <a:pt x="19" y="25"/>
                    <a:pt x="20" y="26"/>
                    <a:pt x="20" y="27"/>
                  </a:cubicBezTo>
                  <a:cubicBezTo>
                    <a:pt x="20" y="87"/>
                    <a:pt x="20" y="87"/>
                    <a:pt x="20" y="87"/>
                  </a:cubicBezTo>
                  <a:cubicBezTo>
                    <a:pt x="20" y="87"/>
                    <a:pt x="20" y="92"/>
                    <a:pt x="20" y="95"/>
                  </a:cubicBezTo>
                  <a:cubicBezTo>
                    <a:pt x="20" y="96"/>
                    <a:pt x="20" y="96"/>
                    <a:pt x="20" y="96"/>
                  </a:cubicBezTo>
                  <a:cubicBezTo>
                    <a:pt x="20" y="96"/>
                    <a:pt x="20" y="96"/>
                    <a:pt x="20" y="96"/>
                  </a:cubicBezTo>
                  <a:cubicBezTo>
                    <a:pt x="27" y="163"/>
                    <a:pt x="27" y="163"/>
                    <a:pt x="27" y="163"/>
                  </a:cubicBezTo>
                  <a:cubicBezTo>
                    <a:pt x="28" y="173"/>
                    <a:pt x="31" y="177"/>
                    <a:pt x="40" y="177"/>
                  </a:cubicBezTo>
                  <a:cubicBezTo>
                    <a:pt x="48" y="177"/>
                    <a:pt x="48" y="177"/>
                    <a:pt x="48" y="177"/>
                  </a:cubicBezTo>
                  <a:cubicBezTo>
                    <a:pt x="55" y="177"/>
                    <a:pt x="55" y="177"/>
                    <a:pt x="55" y="177"/>
                  </a:cubicBezTo>
                  <a:cubicBezTo>
                    <a:pt x="64" y="177"/>
                    <a:pt x="68" y="173"/>
                    <a:pt x="69" y="163"/>
                  </a:cubicBezTo>
                  <a:cubicBezTo>
                    <a:pt x="75" y="96"/>
                    <a:pt x="75" y="96"/>
                    <a:pt x="75" y="96"/>
                  </a:cubicBezTo>
                  <a:cubicBezTo>
                    <a:pt x="75" y="96"/>
                    <a:pt x="75" y="96"/>
                    <a:pt x="75" y="96"/>
                  </a:cubicBezTo>
                  <a:cubicBezTo>
                    <a:pt x="75" y="95"/>
                    <a:pt x="75" y="95"/>
                    <a:pt x="75" y="95"/>
                  </a:cubicBezTo>
                  <a:cubicBezTo>
                    <a:pt x="75" y="95"/>
                    <a:pt x="75" y="95"/>
                    <a:pt x="75" y="95"/>
                  </a:cubicBezTo>
                  <a:cubicBezTo>
                    <a:pt x="67" y="93"/>
                    <a:pt x="61" y="85"/>
                    <a:pt x="61" y="7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39" name="Freeform 802"/>
            <p:cNvSpPr>
              <a:spLocks/>
            </p:cNvSpPr>
            <p:nvPr/>
          </p:nvSpPr>
          <p:spPr bwMode="auto">
            <a:xfrm>
              <a:off x="4662488" y="2346326"/>
              <a:ext cx="481013" cy="895350"/>
            </a:xfrm>
            <a:custGeom>
              <a:avLst/>
              <a:gdLst>
                <a:gd name="T0" fmla="*/ 101 w 128"/>
                <a:gd name="T1" fmla="*/ 0 h 238"/>
                <a:gd name="T2" fmla="*/ 64 w 128"/>
                <a:gd name="T3" fmla="*/ 0 h 238"/>
                <a:gd name="T4" fmla="*/ 27 w 128"/>
                <a:gd name="T5" fmla="*/ 0 h 238"/>
                <a:gd name="T6" fmla="*/ 0 w 128"/>
                <a:gd name="T7" fmla="*/ 29 h 238"/>
                <a:gd name="T8" fmla="*/ 0 w 128"/>
                <a:gd name="T9" fmla="*/ 32 h 238"/>
                <a:gd name="T10" fmla="*/ 0 w 128"/>
                <a:gd name="T11" fmla="*/ 54 h 238"/>
                <a:gd name="T12" fmla="*/ 0 w 128"/>
                <a:gd name="T13" fmla="*/ 74 h 238"/>
                <a:gd name="T14" fmla="*/ 0 w 128"/>
                <a:gd name="T15" fmla="*/ 112 h 238"/>
                <a:gd name="T16" fmla="*/ 0 w 128"/>
                <a:gd name="T17" fmla="*/ 112 h 238"/>
                <a:gd name="T18" fmla="*/ 11 w 128"/>
                <a:gd name="T19" fmla="*/ 122 h 238"/>
                <a:gd name="T20" fmla="*/ 21 w 128"/>
                <a:gd name="T21" fmla="*/ 113 h 238"/>
                <a:gd name="T22" fmla="*/ 21 w 128"/>
                <a:gd name="T23" fmla="*/ 112 h 238"/>
                <a:gd name="T24" fmla="*/ 21 w 128"/>
                <a:gd name="T25" fmla="*/ 36 h 238"/>
                <a:gd name="T26" fmla="*/ 24 w 128"/>
                <a:gd name="T27" fmla="*/ 33 h 238"/>
                <a:gd name="T28" fmla="*/ 27 w 128"/>
                <a:gd name="T29" fmla="*/ 36 h 238"/>
                <a:gd name="T30" fmla="*/ 27 w 128"/>
                <a:gd name="T31" fmla="*/ 116 h 238"/>
                <a:gd name="T32" fmla="*/ 27 w 128"/>
                <a:gd name="T33" fmla="*/ 128 h 238"/>
                <a:gd name="T34" fmla="*/ 27 w 128"/>
                <a:gd name="T35" fmla="*/ 128 h 238"/>
                <a:gd name="T36" fmla="*/ 27 w 128"/>
                <a:gd name="T37" fmla="*/ 128 h 238"/>
                <a:gd name="T38" fmla="*/ 36 w 128"/>
                <a:gd name="T39" fmla="*/ 219 h 238"/>
                <a:gd name="T40" fmla="*/ 54 w 128"/>
                <a:gd name="T41" fmla="*/ 238 h 238"/>
                <a:gd name="T42" fmla="*/ 64 w 128"/>
                <a:gd name="T43" fmla="*/ 238 h 238"/>
                <a:gd name="T44" fmla="*/ 74 w 128"/>
                <a:gd name="T45" fmla="*/ 238 h 238"/>
                <a:gd name="T46" fmla="*/ 92 w 128"/>
                <a:gd name="T47" fmla="*/ 219 h 238"/>
                <a:gd name="T48" fmla="*/ 101 w 128"/>
                <a:gd name="T49" fmla="*/ 128 h 238"/>
                <a:gd name="T50" fmla="*/ 101 w 128"/>
                <a:gd name="T51" fmla="*/ 128 h 238"/>
                <a:gd name="T52" fmla="*/ 101 w 128"/>
                <a:gd name="T53" fmla="*/ 128 h 238"/>
                <a:gd name="T54" fmla="*/ 101 w 128"/>
                <a:gd name="T55" fmla="*/ 116 h 238"/>
                <a:gd name="T56" fmla="*/ 101 w 128"/>
                <a:gd name="T57" fmla="*/ 36 h 238"/>
                <a:gd name="T58" fmla="*/ 104 w 128"/>
                <a:gd name="T59" fmla="*/ 33 h 238"/>
                <a:gd name="T60" fmla="*/ 106 w 128"/>
                <a:gd name="T61" fmla="*/ 36 h 238"/>
                <a:gd name="T62" fmla="*/ 106 w 128"/>
                <a:gd name="T63" fmla="*/ 112 h 238"/>
                <a:gd name="T64" fmla="*/ 107 w 128"/>
                <a:gd name="T65" fmla="*/ 113 h 238"/>
                <a:gd name="T66" fmla="*/ 117 w 128"/>
                <a:gd name="T67" fmla="*/ 122 h 238"/>
                <a:gd name="T68" fmla="*/ 128 w 128"/>
                <a:gd name="T69" fmla="*/ 112 h 238"/>
                <a:gd name="T70" fmla="*/ 128 w 128"/>
                <a:gd name="T71" fmla="*/ 112 h 238"/>
                <a:gd name="T72" fmla="*/ 128 w 128"/>
                <a:gd name="T73" fmla="*/ 54 h 238"/>
                <a:gd name="T74" fmla="*/ 128 w 128"/>
                <a:gd name="T75" fmla="*/ 32 h 238"/>
                <a:gd name="T76" fmla="*/ 128 w 128"/>
                <a:gd name="T77" fmla="*/ 29 h 238"/>
                <a:gd name="T78" fmla="*/ 101 w 128"/>
                <a:gd name="T79"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238">
                  <a:moveTo>
                    <a:pt x="101" y="0"/>
                  </a:moveTo>
                  <a:cubicBezTo>
                    <a:pt x="64" y="0"/>
                    <a:pt x="64" y="0"/>
                    <a:pt x="64" y="0"/>
                  </a:cubicBezTo>
                  <a:cubicBezTo>
                    <a:pt x="27" y="0"/>
                    <a:pt x="27" y="0"/>
                    <a:pt x="27" y="0"/>
                  </a:cubicBezTo>
                  <a:cubicBezTo>
                    <a:pt x="10" y="0"/>
                    <a:pt x="0" y="8"/>
                    <a:pt x="0" y="29"/>
                  </a:cubicBezTo>
                  <a:cubicBezTo>
                    <a:pt x="0" y="32"/>
                    <a:pt x="0" y="32"/>
                    <a:pt x="0" y="32"/>
                  </a:cubicBezTo>
                  <a:cubicBezTo>
                    <a:pt x="0" y="54"/>
                    <a:pt x="0" y="54"/>
                    <a:pt x="0" y="54"/>
                  </a:cubicBezTo>
                  <a:cubicBezTo>
                    <a:pt x="0" y="74"/>
                    <a:pt x="0" y="74"/>
                    <a:pt x="0" y="74"/>
                  </a:cubicBezTo>
                  <a:cubicBezTo>
                    <a:pt x="0" y="112"/>
                    <a:pt x="0" y="112"/>
                    <a:pt x="0" y="112"/>
                  </a:cubicBezTo>
                  <a:cubicBezTo>
                    <a:pt x="0" y="112"/>
                    <a:pt x="0" y="112"/>
                    <a:pt x="0" y="112"/>
                  </a:cubicBezTo>
                  <a:cubicBezTo>
                    <a:pt x="0" y="118"/>
                    <a:pt x="5" y="122"/>
                    <a:pt x="11" y="122"/>
                  </a:cubicBezTo>
                  <a:cubicBezTo>
                    <a:pt x="16" y="122"/>
                    <a:pt x="20" y="119"/>
                    <a:pt x="21" y="113"/>
                  </a:cubicBezTo>
                  <a:cubicBezTo>
                    <a:pt x="21" y="113"/>
                    <a:pt x="21" y="112"/>
                    <a:pt x="21" y="112"/>
                  </a:cubicBezTo>
                  <a:cubicBezTo>
                    <a:pt x="21" y="36"/>
                    <a:pt x="21" y="36"/>
                    <a:pt x="21" y="36"/>
                  </a:cubicBezTo>
                  <a:cubicBezTo>
                    <a:pt x="21" y="34"/>
                    <a:pt x="23" y="33"/>
                    <a:pt x="24" y="33"/>
                  </a:cubicBezTo>
                  <a:cubicBezTo>
                    <a:pt x="26" y="33"/>
                    <a:pt x="27" y="34"/>
                    <a:pt x="27" y="36"/>
                  </a:cubicBezTo>
                  <a:cubicBezTo>
                    <a:pt x="27" y="116"/>
                    <a:pt x="27" y="116"/>
                    <a:pt x="27" y="116"/>
                  </a:cubicBezTo>
                  <a:cubicBezTo>
                    <a:pt x="27" y="116"/>
                    <a:pt x="27" y="123"/>
                    <a:pt x="27" y="128"/>
                  </a:cubicBezTo>
                  <a:cubicBezTo>
                    <a:pt x="27" y="128"/>
                    <a:pt x="27" y="128"/>
                    <a:pt x="27" y="128"/>
                  </a:cubicBezTo>
                  <a:cubicBezTo>
                    <a:pt x="27" y="128"/>
                    <a:pt x="27" y="128"/>
                    <a:pt x="27" y="128"/>
                  </a:cubicBezTo>
                  <a:cubicBezTo>
                    <a:pt x="36" y="219"/>
                    <a:pt x="36" y="219"/>
                    <a:pt x="36" y="219"/>
                  </a:cubicBezTo>
                  <a:cubicBezTo>
                    <a:pt x="37" y="233"/>
                    <a:pt x="42" y="238"/>
                    <a:pt x="54" y="238"/>
                  </a:cubicBezTo>
                  <a:cubicBezTo>
                    <a:pt x="64" y="238"/>
                    <a:pt x="64" y="238"/>
                    <a:pt x="64" y="238"/>
                  </a:cubicBezTo>
                  <a:cubicBezTo>
                    <a:pt x="74" y="238"/>
                    <a:pt x="74" y="238"/>
                    <a:pt x="74" y="238"/>
                  </a:cubicBezTo>
                  <a:cubicBezTo>
                    <a:pt x="86" y="238"/>
                    <a:pt x="91" y="233"/>
                    <a:pt x="92" y="219"/>
                  </a:cubicBezTo>
                  <a:cubicBezTo>
                    <a:pt x="101" y="128"/>
                    <a:pt x="101" y="128"/>
                    <a:pt x="101" y="128"/>
                  </a:cubicBezTo>
                  <a:cubicBezTo>
                    <a:pt x="101" y="128"/>
                    <a:pt x="101" y="128"/>
                    <a:pt x="101" y="128"/>
                  </a:cubicBezTo>
                  <a:cubicBezTo>
                    <a:pt x="101" y="128"/>
                    <a:pt x="101" y="128"/>
                    <a:pt x="101" y="128"/>
                  </a:cubicBezTo>
                  <a:cubicBezTo>
                    <a:pt x="101" y="123"/>
                    <a:pt x="101" y="116"/>
                    <a:pt x="101" y="116"/>
                  </a:cubicBezTo>
                  <a:cubicBezTo>
                    <a:pt x="101" y="36"/>
                    <a:pt x="101" y="36"/>
                    <a:pt x="101" y="36"/>
                  </a:cubicBezTo>
                  <a:cubicBezTo>
                    <a:pt x="101" y="34"/>
                    <a:pt x="102" y="33"/>
                    <a:pt x="104" y="33"/>
                  </a:cubicBezTo>
                  <a:cubicBezTo>
                    <a:pt x="105" y="33"/>
                    <a:pt x="106" y="34"/>
                    <a:pt x="106" y="36"/>
                  </a:cubicBezTo>
                  <a:cubicBezTo>
                    <a:pt x="106" y="112"/>
                    <a:pt x="106" y="112"/>
                    <a:pt x="106" y="112"/>
                  </a:cubicBezTo>
                  <a:cubicBezTo>
                    <a:pt x="106" y="112"/>
                    <a:pt x="107" y="113"/>
                    <a:pt x="107" y="113"/>
                  </a:cubicBezTo>
                  <a:cubicBezTo>
                    <a:pt x="107" y="119"/>
                    <a:pt x="112" y="122"/>
                    <a:pt x="117" y="122"/>
                  </a:cubicBezTo>
                  <a:cubicBezTo>
                    <a:pt x="123" y="122"/>
                    <a:pt x="128" y="118"/>
                    <a:pt x="128" y="112"/>
                  </a:cubicBezTo>
                  <a:cubicBezTo>
                    <a:pt x="128" y="112"/>
                    <a:pt x="128" y="112"/>
                    <a:pt x="128" y="112"/>
                  </a:cubicBezTo>
                  <a:cubicBezTo>
                    <a:pt x="128" y="54"/>
                    <a:pt x="128" y="54"/>
                    <a:pt x="128" y="54"/>
                  </a:cubicBezTo>
                  <a:cubicBezTo>
                    <a:pt x="128" y="32"/>
                    <a:pt x="128" y="32"/>
                    <a:pt x="128" y="32"/>
                  </a:cubicBezTo>
                  <a:cubicBezTo>
                    <a:pt x="128" y="29"/>
                    <a:pt x="128" y="29"/>
                    <a:pt x="128" y="29"/>
                  </a:cubicBezTo>
                  <a:cubicBezTo>
                    <a:pt x="128" y="8"/>
                    <a:pt x="118" y="0"/>
                    <a:pt x="10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nvGrpSpPr>
          <p:cNvPr id="452" name="Group 451"/>
          <p:cNvGrpSpPr/>
          <p:nvPr/>
        </p:nvGrpSpPr>
        <p:grpSpPr>
          <a:xfrm>
            <a:off x="2756746" y="4588742"/>
            <a:ext cx="1540924" cy="480994"/>
            <a:chOff x="2541226" y="2809769"/>
            <a:chExt cx="1282879" cy="399811"/>
          </a:xfrm>
        </p:grpSpPr>
        <p:grpSp>
          <p:nvGrpSpPr>
            <p:cNvPr id="440" name="Group 439"/>
            <p:cNvGrpSpPr/>
            <p:nvPr/>
          </p:nvGrpSpPr>
          <p:grpSpPr>
            <a:xfrm>
              <a:off x="2541226" y="2809769"/>
              <a:ext cx="399347" cy="399811"/>
              <a:chOff x="3879851" y="1882776"/>
              <a:chExt cx="1368425" cy="1370013"/>
            </a:xfrm>
            <a:solidFill>
              <a:srgbClr val="000000"/>
            </a:solidFill>
          </p:grpSpPr>
          <p:sp>
            <p:nvSpPr>
              <p:cNvPr id="441" name="Freeform 513"/>
              <p:cNvSpPr>
                <a:spLocks noEditPoints="1"/>
              </p:cNvSpPr>
              <p:nvPr/>
            </p:nvSpPr>
            <p:spPr bwMode="auto">
              <a:xfrm>
                <a:off x="3879851" y="1882776"/>
                <a:ext cx="1368425" cy="1370013"/>
              </a:xfrm>
              <a:custGeom>
                <a:avLst/>
                <a:gdLst>
                  <a:gd name="T0" fmla="*/ 342 w 364"/>
                  <a:gd name="T1" fmla="*/ 0 h 364"/>
                  <a:gd name="T2" fmla="*/ 0 w 364"/>
                  <a:gd name="T3" fmla="*/ 0 h 364"/>
                  <a:gd name="T4" fmla="*/ 0 w 364"/>
                  <a:gd name="T5" fmla="*/ 341 h 364"/>
                  <a:gd name="T6" fmla="*/ 22 w 364"/>
                  <a:gd name="T7" fmla="*/ 364 h 364"/>
                  <a:gd name="T8" fmla="*/ 364 w 364"/>
                  <a:gd name="T9" fmla="*/ 364 h 364"/>
                  <a:gd name="T10" fmla="*/ 364 w 364"/>
                  <a:gd name="T11" fmla="*/ 25 h 364"/>
                  <a:gd name="T12" fmla="*/ 342 w 364"/>
                  <a:gd name="T13" fmla="*/ 0 h 364"/>
                  <a:gd name="T14" fmla="*/ 255 w 364"/>
                  <a:gd name="T15" fmla="*/ 259 h 364"/>
                  <a:gd name="T16" fmla="*/ 242 w 364"/>
                  <a:gd name="T17" fmla="*/ 280 h 364"/>
                  <a:gd name="T18" fmla="*/ 219 w 364"/>
                  <a:gd name="T19" fmla="*/ 292 h 364"/>
                  <a:gd name="T20" fmla="*/ 188 w 364"/>
                  <a:gd name="T21" fmla="*/ 296 h 364"/>
                  <a:gd name="T22" fmla="*/ 185 w 364"/>
                  <a:gd name="T23" fmla="*/ 330 h 364"/>
                  <a:gd name="T24" fmla="*/ 168 w 364"/>
                  <a:gd name="T25" fmla="*/ 330 h 364"/>
                  <a:gd name="T26" fmla="*/ 161 w 364"/>
                  <a:gd name="T27" fmla="*/ 327 h 364"/>
                  <a:gd name="T28" fmla="*/ 159 w 364"/>
                  <a:gd name="T29" fmla="*/ 320 h 364"/>
                  <a:gd name="T30" fmla="*/ 161 w 364"/>
                  <a:gd name="T31" fmla="*/ 296 h 364"/>
                  <a:gd name="T32" fmla="*/ 140 w 364"/>
                  <a:gd name="T33" fmla="*/ 294 h 364"/>
                  <a:gd name="T34" fmla="*/ 124 w 364"/>
                  <a:gd name="T35" fmla="*/ 290 h 364"/>
                  <a:gd name="T36" fmla="*/ 114 w 364"/>
                  <a:gd name="T37" fmla="*/ 284 h 364"/>
                  <a:gd name="T38" fmla="*/ 111 w 364"/>
                  <a:gd name="T39" fmla="*/ 275 h 364"/>
                  <a:gd name="T40" fmla="*/ 111 w 364"/>
                  <a:gd name="T41" fmla="*/ 251 h 364"/>
                  <a:gd name="T42" fmla="*/ 124 w 364"/>
                  <a:gd name="T43" fmla="*/ 252 h 364"/>
                  <a:gd name="T44" fmla="*/ 138 w 364"/>
                  <a:gd name="T45" fmla="*/ 252 h 364"/>
                  <a:gd name="T46" fmla="*/ 152 w 364"/>
                  <a:gd name="T47" fmla="*/ 253 h 364"/>
                  <a:gd name="T48" fmla="*/ 165 w 364"/>
                  <a:gd name="T49" fmla="*/ 253 h 364"/>
                  <a:gd name="T50" fmla="*/ 169 w 364"/>
                  <a:gd name="T51" fmla="*/ 202 h 364"/>
                  <a:gd name="T52" fmla="*/ 141 w 364"/>
                  <a:gd name="T53" fmla="*/ 191 h 364"/>
                  <a:gd name="T54" fmla="*/ 122 w 364"/>
                  <a:gd name="T55" fmla="*/ 176 h 364"/>
                  <a:gd name="T56" fmla="*/ 112 w 364"/>
                  <a:gd name="T57" fmla="*/ 159 h 364"/>
                  <a:gd name="T58" fmla="*/ 109 w 364"/>
                  <a:gd name="T59" fmla="*/ 137 h 364"/>
                  <a:gd name="T60" fmla="*/ 114 w 364"/>
                  <a:gd name="T61" fmla="*/ 106 h 364"/>
                  <a:gd name="T62" fmla="*/ 128 w 364"/>
                  <a:gd name="T63" fmla="*/ 85 h 364"/>
                  <a:gd name="T64" fmla="*/ 150 w 364"/>
                  <a:gd name="T65" fmla="*/ 74 h 364"/>
                  <a:gd name="T66" fmla="*/ 179 w 364"/>
                  <a:gd name="T67" fmla="*/ 69 h 364"/>
                  <a:gd name="T68" fmla="*/ 181 w 364"/>
                  <a:gd name="T69" fmla="*/ 37 h 364"/>
                  <a:gd name="T70" fmla="*/ 198 w 364"/>
                  <a:gd name="T71" fmla="*/ 37 h 364"/>
                  <a:gd name="T72" fmla="*/ 206 w 364"/>
                  <a:gd name="T73" fmla="*/ 40 h 364"/>
                  <a:gd name="T74" fmla="*/ 207 w 364"/>
                  <a:gd name="T75" fmla="*/ 48 h 364"/>
                  <a:gd name="T76" fmla="*/ 206 w 364"/>
                  <a:gd name="T77" fmla="*/ 69 h 364"/>
                  <a:gd name="T78" fmla="*/ 226 w 364"/>
                  <a:gd name="T79" fmla="*/ 71 h 364"/>
                  <a:gd name="T80" fmla="*/ 240 w 364"/>
                  <a:gd name="T81" fmla="*/ 75 h 364"/>
                  <a:gd name="T82" fmla="*/ 250 w 364"/>
                  <a:gd name="T83" fmla="*/ 83 h 364"/>
                  <a:gd name="T84" fmla="*/ 252 w 364"/>
                  <a:gd name="T85" fmla="*/ 93 h 364"/>
                  <a:gd name="T86" fmla="*/ 252 w 364"/>
                  <a:gd name="T87" fmla="*/ 114 h 364"/>
                  <a:gd name="T88" fmla="*/ 227 w 364"/>
                  <a:gd name="T89" fmla="*/ 112 h 364"/>
                  <a:gd name="T90" fmla="*/ 202 w 364"/>
                  <a:gd name="T91" fmla="*/ 111 h 364"/>
                  <a:gd name="T92" fmla="*/ 198 w 364"/>
                  <a:gd name="T93" fmla="*/ 161 h 364"/>
                  <a:gd name="T94" fmla="*/ 227 w 364"/>
                  <a:gd name="T95" fmla="*/ 173 h 364"/>
                  <a:gd name="T96" fmla="*/ 246 w 364"/>
                  <a:gd name="T97" fmla="*/ 185 h 364"/>
                  <a:gd name="T98" fmla="*/ 257 w 364"/>
                  <a:gd name="T99" fmla="*/ 203 h 364"/>
                  <a:gd name="T100" fmla="*/ 260 w 364"/>
                  <a:gd name="T101" fmla="*/ 227 h 364"/>
                  <a:gd name="T102" fmla="*/ 255 w 364"/>
                  <a:gd name="T103" fmla="*/ 25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4" h="364">
                    <a:moveTo>
                      <a:pt x="342" y="0"/>
                    </a:moveTo>
                    <a:cubicBezTo>
                      <a:pt x="0" y="0"/>
                      <a:pt x="0" y="0"/>
                      <a:pt x="0" y="0"/>
                    </a:cubicBezTo>
                    <a:cubicBezTo>
                      <a:pt x="0" y="341"/>
                      <a:pt x="0" y="341"/>
                      <a:pt x="0" y="341"/>
                    </a:cubicBezTo>
                    <a:cubicBezTo>
                      <a:pt x="0" y="354"/>
                      <a:pt x="10" y="364"/>
                      <a:pt x="22" y="364"/>
                    </a:cubicBezTo>
                    <a:cubicBezTo>
                      <a:pt x="364" y="364"/>
                      <a:pt x="364" y="364"/>
                      <a:pt x="364" y="364"/>
                    </a:cubicBezTo>
                    <a:cubicBezTo>
                      <a:pt x="364" y="25"/>
                      <a:pt x="364" y="25"/>
                      <a:pt x="364" y="25"/>
                    </a:cubicBezTo>
                    <a:cubicBezTo>
                      <a:pt x="364" y="12"/>
                      <a:pt x="354" y="0"/>
                      <a:pt x="342" y="0"/>
                    </a:cubicBezTo>
                    <a:moveTo>
                      <a:pt x="255" y="259"/>
                    </a:moveTo>
                    <a:cubicBezTo>
                      <a:pt x="252" y="267"/>
                      <a:pt x="248" y="274"/>
                      <a:pt x="242" y="280"/>
                    </a:cubicBezTo>
                    <a:cubicBezTo>
                      <a:pt x="236" y="285"/>
                      <a:pt x="228" y="289"/>
                      <a:pt x="219" y="292"/>
                    </a:cubicBezTo>
                    <a:cubicBezTo>
                      <a:pt x="210" y="294"/>
                      <a:pt x="200" y="296"/>
                      <a:pt x="188" y="296"/>
                    </a:cubicBezTo>
                    <a:cubicBezTo>
                      <a:pt x="185" y="330"/>
                      <a:pt x="185" y="330"/>
                      <a:pt x="185" y="330"/>
                    </a:cubicBezTo>
                    <a:cubicBezTo>
                      <a:pt x="168" y="330"/>
                      <a:pt x="168" y="330"/>
                      <a:pt x="168" y="330"/>
                    </a:cubicBezTo>
                    <a:cubicBezTo>
                      <a:pt x="164" y="330"/>
                      <a:pt x="162" y="329"/>
                      <a:pt x="161" y="327"/>
                    </a:cubicBezTo>
                    <a:cubicBezTo>
                      <a:pt x="160" y="325"/>
                      <a:pt x="159" y="323"/>
                      <a:pt x="159" y="320"/>
                    </a:cubicBezTo>
                    <a:cubicBezTo>
                      <a:pt x="161" y="296"/>
                      <a:pt x="161" y="296"/>
                      <a:pt x="161" y="296"/>
                    </a:cubicBezTo>
                    <a:cubicBezTo>
                      <a:pt x="153" y="296"/>
                      <a:pt x="146" y="295"/>
                      <a:pt x="140" y="294"/>
                    </a:cubicBezTo>
                    <a:cubicBezTo>
                      <a:pt x="133" y="293"/>
                      <a:pt x="128" y="292"/>
                      <a:pt x="124" y="290"/>
                    </a:cubicBezTo>
                    <a:cubicBezTo>
                      <a:pt x="119" y="288"/>
                      <a:pt x="116" y="286"/>
                      <a:pt x="114" y="284"/>
                    </a:cubicBezTo>
                    <a:cubicBezTo>
                      <a:pt x="112" y="281"/>
                      <a:pt x="111" y="278"/>
                      <a:pt x="111" y="275"/>
                    </a:cubicBezTo>
                    <a:cubicBezTo>
                      <a:pt x="111" y="251"/>
                      <a:pt x="111" y="251"/>
                      <a:pt x="111" y="251"/>
                    </a:cubicBezTo>
                    <a:cubicBezTo>
                      <a:pt x="115" y="251"/>
                      <a:pt x="119" y="251"/>
                      <a:pt x="124" y="252"/>
                    </a:cubicBezTo>
                    <a:cubicBezTo>
                      <a:pt x="129" y="252"/>
                      <a:pt x="134" y="252"/>
                      <a:pt x="138" y="252"/>
                    </a:cubicBezTo>
                    <a:cubicBezTo>
                      <a:pt x="143" y="252"/>
                      <a:pt x="148" y="253"/>
                      <a:pt x="152" y="253"/>
                    </a:cubicBezTo>
                    <a:cubicBezTo>
                      <a:pt x="157" y="253"/>
                      <a:pt x="161" y="253"/>
                      <a:pt x="165" y="253"/>
                    </a:cubicBezTo>
                    <a:cubicBezTo>
                      <a:pt x="169" y="202"/>
                      <a:pt x="169" y="202"/>
                      <a:pt x="169" y="202"/>
                    </a:cubicBezTo>
                    <a:cubicBezTo>
                      <a:pt x="158" y="198"/>
                      <a:pt x="149" y="195"/>
                      <a:pt x="141" y="191"/>
                    </a:cubicBezTo>
                    <a:cubicBezTo>
                      <a:pt x="133" y="186"/>
                      <a:pt x="127" y="182"/>
                      <a:pt x="122" y="176"/>
                    </a:cubicBezTo>
                    <a:cubicBezTo>
                      <a:pt x="117" y="171"/>
                      <a:pt x="114" y="165"/>
                      <a:pt x="112" y="159"/>
                    </a:cubicBezTo>
                    <a:cubicBezTo>
                      <a:pt x="110" y="152"/>
                      <a:pt x="109" y="145"/>
                      <a:pt x="109" y="137"/>
                    </a:cubicBezTo>
                    <a:cubicBezTo>
                      <a:pt x="109" y="124"/>
                      <a:pt x="110" y="114"/>
                      <a:pt x="114" y="106"/>
                    </a:cubicBezTo>
                    <a:cubicBezTo>
                      <a:pt x="117" y="97"/>
                      <a:pt x="122" y="90"/>
                      <a:pt x="128" y="85"/>
                    </a:cubicBezTo>
                    <a:cubicBezTo>
                      <a:pt x="134" y="80"/>
                      <a:pt x="142" y="76"/>
                      <a:pt x="150" y="74"/>
                    </a:cubicBezTo>
                    <a:cubicBezTo>
                      <a:pt x="159" y="71"/>
                      <a:pt x="168" y="70"/>
                      <a:pt x="179" y="69"/>
                    </a:cubicBezTo>
                    <a:cubicBezTo>
                      <a:pt x="181" y="37"/>
                      <a:pt x="181" y="37"/>
                      <a:pt x="181" y="37"/>
                    </a:cubicBezTo>
                    <a:cubicBezTo>
                      <a:pt x="198" y="37"/>
                      <a:pt x="198" y="37"/>
                      <a:pt x="198" y="37"/>
                    </a:cubicBezTo>
                    <a:cubicBezTo>
                      <a:pt x="202" y="37"/>
                      <a:pt x="205" y="38"/>
                      <a:pt x="206" y="40"/>
                    </a:cubicBezTo>
                    <a:cubicBezTo>
                      <a:pt x="207" y="42"/>
                      <a:pt x="207" y="45"/>
                      <a:pt x="207" y="48"/>
                    </a:cubicBezTo>
                    <a:cubicBezTo>
                      <a:pt x="206" y="69"/>
                      <a:pt x="206" y="69"/>
                      <a:pt x="206" y="69"/>
                    </a:cubicBezTo>
                    <a:cubicBezTo>
                      <a:pt x="213" y="69"/>
                      <a:pt x="220" y="70"/>
                      <a:pt x="226" y="71"/>
                    </a:cubicBezTo>
                    <a:cubicBezTo>
                      <a:pt x="231" y="73"/>
                      <a:pt x="236" y="74"/>
                      <a:pt x="240" y="75"/>
                    </a:cubicBezTo>
                    <a:cubicBezTo>
                      <a:pt x="246" y="78"/>
                      <a:pt x="249" y="80"/>
                      <a:pt x="250" y="83"/>
                    </a:cubicBezTo>
                    <a:cubicBezTo>
                      <a:pt x="251" y="87"/>
                      <a:pt x="252" y="90"/>
                      <a:pt x="252" y="93"/>
                    </a:cubicBezTo>
                    <a:cubicBezTo>
                      <a:pt x="252" y="114"/>
                      <a:pt x="252" y="114"/>
                      <a:pt x="252" y="114"/>
                    </a:cubicBezTo>
                    <a:cubicBezTo>
                      <a:pt x="244" y="113"/>
                      <a:pt x="236" y="112"/>
                      <a:pt x="227" y="112"/>
                    </a:cubicBezTo>
                    <a:cubicBezTo>
                      <a:pt x="219" y="112"/>
                      <a:pt x="211" y="111"/>
                      <a:pt x="202" y="111"/>
                    </a:cubicBezTo>
                    <a:cubicBezTo>
                      <a:pt x="198" y="161"/>
                      <a:pt x="198" y="161"/>
                      <a:pt x="198" y="161"/>
                    </a:cubicBezTo>
                    <a:cubicBezTo>
                      <a:pt x="210" y="165"/>
                      <a:pt x="219" y="169"/>
                      <a:pt x="227" y="173"/>
                    </a:cubicBezTo>
                    <a:cubicBezTo>
                      <a:pt x="235" y="176"/>
                      <a:pt x="241" y="180"/>
                      <a:pt x="246" y="185"/>
                    </a:cubicBezTo>
                    <a:cubicBezTo>
                      <a:pt x="251" y="190"/>
                      <a:pt x="254" y="196"/>
                      <a:pt x="257" y="203"/>
                    </a:cubicBezTo>
                    <a:cubicBezTo>
                      <a:pt x="259" y="209"/>
                      <a:pt x="260" y="218"/>
                      <a:pt x="260" y="227"/>
                    </a:cubicBezTo>
                    <a:cubicBezTo>
                      <a:pt x="260" y="240"/>
                      <a:pt x="258" y="250"/>
                      <a:pt x="255" y="2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42" name="Freeform 514"/>
              <p:cNvSpPr>
                <a:spLocks/>
              </p:cNvSpPr>
              <p:nvPr/>
            </p:nvSpPr>
            <p:spPr bwMode="auto">
              <a:xfrm>
                <a:off x="4459288" y="2305051"/>
                <a:ext cx="79375" cy="165100"/>
              </a:xfrm>
              <a:custGeom>
                <a:avLst/>
                <a:gdLst>
                  <a:gd name="T0" fmla="*/ 4 w 21"/>
                  <a:gd name="T1" fmla="*/ 6 h 44"/>
                  <a:gd name="T2" fmla="*/ 0 w 21"/>
                  <a:gd name="T3" fmla="*/ 22 h 44"/>
                  <a:gd name="T4" fmla="*/ 4 w 21"/>
                  <a:gd name="T5" fmla="*/ 36 h 44"/>
                  <a:gd name="T6" fmla="*/ 18 w 21"/>
                  <a:gd name="T7" fmla="*/ 44 h 44"/>
                  <a:gd name="T8" fmla="*/ 21 w 21"/>
                  <a:gd name="T9" fmla="*/ 0 h 44"/>
                  <a:gd name="T10" fmla="*/ 4 w 21"/>
                  <a:gd name="T11" fmla="*/ 6 h 44"/>
                </a:gdLst>
                <a:ahLst/>
                <a:cxnLst>
                  <a:cxn ang="0">
                    <a:pos x="T0" y="T1"/>
                  </a:cxn>
                  <a:cxn ang="0">
                    <a:pos x="T2" y="T3"/>
                  </a:cxn>
                  <a:cxn ang="0">
                    <a:pos x="T4" y="T5"/>
                  </a:cxn>
                  <a:cxn ang="0">
                    <a:pos x="T6" y="T7"/>
                  </a:cxn>
                  <a:cxn ang="0">
                    <a:pos x="T8" y="T9"/>
                  </a:cxn>
                  <a:cxn ang="0">
                    <a:pos x="T10" y="T11"/>
                  </a:cxn>
                </a:cxnLst>
                <a:rect l="0" t="0" r="r" b="b"/>
                <a:pathLst>
                  <a:path w="21" h="44">
                    <a:moveTo>
                      <a:pt x="4" y="6"/>
                    </a:moveTo>
                    <a:cubicBezTo>
                      <a:pt x="1" y="10"/>
                      <a:pt x="0" y="15"/>
                      <a:pt x="0" y="22"/>
                    </a:cubicBezTo>
                    <a:cubicBezTo>
                      <a:pt x="0" y="28"/>
                      <a:pt x="1" y="33"/>
                      <a:pt x="4" y="36"/>
                    </a:cubicBezTo>
                    <a:cubicBezTo>
                      <a:pt x="7" y="39"/>
                      <a:pt x="11" y="42"/>
                      <a:pt x="18" y="44"/>
                    </a:cubicBezTo>
                    <a:cubicBezTo>
                      <a:pt x="21" y="0"/>
                      <a:pt x="21" y="0"/>
                      <a:pt x="21" y="0"/>
                    </a:cubicBezTo>
                    <a:cubicBezTo>
                      <a:pt x="13" y="0"/>
                      <a:pt x="7" y="3"/>
                      <a:pt x="4"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43" name="Freeform 515"/>
              <p:cNvSpPr>
                <a:spLocks/>
              </p:cNvSpPr>
              <p:nvPr/>
            </p:nvSpPr>
            <p:spPr bwMode="auto">
              <a:xfrm>
                <a:off x="4598988" y="2662238"/>
                <a:ext cx="82550" cy="173038"/>
              </a:xfrm>
              <a:custGeom>
                <a:avLst/>
                <a:gdLst>
                  <a:gd name="T0" fmla="*/ 4 w 22"/>
                  <a:gd name="T1" fmla="*/ 0 h 46"/>
                  <a:gd name="T2" fmla="*/ 0 w 22"/>
                  <a:gd name="T3" fmla="*/ 46 h 46"/>
                  <a:gd name="T4" fmla="*/ 18 w 22"/>
                  <a:gd name="T5" fmla="*/ 39 h 46"/>
                  <a:gd name="T6" fmla="*/ 22 w 22"/>
                  <a:gd name="T7" fmla="*/ 23 h 46"/>
                  <a:gd name="T8" fmla="*/ 18 w 22"/>
                  <a:gd name="T9" fmla="*/ 7 h 46"/>
                  <a:gd name="T10" fmla="*/ 4 w 22"/>
                  <a:gd name="T11" fmla="*/ 0 h 46"/>
                </a:gdLst>
                <a:ahLst/>
                <a:cxnLst>
                  <a:cxn ang="0">
                    <a:pos x="T0" y="T1"/>
                  </a:cxn>
                  <a:cxn ang="0">
                    <a:pos x="T2" y="T3"/>
                  </a:cxn>
                  <a:cxn ang="0">
                    <a:pos x="T4" y="T5"/>
                  </a:cxn>
                  <a:cxn ang="0">
                    <a:pos x="T6" y="T7"/>
                  </a:cxn>
                  <a:cxn ang="0">
                    <a:pos x="T8" y="T9"/>
                  </a:cxn>
                  <a:cxn ang="0">
                    <a:pos x="T10" y="T11"/>
                  </a:cxn>
                </a:cxnLst>
                <a:rect l="0" t="0" r="r" b="b"/>
                <a:pathLst>
                  <a:path w="22" h="46">
                    <a:moveTo>
                      <a:pt x="4" y="0"/>
                    </a:moveTo>
                    <a:cubicBezTo>
                      <a:pt x="0" y="46"/>
                      <a:pt x="0" y="46"/>
                      <a:pt x="0" y="46"/>
                    </a:cubicBezTo>
                    <a:cubicBezTo>
                      <a:pt x="9" y="45"/>
                      <a:pt x="14" y="43"/>
                      <a:pt x="18" y="39"/>
                    </a:cubicBezTo>
                    <a:cubicBezTo>
                      <a:pt x="21" y="35"/>
                      <a:pt x="22" y="30"/>
                      <a:pt x="22" y="23"/>
                    </a:cubicBezTo>
                    <a:cubicBezTo>
                      <a:pt x="22" y="15"/>
                      <a:pt x="21" y="10"/>
                      <a:pt x="18" y="7"/>
                    </a:cubicBezTo>
                    <a:cubicBezTo>
                      <a:pt x="15" y="5"/>
                      <a:pt x="10"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nvGrpSpPr>
            <p:cNvPr id="444" name="Group 443"/>
            <p:cNvGrpSpPr/>
            <p:nvPr/>
          </p:nvGrpSpPr>
          <p:grpSpPr>
            <a:xfrm>
              <a:off x="2982992" y="2809769"/>
              <a:ext cx="399347" cy="399811"/>
              <a:chOff x="3879851" y="1882776"/>
              <a:chExt cx="1368425" cy="1370013"/>
            </a:xfrm>
            <a:solidFill>
              <a:srgbClr val="000000"/>
            </a:solidFill>
          </p:grpSpPr>
          <p:sp>
            <p:nvSpPr>
              <p:cNvPr id="445" name="Freeform 513"/>
              <p:cNvSpPr>
                <a:spLocks noEditPoints="1"/>
              </p:cNvSpPr>
              <p:nvPr/>
            </p:nvSpPr>
            <p:spPr bwMode="auto">
              <a:xfrm>
                <a:off x="3879851" y="1882776"/>
                <a:ext cx="1368425" cy="1370013"/>
              </a:xfrm>
              <a:custGeom>
                <a:avLst/>
                <a:gdLst>
                  <a:gd name="T0" fmla="*/ 342 w 364"/>
                  <a:gd name="T1" fmla="*/ 0 h 364"/>
                  <a:gd name="T2" fmla="*/ 0 w 364"/>
                  <a:gd name="T3" fmla="*/ 0 h 364"/>
                  <a:gd name="T4" fmla="*/ 0 w 364"/>
                  <a:gd name="T5" fmla="*/ 341 h 364"/>
                  <a:gd name="T6" fmla="*/ 22 w 364"/>
                  <a:gd name="T7" fmla="*/ 364 h 364"/>
                  <a:gd name="T8" fmla="*/ 364 w 364"/>
                  <a:gd name="T9" fmla="*/ 364 h 364"/>
                  <a:gd name="T10" fmla="*/ 364 w 364"/>
                  <a:gd name="T11" fmla="*/ 25 h 364"/>
                  <a:gd name="T12" fmla="*/ 342 w 364"/>
                  <a:gd name="T13" fmla="*/ 0 h 364"/>
                  <a:gd name="T14" fmla="*/ 255 w 364"/>
                  <a:gd name="T15" fmla="*/ 259 h 364"/>
                  <a:gd name="T16" fmla="*/ 242 w 364"/>
                  <a:gd name="T17" fmla="*/ 280 h 364"/>
                  <a:gd name="T18" fmla="*/ 219 w 364"/>
                  <a:gd name="T19" fmla="*/ 292 h 364"/>
                  <a:gd name="T20" fmla="*/ 188 w 364"/>
                  <a:gd name="T21" fmla="*/ 296 h 364"/>
                  <a:gd name="T22" fmla="*/ 185 w 364"/>
                  <a:gd name="T23" fmla="*/ 330 h 364"/>
                  <a:gd name="T24" fmla="*/ 168 w 364"/>
                  <a:gd name="T25" fmla="*/ 330 h 364"/>
                  <a:gd name="T26" fmla="*/ 161 w 364"/>
                  <a:gd name="T27" fmla="*/ 327 h 364"/>
                  <a:gd name="T28" fmla="*/ 159 w 364"/>
                  <a:gd name="T29" fmla="*/ 320 h 364"/>
                  <a:gd name="T30" fmla="*/ 161 w 364"/>
                  <a:gd name="T31" fmla="*/ 296 h 364"/>
                  <a:gd name="T32" fmla="*/ 140 w 364"/>
                  <a:gd name="T33" fmla="*/ 294 h 364"/>
                  <a:gd name="T34" fmla="*/ 124 w 364"/>
                  <a:gd name="T35" fmla="*/ 290 h 364"/>
                  <a:gd name="T36" fmla="*/ 114 w 364"/>
                  <a:gd name="T37" fmla="*/ 284 h 364"/>
                  <a:gd name="T38" fmla="*/ 111 w 364"/>
                  <a:gd name="T39" fmla="*/ 275 h 364"/>
                  <a:gd name="T40" fmla="*/ 111 w 364"/>
                  <a:gd name="T41" fmla="*/ 251 h 364"/>
                  <a:gd name="T42" fmla="*/ 124 w 364"/>
                  <a:gd name="T43" fmla="*/ 252 h 364"/>
                  <a:gd name="T44" fmla="*/ 138 w 364"/>
                  <a:gd name="T45" fmla="*/ 252 h 364"/>
                  <a:gd name="T46" fmla="*/ 152 w 364"/>
                  <a:gd name="T47" fmla="*/ 253 h 364"/>
                  <a:gd name="T48" fmla="*/ 165 w 364"/>
                  <a:gd name="T49" fmla="*/ 253 h 364"/>
                  <a:gd name="T50" fmla="*/ 169 w 364"/>
                  <a:gd name="T51" fmla="*/ 202 h 364"/>
                  <a:gd name="T52" fmla="*/ 141 w 364"/>
                  <a:gd name="T53" fmla="*/ 191 h 364"/>
                  <a:gd name="T54" fmla="*/ 122 w 364"/>
                  <a:gd name="T55" fmla="*/ 176 h 364"/>
                  <a:gd name="T56" fmla="*/ 112 w 364"/>
                  <a:gd name="T57" fmla="*/ 159 h 364"/>
                  <a:gd name="T58" fmla="*/ 109 w 364"/>
                  <a:gd name="T59" fmla="*/ 137 h 364"/>
                  <a:gd name="T60" fmla="*/ 114 w 364"/>
                  <a:gd name="T61" fmla="*/ 106 h 364"/>
                  <a:gd name="T62" fmla="*/ 128 w 364"/>
                  <a:gd name="T63" fmla="*/ 85 h 364"/>
                  <a:gd name="T64" fmla="*/ 150 w 364"/>
                  <a:gd name="T65" fmla="*/ 74 h 364"/>
                  <a:gd name="T66" fmla="*/ 179 w 364"/>
                  <a:gd name="T67" fmla="*/ 69 h 364"/>
                  <a:gd name="T68" fmla="*/ 181 w 364"/>
                  <a:gd name="T69" fmla="*/ 37 h 364"/>
                  <a:gd name="T70" fmla="*/ 198 w 364"/>
                  <a:gd name="T71" fmla="*/ 37 h 364"/>
                  <a:gd name="T72" fmla="*/ 206 w 364"/>
                  <a:gd name="T73" fmla="*/ 40 h 364"/>
                  <a:gd name="T74" fmla="*/ 207 w 364"/>
                  <a:gd name="T75" fmla="*/ 48 h 364"/>
                  <a:gd name="T76" fmla="*/ 206 w 364"/>
                  <a:gd name="T77" fmla="*/ 69 h 364"/>
                  <a:gd name="T78" fmla="*/ 226 w 364"/>
                  <a:gd name="T79" fmla="*/ 71 h 364"/>
                  <a:gd name="T80" fmla="*/ 240 w 364"/>
                  <a:gd name="T81" fmla="*/ 75 h 364"/>
                  <a:gd name="T82" fmla="*/ 250 w 364"/>
                  <a:gd name="T83" fmla="*/ 83 h 364"/>
                  <a:gd name="T84" fmla="*/ 252 w 364"/>
                  <a:gd name="T85" fmla="*/ 93 h 364"/>
                  <a:gd name="T86" fmla="*/ 252 w 364"/>
                  <a:gd name="T87" fmla="*/ 114 h 364"/>
                  <a:gd name="T88" fmla="*/ 227 w 364"/>
                  <a:gd name="T89" fmla="*/ 112 h 364"/>
                  <a:gd name="T90" fmla="*/ 202 w 364"/>
                  <a:gd name="T91" fmla="*/ 111 h 364"/>
                  <a:gd name="T92" fmla="*/ 198 w 364"/>
                  <a:gd name="T93" fmla="*/ 161 h 364"/>
                  <a:gd name="T94" fmla="*/ 227 w 364"/>
                  <a:gd name="T95" fmla="*/ 173 h 364"/>
                  <a:gd name="T96" fmla="*/ 246 w 364"/>
                  <a:gd name="T97" fmla="*/ 185 h 364"/>
                  <a:gd name="T98" fmla="*/ 257 w 364"/>
                  <a:gd name="T99" fmla="*/ 203 h 364"/>
                  <a:gd name="T100" fmla="*/ 260 w 364"/>
                  <a:gd name="T101" fmla="*/ 227 h 364"/>
                  <a:gd name="T102" fmla="*/ 255 w 364"/>
                  <a:gd name="T103" fmla="*/ 25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4" h="364">
                    <a:moveTo>
                      <a:pt x="342" y="0"/>
                    </a:moveTo>
                    <a:cubicBezTo>
                      <a:pt x="0" y="0"/>
                      <a:pt x="0" y="0"/>
                      <a:pt x="0" y="0"/>
                    </a:cubicBezTo>
                    <a:cubicBezTo>
                      <a:pt x="0" y="341"/>
                      <a:pt x="0" y="341"/>
                      <a:pt x="0" y="341"/>
                    </a:cubicBezTo>
                    <a:cubicBezTo>
                      <a:pt x="0" y="354"/>
                      <a:pt x="10" y="364"/>
                      <a:pt x="22" y="364"/>
                    </a:cubicBezTo>
                    <a:cubicBezTo>
                      <a:pt x="364" y="364"/>
                      <a:pt x="364" y="364"/>
                      <a:pt x="364" y="364"/>
                    </a:cubicBezTo>
                    <a:cubicBezTo>
                      <a:pt x="364" y="25"/>
                      <a:pt x="364" y="25"/>
                      <a:pt x="364" y="25"/>
                    </a:cubicBezTo>
                    <a:cubicBezTo>
                      <a:pt x="364" y="12"/>
                      <a:pt x="354" y="0"/>
                      <a:pt x="342" y="0"/>
                    </a:cubicBezTo>
                    <a:moveTo>
                      <a:pt x="255" y="259"/>
                    </a:moveTo>
                    <a:cubicBezTo>
                      <a:pt x="252" y="267"/>
                      <a:pt x="248" y="274"/>
                      <a:pt x="242" y="280"/>
                    </a:cubicBezTo>
                    <a:cubicBezTo>
                      <a:pt x="236" y="285"/>
                      <a:pt x="228" y="289"/>
                      <a:pt x="219" y="292"/>
                    </a:cubicBezTo>
                    <a:cubicBezTo>
                      <a:pt x="210" y="294"/>
                      <a:pt x="200" y="296"/>
                      <a:pt x="188" y="296"/>
                    </a:cubicBezTo>
                    <a:cubicBezTo>
                      <a:pt x="185" y="330"/>
                      <a:pt x="185" y="330"/>
                      <a:pt x="185" y="330"/>
                    </a:cubicBezTo>
                    <a:cubicBezTo>
                      <a:pt x="168" y="330"/>
                      <a:pt x="168" y="330"/>
                      <a:pt x="168" y="330"/>
                    </a:cubicBezTo>
                    <a:cubicBezTo>
                      <a:pt x="164" y="330"/>
                      <a:pt x="162" y="329"/>
                      <a:pt x="161" y="327"/>
                    </a:cubicBezTo>
                    <a:cubicBezTo>
                      <a:pt x="160" y="325"/>
                      <a:pt x="159" y="323"/>
                      <a:pt x="159" y="320"/>
                    </a:cubicBezTo>
                    <a:cubicBezTo>
                      <a:pt x="161" y="296"/>
                      <a:pt x="161" y="296"/>
                      <a:pt x="161" y="296"/>
                    </a:cubicBezTo>
                    <a:cubicBezTo>
                      <a:pt x="153" y="296"/>
                      <a:pt x="146" y="295"/>
                      <a:pt x="140" y="294"/>
                    </a:cubicBezTo>
                    <a:cubicBezTo>
                      <a:pt x="133" y="293"/>
                      <a:pt x="128" y="292"/>
                      <a:pt x="124" y="290"/>
                    </a:cubicBezTo>
                    <a:cubicBezTo>
                      <a:pt x="119" y="288"/>
                      <a:pt x="116" y="286"/>
                      <a:pt x="114" y="284"/>
                    </a:cubicBezTo>
                    <a:cubicBezTo>
                      <a:pt x="112" y="281"/>
                      <a:pt x="111" y="278"/>
                      <a:pt x="111" y="275"/>
                    </a:cubicBezTo>
                    <a:cubicBezTo>
                      <a:pt x="111" y="251"/>
                      <a:pt x="111" y="251"/>
                      <a:pt x="111" y="251"/>
                    </a:cubicBezTo>
                    <a:cubicBezTo>
                      <a:pt x="115" y="251"/>
                      <a:pt x="119" y="251"/>
                      <a:pt x="124" y="252"/>
                    </a:cubicBezTo>
                    <a:cubicBezTo>
                      <a:pt x="129" y="252"/>
                      <a:pt x="134" y="252"/>
                      <a:pt x="138" y="252"/>
                    </a:cubicBezTo>
                    <a:cubicBezTo>
                      <a:pt x="143" y="252"/>
                      <a:pt x="148" y="253"/>
                      <a:pt x="152" y="253"/>
                    </a:cubicBezTo>
                    <a:cubicBezTo>
                      <a:pt x="157" y="253"/>
                      <a:pt x="161" y="253"/>
                      <a:pt x="165" y="253"/>
                    </a:cubicBezTo>
                    <a:cubicBezTo>
                      <a:pt x="169" y="202"/>
                      <a:pt x="169" y="202"/>
                      <a:pt x="169" y="202"/>
                    </a:cubicBezTo>
                    <a:cubicBezTo>
                      <a:pt x="158" y="198"/>
                      <a:pt x="149" y="195"/>
                      <a:pt x="141" y="191"/>
                    </a:cubicBezTo>
                    <a:cubicBezTo>
                      <a:pt x="133" y="186"/>
                      <a:pt x="127" y="182"/>
                      <a:pt x="122" y="176"/>
                    </a:cubicBezTo>
                    <a:cubicBezTo>
                      <a:pt x="117" y="171"/>
                      <a:pt x="114" y="165"/>
                      <a:pt x="112" y="159"/>
                    </a:cubicBezTo>
                    <a:cubicBezTo>
                      <a:pt x="110" y="152"/>
                      <a:pt x="109" y="145"/>
                      <a:pt x="109" y="137"/>
                    </a:cubicBezTo>
                    <a:cubicBezTo>
                      <a:pt x="109" y="124"/>
                      <a:pt x="110" y="114"/>
                      <a:pt x="114" y="106"/>
                    </a:cubicBezTo>
                    <a:cubicBezTo>
                      <a:pt x="117" y="97"/>
                      <a:pt x="122" y="90"/>
                      <a:pt x="128" y="85"/>
                    </a:cubicBezTo>
                    <a:cubicBezTo>
                      <a:pt x="134" y="80"/>
                      <a:pt x="142" y="76"/>
                      <a:pt x="150" y="74"/>
                    </a:cubicBezTo>
                    <a:cubicBezTo>
                      <a:pt x="159" y="71"/>
                      <a:pt x="168" y="70"/>
                      <a:pt x="179" y="69"/>
                    </a:cubicBezTo>
                    <a:cubicBezTo>
                      <a:pt x="181" y="37"/>
                      <a:pt x="181" y="37"/>
                      <a:pt x="181" y="37"/>
                    </a:cubicBezTo>
                    <a:cubicBezTo>
                      <a:pt x="198" y="37"/>
                      <a:pt x="198" y="37"/>
                      <a:pt x="198" y="37"/>
                    </a:cubicBezTo>
                    <a:cubicBezTo>
                      <a:pt x="202" y="37"/>
                      <a:pt x="205" y="38"/>
                      <a:pt x="206" y="40"/>
                    </a:cubicBezTo>
                    <a:cubicBezTo>
                      <a:pt x="207" y="42"/>
                      <a:pt x="207" y="45"/>
                      <a:pt x="207" y="48"/>
                    </a:cubicBezTo>
                    <a:cubicBezTo>
                      <a:pt x="206" y="69"/>
                      <a:pt x="206" y="69"/>
                      <a:pt x="206" y="69"/>
                    </a:cubicBezTo>
                    <a:cubicBezTo>
                      <a:pt x="213" y="69"/>
                      <a:pt x="220" y="70"/>
                      <a:pt x="226" y="71"/>
                    </a:cubicBezTo>
                    <a:cubicBezTo>
                      <a:pt x="231" y="73"/>
                      <a:pt x="236" y="74"/>
                      <a:pt x="240" y="75"/>
                    </a:cubicBezTo>
                    <a:cubicBezTo>
                      <a:pt x="246" y="78"/>
                      <a:pt x="249" y="80"/>
                      <a:pt x="250" y="83"/>
                    </a:cubicBezTo>
                    <a:cubicBezTo>
                      <a:pt x="251" y="87"/>
                      <a:pt x="252" y="90"/>
                      <a:pt x="252" y="93"/>
                    </a:cubicBezTo>
                    <a:cubicBezTo>
                      <a:pt x="252" y="114"/>
                      <a:pt x="252" y="114"/>
                      <a:pt x="252" y="114"/>
                    </a:cubicBezTo>
                    <a:cubicBezTo>
                      <a:pt x="244" y="113"/>
                      <a:pt x="236" y="112"/>
                      <a:pt x="227" y="112"/>
                    </a:cubicBezTo>
                    <a:cubicBezTo>
                      <a:pt x="219" y="112"/>
                      <a:pt x="211" y="111"/>
                      <a:pt x="202" y="111"/>
                    </a:cubicBezTo>
                    <a:cubicBezTo>
                      <a:pt x="198" y="161"/>
                      <a:pt x="198" y="161"/>
                      <a:pt x="198" y="161"/>
                    </a:cubicBezTo>
                    <a:cubicBezTo>
                      <a:pt x="210" y="165"/>
                      <a:pt x="219" y="169"/>
                      <a:pt x="227" y="173"/>
                    </a:cubicBezTo>
                    <a:cubicBezTo>
                      <a:pt x="235" y="176"/>
                      <a:pt x="241" y="180"/>
                      <a:pt x="246" y="185"/>
                    </a:cubicBezTo>
                    <a:cubicBezTo>
                      <a:pt x="251" y="190"/>
                      <a:pt x="254" y="196"/>
                      <a:pt x="257" y="203"/>
                    </a:cubicBezTo>
                    <a:cubicBezTo>
                      <a:pt x="259" y="209"/>
                      <a:pt x="260" y="218"/>
                      <a:pt x="260" y="227"/>
                    </a:cubicBezTo>
                    <a:cubicBezTo>
                      <a:pt x="260" y="240"/>
                      <a:pt x="258" y="250"/>
                      <a:pt x="255" y="2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46" name="Freeform 514"/>
              <p:cNvSpPr>
                <a:spLocks/>
              </p:cNvSpPr>
              <p:nvPr/>
            </p:nvSpPr>
            <p:spPr bwMode="auto">
              <a:xfrm>
                <a:off x="4459288" y="2305051"/>
                <a:ext cx="79375" cy="165100"/>
              </a:xfrm>
              <a:custGeom>
                <a:avLst/>
                <a:gdLst>
                  <a:gd name="T0" fmla="*/ 4 w 21"/>
                  <a:gd name="T1" fmla="*/ 6 h 44"/>
                  <a:gd name="T2" fmla="*/ 0 w 21"/>
                  <a:gd name="T3" fmla="*/ 22 h 44"/>
                  <a:gd name="T4" fmla="*/ 4 w 21"/>
                  <a:gd name="T5" fmla="*/ 36 h 44"/>
                  <a:gd name="T6" fmla="*/ 18 w 21"/>
                  <a:gd name="T7" fmla="*/ 44 h 44"/>
                  <a:gd name="T8" fmla="*/ 21 w 21"/>
                  <a:gd name="T9" fmla="*/ 0 h 44"/>
                  <a:gd name="T10" fmla="*/ 4 w 21"/>
                  <a:gd name="T11" fmla="*/ 6 h 44"/>
                </a:gdLst>
                <a:ahLst/>
                <a:cxnLst>
                  <a:cxn ang="0">
                    <a:pos x="T0" y="T1"/>
                  </a:cxn>
                  <a:cxn ang="0">
                    <a:pos x="T2" y="T3"/>
                  </a:cxn>
                  <a:cxn ang="0">
                    <a:pos x="T4" y="T5"/>
                  </a:cxn>
                  <a:cxn ang="0">
                    <a:pos x="T6" y="T7"/>
                  </a:cxn>
                  <a:cxn ang="0">
                    <a:pos x="T8" y="T9"/>
                  </a:cxn>
                  <a:cxn ang="0">
                    <a:pos x="T10" y="T11"/>
                  </a:cxn>
                </a:cxnLst>
                <a:rect l="0" t="0" r="r" b="b"/>
                <a:pathLst>
                  <a:path w="21" h="44">
                    <a:moveTo>
                      <a:pt x="4" y="6"/>
                    </a:moveTo>
                    <a:cubicBezTo>
                      <a:pt x="1" y="10"/>
                      <a:pt x="0" y="15"/>
                      <a:pt x="0" y="22"/>
                    </a:cubicBezTo>
                    <a:cubicBezTo>
                      <a:pt x="0" y="28"/>
                      <a:pt x="1" y="33"/>
                      <a:pt x="4" y="36"/>
                    </a:cubicBezTo>
                    <a:cubicBezTo>
                      <a:pt x="7" y="39"/>
                      <a:pt x="11" y="42"/>
                      <a:pt x="18" y="44"/>
                    </a:cubicBezTo>
                    <a:cubicBezTo>
                      <a:pt x="21" y="0"/>
                      <a:pt x="21" y="0"/>
                      <a:pt x="21" y="0"/>
                    </a:cubicBezTo>
                    <a:cubicBezTo>
                      <a:pt x="13" y="0"/>
                      <a:pt x="7" y="3"/>
                      <a:pt x="4"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47" name="Freeform 515"/>
              <p:cNvSpPr>
                <a:spLocks/>
              </p:cNvSpPr>
              <p:nvPr/>
            </p:nvSpPr>
            <p:spPr bwMode="auto">
              <a:xfrm>
                <a:off x="4598988" y="2662238"/>
                <a:ext cx="82550" cy="173038"/>
              </a:xfrm>
              <a:custGeom>
                <a:avLst/>
                <a:gdLst>
                  <a:gd name="T0" fmla="*/ 4 w 22"/>
                  <a:gd name="T1" fmla="*/ 0 h 46"/>
                  <a:gd name="T2" fmla="*/ 0 w 22"/>
                  <a:gd name="T3" fmla="*/ 46 h 46"/>
                  <a:gd name="T4" fmla="*/ 18 w 22"/>
                  <a:gd name="T5" fmla="*/ 39 h 46"/>
                  <a:gd name="T6" fmla="*/ 22 w 22"/>
                  <a:gd name="T7" fmla="*/ 23 h 46"/>
                  <a:gd name="T8" fmla="*/ 18 w 22"/>
                  <a:gd name="T9" fmla="*/ 7 h 46"/>
                  <a:gd name="T10" fmla="*/ 4 w 22"/>
                  <a:gd name="T11" fmla="*/ 0 h 46"/>
                </a:gdLst>
                <a:ahLst/>
                <a:cxnLst>
                  <a:cxn ang="0">
                    <a:pos x="T0" y="T1"/>
                  </a:cxn>
                  <a:cxn ang="0">
                    <a:pos x="T2" y="T3"/>
                  </a:cxn>
                  <a:cxn ang="0">
                    <a:pos x="T4" y="T5"/>
                  </a:cxn>
                  <a:cxn ang="0">
                    <a:pos x="T6" y="T7"/>
                  </a:cxn>
                  <a:cxn ang="0">
                    <a:pos x="T8" y="T9"/>
                  </a:cxn>
                  <a:cxn ang="0">
                    <a:pos x="T10" y="T11"/>
                  </a:cxn>
                </a:cxnLst>
                <a:rect l="0" t="0" r="r" b="b"/>
                <a:pathLst>
                  <a:path w="22" h="46">
                    <a:moveTo>
                      <a:pt x="4" y="0"/>
                    </a:moveTo>
                    <a:cubicBezTo>
                      <a:pt x="0" y="46"/>
                      <a:pt x="0" y="46"/>
                      <a:pt x="0" y="46"/>
                    </a:cubicBezTo>
                    <a:cubicBezTo>
                      <a:pt x="9" y="45"/>
                      <a:pt x="14" y="43"/>
                      <a:pt x="18" y="39"/>
                    </a:cubicBezTo>
                    <a:cubicBezTo>
                      <a:pt x="21" y="35"/>
                      <a:pt x="22" y="30"/>
                      <a:pt x="22" y="23"/>
                    </a:cubicBezTo>
                    <a:cubicBezTo>
                      <a:pt x="22" y="15"/>
                      <a:pt x="21" y="10"/>
                      <a:pt x="18" y="7"/>
                    </a:cubicBezTo>
                    <a:cubicBezTo>
                      <a:pt x="15" y="5"/>
                      <a:pt x="10"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nvGrpSpPr>
            <p:cNvPr id="448" name="Group 447"/>
            <p:cNvGrpSpPr/>
            <p:nvPr/>
          </p:nvGrpSpPr>
          <p:grpSpPr>
            <a:xfrm>
              <a:off x="3424758" y="2809769"/>
              <a:ext cx="399347" cy="399811"/>
              <a:chOff x="3879851" y="1882776"/>
              <a:chExt cx="1368425" cy="1370013"/>
            </a:xfrm>
            <a:solidFill>
              <a:srgbClr val="000000"/>
            </a:solidFill>
          </p:grpSpPr>
          <p:sp>
            <p:nvSpPr>
              <p:cNvPr id="449" name="Freeform 513"/>
              <p:cNvSpPr>
                <a:spLocks noEditPoints="1"/>
              </p:cNvSpPr>
              <p:nvPr/>
            </p:nvSpPr>
            <p:spPr bwMode="auto">
              <a:xfrm>
                <a:off x="3879851" y="1882776"/>
                <a:ext cx="1368425" cy="1370013"/>
              </a:xfrm>
              <a:custGeom>
                <a:avLst/>
                <a:gdLst>
                  <a:gd name="T0" fmla="*/ 342 w 364"/>
                  <a:gd name="T1" fmla="*/ 0 h 364"/>
                  <a:gd name="T2" fmla="*/ 0 w 364"/>
                  <a:gd name="T3" fmla="*/ 0 h 364"/>
                  <a:gd name="T4" fmla="*/ 0 w 364"/>
                  <a:gd name="T5" fmla="*/ 341 h 364"/>
                  <a:gd name="T6" fmla="*/ 22 w 364"/>
                  <a:gd name="T7" fmla="*/ 364 h 364"/>
                  <a:gd name="T8" fmla="*/ 364 w 364"/>
                  <a:gd name="T9" fmla="*/ 364 h 364"/>
                  <a:gd name="T10" fmla="*/ 364 w 364"/>
                  <a:gd name="T11" fmla="*/ 25 h 364"/>
                  <a:gd name="T12" fmla="*/ 342 w 364"/>
                  <a:gd name="T13" fmla="*/ 0 h 364"/>
                  <a:gd name="T14" fmla="*/ 255 w 364"/>
                  <a:gd name="T15" fmla="*/ 259 h 364"/>
                  <a:gd name="T16" fmla="*/ 242 w 364"/>
                  <a:gd name="T17" fmla="*/ 280 h 364"/>
                  <a:gd name="T18" fmla="*/ 219 w 364"/>
                  <a:gd name="T19" fmla="*/ 292 h 364"/>
                  <a:gd name="T20" fmla="*/ 188 w 364"/>
                  <a:gd name="T21" fmla="*/ 296 h 364"/>
                  <a:gd name="T22" fmla="*/ 185 w 364"/>
                  <a:gd name="T23" fmla="*/ 330 h 364"/>
                  <a:gd name="T24" fmla="*/ 168 w 364"/>
                  <a:gd name="T25" fmla="*/ 330 h 364"/>
                  <a:gd name="T26" fmla="*/ 161 w 364"/>
                  <a:gd name="T27" fmla="*/ 327 h 364"/>
                  <a:gd name="T28" fmla="*/ 159 w 364"/>
                  <a:gd name="T29" fmla="*/ 320 h 364"/>
                  <a:gd name="T30" fmla="*/ 161 w 364"/>
                  <a:gd name="T31" fmla="*/ 296 h 364"/>
                  <a:gd name="T32" fmla="*/ 140 w 364"/>
                  <a:gd name="T33" fmla="*/ 294 h 364"/>
                  <a:gd name="T34" fmla="*/ 124 w 364"/>
                  <a:gd name="T35" fmla="*/ 290 h 364"/>
                  <a:gd name="T36" fmla="*/ 114 w 364"/>
                  <a:gd name="T37" fmla="*/ 284 h 364"/>
                  <a:gd name="T38" fmla="*/ 111 w 364"/>
                  <a:gd name="T39" fmla="*/ 275 h 364"/>
                  <a:gd name="T40" fmla="*/ 111 w 364"/>
                  <a:gd name="T41" fmla="*/ 251 h 364"/>
                  <a:gd name="T42" fmla="*/ 124 w 364"/>
                  <a:gd name="T43" fmla="*/ 252 h 364"/>
                  <a:gd name="T44" fmla="*/ 138 w 364"/>
                  <a:gd name="T45" fmla="*/ 252 h 364"/>
                  <a:gd name="T46" fmla="*/ 152 w 364"/>
                  <a:gd name="T47" fmla="*/ 253 h 364"/>
                  <a:gd name="T48" fmla="*/ 165 w 364"/>
                  <a:gd name="T49" fmla="*/ 253 h 364"/>
                  <a:gd name="T50" fmla="*/ 169 w 364"/>
                  <a:gd name="T51" fmla="*/ 202 h 364"/>
                  <a:gd name="T52" fmla="*/ 141 w 364"/>
                  <a:gd name="T53" fmla="*/ 191 h 364"/>
                  <a:gd name="T54" fmla="*/ 122 w 364"/>
                  <a:gd name="T55" fmla="*/ 176 h 364"/>
                  <a:gd name="T56" fmla="*/ 112 w 364"/>
                  <a:gd name="T57" fmla="*/ 159 h 364"/>
                  <a:gd name="T58" fmla="*/ 109 w 364"/>
                  <a:gd name="T59" fmla="*/ 137 h 364"/>
                  <a:gd name="T60" fmla="*/ 114 w 364"/>
                  <a:gd name="T61" fmla="*/ 106 h 364"/>
                  <a:gd name="T62" fmla="*/ 128 w 364"/>
                  <a:gd name="T63" fmla="*/ 85 h 364"/>
                  <a:gd name="T64" fmla="*/ 150 w 364"/>
                  <a:gd name="T65" fmla="*/ 74 h 364"/>
                  <a:gd name="T66" fmla="*/ 179 w 364"/>
                  <a:gd name="T67" fmla="*/ 69 h 364"/>
                  <a:gd name="T68" fmla="*/ 181 w 364"/>
                  <a:gd name="T69" fmla="*/ 37 h 364"/>
                  <a:gd name="T70" fmla="*/ 198 w 364"/>
                  <a:gd name="T71" fmla="*/ 37 h 364"/>
                  <a:gd name="T72" fmla="*/ 206 w 364"/>
                  <a:gd name="T73" fmla="*/ 40 h 364"/>
                  <a:gd name="T74" fmla="*/ 207 w 364"/>
                  <a:gd name="T75" fmla="*/ 48 h 364"/>
                  <a:gd name="T76" fmla="*/ 206 w 364"/>
                  <a:gd name="T77" fmla="*/ 69 h 364"/>
                  <a:gd name="T78" fmla="*/ 226 w 364"/>
                  <a:gd name="T79" fmla="*/ 71 h 364"/>
                  <a:gd name="T80" fmla="*/ 240 w 364"/>
                  <a:gd name="T81" fmla="*/ 75 h 364"/>
                  <a:gd name="T82" fmla="*/ 250 w 364"/>
                  <a:gd name="T83" fmla="*/ 83 h 364"/>
                  <a:gd name="T84" fmla="*/ 252 w 364"/>
                  <a:gd name="T85" fmla="*/ 93 h 364"/>
                  <a:gd name="T86" fmla="*/ 252 w 364"/>
                  <a:gd name="T87" fmla="*/ 114 h 364"/>
                  <a:gd name="T88" fmla="*/ 227 w 364"/>
                  <a:gd name="T89" fmla="*/ 112 h 364"/>
                  <a:gd name="T90" fmla="*/ 202 w 364"/>
                  <a:gd name="T91" fmla="*/ 111 h 364"/>
                  <a:gd name="T92" fmla="*/ 198 w 364"/>
                  <a:gd name="T93" fmla="*/ 161 h 364"/>
                  <a:gd name="T94" fmla="*/ 227 w 364"/>
                  <a:gd name="T95" fmla="*/ 173 h 364"/>
                  <a:gd name="T96" fmla="*/ 246 w 364"/>
                  <a:gd name="T97" fmla="*/ 185 h 364"/>
                  <a:gd name="T98" fmla="*/ 257 w 364"/>
                  <a:gd name="T99" fmla="*/ 203 h 364"/>
                  <a:gd name="T100" fmla="*/ 260 w 364"/>
                  <a:gd name="T101" fmla="*/ 227 h 364"/>
                  <a:gd name="T102" fmla="*/ 255 w 364"/>
                  <a:gd name="T103" fmla="*/ 25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4" h="364">
                    <a:moveTo>
                      <a:pt x="342" y="0"/>
                    </a:moveTo>
                    <a:cubicBezTo>
                      <a:pt x="0" y="0"/>
                      <a:pt x="0" y="0"/>
                      <a:pt x="0" y="0"/>
                    </a:cubicBezTo>
                    <a:cubicBezTo>
                      <a:pt x="0" y="341"/>
                      <a:pt x="0" y="341"/>
                      <a:pt x="0" y="341"/>
                    </a:cubicBezTo>
                    <a:cubicBezTo>
                      <a:pt x="0" y="354"/>
                      <a:pt x="10" y="364"/>
                      <a:pt x="22" y="364"/>
                    </a:cubicBezTo>
                    <a:cubicBezTo>
                      <a:pt x="364" y="364"/>
                      <a:pt x="364" y="364"/>
                      <a:pt x="364" y="364"/>
                    </a:cubicBezTo>
                    <a:cubicBezTo>
                      <a:pt x="364" y="25"/>
                      <a:pt x="364" y="25"/>
                      <a:pt x="364" y="25"/>
                    </a:cubicBezTo>
                    <a:cubicBezTo>
                      <a:pt x="364" y="12"/>
                      <a:pt x="354" y="0"/>
                      <a:pt x="342" y="0"/>
                    </a:cubicBezTo>
                    <a:moveTo>
                      <a:pt x="255" y="259"/>
                    </a:moveTo>
                    <a:cubicBezTo>
                      <a:pt x="252" y="267"/>
                      <a:pt x="248" y="274"/>
                      <a:pt x="242" y="280"/>
                    </a:cubicBezTo>
                    <a:cubicBezTo>
                      <a:pt x="236" y="285"/>
                      <a:pt x="228" y="289"/>
                      <a:pt x="219" y="292"/>
                    </a:cubicBezTo>
                    <a:cubicBezTo>
                      <a:pt x="210" y="294"/>
                      <a:pt x="200" y="296"/>
                      <a:pt x="188" y="296"/>
                    </a:cubicBezTo>
                    <a:cubicBezTo>
                      <a:pt x="185" y="330"/>
                      <a:pt x="185" y="330"/>
                      <a:pt x="185" y="330"/>
                    </a:cubicBezTo>
                    <a:cubicBezTo>
                      <a:pt x="168" y="330"/>
                      <a:pt x="168" y="330"/>
                      <a:pt x="168" y="330"/>
                    </a:cubicBezTo>
                    <a:cubicBezTo>
                      <a:pt x="164" y="330"/>
                      <a:pt x="162" y="329"/>
                      <a:pt x="161" y="327"/>
                    </a:cubicBezTo>
                    <a:cubicBezTo>
                      <a:pt x="160" y="325"/>
                      <a:pt x="159" y="323"/>
                      <a:pt x="159" y="320"/>
                    </a:cubicBezTo>
                    <a:cubicBezTo>
                      <a:pt x="161" y="296"/>
                      <a:pt x="161" y="296"/>
                      <a:pt x="161" y="296"/>
                    </a:cubicBezTo>
                    <a:cubicBezTo>
                      <a:pt x="153" y="296"/>
                      <a:pt x="146" y="295"/>
                      <a:pt x="140" y="294"/>
                    </a:cubicBezTo>
                    <a:cubicBezTo>
                      <a:pt x="133" y="293"/>
                      <a:pt x="128" y="292"/>
                      <a:pt x="124" y="290"/>
                    </a:cubicBezTo>
                    <a:cubicBezTo>
                      <a:pt x="119" y="288"/>
                      <a:pt x="116" y="286"/>
                      <a:pt x="114" y="284"/>
                    </a:cubicBezTo>
                    <a:cubicBezTo>
                      <a:pt x="112" y="281"/>
                      <a:pt x="111" y="278"/>
                      <a:pt x="111" y="275"/>
                    </a:cubicBezTo>
                    <a:cubicBezTo>
                      <a:pt x="111" y="251"/>
                      <a:pt x="111" y="251"/>
                      <a:pt x="111" y="251"/>
                    </a:cubicBezTo>
                    <a:cubicBezTo>
                      <a:pt x="115" y="251"/>
                      <a:pt x="119" y="251"/>
                      <a:pt x="124" y="252"/>
                    </a:cubicBezTo>
                    <a:cubicBezTo>
                      <a:pt x="129" y="252"/>
                      <a:pt x="134" y="252"/>
                      <a:pt x="138" y="252"/>
                    </a:cubicBezTo>
                    <a:cubicBezTo>
                      <a:pt x="143" y="252"/>
                      <a:pt x="148" y="253"/>
                      <a:pt x="152" y="253"/>
                    </a:cubicBezTo>
                    <a:cubicBezTo>
                      <a:pt x="157" y="253"/>
                      <a:pt x="161" y="253"/>
                      <a:pt x="165" y="253"/>
                    </a:cubicBezTo>
                    <a:cubicBezTo>
                      <a:pt x="169" y="202"/>
                      <a:pt x="169" y="202"/>
                      <a:pt x="169" y="202"/>
                    </a:cubicBezTo>
                    <a:cubicBezTo>
                      <a:pt x="158" y="198"/>
                      <a:pt x="149" y="195"/>
                      <a:pt x="141" y="191"/>
                    </a:cubicBezTo>
                    <a:cubicBezTo>
                      <a:pt x="133" y="186"/>
                      <a:pt x="127" y="182"/>
                      <a:pt x="122" y="176"/>
                    </a:cubicBezTo>
                    <a:cubicBezTo>
                      <a:pt x="117" y="171"/>
                      <a:pt x="114" y="165"/>
                      <a:pt x="112" y="159"/>
                    </a:cubicBezTo>
                    <a:cubicBezTo>
                      <a:pt x="110" y="152"/>
                      <a:pt x="109" y="145"/>
                      <a:pt x="109" y="137"/>
                    </a:cubicBezTo>
                    <a:cubicBezTo>
                      <a:pt x="109" y="124"/>
                      <a:pt x="110" y="114"/>
                      <a:pt x="114" y="106"/>
                    </a:cubicBezTo>
                    <a:cubicBezTo>
                      <a:pt x="117" y="97"/>
                      <a:pt x="122" y="90"/>
                      <a:pt x="128" y="85"/>
                    </a:cubicBezTo>
                    <a:cubicBezTo>
                      <a:pt x="134" y="80"/>
                      <a:pt x="142" y="76"/>
                      <a:pt x="150" y="74"/>
                    </a:cubicBezTo>
                    <a:cubicBezTo>
                      <a:pt x="159" y="71"/>
                      <a:pt x="168" y="70"/>
                      <a:pt x="179" y="69"/>
                    </a:cubicBezTo>
                    <a:cubicBezTo>
                      <a:pt x="181" y="37"/>
                      <a:pt x="181" y="37"/>
                      <a:pt x="181" y="37"/>
                    </a:cubicBezTo>
                    <a:cubicBezTo>
                      <a:pt x="198" y="37"/>
                      <a:pt x="198" y="37"/>
                      <a:pt x="198" y="37"/>
                    </a:cubicBezTo>
                    <a:cubicBezTo>
                      <a:pt x="202" y="37"/>
                      <a:pt x="205" y="38"/>
                      <a:pt x="206" y="40"/>
                    </a:cubicBezTo>
                    <a:cubicBezTo>
                      <a:pt x="207" y="42"/>
                      <a:pt x="207" y="45"/>
                      <a:pt x="207" y="48"/>
                    </a:cubicBezTo>
                    <a:cubicBezTo>
                      <a:pt x="206" y="69"/>
                      <a:pt x="206" y="69"/>
                      <a:pt x="206" y="69"/>
                    </a:cubicBezTo>
                    <a:cubicBezTo>
                      <a:pt x="213" y="69"/>
                      <a:pt x="220" y="70"/>
                      <a:pt x="226" y="71"/>
                    </a:cubicBezTo>
                    <a:cubicBezTo>
                      <a:pt x="231" y="73"/>
                      <a:pt x="236" y="74"/>
                      <a:pt x="240" y="75"/>
                    </a:cubicBezTo>
                    <a:cubicBezTo>
                      <a:pt x="246" y="78"/>
                      <a:pt x="249" y="80"/>
                      <a:pt x="250" y="83"/>
                    </a:cubicBezTo>
                    <a:cubicBezTo>
                      <a:pt x="251" y="87"/>
                      <a:pt x="252" y="90"/>
                      <a:pt x="252" y="93"/>
                    </a:cubicBezTo>
                    <a:cubicBezTo>
                      <a:pt x="252" y="114"/>
                      <a:pt x="252" y="114"/>
                      <a:pt x="252" y="114"/>
                    </a:cubicBezTo>
                    <a:cubicBezTo>
                      <a:pt x="244" y="113"/>
                      <a:pt x="236" y="112"/>
                      <a:pt x="227" y="112"/>
                    </a:cubicBezTo>
                    <a:cubicBezTo>
                      <a:pt x="219" y="112"/>
                      <a:pt x="211" y="111"/>
                      <a:pt x="202" y="111"/>
                    </a:cubicBezTo>
                    <a:cubicBezTo>
                      <a:pt x="198" y="161"/>
                      <a:pt x="198" y="161"/>
                      <a:pt x="198" y="161"/>
                    </a:cubicBezTo>
                    <a:cubicBezTo>
                      <a:pt x="210" y="165"/>
                      <a:pt x="219" y="169"/>
                      <a:pt x="227" y="173"/>
                    </a:cubicBezTo>
                    <a:cubicBezTo>
                      <a:pt x="235" y="176"/>
                      <a:pt x="241" y="180"/>
                      <a:pt x="246" y="185"/>
                    </a:cubicBezTo>
                    <a:cubicBezTo>
                      <a:pt x="251" y="190"/>
                      <a:pt x="254" y="196"/>
                      <a:pt x="257" y="203"/>
                    </a:cubicBezTo>
                    <a:cubicBezTo>
                      <a:pt x="259" y="209"/>
                      <a:pt x="260" y="218"/>
                      <a:pt x="260" y="227"/>
                    </a:cubicBezTo>
                    <a:cubicBezTo>
                      <a:pt x="260" y="240"/>
                      <a:pt x="258" y="250"/>
                      <a:pt x="255" y="2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50" name="Freeform 514"/>
              <p:cNvSpPr>
                <a:spLocks/>
              </p:cNvSpPr>
              <p:nvPr/>
            </p:nvSpPr>
            <p:spPr bwMode="auto">
              <a:xfrm>
                <a:off x="4459288" y="2305051"/>
                <a:ext cx="79375" cy="165100"/>
              </a:xfrm>
              <a:custGeom>
                <a:avLst/>
                <a:gdLst>
                  <a:gd name="T0" fmla="*/ 4 w 21"/>
                  <a:gd name="T1" fmla="*/ 6 h 44"/>
                  <a:gd name="T2" fmla="*/ 0 w 21"/>
                  <a:gd name="T3" fmla="*/ 22 h 44"/>
                  <a:gd name="T4" fmla="*/ 4 w 21"/>
                  <a:gd name="T5" fmla="*/ 36 h 44"/>
                  <a:gd name="T6" fmla="*/ 18 w 21"/>
                  <a:gd name="T7" fmla="*/ 44 h 44"/>
                  <a:gd name="T8" fmla="*/ 21 w 21"/>
                  <a:gd name="T9" fmla="*/ 0 h 44"/>
                  <a:gd name="T10" fmla="*/ 4 w 21"/>
                  <a:gd name="T11" fmla="*/ 6 h 44"/>
                </a:gdLst>
                <a:ahLst/>
                <a:cxnLst>
                  <a:cxn ang="0">
                    <a:pos x="T0" y="T1"/>
                  </a:cxn>
                  <a:cxn ang="0">
                    <a:pos x="T2" y="T3"/>
                  </a:cxn>
                  <a:cxn ang="0">
                    <a:pos x="T4" y="T5"/>
                  </a:cxn>
                  <a:cxn ang="0">
                    <a:pos x="T6" y="T7"/>
                  </a:cxn>
                  <a:cxn ang="0">
                    <a:pos x="T8" y="T9"/>
                  </a:cxn>
                  <a:cxn ang="0">
                    <a:pos x="T10" y="T11"/>
                  </a:cxn>
                </a:cxnLst>
                <a:rect l="0" t="0" r="r" b="b"/>
                <a:pathLst>
                  <a:path w="21" h="44">
                    <a:moveTo>
                      <a:pt x="4" y="6"/>
                    </a:moveTo>
                    <a:cubicBezTo>
                      <a:pt x="1" y="10"/>
                      <a:pt x="0" y="15"/>
                      <a:pt x="0" y="22"/>
                    </a:cubicBezTo>
                    <a:cubicBezTo>
                      <a:pt x="0" y="28"/>
                      <a:pt x="1" y="33"/>
                      <a:pt x="4" y="36"/>
                    </a:cubicBezTo>
                    <a:cubicBezTo>
                      <a:pt x="7" y="39"/>
                      <a:pt x="11" y="42"/>
                      <a:pt x="18" y="44"/>
                    </a:cubicBezTo>
                    <a:cubicBezTo>
                      <a:pt x="21" y="0"/>
                      <a:pt x="21" y="0"/>
                      <a:pt x="21" y="0"/>
                    </a:cubicBezTo>
                    <a:cubicBezTo>
                      <a:pt x="13" y="0"/>
                      <a:pt x="7" y="3"/>
                      <a:pt x="4"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51" name="Freeform 515"/>
              <p:cNvSpPr>
                <a:spLocks/>
              </p:cNvSpPr>
              <p:nvPr/>
            </p:nvSpPr>
            <p:spPr bwMode="auto">
              <a:xfrm>
                <a:off x="4598988" y="2662238"/>
                <a:ext cx="82550" cy="173038"/>
              </a:xfrm>
              <a:custGeom>
                <a:avLst/>
                <a:gdLst>
                  <a:gd name="T0" fmla="*/ 4 w 22"/>
                  <a:gd name="T1" fmla="*/ 0 h 46"/>
                  <a:gd name="T2" fmla="*/ 0 w 22"/>
                  <a:gd name="T3" fmla="*/ 46 h 46"/>
                  <a:gd name="T4" fmla="*/ 18 w 22"/>
                  <a:gd name="T5" fmla="*/ 39 h 46"/>
                  <a:gd name="T6" fmla="*/ 22 w 22"/>
                  <a:gd name="T7" fmla="*/ 23 h 46"/>
                  <a:gd name="T8" fmla="*/ 18 w 22"/>
                  <a:gd name="T9" fmla="*/ 7 h 46"/>
                  <a:gd name="T10" fmla="*/ 4 w 22"/>
                  <a:gd name="T11" fmla="*/ 0 h 46"/>
                </a:gdLst>
                <a:ahLst/>
                <a:cxnLst>
                  <a:cxn ang="0">
                    <a:pos x="T0" y="T1"/>
                  </a:cxn>
                  <a:cxn ang="0">
                    <a:pos x="T2" y="T3"/>
                  </a:cxn>
                  <a:cxn ang="0">
                    <a:pos x="T4" y="T5"/>
                  </a:cxn>
                  <a:cxn ang="0">
                    <a:pos x="T6" y="T7"/>
                  </a:cxn>
                  <a:cxn ang="0">
                    <a:pos x="T8" y="T9"/>
                  </a:cxn>
                  <a:cxn ang="0">
                    <a:pos x="T10" y="T11"/>
                  </a:cxn>
                </a:cxnLst>
                <a:rect l="0" t="0" r="r" b="b"/>
                <a:pathLst>
                  <a:path w="22" h="46">
                    <a:moveTo>
                      <a:pt x="4" y="0"/>
                    </a:moveTo>
                    <a:cubicBezTo>
                      <a:pt x="0" y="46"/>
                      <a:pt x="0" y="46"/>
                      <a:pt x="0" y="46"/>
                    </a:cubicBezTo>
                    <a:cubicBezTo>
                      <a:pt x="9" y="45"/>
                      <a:pt x="14" y="43"/>
                      <a:pt x="18" y="39"/>
                    </a:cubicBezTo>
                    <a:cubicBezTo>
                      <a:pt x="21" y="35"/>
                      <a:pt x="22" y="30"/>
                      <a:pt x="22" y="23"/>
                    </a:cubicBezTo>
                    <a:cubicBezTo>
                      <a:pt x="22" y="15"/>
                      <a:pt x="21" y="10"/>
                      <a:pt x="18" y="7"/>
                    </a:cubicBezTo>
                    <a:cubicBezTo>
                      <a:pt x="15" y="5"/>
                      <a:pt x="10"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sp>
        <p:nvSpPr>
          <p:cNvPr id="453" name="TextBox 452"/>
          <p:cNvSpPr txBox="1"/>
          <p:nvPr/>
        </p:nvSpPr>
        <p:spPr>
          <a:xfrm>
            <a:off x="8313785" y="3523523"/>
            <a:ext cx="2028685" cy="408176"/>
          </a:xfrm>
          <a:prstGeom prst="rect">
            <a:avLst/>
          </a:prstGeom>
          <a:noFill/>
        </p:spPr>
        <p:txBody>
          <a:bodyPr wrap="square" lIns="129909" tIns="64954" rIns="129909" bIns="64954" rtlCol="0">
            <a:spAutoFit/>
          </a:bodyPr>
          <a:lstStyle/>
          <a:p>
            <a:pPr defTabSz="611204">
              <a:spcAft>
                <a:spcPts val="568"/>
              </a:spcAft>
              <a:buSzPct val="100000"/>
            </a:pPr>
            <a:r>
              <a:rPr lang="zh-CN" altLang="en-US" sz="1800" b="1" dirty="0" smtClean="0">
                <a:solidFill>
                  <a:srgbClr val="002060"/>
                </a:solidFill>
                <a:latin typeface="微软雅黑" pitchFamily="34" charset="-122"/>
                <a:ea typeface="微软雅黑" pitchFamily="34" charset="-122"/>
                <a:cs typeface="HP Simplified" pitchFamily="34" charset="0"/>
              </a:rPr>
              <a:t>我们的企业</a:t>
            </a:r>
            <a:endParaRPr lang="en-US" sz="1800" b="1" dirty="0" smtClean="0">
              <a:solidFill>
                <a:srgbClr val="002060"/>
              </a:solidFill>
              <a:latin typeface="微软雅黑" pitchFamily="34" charset="-122"/>
              <a:ea typeface="微软雅黑" pitchFamily="34" charset="-122"/>
              <a:cs typeface="HP Simplified" pitchFamily="34" charset="0"/>
            </a:endParaRPr>
          </a:p>
        </p:txBody>
      </p:sp>
      <p:sp>
        <p:nvSpPr>
          <p:cNvPr id="455" name="TextBox 454"/>
          <p:cNvSpPr txBox="1"/>
          <p:nvPr/>
        </p:nvSpPr>
        <p:spPr>
          <a:xfrm>
            <a:off x="2641694" y="3523524"/>
            <a:ext cx="2462650" cy="377398"/>
          </a:xfrm>
          <a:prstGeom prst="rect">
            <a:avLst/>
          </a:prstGeom>
          <a:noFill/>
        </p:spPr>
        <p:txBody>
          <a:bodyPr wrap="square" lIns="129909" tIns="64954" rIns="129909" bIns="64954" rtlCol="0">
            <a:spAutoFit/>
          </a:bodyPr>
          <a:lstStyle/>
          <a:p>
            <a:pPr defTabSz="611204">
              <a:spcAft>
                <a:spcPts val="568"/>
              </a:spcAft>
              <a:buSzPct val="100000"/>
            </a:pPr>
            <a:r>
              <a:rPr lang="zh-CN" altLang="en-US" b="1" dirty="0" smtClean="0">
                <a:solidFill>
                  <a:srgbClr val="000000"/>
                </a:solidFill>
                <a:latin typeface="微软雅黑" pitchFamily="34" charset="-122"/>
                <a:ea typeface="微软雅黑" pitchFamily="34" charset="-122"/>
                <a:cs typeface="HP Simplified" pitchFamily="34" charset="0"/>
              </a:rPr>
              <a:t>对手的生态系统</a:t>
            </a:r>
            <a:endParaRPr lang="en-US" b="1" dirty="0" smtClean="0">
              <a:solidFill>
                <a:srgbClr val="000000"/>
              </a:solidFill>
              <a:latin typeface="微软雅黑" pitchFamily="34" charset="-122"/>
              <a:ea typeface="微软雅黑" pitchFamily="34" charset="-122"/>
              <a:cs typeface="HP Simplified" pitchFamily="34" charset="0"/>
            </a:endParaRPr>
          </a:p>
        </p:txBody>
      </p:sp>
      <p:grpSp>
        <p:nvGrpSpPr>
          <p:cNvPr id="2" name="Group 1"/>
          <p:cNvGrpSpPr/>
          <p:nvPr/>
        </p:nvGrpSpPr>
        <p:grpSpPr>
          <a:xfrm>
            <a:off x="5395404" y="1084107"/>
            <a:ext cx="510443" cy="5578311"/>
            <a:chOff x="5326950" y="727538"/>
            <a:chExt cx="385877" cy="4210312"/>
          </a:xfrm>
          <a:solidFill>
            <a:schemeClr val="accent3"/>
          </a:solidFill>
        </p:grpSpPr>
        <p:grpSp>
          <p:nvGrpSpPr>
            <p:cNvPr id="206" name="Group 205"/>
            <p:cNvGrpSpPr/>
            <p:nvPr/>
          </p:nvGrpSpPr>
          <p:grpSpPr>
            <a:xfrm>
              <a:off x="5478169" y="960699"/>
              <a:ext cx="83439" cy="3576577"/>
              <a:chOff x="5396292" y="1038173"/>
              <a:chExt cx="120650" cy="3594099"/>
            </a:xfrm>
            <a:grpFill/>
          </p:grpSpPr>
          <p:sp>
            <p:nvSpPr>
              <p:cNvPr id="219" name="Rectangle 218"/>
              <p:cNvSpPr/>
              <p:nvPr/>
            </p:nvSpPr>
            <p:spPr bwMode="gray">
              <a:xfrm>
                <a:off x="5396292" y="1038173"/>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0" name="Rectangle 219"/>
              <p:cNvSpPr/>
              <p:nvPr/>
            </p:nvSpPr>
            <p:spPr bwMode="gray">
              <a:xfrm>
                <a:off x="5396292" y="1281202"/>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1" name="Rectangle 220"/>
              <p:cNvSpPr/>
              <p:nvPr/>
            </p:nvSpPr>
            <p:spPr bwMode="gray">
              <a:xfrm>
                <a:off x="5396292" y="1524231"/>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2" name="Rectangle 221"/>
              <p:cNvSpPr/>
              <p:nvPr/>
            </p:nvSpPr>
            <p:spPr bwMode="gray">
              <a:xfrm>
                <a:off x="5396292" y="1767260"/>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3" name="Rectangle 222"/>
              <p:cNvSpPr/>
              <p:nvPr/>
            </p:nvSpPr>
            <p:spPr bwMode="gray">
              <a:xfrm>
                <a:off x="5396292" y="2010289"/>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4" name="Rectangle 223"/>
              <p:cNvSpPr/>
              <p:nvPr/>
            </p:nvSpPr>
            <p:spPr bwMode="gray">
              <a:xfrm>
                <a:off x="5396292" y="2253319"/>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5" name="Rectangle 224"/>
              <p:cNvSpPr/>
              <p:nvPr/>
            </p:nvSpPr>
            <p:spPr bwMode="gray">
              <a:xfrm>
                <a:off x="5396292" y="2496349"/>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6" name="Rectangle 225"/>
              <p:cNvSpPr/>
              <p:nvPr/>
            </p:nvSpPr>
            <p:spPr bwMode="gray">
              <a:xfrm>
                <a:off x="5396292" y="2739379"/>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7" name="Rectangle 226"/>
              <p:cNvSpPr/>
              <p:nvPr/>
            </p:nvSpPr>
            <p:spPr bwMode="gray">
              <a:xfrm>
                <a:off x="5396292" y="2982408"/>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8" name="Rectangle 227"/>
              <p:cNvSpPr/>
              <p:nvPr/>
            </p:nvSpPr>
            <p:spPr bwMode="gray">
              <a:xfrm>
                <a:off x="5396292" y="3225437"/>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9" name="Rectangle 228"/>
              <p:cNvSpPr/>
              <p:nvPr/>
            </p:nvSpPr>
            <p:spPr bwMode="gray">
              <a:xfrm>
                <a:off x="5396292" y="3468466"/>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30" name="Rectangle 229"/>
              <p:cNvSpPr/>
              <p:nvPr/>
            </p:nvSpPr>
            <p:spPr bwMode="gray">
              <a:xfrm>
                <a:off x="5396292" y="3711496"/>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31" name="Rectangle 230"/>
              <p:cNvSpPr/>
              <p:nvPr/>
            </p:nvSpPr>
            <p:spPr bwMode="gray">
              <a:xfrm>
                <a:off x="5396292" y="3954526"/>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41" name="Rectangle 240"/>
              <p:cNvSpPr/>
              <p:nvPr/>
            </p:nvSpPr>
            <p:spPr bwMode="gray">
              <a:xfrm>
                <a:off x="5396292" y="4197555"/>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42" name="Rectangle 241"/>
              <p:cNvSpPr/>
              <p:nvPr/>
            </p:nvSpPr>
            <p:spPr bwMode="gray">
              <a:xfrm>
                <a:off x="5396292" y="4440581"/>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grpSp>
        <p:sp>
          <p:nvSpPr>
            <p:cNvPr id="457" name="Freeform 745"/>
            <p:cNvSpPr>
              <a:spLocks noEditPoints="1"/>
            </p:cNvSpPr>
            <p:nvPr/>
          </p:nvSpPr>
          <p:spPr bwMode="auto">
            <a:xfrm>
              <a:off x="5326950" y="727538"/>
              <a:ext cx="385877" cy="460375"/>
            </a:xfrm>
            <a:custGeom>
              <a:avLst/>
              <a:gdLst>
                <a:gd name="T0" fmla="*/ 259 w 280"/>
                <a:gd name="T1" fmla="*/ 153 h 334"/>
                <a:gd name="T2" fmla="*/ 238 w 280"/>
                <a:gd name="T3" fmla="*/ 153 h 334"/>
                <a:gd name="T4" fmla="*/ 238 w 280"/>
                <a:gd name="T5" fmla="*/ 99 h 334"/>
                <a:gd name="T6" fmla="*/ 138 w 280"/>
                <a:gd name="T7" fmla="*/ 0 h 334"/>
                <a:gd name="T8" fmla="*/ 39 w 280"/>
                <a:gd name="T9" fmla="*/ 99 h 334"/>
                <a:gd name="T10" fmla="*/ 39 w 280"/>
                <a:gd name="T11" fmla="*/ 153 h 334"/>
                <a:gd name="T12" fmla="*/ 0 w 280"/>
                <a:gd name="T13" fmla="*/ 153 h 334"/>
                <a:gd name="T14" fmla="*/ 0 w 280"/>
                <a:gd name="T15" fmla="*/ 312 h 334"/>
                <a:gd name="T16" fmla="*/ 21 w 280"/>
                <a:gd name="T17" fmla="*/ 334 h 334"/>
                <a:gd name="T18" fmla="*/ 280 w 280"/>
                <a:gd name="T19" fmla="*/ 334 h 334"/>
                <a:gd name="T20" fmla="*/ 280 w 280"/>
                <a:gd name="T21" fmla="*/ 174 h 334"/>
                <a:gd name="T22" fmla="*/ 259 w 280"/>
                <a:gd name="T23" fmla="*/ 153 h 334"/>
                <a:gd name="T24" fmla="*/ 81 w 280"/>
                <a:gd name="T25" fmla="*/ 99 h 334"/>
                <a:gd name="T26" fmla="*/ 138 w 280"/>
                <a:gd name="T27" fmla="*/ 43 h 334"/>
                <a:gd name="T28" fmla="*/ 195 w 280"/>
                <a:gd name="T29" fmla="*/ 99 h 334"/>
                <a:gd name="T30" fmla="*/ 195 w 280"/>
                <a:gd name="T31" fmla="*/ 153 h 334"/>
                <a:gd name="T32" fmla="*/ 81 w 280"/>
                <a:gd name="T33" fmla="*/ 153 h 334"/>
                <a:gd name="T34" fmla="*/ 81 w 280"/>
                <a:gd name="T35" fmla="*/ 9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0" h="334">
                  <a:moveTo>
                    <a:pt x="259" y="153"/>
                  </a:moveTo>
                  <a:cubicBezTo>
                    <a:pt x="238" y="153"/>
                    <a:pt x="238" y="153"/>
                    <a:pt x="238" y="153"/>
                  </a:cubicBezTo>
                  <a:cubicBezTo>
                    <a:pt x="238" y="99"/>
                    <a:pt x="238" y="99"/>
                    <a:pt x="238" y="99"/>
                  </a:cubicBezTo>
                  <a:cubicBezTo>
                    <a:pt x="238" y="45"/>
                    <a:pt x="193" y="0"/>
                    <a:pt x="138" y="0"/>
                  </a:cubicBezTo>
                  <a:cubicBezTo>
                    <a:pt x="83" y="0"/>
                    <a:pt x="39" y="45"/>
                    <a:pt x="39" y="99"/>
                  </a:cubicBezTo>
                  <a:cubicBezTo>
                    <a:pt x="39" y="153"/>
                    <a:pt x="39" y="153"/>
                    <a:pt x="39" y="153"/>
                  </a:cubicBezTo>
                  <a:cubicBezTo>
                    <a:pt x="0" y="153"/>
                    <a:pt x="0" y="153"/>
                    <a:pt x="0" y="153"/>
                  </a:cubicBezTo>
                  <a:cubicBezTo>
                    <a:pt x="0" y="312"/>
                    <a:pt x="0" y="312"/>
                    <a:pt x="0" y="312"/>
                  </a:cubicBezTo>
                  <a:cubicBezTo>
                    <a:pt x="0" y="324"/>
                    <a:pt x="9" y="334"/>
                    <a:pt x="21" y="334"/>
                  </a:cubicBezTo>
                  <a:cubicBezTo>
                    <a:pt x="280" y="334"/>
                    <a:pt x="280" y="334"/>
                    <a:pt x="280" y="334"/>
                  </a:cubicBezTo>
                  <a:cubicBezTo>
                    <a:pt x="280" y="174"/>
                    <a:pt x="280" y="174"/>
                    <a:pt x="280" y="174"/>
                  </a:cubicBezTo>
                  <a:cubicBezTo>
                    <a:pt x="280" y="162"/>
                    <a:pt x="271" y="153"/>
                    <a:pt x="259" y="153"/>
                  </a:cubicBezTo>
                  <a:moveTo>
                    <a:pt x="81" y="99"/>
                  </a:moveTo>
                  <a:cubicBezTo>
                    <a:pt x="81" y="68"/>
                    <a:pt x="107" y="43"/>
                    <a:pt x="138" y="43"/>
                  </a:cubicBezTo>
                  <a:cubicBezTo>
                    <a:pt x="169" y="43"/>
                    <a:pt x="195" y="68"/>
                    <a:pt x="195" y="99"/>
                  </a:cubicBezTo>
                  <a:cubicBezTo>
                    <a:pt x="195" y="153"/>
                    <a:pt x="195" y="153"/>
                    <a:pt x="195" y="153"/>
                  </a:cubicBezTo>
                  <a:cubicBezTo>
                    <a:pt x="81" y="153"/>
                    <a:pt x="81" y="153"/>
                    <a:pt x="81" y="153"/>
                  </a:cubicBezTo>
                  <a:lnTo>
                    <a:pt x="81" y="99"/>
                  </a:ln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216" name="Freeform 745"/>
            <p:cNvSpPr>
              <a:spLocks noEditPoints="1"/>
            </p:cNvSpPr>
            <p:nvPr/>
          </p:nvSpPr>
          <p:spPr bwMode="auto">
            <a:xfrm>
              <a:off x="5326950" y="4477475"/>
              <a:ext cx="385877" cy="460375"/>
            </a:xfrm>
            <a:custGeom>
              <a:avLst/>
              <a:gdLst>
                <a:gd name="T0" fmla="*/ 259 w 280"/>
                <a:gd name="T1" fmla="*/ 153 h 334"/>
                <a:gd name="T2" fmla="*/ 238 w 280"/>
                <a:gd name="T3" fmla="*/ 153 h 334"/>
                <a:gd name="T4" fmla="*/ 238 w 280"/>
                <a:gd name="T5" fmla="*/ 99 h 334"/>
                <a:gd name="T6" fmla="*/ 138 w 280"/>
                <a:gd name="T7" fmla="*/ 0 h 334"/>
                <a:gd name="T8" fmla="*/ 39 w 280"/>
                <a:gd name="T9" fmla="*/ 99 h 334"/>
                <a:gd name="T10" fmla="*/ 39 w 280"/>
                <a:gd name="T11" fmla="*/ 153 h 334"/>
                <a:gd name="T12" fmla="*/ 0 w 280"/>
                <a:gd name="T13" fmla="*/ 153 h 334"/>
                <a:gd name="T14" fmla="*/ 0 w 280"/>
                <a:gd name="T15" fmla="*/ 312 h 334"/>
                <a:gd name="T16" fmla="*/ 21 w 280"/>
                <a:gd name="T17" fmla="*/ 334 h 334"/>
                <a:gd name="T18" fmla="*/ 280 w 280"/>
                <a:gd name="T19" fmla="*/ 334 h 334"/>
                <a:gd name="T20" fmla="*/ 280 w 280"/>
                <a:gd name="T21" fmla="*/ 174 h 334"/>
                <a:gd name="T22" fmla="*/ 259 w 280"/>
                <a:gd name="T23" fmla="*/ 153 h 334"/>
                <a:gd name="T24" fmla="*/ 81 w 280"/>
                <a:gd name="T25" fmla="*/ 99 h 334"/>
                <a:gd name="T26" fmla="*/ 138 w 280"/>
                <a:gd name="T27" fmla="*/ 43 h 334"/>
                <a:gd name="T28" fmla="*/ 195 w 280"/>
                <a:gd name="T29" fmla="*/ 99 h 334"/>
                <a:gd name="T30" fmla="*/ 195 w 280"/>
                <a:gd name="T31" fmla="*/ 153 h 334"/>
                <a:gd name="T32" fmla="*/ 81 w 280"/>
                <a:gd name="T33" fmla="*/ 153 h 334"/>
                <a:gd name="T34" fmla="*/ 81 w 280"/>
                <a:gd name="T35" fmla="*/ 9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0" h="334">
                  <a:moveTo>
                    <a:pt x="259" y="153"/>
                  </a:moveTo>
                  <a:cubicBezTo>
                    <a:pt x="238" y="153"/>
                    <a:pt x="238" y="153"/>
                    <a:pt x="238" y="153"/>
                  </a:cubicBezTo>
                  <a:cubicBezTo>
                    <a:pt x="238" y="99"/>
                    <a:pt x="238" y="99"/>
                    <a:pt x="238" y="99"/>
                  </a:cubicBezTo>
                  <a:cubicBezTo>
                    <a:pt x="238" y="45"/>
                    <a:pt x="193" y="0"/>
                    <a:pt x="138" y="0"/>
                  </a:cubicBezTo>
                  <a:cubicBezTo>
                    <a:pt x="83" y="0"/>
                    <a:pt x="39" y="45"/>
                    <a:pt x="39" y="99"/>
                  </a:cubicBezTo>
                  <a:cubicBezTo>
                    <a:pt x="39" y="153"/>
                    <a:pt x="39" y="153"/>
                    <a:pt x="39" y="153"/>
                  </a:cubicBezTo>
                  <a:cubicBezTo>
                    <a:pt x="0" y="153"/>
                    <a:pt x="0" y="153"/>
                    <a:pt x="0" y="153"/>
                  </a:cubicBezTo>
                  <a:cubicBezTo>
                    <a:pt x="0" y="312"/>
                    <a:pt x="0" y="312"/>
                    <a:pt x="0" y="312"/>
                  </a:cubicBezTo>
                  <a:cubicBezTo>
                    <a:pt x="0" y="324"/>
                    <a:pt x="9" y="334"/>
                    <a:pt x="21" y="334"/>
                  </a:cubicBezTo>
                  <a:cubicBezTo>
                    <a:pt x="280" y="334"/>
                    <a:pt x="280" y="334"/>
                    <a:pt x="280" y="334"/>
                  </a:cubicBezTo>
                  <a:cubicBezTo>
                    <a:pt x="280" y="174"/>
                    <a:pt x="280" y="174"/>
                    <a:pt x="280" y="174"/>
                  </a:cubicBezTo>
                  <a:cubicBezTo>
                    <a:pt x="280" y="162"/>
                    <a:pt x="271" y="153"/>
                    <a:pt x="259" y="153"/>
                  </a:cubicBezTo>
                  <a:moveTo>
                    <a:pt x="81" y="99"/>
                  </a:moveTo>
                  <a:cubicBezTo>
                    <a:pt x="81" y="68"/>
                    <a:pt x="107" y="43"/>
                    <a:pt x="138" y="43"/>
                  </a:cubicBezTo>
                  <a:cubicBezTo>
                    <a:pt x="169" y="43"/>
                    <a:pt x="195" y="68"/>
                    <a:pt x="195" y="99"/>
                  </a:cubicBezTo>
                  <a:cubicBezTo>
                    <a:pt x="195" y="153"/>
                    <a:pt x="195" y="153"/>
                    <a:pt x="195" y="153"/>
                  </a:cubicBezTo>
                  <a:cubicBezTo>
                    <a:pt x="81" y="153"/>
                    <a:pt x="81" y="153"/>
                    <a:pt x="81" y="153"/>
                  </a:cubicBezTo>
                  <a:lnTo>
                    <a:pt x="81" y="99"/>
                  </a:ln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nvGrpSpPr>
          <p:cNvPr id="4" name="Group 3"/>
          <p:cNvGrpSpPr/>
          <p:nvPr/>
        </p:nvGrpSpPr>
        <p:grpSpPr>
          <a:xfrm>
            <a:off x="2850414" y="2650350"/>
            <a:ext cx="1008667" cy="701163"/>
            <a:chOff x="3687587" y="1770927"/>
            <a:chExt cx="710346" cy="493005"/>
          </a:xfrm>
        </p:grpSpPr>
        <p:grpSp>
          <p:nvGrpSpPr>
            <p:cNvPr id="217" name="Group 216"/>
            <p:cNvGrpSpPr/>
            <p:nvPr/>
          </p:nvGrpSpPr>
          <p:grpSpPr>
            <a:xfrm>
              <a:off x="3687587" y="1770927"/>
              <a:ext cx="197202" cy="493005"/>
              <a:chOff x="4305301" y="1846263"/>
              <a:chExt cx="568325" cy="1420813"/>
            </a:xfrm>
            <a:solidFill>
              <a:srgbClr val="000000"/>
            </a:solidFill>
          </p:grpSpPr>
          <p:sp>
            <p:nvSpPr>
              <p:cNvPr id="218" name="Oval 633"/>
              <p:cNvSpPr>
                <a:spLocks noChangeArrowheads="1"/>
              </p:cNvSpPr>
              <p:nvPr/>
            </p:nvSpPr>
            <p:spPr bwMode="auto">
              <a:xfrm>
                <a:off x="4440238" y="1846263"/>
                <a:ext cx="296863" cy="3111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232" name="Freeform 634"/>
              <p:cNvSpPr>
                <a:spLocks/>
              </p:cNvSpPr>
              <p:nvPr/>
            </p:nvSpPr>
            <p:spPr bwMode="auto">
              <a:xfrm>
                <a:off x="4305301" y="2203451"/>
                <a:ext cx="568325" cy="1063625"/>
              </a:xfrm>
              <a:custGeom>
                <a:avLst/>
                <a:gdLst>
                  <a:gd name="T0" fmla="*/ 119 w 151"/>
                  <a:gd name="T1" fmla="*/ 0 h 283"/>
                  <a:gd name="T2" fmla="*/ 75 w 151"/>
                  <a:gd name="T3" fmla="*/ 0 h 283"/>
                  <a:gd name="T4" fmla="*/ 32 w 151"/>
                  <a:gd name="T5" fmla="*/ 0 h 283"/>
                  <a:gd name="T6" fmla="*/ 0 w 151"/>
                  <a:gd name="T7" fmla="*/ 34 h 283"/>
                  <a:gd name="T8" fmla="*/ 0 w 151"/>
                  <a:gd name="T9" fmla="*/ 39 h 283"/>
                  <a:gd name="T10" fmla="*/ 0 w 151"/>
                  <a:gd name="T11" fmla="*/ 65 h 283"/>
                  <a:gd name="T12" fmla="*/ 0 w 151"/>
                  <a:gd name="T13" fmla="*/ 88 h 283"/>
                  <a:gd name="T14" fmla="*/ 0 w 151"/>
                  <a:gd name="T15" fmla="*/ 133 h 283"/>
                  <a:gd name="T16" fmla="*/ 0 w 151"/>
                  <a:gd name="T17" fmla="*/ 133 h 283"/>
                  <a:gd name="T18" fmla="*/ 12 w 151"/>
                  <a:gd name="T19" fmla="*/ 145 h 283"/>
                  <a:gd name="T20" fmla="*/ 25 w 151"/>
                  <a:gd name="T21" fmla="*/ 135 h 283"/>
                  <a:gd name="T22" fmla="*/ 25 w 151"/>
                  <a:gd name="T23" fmla="*/ 133 h 283"/>
                  <a:gd name="T24" fmla="*/ 25 w 151"/>
                  <a:gd name="T25" fmla="*/ 43 h 283"/>
                  <a:gd name="T26" fmla="*/ 28 w 151"/>
                  <a:gd name="T27" fmla="*/ 39 h 283"/>
                  <a:gd name="T28" fmla="*/ 31 w 151"/>
                  <a:gd name="T29" fmla="*/ 43 h 283"/>
                  <a:gd name="T30" fmla="*/ 31 w 151"/>
                  <a:gd name="T31" fmla="*/ 138 h 283"/>
                  <a:gd name="T32" fmla="*/ 32 w 151"/>
                  <a:gd name="T33" fmla="*/ 152 h 283"/>
                  <a:gd name="T34" fmla="*/ 32 w 151"/>
                  <a:gd name="T35" fmla="*/ 152 h 283"/>
                  <a:gd name="T36" fmla="*/ 32 w 151"/>
                  <a:gd name="T37" fmla="*/ 152 h 283"/>
                  <a:gd name="T38" fmla="*/ 42 w 151"/>
                  <a:gd name="T39" fmla="*/ 260 h 283"/>
                  <a:gd name="T40" fmla="*/ 64 w 151"/>
                  <a:gd name="T41" fmla="*/ 283 h 283"/>
                  <a:gd name="T42" fmla="*/ 75 w 151"/>
                  <a:gd name="T43" fmla="*/ 283 h 283"/>
                  <a:gd name="T44" fmla="*/ 87 w 151"/>
                  <a:gd name="T45" fmla="*/ 283 h 283"/>
                  <a:gd name="T46" fmla="*/ 109 w 151"/>
                  <a:gd name="T47" fmla="*/ 260 h 283"/>
                  <a:gd name="T48" fmla="*/ 119 w 151"/>
                  <a:gd name="T49" fmla="*/ 152 h 283"/>
                  <a:gd name="T50" fmla="*/ 119 w 151"/>
                  <a:gd name="T51" fmla="*/ 152 h 283"/>
                  <a:gd name="T52" fmla="*/ 119 w 151"/>
                  <a:gd name="T53" fmla="*/ 152 h 283"/>
                  <a:gd name="T54" fmla="*/ 119 w 151"/>
                  <a:gd name="T55" fmla="*/ 138 h 283"/>
                  <a:gd name="T56" fmla="*/ 119 w 151"/>
                  <a:gd name="T57" fmla="*/ 43 h 283"/>
                  <a:gd name="T58" fmla="*/ 123 w 151"/>
                  <a:gd name="T59" fmla="*/ 39 h 283"/>
                  <a:gd name="T60" fmla="*/ 126 w 151"/>
                  <a:gd name="T61" fmla="*/ 43 h 283"/>
                  <a:gd name="T62" fmla="*/ 126 w 151"/>
                  <a:gd name="T63" fmla="*/ 133 h 283"/>
                  <a:gd name="T64" fmla="*/ 126 w 151"/>
                  <a:gd name="T65" fmla="*/ 135 h 283"/>
                  <a:gd name="T66" fmla="*/ 139 w 151"/>
                  <a:gd name="T67" fmla="*/ 145 h 283"/>
                  <a:gd name="T68" fmla="*/ 151 w 151"/>
                  <a:gd name="T69" fmla="*/ 133 h 283"/>
                  <a:gd name="T70" fmla="*/ 151 w 151"/>
                  <a:gd name="T71" fmla="*/ 133 h 283"/>
                  <a:gd name="T72" fmla="*/ 151 w 151"/>
                  <a:gd name="T73" fmla="*/ 65 h 283"/>
                  <a:gd name="T74" fmla="*/ 151 w 151"/>
                  <a:gd name="T75" fmla="*/ 39 h 283"/>
                  <a:gd name="T76" fmla="*/ 151 w 151"/>
                  <a:gd name="T77" fmla="*/ 34 h 283"/>
                  <a:gd name="T78" fmla="*/ 119 w 151"/>
                  <a:gd name="T79"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1" h="283">
                    <a:moveTo>
                      <a:pt x="119" y="0"/>
                    </a:moveTo>
                    <a:cubicBezTo>
                      <a:pt x="75" y="0"/>
                      <a:pt x="75" y="0"/>
                      <a:pt x="75" y="0"/>
                    </a:cubicBezTo>
                    <a:cubicBezTo>
                      <a:pt x="32" y="0"/>
                      <a:pt x="32" y="0"/>
                      <a:pt x="32" y="0"/>
                    </a:cubicBezTo>
                    <a:cubicBezTo>
                      <a:pt x="11" y="0"/>
                      <a:pt x="0" y="10"/>
                      <a:pt x="0" y="34"/>
                    </a:cubicBezTo>
                    <a:cubicBezTo>
                      <a:pt x="0" y="39"/>
                      <a:pt x="0" y="39"/>
                      <a:pt x="0" y="39"/>
                    </a:cubicBezTo>
                    <a:cubicBezTo>
                      <a:pt x="0" y="65"/>
                      <a:pt x="0" y="65"/>
                      <a:pt x="0" y="65"/>
                    </a:cubicBezTo>
                    <a:cubicBezTo>
                      <a:pt x="0" y="88"/>
                      <a:pt x="0" y="88"/>
                      <a:pt x="0" y="88"/>
                    </a:cubicBezTo>
                    <a:cubicBezTo>
                      <a:pt x="0" y="133"/>
                      <a:pt x="0" y="133"/>
                      <a:pt x="0" y="133"/>
                    </a:cubicBezTo>
                    <a:cubicBezTo>
                      <a:pt x="0" y="133"/>
                      <a:pt x="0" y="133"/>
                      <a:pt x="0" y="133"/>
                    </a:cubicBezTo>
                    <a:cubicBezTo>
                      <a:pt x="0" y="140"/>
                      <a:pt x="5" y="145"/>
                      <a:pt x="12" y="145"/>
                    </a:cubicBezTo>
                    <a:cubicBezTo>
                      <a:pt x="19" y="145"/>
                      <a:pt x="24" y="141"/>
                      <a:pt x="25" y="135"/>
                    </a:cubicBezTo>
                    <a:cubicBezTo>
                      <a:pt x="25" y="134"/>
                      <a:pt x="25" y="133"/>
                      <a:pt x="25" y="133"/>
                    </a:cubicBezTo>
                    <a:cubicBezTo>
                      <a:pt x="25" y="43"/>
                      <a:pt x="25" y="43"/>
                      <a:pt x="25" y="43"/>
                    </a:cubicBezTo>
                    <a:cubicBezTo>
                      <a:pt x="25" y="41"/>
                      <a:pt x="26" y="39"/>
                      <a:pt x="28" y="39"/>
                    </a:cubicBezTo>
                    <a:cubicBezTo>
                      <a:pt x="30" y="39"/>
                      <a:pt x="31" y="41"/>
                      <a:pt x="31" y="43"/>
                    </a:cubicBezTo>
                    <a:cubicBezTo>
                      <a:pt x="31" y="138"/>
                      <a:pt x="31" y="138"/>
                      <a:pt x="31" y="138"/>
                    </a:cubicBezTo>
                    <a:cubicBezTo>
                      <a:pt x="31" y="138"/>
                      <a:pt x="31" y="147"/>
                      <a:pt x="32" y="152"/>
                    </a:cubicBezTo>
                    <a:cubicBezTo>
                      <a:pt x="32" y="152"/>
                      <a:pt x="32" y="152"/>
                      <a:pt x="32" y="152"/>
                    </a:cubicBezTo>
                    <a:cubicBezTo>
                      <a:pt x="32" y="152"/>
                      <a:pt x="32" y="152"/>
                      <a:pt x="32" y="152"/>
                    </a:cubicBezTo>
                    <a:cubicBezTo>
                      <a:pt x="42" y="260"/>
                      <a:pt x="42" y="260"/>
                      <a:pt x="42" y="260"/>
                    </a:cubicBezTo>
                    <a:cubicBezTo>
                      <a:pt x="43" y="276"/>
                      <a:pt x="50" y="283"/>
                      <a:pt x="64" y="283"/>
                    </a:cubicBezTo>
                    <a:cubicBezTo>
                      <a:pt x="75" y="283"/>
                      <a:pt x="75" y="283"/>
                      <a:pt x="75" y="283"/>
                    </a:cubicBezTo>
                    <a:cubicBezTo>
                      <a:pt x="87" y="283"/>
                      <a:pt x="87" y="283"/>
                      <a:pt x="87" y="283"/>
                    </a:cubicBezTo>
                    <a:cubicBezTo>
                      <a:pt x="101" y="283"/>
                      <a:pt x="108" y="276"/>
                      <a:pt x="109" y="260"/>
                    </a:cubicBezTo>
                    <a:cubicBezTo>
                      <a:pt x="119" y="152"/>
                      <a:pt x="119" y="152"/>
                      <a:pt x="119" y="152"/>
                    </a:cubicBezTo>
                    <a:cubicBezTo>
                      <a:pt x="119" y="152"/>
                      <a:pt x="119" y="152"/>
                      <a:pt x="119" y="152"/>
                    </a:cubicBezTo>
                    <a:cubicBezTo>
                      <a:pt x="119" y="152"/>
                      <a:pt x="119" y="152"/>
                      <a:pt x="119" y="152"/>
                    </a:cubicBezTo>
                    <a:cubicBezTo>
                      <a:pt x="119" y="147"/>
                      <a:pt x="119" y="138"/>
                      <a:pt x="119" y="138"/>
                    </a:cubicBezTo>
                    <a:cubicBezTo>
                      <a:pt x="119" y="43"/>
                      <a:pt x="119" y="43"/>
                      <a:pt x="119" y="43"/>
                    </a:cubicBezTo>
                    <a:cubicBezTo>
                      <a:pt x="119" y="41"/>
                      <a:pt x="121" y="39"/>
                      <a:pt x="123" y="39"/>
                    </a:cubicBezTo>
                    <a:cubicBezTo>
                      <a:pt x="124" y="39"/>
                      <a:pt x="126" y="41"/>
                      <a:pt x="126" y="43"/>
                    </a:cubicBezTo>
                    <a:cubicBezTo>
                      <a:pt x="126" y="133"/>
                      <a:pt x="126" y="133"/>
                      <a:pt x="126" y="133"/>
                    </a:cubicBezTo>
                    <a:cubicBezTo>
                      <a:pt x="126" y="133"/>
                      <a:pt x="126" y="134"/>
                      <a:pt x="126" y="135"/>
                    </a:cubicBezTo>
                    <a:cubicBezTo>
                      <a:pt x="127" y="141"/>
                      <a:pt x="132" y="145"/>
                      <a:pt x="139" y="145"/>
                    </a:cubicBezTo>
                    <a:cubicBezTo>
                      <a:pt x="146" y="145"/>
                      <a:pt x="151" y="140"/>
                      <a:pt x="151" y="133"/>
                    </a:cubicBezTo>
                    <a:cubicBezTo>
                      <a:pt x="151" y="133"/>
                      <a:pt x="151" y="133"/>
                      <a:pt x="151" y="133"/>
                    </a:cubicBezTo>
                    <a:cubicBezTo>
                      <a:pt x="151" y="65"/>
                      <a:pt x="151" y="65"/>
                      <a:pt x="151" y="65"/>
                    </a:cubicBezTo>
                    <a:cubicBezTo>
                      <a:pt x="151" y="39"/>
                      <a:pt x="151" y="39"/>
                      <a:pt x="151" y="39"/>
                    </a:cubicBezTo>
                    <a:cubicBezTo>
                      <a:pt x="151" y="34"/>
                      <a:pt x="151" y="34"/>
                      <a:pt x="151" y="34"/>
                    </a:cubicBezTo>
                    <a:cubicBezTo>
                      <a:pt x="151" y="10"/>
                      <a:pt x="140" y="0"/>
                      <a:pt x="1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nvGrpSpPr>
            <p:cNvPr id="233" name="Group 232"/>
            <p:cNvGrpSpPr/>
            <p:nvPr/>
          </p:nvGrpSpPr>
          <p:grpSpPr>
            <a:xfrm>
              <a:off x="3944159" y="1770927"/>
              <a:ext cx="197202" cy="493005"/>
              <a:chOff x="4305301" y="1846263"/>
              <a:chExt cx="568325" cy="1420813"/>
            </a:xfrm>
            <a:solidFill>
              <a:srgbClr val="000000"/>
            </a:solidFill>
          </p:grpSpPr>
          <p:sp>
            <p:nvSpPr>
              <p:cNvPr id="234" name="Oval 633"/>
              <p:cNvSpPr>
                <a:spLocks noChangeArrowheads="1"/>
              </p:cNvSpPr>
              <p:nvPr/>
            </p:nvSpPr>
            <p:spPr bwMode="auto">
              <a:xfrm>
                <a:off x="4440238" y="1846263"/>
                <a:ext cx="296863" cy="3111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235" name="Freeform 634"/>
              <p:cNvSpPr>
                <a:spLocks/>
              </p:cNvSpPr>
              <p:nvPr/>
            </p:nvSpPr>
            <p:spPr bwMode="auto">
              <a:xfrm>
                <a:off x="4305301" y="2203451"/>
                <a:ext cx="568325" cy="1063625"/>
              </a:xfrm>
              <a:custGeom>
                <a:avLst/>
                <a:gdLst>
                  <a:gd name="T0" fmla="*/ 119 w 151"/>
                  <a:gd name="T1" fmla="*/ 0 h 283"/>
                  <a:gd name="T2" fmla="*/ 75 w 151"/>
                  <a:gd name="T3" fmla="*/ 0 h 283"/>
                  <a:gd name="T4" fmla="*/ 32 w 151"/>
                  <a:gd name="T5" fmla="*/ 0 h 283"/>
                  <a:gd name="T6" fmla="*/ 0 w 151"/>
                  <a:gd name="T7" fmla="*/ 34 h 283"/>
                  <a:gd name="T8" fmla="*/ 0 w 151"/>
                  <a:gd name="T9" fmla="*/ 39 h 283"/>
                  <a:gd name="T10" fmla="*/ 0 w 151"/>
                  <a:gd name="T11" fmla="*/ 65 h 283"/>
                  <a:gd name="T12" fmla="*/ 0 w 151"/>
                  <a:gd name="T13" fmla="*/ 88 h 283"/>
                  <a:gd name="T14" fmla="*/ 0 w 151"/>
                  <a:gd name="T15" fmla="*/ 133 h 283"/>
                  <a:gd name="T16" fmla="*/ 0 w 151"/>
                  <a:gd name="T17" fmla="*/ 133 h 283"/>
                  <a:gd name="T18" fmla="*/ 12 w 151"/>
                  <a:gd name="T19" fmla="*/ 145 h 283"/>
                  <a:gd name="T20" fmla="*/ 25 w 151"/>
                  <a:gd name="T21" fmla="*/ 135 h 283"/>
                  <a:gd name="T22" fmla="*/ 25 w 151"/>
                  <a:gd name="T23" fmla="*/ 133 h 283"/>
                  <a:gd name="T24" fmla="*/ 25 w 151"/>
                  <a:gd name="T25" fmla="*/ 43 h 283"/>
                  <a:gd name="T26" fmla="*/ 28 w 151"/>
                  <a:gd name="T27" fmla="*/ 39 h 283"/>
                  <a:gd name="T28" fmla="*/ 31 w 151"/>
                  <a:gd name="T29" fmla="*/ 43 h 283"/>
                  <a:gd name="T30" fmla="*/ 31 w 151"/>
                  <a:gd name="T31" fmla="*/ 138 h 283"/>
                  <a:gd name="T32" fmla="*/ 32 w 151"/>
                  <a:gd name="T33" fmla="*/ 152 h 283"/>
                  <a:gd name="T34" fmla="*/ 32 w 151"/>
                  <a:gd name="T35" fmla="*/ 152 h 283"/>
                  <a:gd name="T36" fmla="*/ 32 w 151"/>
                  <a:gd name="T37" fmla="*/ 152 h 283"/>
                  <a:gd name="T38" fmla="*/ 42 w 151"/>
                  <a:gd name="T39" fmla="*/ 260 h 283"/>
                  <a:gd name="T40" fmla="*/ 64 w 151"/>
                  <a:gd name="T41" fmla="*/ 283 h 283"/>
                  <a:gd name="T42" fmla="*/ 75 w 151"/>
                  <a:gd name="T43" fmla="*/ 283 h 283"/>
                  <a:gd name="T44" fmla="*/ 87 w 151"/>
                  <a:gd name="T45" fmla="*/ 283 h 283"/>
                  <a:gd name="T46" fmla="*/ 109 w 151"/>
                  <a:gd name="T47" fmla="*/ 260 h 283"/>
                  <a:gd name="T48" fmla="*/ 119 w 151"/>
                  <a:gd name="T49" fmla="*/ 152 h 283"/>
                  <a:gd name="T50" fmla="*/ 119 w 151"/>
                  <a:gd name="T51" fmla="*/ 152 h 283"/>
                  <a:gd name="T52" fmla="*/ 119 w 151"/>
                  <a:gd name="T53" fmla="*/ 152 h 283"/>
                  <a:gd name="T54" fmla="*/ 119 w 151"/>
                  <a:gd name="T55" fmla="*/ 138 h 283"/>
                  <a:gd name="T56" fmla="*/ 119 w 151"/>
                  <a:gd name="T57" fmla="*/ 43 h 283"/>
                  <a:gd name="T58" fmla="*/ 123 w 151"/>
                  <a:gd name="T59" fmla="*/ 39 h 283"/>
                  <a:gd name="T60" fmla="*/ 126 w 151"/>
                  <a:gd name="T61" fmla="*/ 43 h 283"/>
                  <a:gd name="T62" fmla="*/ 126 w 151"/>
                  <a:gd name="T63" fmla="*/ 133 h 283"/>
                  <a:gd name="T64" fmla="*/ 126 w 151"/>
                  <a:gd name="T65" fmla="*/ 135 h 283"/>
                  <a:gd name="T66" fmla="*/ 139 w 151"/>
                  <a:gd name="T67" fmla="*/ 145 h 283"/>
                  <a:gd name="T68" fmla="*/ 151 w 151"/>
                  <a:gd name="T69" fmla="*/ 133 h 283"/>
                  <a:gd name="T70" fmla="*/ 151 w 151"/>
                  <a:gd name="T71" fmla="*/ 133 h 283"/>
                  <a:gd name="T72" fmla="*/ 151 w 151"/>
                  <a:gd name="T73" fmla="*/ 65 h 283"/>
                  <a:gd name="T74" fmla="*/ 151 w 151"/>
                  <a:gd name="T75" fmla="*/ 39 h 283"/>
                  <a:gd name="T76" fmla="*/ 151 w 151"/>
                  <a:gd name="T77" fmla="*/ 34 h 283"/>
                  <a:gd name="T78" fmla="*/ 119 w 151"/>
                  <a:gd name="T79"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1" h="283">
                    <a:moveTo>
                      <a:pt x="119" y="0"/>
                    </a:moveTo>
                    <a:cubicBezTo>
                      <a:pt x="75" y="0"/>
                      <a:pt x="75" y="0"/>
                      <a:pt x="75" y="0"/>
                    </a:cubicBezTo>
                    <a:cubicBezTo>
                      <a:pt x="32" y="0"/>
                      <a:pt x="32" y="0"/>
                      <a:pt x="32" y="0"/>
                    </a:cubicBezTo>
                    <a:cubicBezTo>
                      <a:pt x="11" y="0"/>
                      <a:pt x="0" y="10"/>
                      <a:pt x="0" y="34"/>
                    </a:cubicBezTo>
                    <a:cubicBezTo>
                      <a:pt x="0" y="39"/>
                      <a:pt x="0" y="39"/>
                      <a:pt x="0" y="39"/>
                    </a:cubicBezTo>
                    <a:cubicBezTo>
                      <a:pt x="0" y="65"/>
                      <a:pt x="0" y="65"/>
                      <a:pt x="0" y="65"/>
                    </a:cubicBezTo>
                    <a:cubicBezTo>
                      <a:pt x="0" y="88"/>
                      <a:pt x="0" y="88"/>
                      <a:pt x="0" y="88"/>
                    </a:cubicBezTo>
                    <a:cubicBezTo>
                      <a:pt x="0" y="133"/>
                      <a:pt x="0" y="133"/>
                      <a:pt x="0" y="133"/>
                    </a:cubicBezTo>
                    <a:cubicBezTo>
                      <a:pt x="0" y="133"/>
                      <a:pt x="0" y="133"/>
                      <a:pt x="0" y="133"/>
                    </a:cubicBezTo>
                    <a:cubicBezTo>
                      <a:pt x="0" y="140"/>
                      <a:pt x="5" y="145"/>
                      <a:pt x="12" y="145"/>
                    </a:cubicBezTo>
                    <a:cubicBezTo>
                      <a:pt x="19" y="145"/>
                      <a:pt x="24" y="141"/>
                      <a:pt x="25" y="135"/>
                    </a:cubicBezTo>
                    <a:cubicBezTo>
                      <a:pt x="25" y="134"/>
                      <a:pt x="25" y="133"/>
                      <a:pt x="25" y="133"/>
                    </a:cubicBezTo>
                    <a:cubicBezTo>
                      <a:pt x="25" y="43"/>
                      <a:pt x="25" y="43"/>
                      <a:pt x="25" y="43"/>
                    </a:cubicBezTo>
                    <a:cubicBezTo>
                      <a:pt x="25" y="41"/>
                      <a:pt x="26" y="39"/>
                      <a:pt x="28" y="39"/>
                    </a:cubicBezTo>
                    <a:cubicBezTo>
                      <a:pt x="30" y="39"/>
                      <a:pt x="31" y="41"/>
                      <a:pt x="31" y="43"/>
                    </a:cubicBezTo>
                    <a:cubicBezTo>
                      <a:pt x="31" y="138"/>
                      <a:pt x="31" y="138"/>
                      <a:pt x="31" y="138"/>
                    </a:cubicBezTo>
                    <a:cubicBezTo>
                      <a:pt x="31" y="138"/>
                      <a:pt x="31" y="147"/>
                      <a:pt x="32" y="152"/>
                    </a:cubicBezTo>
                    <a:cubicBezTo>
                      <a:pt x="32" y="152"/>
                      <a:pt x="32" y="152"/>
                      <a:pt x="32" y="152"/>
                    </a:cubicBezTo>
                    <a:cubicBezTo>
                      <a:pt x="32" y="152"/>
                      <a:pt x="32" y="152"/>
                      <a:pt x="32" y="152"/>
                    </a:cubicBezTo>
                    <a:cubicBezTo>
                      <a:pt x="42" y="260"/>
                      <a:pt x="42" y="260"/>
                      <a:pt x="42" y="260"/>
                    </a:cubicBezTo>
                    <a:cubicBezTo>
                      <a:pt x="43" y="276"/>
                      <a:pt x="50" y="283"/>
                      <a:pt x="64" y="283"/>
                    </a:cubicBezTo>
                    <a:cubicBezTo>
                      <a:pt x="75" y="283"/>
                      <a:pt x="75" y="283"/>
                      <a:pt x="75" y="283"/>
                    </a:cubicBezTo>
                    <a:cubicBezTo>
                      <a:pt x="87" y="283"/>
                      <a:pt x="87" y="283"/>
                      <a:pt x="87" y="283"/>
                    </a:cubicBezTo>
                    <a:cubicBezTo>
                      <a:pt x="101" y="283"/>
                      <a:pt x="108" y="276"/>
                      <a:pt x="109" y="260"/>
                    </a:cubicBezTo>
                    <a:cubicBezTo>
                      <a:pt x="119" y="152"/>
                      <a:pt x="119" y="152"/>
                      <a:pt x="119" y="152"/>
                    </a:cubicBezTo>
                    <a:cubicBezTo>
                      <a:pt x="119" y="152"/>
                      <a:pt x="119" y="152"/>
                      <a:pt x="119" y="152"/>
                    </a:cubicBezTo>
                    <a:cubicBezTo>
                      <a:pt x="119" y="152"/>
                      <a:pt x="119" y="152"/>
                      <a:pt x="119" y="152"/>
                    </a:cubicBezTo>
                    <a:cubicBezTo>
                      <a:pt x="119" y="147"/>
                      <a:pt x="119" y="138"/>
                      <a:pt x="119" y="138"/>
                    </a:cubicBezTo>
                    <a:cubicBezTo>
                      <a:pt x="119" y="43"/>
                      <a:pt x="119" y="43"/>
                      <a:pt x="119" y="43"/>
                    </a:cubicBezTo>
                    <a:cubicBezTo>
                      <a:pt x="119" y="41"/>
                      <a:pt x="121" y="39"/>
                      <a:pt x="123" y="39"/>
                    </a:cubicBezTo>
                    <a:cubicBezTo>
                      <a:pt x="124" y="39"/>
                      <a:pt x="126" y="41"/>
                      <a:pt x="126" y="43"/>
                    </a:cubicBezTo>
                    <a:cubicBezTo>
                      <a:pt x="126" y="133"/>
                      <a:pt x="126" y="133"/>
                      <a:pt x="126" y="133"/>
                    </a:cubicBezTo>
                    <a:cubicBezTo>
                      <a:pt x="126" y="133"/>
                      <a:pt x="126" y="134"/>
                      <a:pt x="126" y="135"/>
                    </a:cubicBezTo>
                    <a:cubicBezTo>
                      <a:pt x="127" y="141"/>
                      <a:pt x="132" y="145"/>
                      <a:pt x="139" y="145"/>
                    </a:cubicBezTo>
                    <a:cubicBezTo>
                      <a:pt x="146" y="145"/>
                      <a:pt x="151" y="140"/>
                      <a:pt x="151" y="133"/>
                    </a:cubicBezTo>
                    <a:cubicBezTo>
                      <a:pt x="151" y="133"/>
                      <a:pt x="151" y="133"/>
                      <a:pt x="151" y="133"/>
                    </a:cubicBezTo>
                    <a:cubicBezTo>
                      <a:pt x="151" y="65"/>
                      <a:pt x="151" y="65"/>
                      <a:pt x="151" y="65"/>
                    </a:cubicBezTo>
                    <a:cubicBezTo>
                      <a:pt x="151" y="39"/>
                      <a:pt x="151" y="39"/>
                      <a:pt x="151" y="39"/>
                    </a:cubicBezTo>
                    <a:cubicBezTo>
                      <a:pt x="151" y="34"/>
                      <a:pt x="151" y="34"/>
                      <a:pt x="151" y="34"/>
                    </a:cubicBezTo>
                    <a:cubicBezTo>
                      <a:pt x="151" y="10"/>
                      <a:pt x="140" y="0"/>
                      <a:pt x="1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nvGrpSpPr>
            <p:cNvPr id="236" name="Group 235"/>
            <p:cNvGrpSpPr/>
            <p:nvPr/>
          </p:nvGrpSpPr>
          <p:grpSpPr>
            <a:xfrm>
              <a:off x="4200731" y="1770927"/>
              <a:ext cx="197202" cy="493005"/>
              <a:chOff x="4305301" y="1846263"/>
              <a:chExt cx="568325" cy="1420813"/>
            </a:xfrm>
            <a:solidFill>
              <a:srgbClr val="000000"/>
            </a:solidFill>
          </p:grpSpPr>
          <p:sp>
            <p:nvSpPr>
              <p:cNvPr id="237" name="Oval 633"/>
              <p:cNvSpPr>
                <a:spLocks noChangeArrowheads="1"/>
              </p:cNvSpPr>
              <p:nvPr/>
            </p:nvSpPr>
            <p:spPr bwMode="auto">
              <a:xfrm>
                <a:off x="4440238" y="1846263"/>
                <a:ext cx="296863" cy="3111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238" name="Freeform 634"/>
              <p:cNvSpPr>
                <a:spLocks/>
              </p:cNvSpPr>
              <p:nvPr/>
            </p:nvSpPr>
            <p:spPr bwMode="auto">
              <a:xfrm>
                <a:off x="4305301" y="2203451"/>
                <a:ext cx="568325" cy="1063625"/>
              </a:xfrm>
              <a:custGeom>
                <a:avLst/>
                <a:gdLst>
                  <a:gd name="T0" fmla="*/ 119 w 151"/>
                  <a:gd name="T1" fmla="*/ 0 h 283"/>
                  <a:gd name="T2" fmla="*/ 75 w 151"/>
                  <a:gd name="T3" fmla="*/ 0 h 283"/>
                  <a:gd name="T4" fmla="*/ 32 w 151"/>
                  <a:gd name="T5" fmla="*/ 0 h 283"/>
                  <a:gd name="T6" fmla="*/ 0 w 151"/>
                  <a:gd name="T7" fmla="*/ 34 h 283"/>
                  <a:gd name="T8" fmla="*/ 0 w 151"/>
                  <a:gd name="T9" fmla="*/ 39 h 283"/>
                  <a:gd name="T10" fmla="*/ 0 w 151"/>
                  <a:gd name="T11" fmla="*/ 65 h 283"/>
                  <a:gd name="T12" fmla="*/ 0 w 151"/>
                  <a:gd name="T13" fmla="*/ 88 h 283"/>
                  <a:gd name="T14" fmla="*/ 0 w 151"/>
                  <a:gd name="T15" fmla="*/ 133 h 283"/>
                  <a:gd name="T16" fmla="*/ 0 w 151"/>
                  <a:gd name="T17" fmla="*/ 133 h 283"/>
                  <a:gd name="T18" fmla="*/ 12 w 151"/>
                  <a:gd name="T19" fmla="*/ 145 h 283"/>
                  <a:gd name="T20" fmla="*/ 25 w 151"/>
                  <a:gd name="T21" fmla="*/ 135 h 283"/>
                  <a:gd name="T22" fmla="*/ 25 w 151"/>
                  <a:gd name="T23" fmla="*/ 133 h 283"/>
                  <a:gd name="T24" fmla="*/ 25 w 151"/>
                  <a:gd name="T25" fmla="*/ 43 h 283"/>
                  <a:gd name="T26" fmla="*/ 28 w 151"/>
                  <a:gd name="T27" fmla="*/ 39 h 283"/>
                  <a:gd name="T28" fmla="*/ 31 w 151"/>
                  <a:gd name="T29" fmla="*/ 43 h 283"/>
                  <a:gd name="T30" fmla="*/ 31 w 151"/>
                  <a:gd name="T31" fmla="*/ 138 h 283"/>
                  <a:gd name="T32" fmla="*/ 32 w 151"/>
                  <a:gd name="T33" fmla="*/ 152 h 283"/>
                  <a:gd name="T34" fmla="*/ 32 w 151"/>
                  <a:gd name="T35" fmla="*/ 152 h 283"/>
                  <a:gd name="T36" fmla="*/ 32 w 151"/>
                  <a:gd name="T37" fmla="*/ 152 h 283"/>
                  <a:gd name="T38" fmla="*/ 42 w 151"/>
                  <a:gd name="T39" fmla="*/ 260 h 283"/>
                  <a:gd name="T40" fmla="*/ 64 w 151"/>
                  <a:gd name="T41" fmla="*/ 283 h 283"/>
                  <a:gd name="T42" fmla="*/ 75 w 151"/>
                  <a:gd name="T43" fmla="*/ 283 h 283"/>
                  <a:gd name="T44" fmla="*/ 87 w 151"/>
                  <a:gd name="T45" fmla="*/ 283 h 283"/>
                  <a:gd name="T46" fmla="*/ 109 w 151"/>
                  <a:gd name="T47" fmla="*/ 260 h 283"/>
                  <a:gd name="T48" fmla="*/ 119 w 151"/>
                  <a:gd name="T49" fmla="*/ 152 h 283"/>
                  <a:gd name="T50" fmla="*/ 119 w 151"/>
                  <a:gd name="T51" fmla="*/ 152 h 283"/>
                  <a:gd name="T52" fmla="*/ 119 w 151"/>
                  <a:gd name="T53" fmla="*/ 152 h 283"/>
                  <a:gd name="T54" fmla="*/ 119 w 151"/>
                  <a:gd name="T55" fmla="*/ 138 h 283"/>
                  <a:gd name="T56" fmla="*/ 119 w 151"/>
                  <a:gd name="T57" fmla="*/ 43 h 283"/>
                  <a:gd name="T58" fmla="*/ 123 w 151"/>
                  <a:gd name="T59" fmla="*/ 39 h 283"/>
                  <a:gd name="T60" fmla="*/ 126 w 151"/>
                  <a:gd name="T61" fmla="*/ 43 h 283"/>
                  <a:gd name="T62" fmla="*/ 126 w 151"/>
                  <a:gd name="T63" fmla="*/ 133 h 283"/>
                  <a:gd name="T64" fmla="*/ 126 w 151"/>
                  <a:gd name="T65" fmla="*/ 135 h 283"/>
                  <a:gd name="T66" fmla="*/ 139 w 151"/>
                  <a:gd name="T67" fmla="*/ 145 h 283"/>
                  <a:gd name="T68" fmla="*/ 151 w 151"/>
                  <a:gd name="T69" fmla="*/ 133 h 283"/>
                  <a:gd name="T70" fmla="*/ 151 w 151"/>
                  <a:gd name="T71" fmla="*/ 133 h 283"/>
                  <a:gd name="T72" fmla="*/ 151 w 151"/>
                  <a:gd name="T73" fmla="*/ 65 h 283"/>
                  <a:gd name="T74" fmla="*/ 151 w 151"/>
                  <a:gd name="T75" fmla="*/ 39 h 283"/>
                  <a:gd name="T76" fmla="*/ 151 w 151"/>
                  <a:gd name="T77" fmla="*/ 34 h 283"/>
                  <a:gd name="T78" fmla="*/ 119 w 151"/>
                  <a:gd name="T79"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1" h="283">
                    <a:moveTo>
                      <a:pt x="119" y="0"/>
                    </a:moveTo>
                    <a:cubicBezTo>
                      <a:pt x="75" y="0"/>
                      <a:pt x="75" y="0"/>
                      <a:pt x="75" y="0"/>
                    </a:cubicBezTo>
                    <a:cubicBezTo>
                      <a:pt x="32" y="0"/>
                      <a:pt x="32" y="0"/>
                      <a:pt x="32" y="0"/>
                    </a:cubicBezTo>
                    <a:cubicBezTo>
                      <a:pt x="11" y="0"/>
                      <a:pt x="0" y="10"/>
                      <a:pt x="0" y="34"/>
                    </a:cubicBezTo>
                    <a:cubicBezTo>
                      <a:pt x="0" y="39"/>
                      <a:pt x="0" y="39"/>
                      <a:pt x="0" y="39"/>
                    </a:cubicBezTo>
                    <a:cubicBezTo>
                      <a:pt x="0" y="65"/>
                      <a:pt x="0" y="65"/>
                      <a:pt x="0" y="65"/>
                    </a:cubicBezTo>
                    <a:cubicBezTo>
                      <a:pt x="0" y="88"/>
                      <a:pt x="0" y="88"/>
                      <a:pt x="0" y="88"/>
                    </a:cubicBezTo>
                    <a:cubicBezTo>
                      <a:pt x="0" y="133"/>
                      <a:pt x="0" y="133"/>
                      <a:pt x="0" y="133"/>
                    </a:cubicBezTo>
                    <a:cubicBezTo>
                      <a:pt x="0" y="133"/>
                      <a:pt x="0" y="133"/>
                      <a:pt x="0" y="133"/>
                    </a:cubicBezTo>
                    <a:cubicBezTo>
                      <a:pt x="0" y="140"/>
                      <a:pt x="5" y="145"/>
                      <a:pt x="12" y="145"/>
                    </a:cubicBezTo>
                    <a:cubicBezTo>
                      <a:pt x="19" y="145"/>
                      <a:pt x="24" y="141"/>
                      <a:pt x="25" y="135"/>
                    </a:cubicBezTo>
                    <a:cubicBezTo>
                      <a:pt x="25" y="134"/>
                      <a:pt x="25" y="133"/>
                      <a:pt x="25" y="133"/>
                    </a:cubicBezTo>
                    <a:cubicBezTo>
                      <a:pt x="25" y="43"/>
                      <a:pt x="25" y="43"/>
                      <a:pt x="25" y="43"/>
                    </a:cubicBezTo>
                    <a:cubicBezTo>
                      <a:pt x="25" y="41"/>
                      <a:pt x="26" y="39"/>
                      <a:pt x="28" y="39"/>
                    </a:cubicBezTo>
                    <a:cubicBezTo>
                      <a:pt x="30" y="39"/>
                      <a:pt x="31" y="41"/>
                      <a:pt x="31" y="43"/>
                    </a:cubicBezTo>
                    <a:cubicBezTo>
                      <a:pt x="31" y="138"/>
                      <a:pt x="31" y="138"/>
                      <a:pt x="31" y="138"/>
                    </a:cubicBezTo>
                    <a:cubicBezTo>
                      <a:pt x="31" y="138"/>
                      <a:pt x="31" y="147"/>
                      <a:pt x="32" y="152"/>
                    </a:cubicBezTo>
                    <a:cubicBezTo>
                      <a:pt x="32" y="152"/>
                      <a:pt x="32" y="152"/>
                      <a:pt x="32" y="152"/>
                    </a:cubicBezTo>
                    <a:cubicBezTo>
                      <a:pt x="32" y="152"/>
                      <a:pt x="32" y="152"/>
                      <a:pt x="32" y="152"/>
                    </a:cubicBezTo>
                    <a:cubicBezTo>
                      <a:pt x="42" y="260"/>
                      <a:pt x="42" y="260"/>
                      <a:pt x="42" y="260"/>
                    </a:cubicBezTo>
                    <a:cubicBezTo>
                      <a:pt x="43" y="276"/>
                      <a:pt x="50" y="283"/>
                      <a:pt x="64" y="283"/>
                    </a:cubicBezTo>
                    <a:cubicBezTo>
                      <a:pt x="75" y="283"/>
                      <a:pt x="75" y="283"/>
                      <a:pt x="75" y="283"/>
                    </a:cubicBezTo>
                    <a:cubicBezTo>
                      <a:pt x="87" y="283"/>
                      <a:pt x="87" y="283"/>
                      <a:pt x="87" y="283"/>
                    </a:cubicBezTo>
                    <a:cubicBezTo>
                      <a:pt x="101" y="283"/>
                      <a:pt x="108" y="276"/>
                      <a:pt x="109" y="260"/>
                    </a:cubicBezTo>
                    <a:cubicBezTo>
                      <a:pt x="119" y="152"/>
                      <a:pt x="119" y="152"/>
                      <a:pt x="119" y="152"/>
                    </a:cubicBezTo>
                    <a:cubicBezTo>
                      <a:pt x="119" y="152"/>
                      <a:pt x="119" y="152"/>
                      <a:pt x="119" y="152"/>
                    </a:cubicBezTo>
                    <a:cubicBezTo>
                      <a:pt x="119" y="152"/>
                      <a:pt x="119" y="152"/>
                      <a:pt x="119" y="152"/>
                    </a:cubicBezTo>
                    <a:cubicBezTo>
                      <a:pt x="119" y="147"/>
                      <a:pt x="119" y="138"/>
                      <a:pt x="119" y="138"/>
                    </a:cubicBezTo>
                    <a:cubicBezTo>
                      <a:pt x="119" y="43"/>
                      <a:pt x="119" y="43"/>
                      <a:pt x="119" y="43"/>
                    </a:cubicBezTo>
                    <a:cubicBezTo>
                      <a:pt x="119" y="41"/>
                      <a:pt x="121" y="39"/>
                      <a:pt x="123" y="39"/>
                    </a:cubicBezTo>
                    <a:cubicBezTo>
                      <a:pt x="124" y="39"/>
                      <a:pt x="126" y="41"/>
                      <a:pt x="126" y="43"/>
                    </a:cubicBezTo>
                    <a:cubicBezTo>
                      <a:pt x="126" y="133"/>
                      <a:pt x="126" y="133"/>
                      <a:pt x="126" y="133"/>
                    </a:cubicBezTo>
                    <a:cubicBezTo>
                      <a:pt x="126" y="133"/>
                      <a:pt x="126" y="134"/>
                      <a:pt x="126" y="135"/>
                    </a:cubicBezTo>
                    <a:cubicBezTo>
                      <a:pt x="127" y="141"/>
                      <a:pt x="132" y="145"/>
                      <a:pt x="139" y="145"/>
                    </a:cubicBezTo>
                    <a:cubicBezTo>
                      <a:pt x="146" y="145"/>
                      <a:pt x="151" y="140"/>
                      <a:pt x="151" y="133"/>
                    </a:cubicBezTo>
                    <a:cubicBezTo>
                      <a:pt x="151" y="133"/>
                      <a:pt x="151" y="133"/>
                      <a:pt x="151" y="133"/>
                    </a:cubicBezTo>
                    <a:cubicBezTo>
                      <a:pt x="151" y="65"/>
                      <a:pt x="151" y="65"/>
                      <a:pt x="151" y="65"/>
                    </a:cubicBezTo>
                    <a:cubicBezTo>
                      <a:pt x="151" y="39"/>
                      <a:pt x="151" y="39"/>
                      <a:pt x="151" y="39"/>
                    </a:cubicBezTo>
                    <a:cubicBezTo>
                      <a:pt x="151" y="34"/>
                      <a:pt x="151" y="34"/>
                      <a:pt x="151" y="34"/>
                    </a:cubicBezTo>
                    <a:cubicBezTo>
                      <a:pt x="151" y="10"/>
                      <a:pt x="140" y="0"/>
                      <a:pt x="1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sp>
        <p:nvSpPr>
          <p:cNvPr id="240" name="Freeform 239"/>
          <p:cNvSpPr>
            <a:spLocks noEditPoints="1"/>
          </p:cNvSpPr>
          <p:nvPr/>
        </p:nvSpPr>
        <p:spPr bwMode="auto">
          <a:xfrm>
            <a:off x="8352326" y="1382790"/>
            <a:ext cx="1670532" cy="915954"/>
          </a:xfrm>
          <a:custGeom>
            <a:avLst/>
            <a:gdLst>
              <a:gd name="T0" fmla="*/ 77 w 427"/>
              <a:gd name="T1" fmla="*/ 234 h 234"/>
              <a:gd name="T2" fmla="*/ 47 w 427"/>
              <a:gd name="T3" fmla="*/ 227 h 234"/>
              <a:gd name="T4" fmla="*/ 0 w 427"/>
              <a:gd name="T5" fmla="*/ 156 h 234"/>
              <a:gd name="T6" fmla="*/ 7 w 427"/>
              <a:gd name="T7" fmla="*/ 125 h 234"/>
              <a:gd name="T8" fmla="*/ 78 w 427"/>
              <a:gd name="T9" fmla="*/ 79 h 234"/>
              <a:gd name="T10" fmla="*/ 79 w 427"/>
              <a:gd name="T11" fmla="*/ 79 h 234"/>
              <a:gd name="T12" fmla="*/ 84 w 427"/>
              <a:gd name="T13" fmla="*/ 62 h 234"/>
              <a:gd name="T14" fmla="*/ 179 w 427"/>
              <a:gd name="T15" fmla="*/ 0 h 234"/>
              <a:gd name="T16" fmla="*/ 220 w 427"/>
              <a:gd name="T17" fmla="*/ 8 h 234"/>
              <a:gd name="T18" fmla="*/ 277 w 427"/>
              <a:gd name="T19" fmla="*/ 70 h 234"/>
              <a:gd name="T20" fmla="*/ 301 w 427"/>
              <a:gd name="T21" fmla="*/ 67 h 234"/>
              <a:gd name="T22" fmla="*/ 334 w 427"/>
              <a:gd name="T23" fmla="*/ 74 h 234"/>
              <a:gd name="T24" fmla="*/ 382 w 427"/>
              <a:gd name="T25" fmla="*/ 133 h 234"/>
              <a:gd name="T26" fmla="*/ 397 w 427"/>
              <a:gd name="T27" fmla="*/ 137 h 234"/>
              <a:gd name="T28" fmla="*/ 397 w 427"/>
              <a:gd name="T29" fmla="*/ 137 h 234"/>
              <a:gd name="T30" fmla="*/ 427 w 427"/>
              <a:gd name="T31" fmla="*/ 183 h 234"/>
              <a:gd name="T32" fmla="*/ 423 w 427"/>
              <a:gd name="T33" fmla="*/ 203 h 234"/>
              <a:gd name="T34" fmla="*/ 382 w 427"/>
              <a:gd name="T35" fmla="*/ 234 h 234"/>
              <a:gd name="T36" fmla="*/ 77 w 427"/>
              <a:gd name="T37" fmla="*/ 234 h 234"/>
              <a:gd name="T38" fmla="*/ 404 w 427"/>
              <a:gd name="T39" fmla="*/ 195 h 234"/>
              <a:gd name="T40" fmla="*/ 407 w 427"/>
              <a:gd name="T41" fmla="*/ 183 h 234"/>
              <a:gd name="T42" fmla="*/ 389 w 427"/>
              <a:gd name="T43" fmla="*/ 155 h 234"/>
              <a:gd name="T44" fmla="*/ 389 w 427"/>
              <a:gd name="T45" fmla="*/ 155 h 234"/>
              <a:gd name="T46" fmla="*/ 377 w 427"/>
              <a:gd name="T47" fmla="*/ 153 h 234"/>
              <a:gd name="T48" fmla="*/ 375 w 427"/>
              <a:gd name="T49" fmla="*/ 153 h 234"/>
              <a:gd name="T50" fmla="*/ 364 w 427"/>
              <a:gd name="T51" fmla="*/ 144 h 234"/>
              <a:gd name="T52" fmla="*/ 326 w 427"/>
              <a:gd name="T53" fmla="*/ 92 h 234"/>
              <a:gd name="T54" fmla="*/ 301 w 427"/>
              <a:gd name="T55" fmla="*/ 87 h 234"/>
              <a:gd name="T56" fmla="*/ 274 w 427"/>
              <a:gd name="T57" fmla="*/ 93 h 234"/>
              <a:gd name="T58" fmla="*/ 261 w 427"/>
              <a:gd name="T59" fmla="*/ 86 h 234"/>
              <a:gd name="T60" fmla="*/ 212 w 427"/>
              <a:gd name="T61" fmla="*/ 27 h 234"/>
              <a:gd name="T62" fmla="*/ 179 w 427"/>
              <a:gd name="T63" fmla="*/ 20 h 234"/>
              <a:gd name="T64" fmla="*/ 103 w 427"/>
              <a:gd name="T65" fmla="*/ 70 h 234"/>
              <a:gd name="T66" fmla="*/ 97 w 427"/>
              <a:gd name="T67" fmla="*/ 91 h 234"/>
              <a:gd name="T68" fmla="*/ 86 w 427"/>
              <a:gd name="T69" fmla="*/ 99 h 234"/>
              <a:gd name="T70" fmla="*/ 78 w 427"/>
              <a:gd name="T71" fmla="*/ 99 h 234"/>
              <a:gd name="T72" fmla="*/ 25 w 427"/>
              <a:gd name="T73" fmla="*/ 133 h 234"/>
              <a:gd name="T74" fmla="*/ 20 w 427"/>
              <a:gd name="T75" fmla="*/ 156 h 234"/>
              <a:gd name="T76" fmla="*/ 55 w 427"/>
              <a:gd name="T77" fmla="*/ 209 h 234"/>
              <a:gd name="T78" fmla="*/ 78 w 427"/>
              <a:gd name="T79" fmla="*/ 214 h 234"/>
              <a:gd name="T80" fmla="*/ 78 w 427"/>
              <a:gd name="T81" fmla="*/ 214 h 234"/>
              <a:gd name="T82" fmla="*/ 380 w 427"/>
              <a:gd name="T83" fmla="*/ 21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234">
                <a:moveTo>
                  <a:pt x="77" y="234"/>
                </a:moveTo>
                <a:cubicBezTo>
                  <a:pt x="77" y="234"/>
                  <a:pt x="77" y="234"/>
                  <a:pt x="77" y="234"/>
                </a:cubicBezTo>
                <a:cubicBezTo>
                  <a:pt x="67" y="234"/>
                  <a:pt x="57" y="231"/>
                  <a:pt x="47" y="227"/>
                </a:cubicBezTo>
                <a:cubicBezTo>
                  <a:pt x="47" y="227"/>
                  <a:pt x="47" y="227"/>
                  <a:pt x="47" y="227"/>
                </a:cubicBezTo>
                <a:cubicBezTo>
                  <a:pt x="18" y="215"/>
                  <a:pt x="0" y="186"/>
                  <a:pt x="0" y="156"/>
                </a:cubicBezTo>
                <a:cubicBezTo>
                  <a:pt x="0" y="156"/>
                  <a:pt x="0" y="156"/>
                  <a:pt x="0" y="156"/>
                </a:cubicBezTo>
                <a:cubicBezTo>
                  <a:pt x="0" y="146"/>
                  <a:pt x="2" y="135"/>
                  <a:pt x="7" y="125"/>
                </a:cubicBezTo>
                <a:cubicBezTo>
                  <a:pt x="7" y="125"/>
                  <a:pt x="7" y="125"/>
                  <a:pt x="7" y="125"/>
                </a:cubicBezTo>
                <a:cubicBezTo>
                  <a:pt x="19" y="96"/>
                  <a:pt x="48" y="79"/>
                  <a:pt x="78" y="79"/>
                </a:cubicBezTo>
                <a:cubicBezTo>
                  <a:pt x="78" y="79"/>
                  <a:pt x="78" y="79"/>
                  <a:pt x="78" y="79"/>
                </a:cubicBezTo>
                <a:cubicBezTo>
                  <a:pt x="78" y="79"/>
                  <a:pt x="78" y="79"/>
                  <a:pt x="79" y="79"/>
                </a:cubicBezTo>
                <a:cubicBezTo>
                  <a:pt x="79" y="79"/>
                  <a:pt x="79" y="79"/>
                  <a:pt x="79" y="79"/>
                </a:cubicBezTo>
                <a:cubicBezTo>
                  <a:pt x="80" y="73"/>
                  <a:pt x="82" y="67"/>
                  <a:pt x="84" y="62"/>
                </a:cubicBezTo>
                <a:cubicBezTo>
                  <a:pt x="84" y="62"/>
                  <a:pt x="84" y="62"/>
                  <a:pt x="84" y="62"/>
                </a:cubicBezTo>
                <a:cubicBezTo>
                  <a:pt x="101" y="23"/>
                  <a:pt x="139" y="0"/>
                  <a:pt x="179" y="0"/>
                </a:cubicBezTo>
                <a:cubicBezTo>
                  <a:pt x="179" y="0"/>
                  <a:pt x="179" y="0"/>
                  <a:pt x="179" y="0"/>
                </a:cubicBezTo>
                <a:cubicBezTo>
                  <a:pt x="193" y="0"/>
                  <a:pt x="207" y="2"/>
                  <a:pt x="220" y="8"/>
                </a:cubicBezTo>
                <a:cubicBezTo>
                  <a:pt x="220" y="8"/>
                  <a:pt x="220" y="8"/>
                  <a:pt x="220" y="8"/>
                </a:cubicBezTo>
                <a:cubicBezTo>
                  <a:pt x="248" y="20"/>
                  <a:pt x="268" y="43"/>
                  <a:pt x="277" y="70"/>
                </a:cubicBezTo>
                <a:cubicBezTo>
                  <a:pt x="277" y="70"/>
                  <a:pt x="277" y="70"/>
                  <a:pt x="277" y="70"/>
                </a:cubicBezTo>
                <a:cubicBezTo>
                  <a:pt x="285" y="68"/>
                  <a:pt x="293" y="67"/>
                  <a:pt x="301" y="67"/>
                </a:cubicBezTo>
                <a:cubicBezTo>
                  <a:pt x="301" y="67"/>
                  <a:pt x="301" y="67"/>
                  <a:pt x="301" y="67"/>
                </a:cubicBezTo>
                <a:cubicBezTo>
                  <a:pt x="312" y="67"/>
                  <a:pt x="323" y="69"/>
                  <a:pt x="334" y="74"/>
                </a:cubicBezTo>
                <a:cubicBezTo>
                  <a:pt x="334" y="74"/>
                  <a:pt x="334" y="74"/>
                  <a:pt x="334" y="74"/>
                </a:cubicBezTo>
                <a:cubicBezTo>
                  <a:pt x="360" y="85"/>
                  <a:pt x="377" y="108"/>
                  <a:pt x="382" y="133"/>
                </a:cubicBezTo>
                <a:cubicBezTo>
                  <a:pt x="382" y="133"/>
                  <a:pt x="382" y="133"/>
                  <a:pt x="382" y="133"/>
                </a:cubicBezTo>
                <a:cubicBezTo>
                  <a:pt x="387" y="134"/>
                  <a:pt x="392" y="135"/>
                  <a:pt x="397" y="137"/>
                </a:cubicBezTo>
                <a:cubicBezTo>
                  <a:pt x="397" y="137"/>
                  <a:pt x="397" y="137"/>
                  <a:pt x="397" y="137"/>
                </a:cubicBezTo>
                <a:cubicBezTo>
                  <a:pt x="397" y="137"/>
                  <a:pt x="397" y="137"/>
                  <a:pt x="397" y="137"/>
                </a:cubicBezTo>
                <a:cubicBezTo>
                  <a:pt x="397" y="137"/>
                  <a:pt x="397" y="137"/>
                  <a:pt x="397" y="137"/>
                </a:cubicBezTo>
                <a:cubicBezTo>
                  <a:pt x="416" y="145"/>
                  <a:pt x="427" y="164"/>
                  <a:pt x="427" y="183"/>
                </a:cubicBezTo>
                <a:cubicBezTo>
                  <a:pt x="427" y="183"/>
                  <a:pt x="427" y="183"/>
                  <a:pt x="427" y="183"/>
                </a:cubicBezTo>
                <a:cubicBezTo>
                  <a:pt x="427" y="190"/>
                  <a:pt x="426" y="196"/>
                  <a:pt x="423" y="203"/>
                </a:cubicBezTo>
                <a:cubicBezTo>
                  <a:pt x="423" y="203"/>
                  <a:pt x="423" y="203"/>
                  <a:pt x="423" y="203"/>
                </a:cubicBezTo>
                <a:cubicBezTo>
                  <a:pt x="415" y="220"/>
                  <a:pt x="400" y="232"/>
                  <a:pt x="382" y="234"/>
                </a:cubicBezTo>
                <a:cubicBezTo>
                  <a:pt x="382" y="234"/>
                  <a:pt x="382" y="234"/>
                  <a:pt x="382" y="234"/>
                </a:cubicBezTo>
                <a:cubicBezTo>
                  <a:pt x="381" y="234"/>
                  <a:pt x="381" y="234"/>
                  <a:pt x="381" y="234"/>
                </a:cubicBezTo>
                <a:cubicBezTo>
                  <a:pt x="77" y="234"/>
                  <a:pt x="77" y="234"/>
                  <a:pt x="77" y="234"/>
                </a:cubicBezTo>
                <a:close/>
                <a:moveTo>
                  <a:pt x="380" y="214"/>
                </a:moveTo>
                <a:cubicBezTo>
                  <a:pt x="390" y="213"/>
                  <a:pt x="400" y="205"/>
                  <a:pt x="404" y="195"/>
                </a:cubicBezTo>
                <a:cubicBezTo>
                  <a:pt x="404" y="195"/>
                  <a:pt x="404" y="195"/>
                  <a:pt x="404" y="195"/>
                </a:cubicBezTo>
                <a:cubicBezTo>
                  <a:pt x="406" y="191"/>
                  <a:pt x="407" y="187"/>
                  <a:pt x="407" y="183"/>
                </a:cubicBezTo>
                <a:cubicBezTo>
                  <a:pt x="407" y="183"/>
                  <a:pt x="407" y="183"/>
                  <a:pt x="407" y="183"/>
                </a:cubicBezTo>
                <a:cubicBezTo>
                  <a:pt x="407" y="171"/>
                  <a:pt x="400" y="160"/>
                  <a:pt x="389" y="155"/>
                </a:cubicBezTo>
                <a:cubicBezTo>
                  <a:pt x="389" y="155"/>
                  <a:pt x="389" y="155"/>
                  <a:pt x="389" y="155"/>
                </a:cubicBezTo>
                <a:cubicBezTo>
                  <a:pt x="389" y="155"/>
                  <a:pt x="389" y="155"/>
                  <a:pt x="389" y="155"/>
                </a:cubicBezTo>
                <a:cubicBezTo>
                  <a:pt x="385" y="154"/>
                  <a:pt x="381" y="153"/>
                  <a:pt x="377" y="153"/>
                </a:cubicBezTo>
                <a:cubicBezTo>
                  <a:pt x="377" y="153"/>
                  <a:pt x="377" y="153"/>
                  <a:pt x="377" y="153"/>
                </a:cubicBezTo>
                <a:cubicBezTo>
                  <a:pt x="376" y="153"/>
                  <a:pt x="375" y="153"/>
                  <a:pt x="375" y="153"/>
                </a:cubicBezTo>
                <a:cubicBezTo>
                  <a:pt x="375" y="153"/>
                  <a:pt x="375" y="153"/>
                  <a:pt x="375" y="153"/>
                </a:cubicBezTo>
                <a:cubicBezTo>
                  <a:pt x="365" y="154"/>
                  <a:pt x="365" y="154"/>
                  <a:pt x="365" y="154"/>
                </a:cubicBezTo>
                <a:cubicBezTo>
                  <a:pt x="364" y="144"/>
                  <a:pt x="364" y="144"/>
                  <a:pt x="364" y="144"/>
                </a:cubicBezTo>
                <a:cubicBezTo>
                  <a:pt x="362" y="122"/>
                  <a:pt x="348" y="102"/>
                  <a:pt x="326" y="92"/>
                </a:cubicBezTo>
                <a:cubicBezTo>
                  <a:pt x="326" y="92"/>
                  <a:pt x="326" y="92"/>
                  <a:pt x="326" y="92"/>
                </a:cubicBezTo>
                <a:cubicBezTo>
                  <a:pt x="318" y="88"/>
                  <a:pt x="309" y="87"/>
                  <a:pt x="301" y="87"/>
                </a:cubicBezTo>
                <a:cubicBezTo>
                  <a:pt x="301" y="87"/>
                  <a:pt x="301" y="87"/>
                  <a:pt x="301" y="87"/>
                </a:cubicBezTo>
                <a:cubicBezTo>
                  <a:pt x="292" y="87"/>
                  <a:pt x="283" y="89"/>
                  <a:pt x="274" y="93"/>
                </a:cubicBezTo>
                <a:cubicBezTo>
                  <a:pt x="274" y="93"/>
                  <a:pt x="274" y="93"/>
                  <a:pt x="274" y="93"/>
                </a:cubicBezTo>
                <a:cubicBezTo>
                  <a:pt x="263" y="98"/>
                  <a:pt x="263" y="98"/>
                  <a:pt x="263" y="98"/>
                </a:cubicBezTo>
                <a:cubicBezTo>
                  <a:pt x="261" y="86"/>
                  <a:pt x="261" y="86"/>
                  <a:pt x="261" y="86"/>
                </a:cubicBezTo>
                <a:cubicBezTo>
                  <a:pt x="255" y="60"/>
                  <a:pt x="238" y="38"/>
                  <a:pt x="212" y="27"/>
                </a:cubicBezTo>
                <a:cubicBezTo>
                  <a:pt x="212" y="27"/>
                  <a:pt x="212" y="27"/>
                  <a:pt x="212" y="27"/>
                </a:cubicBezTo>
                <a:cubicBezTo>
                  <a:pt x="201" y="22"/>
                  <a:pt x="190" y="20"/>
                  <a:pt x="179" y="20"/>
                </a:cubicBezTo>
                <a:cubicBezTo>
                  <a:pt x="179" y="20"/>
                  <a:pt x="179" y="20"/>
                  <a:pt x="179" y="20"/>
                </a:cubicBezTo>
                <a:cubicBezTo>
                  <a:pt x="147" y="20"/>
                  <a:pt x="116" y="38"/>
                  <a:pt x="103" y="70"/>
                </a:cubicBezTo>
                <a:cubicBezTo>
                  <a:pt x="103" y="70"/>
                  <a:pt x="103" y="70"/>
                  <a:pt x="103" y="70"/>
                </a:cubicBezTo>
                <a:cubicBezTo>
                  <a:pt x="100" y="77"/>
                  <a:pt x="98" y="84"/>
                  <a:pt x="97" y="91"/>
                </a:cubicBezTo>
                <a:cubicBezTo>
                  <a:pt x="97" y="91"/>
                  <a:pt x="97" y="91"/>
                  <a:pt x="97" y="91"/>
                </a:cubicBezTo>
                <a:cubicBezTo>
                  <a:pt x="95" y="100"/>
                  <a:pt x="95" y="100"/>
                  <a:pt x="95" y="100"/>
                </a:cubicBezTo>
                <a:cubicBezTo>
                  <a:pt x="86" y="99"/>
                  <a:pt x="86" y="99"/>
                  <a:pt x="86" y="99"/>
                </a:cubicBezTo>
                <a:cubicBezTo>
                  <a:pt x="83" y="99"/>
                  <a:pt x="80" y="99"/>
                  <a:pt x="78" y="99"/>
                </a:cubicBezTo>
                <a:cubicBezTo>
                  <a:pt x="78" y="99"/>
                  <a:pt x="78" y="99"/>
                  <a:pt x="78" y="99"/>
                </a:cubicBezTo>
                <a:cubicBezTo>
                  <a:pt x="56" y="99"/>
                  <a:pt x="35" y="112"/>
                  <a:pt x="25" y="133"/>
                </a:cubicBezTo>
                <a:cubicBezTo>
                  <a:pt x="25" y="133"/>
                  <a:pt x="25" y="133"/>
                  <a:pt x="25" y="133"/>
                </a:cubicBezTo>
                <a:cubicBezTo>
                  <a:pt x="22" y="141"/>
                  <a:pt x="20" y="148"/>
                  <a:pt x="20" y="156"/>
                </a:cubicBezTo>
                <a:cubicBezTo>
                  <a:pt x="20" y="156"/>
                  <a:pt x="20" y="156"/>
                  <a:pt x="20" y="156"/>
                </a:cubicBezTo>
                <a:cubicBezTo>
                  <a:pt x="20" y="178"/>
                  <a:pt x="33" y="200"/>
                  <a:pt x="55" y="209"/>
                </a:cubicBezTo>
                <a:cubicBezTo>
                  <a:pt x="55" y="209"/>
                  <a:pt x="55" y="209"/>
                  <a:pt x="55" y="209"/>
                </a:cubicBezTo>
                <a:cubicBezTo>
                  <a:pt x="62" y="212"/>
                  <a:pt x="70" y="214"/>
                  <a:pt x="78" y="214"/>
                </a:cubicBezTo>
                <a:cubicBezTo>
                  <a:pt x="78" y="214"/>
                  <a:pt x="78" y="214"/>
                  <a:pt x="78" y="214"/>
                </a:cubicBezTo>
                <a:cubicBezTo>
                  <a:pt x="78" y="214"/>
                  <a:pt x="78" y="214"/>
                  <a:pt x="78" y="214"/>
                </a:cubicBezTo>
                <a:cubicBezTo>
                  <a:pt x="78" y="214"/>
                  <a:pt x="78" y="214"/>
                  <a:pt x="78" y="214"/>
                </a:cubicBezTo>
                <a:cubicBezTo>
                  <a:pt x="78" y="214"/>
                  <a:pt x="78" y="214"/>
                  <a:pt x="78" y="214"/>
                </a:cubicBezTo>
                <a:cubicBezTo>
                  <a:pt x="380" y="214"/>
                  <a:pt x="380" y="214"/>
                  <a:pt x="380" y="214"/>
                </a:cubicBezTo>
                <a:close/>
              </a:path>
            </a:pathLst>
          </a:custGeom>
          <a:solidFill>
            <a:schemeClr val="accent4">
              <a:lumMod val="40000"/>
              <a:lumOff val="60000"/>
            </a:schemeClr>
          </a:solidFill>
          <a:ln>
            <a:noFill/>
          </a:ln>
        </p:spPr>
        <p:txBody>
          <a:bodyPr vert="horz" wrap="square" lIns="129909" tIns="64954" rIns="129909" bIns="64954"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259" name="Freeform 137"/>
          <p:cNvSpPr>
            <a:spLocks noChangeAspect="1"/>
          </p:cNvSpPr>
          <p:nvPr/>
        </p:nvSpPr>
        <p:spPr bwMode="auto">
          <a:xfrm>
            <a:off x="8563428" y="2043290"/>
            <a:ext cx="1691370" cy="910336"/>
          </a:xfrm>
          <a:custGeom>
            <a:avLst/>
            <a:gdLst>
              <a:gd name="T0" fmla="*/ 414 w 446"/>
              <a:gd name="T1" fmla="*/ 158 h 240"/>
              <a:gd name="T2" fmla="*/ 394 w 446"/>
              <a:gd name="T3" fmla="*/ 155 h 240"/>
              <a:gd name="T4" fmla="*/ 348 w 446"/>
              <a:gd name="T5" fmla="*/ 91 h 240"/>
              <a:gd name="T6" fmla="*/ 285 w 446"/>
              <a:gd name="T7" fmla="*/ 92 h 240"/>
              <a:gd name="T8" fmla="*/ 228 w 446"/>
              <a:gd name="T9" fmla="*/ 22 h 240"/>
              <a:gd name="T10" fmla="*/ 98 w 446"/>
              <a:gd name="T11" fmla="*/ 73 h 240"/>
              <a:gd name="T12" fmla="*/ 91 w 446"/>
              <a:gd name="T13" fmla="*/ 98 h 240"/>
              <a:gd name="T14" fmla="*/ 16 w 446"/>
              <a:gd name="T15" fmla="*/ 140 h 240"/>
              <a:gd name="T16" fmla="*/ 53 w 446"/>
              <a:gd name="T17" fmla="*/ 234 h 240"/>
              <a:gd name="T18" fmla="*/ 81 w 446"/>
              <a:gd name="T19" fmla="*/ 240 h 240"/>
              <a:gd name="T20" fmla="*/ 402 w 446"/>
              <a:gd name="T21" fmla="*/ 240 h 240"/>
              <a:gd name="T22" fmla="*/ 436 w 446"/>
              <a:gd name="T23" fmla="*/ 214 h 240"/>
              <a:gd name="T24" fmla="*/ 414 w 446"/>
              <a:gd name="T25" fmla="*/ 15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6" h="240">
                <a:moveTo>
                  <a:pt x="414" y="158"/>
                </a:moveTo>
                <a:cubicBezTo>
                  <a:pt x="408" y="155"/>
                  <a:pt x="401" y="154"/>
                  <a:pt x="394" y="155"/>
                </a:cubicBezTo>
                <a:cubicBezTo>
                  <a:pt x="392" y="128"/>
                  <a:pt x="375" y="103"/>
                  <a:pt x="348" y="91"/>
                </a:cubicBezTo>
                <a:cubicBezTo>
                  <a:pt x="327" y="82"/>
                  <a:pt x="304" y="83"/>
                  <a:pt x="285" y="92"/>
                </a:cubicBezTo>
                <a:cubicBezTo>
                  <a:pt x="278" y="61"/>
                  <a:pt x="258" y="35"/>
                  <a:pt x="228" y="22"/>
                </a:cubicBezTo>
                <a:cubicBezTo>
                  <a:pt x="178" y="0"/>
                  <a:pt x="120" y="23"/>
                  <a:pt x="98" y="73"/>
                </a:cubicBezTo>
                <a:cubicBezTo>
                  <a:pt x="94" y="81"/>
                  <a:pt x="92" y="89"/>
                  <a:pt x="91" y="98"/>
                </a:cubicBezTo>
                <a:cubicBezTo>
                  <a:pt x="60" y="94"/>
                  <a:pt x="29" y="110"/>
                  <a:pt x="16" y="140"/>
                </a:cubicBezTo>
                <a:cubicBezTo>
                  <a:pt x="0" y="176"/>
                  <a:pt x="17" y="218"/>
                  <a:pt x="53" y="234"/>
                </a:cubicBezTo>
                <a:cubicBezTo>
                  <a:pt x="62" y="238"/>
                  <a:pt x="72" y="240"/>
                  <a:pt x="81" y="240"/>
                </a:cubicBezTo>
                <a:cubicBezTo>
                  <a:pt x="402" y="240"/>
                  <a:pt x="402" y="240"/>
                  <a:pt x="402" y="240"/>
                </a:cubicBezTo>
                <a:cubicBezTo>
                  <a:pt x="417" y="238"/>
                  <a:pt x="430" y="228"/>
                  <a:pt x="436" y="214"/>
                </a:cubicBezTo>
                <a:cubicBezTo>
                  <a:pt x="446" y="192"/>
                  <a:pt x="436" y="167"/>
                  <a:pt x="414" y="158"/>
                </a:cubicBezTo>
              </a:path>
            </a:pathLst>
          </a:custGeom>
          <a:solidFill>
            <a:schemeClr val="accent4">
              <a:lumMod val="40000"/>
              <a:lumOff val="60000"/>
            </a:schemeClr>
          </a:solidFill>
          <a:ln>
            <a:noFill/>
          </a:ln>
        </p:spPr>
        <p:txBody>
          <a:bodyPr vert="horz" wrap="square" lIns="129909" tIns="64954" rIns="129909" bIns="64954" numCol="1" anchor="t" anchorCtr="0" compatLnSpc="1">
            <a:prstTxWarp prst="textNoShape">
              <a:avLst/>
            </a:prstTxWarp>
          </a:bodyPr>
          <a:lstStyle/>
          <a:p>
            <a:endParaRPr lang="en-US">
              <a:latin typeface="微软雅黑" pitchFamily="34" charset="-122"/>
              <a:ea typeface="微软雅黑" pitchFamily="34" charset="-122"/>
            </a:endParaRPr>
          </a:p>
        </p:txBody>
      </p:sp>
      <p:grpSp>
        <p:nvGrpSpPr>
          <p:cNvPr id="10" name="Group 9"/>
          <p:cNvGrpSpPr/>
          <p:nvPr/>
        </p:nvGrpSpPr>
        <p:grpSpPr>
          <a:xfrm>
            <a:off x="3828664" y="2045487"/>
            <a:ext cx="3576545" cy="438764"/>
            <a:chOff x="2696308" y="1438233"/>
            <a:chExt cx="2518755" cy="308506"/>
          </a:xfrm>
        </p:grpSpPr>
        <p:sp>
          <p:nvSpPr>
            <p:cNvPr id="295" name="Oval 294"/>
            <p:cNvSpPr/>
            <p:nvPr/>
          </p:nvSpPr>
          <p:spPr>
            <a:xfrm>
              <a:off x="5012582" y="1493414"/>
              <a:ext cx="202481" cy="198146"/>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微软雅黑" pitchFamily="34" charset="-122"/>
                <a:ea typeface="微软雅黑" pitchFamily="34" charset="-122"/>
              </a:endParaRPr>
            </a:p>
          </p:txBody>
        </p:sp>
        <p:sp>
          <p:nvSpPr>
            <p:cNvPr id="430" name="Right Arrow 429"/>
            <p:cNvSpPr/>
            <p:nvPr/>
          </p:nvSpPr>
          <p:spPr>
            <a:xfrm>
              <a:off x="2696308" y="1438233"/>
              <a:ext cx="2323540" cy="308506"/>
            </a:xfrm>
            <a:prstGeom prst="rightArrow">
              <a:avLst>
                <a:gd name="adj1" fmla="val 42593"/>
                <a:gd name="adj2" fmla="val 87037"/>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微软雅黑" pitchFamily="34" charset="-122"/>
                <a:ea typeface="微软雅黑" pitchFamily="34" charset="-122"/>
              </a:endParaRPr>
            </a:p>
          </p:txBody>
        </p:sp>
      </p:grpSp>
      <p:grpSp>
        <p:nvGrpSpPr>
          <p:cNvPr id="262" name="Group 261"/>
          <p:cNvGrpSpPr/>
          <p:nvPr/>
        </p:nvGrpSpPr>
        <p:grpSpPr>
          <a:xfrm>
            <a:off x="4719599" y="2015746"/>
            <a:ext cx="1857816" cy="452001"/>
            <a:chOff x="171035" y="954157"/>
            <a:chExt cx="390949" cy="387626"/>
          </a:xfrm>
        </p:grpSpPr>
        <p:sp>
          <p:nvSpPr>
            <p:cNvPr id="263" name="Round Diagonal Corner Rectangle 262"/>
            <p:cNvSpPr/>
            <p:nvPr/>
          </p:nvSpPr>
          <p:spPr>
            <a:xfrm flipV="1">
              <a:off x="171035" y="954157"/>
              <a:ext cx="387626" cy="387626"/>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dirty="0">
                <a:latin typeface="微软雅黑" pitchFamily="34" charset="-122"/>
                <a:ea typeface="微软雅黑" pitchFamily="34" charset="-122"/>
              </a:endParaRPr>
            </a:p>
          </p:txBody>
        </p:sp>
        <p:sp>
          <p:nvSpPr>
            <p:cNvPr id="264" name="Round Diagonal Corner Rectangle 263"/>
            <p:cNvSpPr/>
            <p:nvPr/>
          </p:nvSpPr>
          <p:spPr>
            <a:xfrm>
              <a:off x="174358" y="954157"/>
              <a:ext cx="387626" cy="387626"/>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2300" dirty="0">
                  <a:latin typeface="微软雅黑" pitchFamily="34" charset="-122"/>
                  <a:ea typeface="微软雅黑" pitchFamily="34" charset="-122"/>
                </a:rPr>
                <a:t>渗透</a:t>
              </a:r>
              <a:endParaRPr lang="en-US" sz="2300" dirty="0">
                <a:latin typeface="微软雅黑" pitchFamily="34" charset="-122"/>
                <a:ea typeface="微软雅黑" pitchFamily="34" charset="-122"/>
              </a:endParaRPr>
            </a:p>
          </p:txBody>
        </p:sp>
      </p:grpSp>
      <p:sp>
        <p:nvSpPr>
          <p:cNvPr id="271" name="Freeform 310"/>
          <p:cNvSpPr>
            <a:spLocks/>
          </p:cNvSpPr>
          <p:nvPr/>
        </p:nvSpPr>
        <p:spPr bwMode="auto">
          <a:xfrm>
            <a:off x="6794108" y="5042495"/>
            <a:ext cx="42505" cy="113734"/>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solidFill>
            <a:srgbClr val="000000"/>
          </a:solidFill>
          <a:ln w="9525">
            <a:noFill/>
            <a:round/>
            <a:headEnd/>
            <a:tailEnd/>
          </a:ln>
        </p:spPr>
        <p:txBody>
          <a:bodyPr lIns="129909" tIns="64954" rIns="129909" bIns="64954"/>
          <a:lstStyle/>
          <a:p>
            <a:endParaRPr lang="en-US" sz="2000" dirty="0">
              <a:latin typeface="微软雅黑" pitchFamily="34" charset="-122"/>
              <a:ea typeface="微软雅黑" pitchFamily="34" charset="-122"/>
            </a:endParaRPr>
          </a:p>
        </p:txBody>
      </p:sp>
      <p:grpSp>
        <p:nvGrpSpPr>
          <p:cNvPr id="268" name="Group 267"/>
          <p:cNvGrpSpPr/>
          <p:nvPr/>
        </p:nvGrpSpPr>
        <p:grpSpPr>
          <a:xfrm>
            <a:off x="6521830" y="4318883"/>
            <a:ext cx="1481740" cy="457879"/>
            <a:chOff x="161386" y="954156"/>
            <a:chExt cx="314542" cy="387627"/>
          </a:xfrm>
        </p:grpSpPr>
        <p:sp>
          <p:nvSpPr>
            <p:cNvPr id="269" name="Round Diagonal Corner Rectangle 268"/>
            <p:cNvSpPr/>
            <p:nvPr/>
          </p:nvSpPr>
          <p:spPr>
            <a:xfrm flipV="1">
              <a:off x="171035" y="954156"/>
              <a:ext cx="291924" cy="387626"/>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00" dirty="0">
                <a:latin typeface="微软雅黑" pitchFamily="34" charset="-122"/>
                <a:ea typeface="微软雅黑" pitchFamily="34" charset="-122"/>
              </a:endParaRPr>
            </a:p>
          </p:txBody>
        </p:sp>
        <p:sp>
          <p:nvSpPr>
            <p:cNvPr id="270" name="Round Diagonal Corner Rectangle 269"/>
            <p:cNvSpPr/>
            <p:nvPr/>
          </p:nvSpPr>
          <p:spPr>
            <a:xfrm>
              <a:off x="161386" y="954157"/>
              <a:ext cx="314542" cy="387626"/>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2300" dirty="0">
                  <a:latin typeface="微软雅黑" pitchFamily="34" charset="-122"/>
                  <a:ea typeface="微软雅黑" pitchFamily="34" charset="-122"/>
                </a:rPr>
                <a:t>捕获</a:t>
              </a:r>
              <a:endParaRPr lang="en-US" sz="2300" dirty="0">
                <a:latin typeface="微软雅黑" pitchFamily="34" charset="-122"/>
                <a:ea typeface="微软雅黑" pitchFamily="34" charset="-122"/>
              </a:endParaRPr>
            </a:p>
          </p:txBody>
        </p:sp>
      </p:grpSp>
      <p:grpSp>
        <p:nvGrpSpPr>
          <p:cNvPr id="9" name="Group 8"/>
          <p:cNvGrpSpPr/>
          <p:nvPr/>
        </p:nvGrpSpPr>
        <p:grpSpPr>
          <a:xfrm>
            <a:off x="4325899" y="4805243"/>
            <a:ext cx="2399571" cy="1062370"/>
            <a:chOff x="3046482" y="3378686"/>
            <a:chExt cx="1689880" cy="746979"/>
          </a:xfrm>
        </p:grpSpPr>
        <p:sp>
          <p:nvSpPr>
            <p:cNvPr id="292" name="Freeform 94"/>
            <p:cNvSpPr>
              <a:spLocks noEditPoints="1"/>
            </p:cNvSpPr>
            <p:nvPr/>
          </p:nvSpPr>
          <p:spPr bwMode="auto">
            <a:xfrm rot="4109834">
              <a:off x="3606505" y="2818663"/>
              <a:ext cx="569834" cy="1689880"/>
            </a:xfrm>
            <a:custGeom>
              <a:avLst/>
              <a:gdLst/>
              <a:ahLst/>
              <a:cxnLst>
                <a:cxn ang="0">
                  <a:pos x="360" y="3404"/>
                </a:cxn>
                <a:cxn ang="0">
                  <a:pos x="358" y="3462"/>
                </a:cxn>
                <a:cxn ang="0">
                  <a:pos x="268" y="3158"/>
                </a:cxn>
                <a:cxn ang="0">
                  <a:pos x="402" y="3008"/>
                </a:cxn>
                <a:cxn ang="0">
                  <a:pos x="388" y="3050"/>
                </a:cxn>
                <a:cxn ang="0">
                  <a:pos x="422" y="2898"/>
                </a:cxn>
                <a:cxn ang="0">
                  <a:pos x="370" y="2872"/>
                </a:cxn>
                <a:cxn ang="0">
                  <a:pos x="432" y="2780"/>
                </a:cxn>
                <a:cxn ang="0">
                  <a:pos x="360" y="2742"/>
                </a:cxn>
                <a:cxn ang="0">
                  <a:pos x="456" y="2520"/>
                </a:cxn>
                <a:cxn ang="0">
                  <a:pos x="492" y="2382"/>
                </a:cxn>
                <a:cxn ang="0">
                  <a:pos x="496" y="2344"/>
                </a:cxn>
                <a:cxn ang="0">
                  <a:pos x="514" y="2088"/>
                </a:cxn>
                <a:cxn ang="0">
                  <a:pos x="560" y="1948"/>
                </a:cxn>
                <a:cxn ang="0">
                  <a:pos x="634" y="1680"/>
                </a:cxn>
                <a:cxn ang="0">
                  <a:pos x="630" y="1696"/>
                </a:cxn>
                <a:cxn ang="0">
                  <a:pos x="662" y="1540"/>
                </a:cxn>
                <a:cxn ang="0">
                  <a:pos x="700" y="1450"/>
                </a:cxn>
                <a:cxn ang="0">
                  <a:pos x="726" y="1406"/>
                </a:cxn>
                <a:cxn ang="0">
                  <a:pos x="728" y="1314"/>
                </a:cxn>
                <a:cxn ang="0">
                  <a:pos x="812" y="1120"/>
                </a:cxn>
                <a:cxn ang="0">
                  <a:pos x="880" y="862"/>
                </a:cxn>
                <a:cxn ang="0">
                  <a:pos x="808" y="840"/>
                </a:cxn>
                <a:cxn ang="0">
                  <a:pos x="800" y="712"/>
                </a:cxn>
                <a:cxn ang="0">
                  <a:pos x="828" y="456"/>
                </a:cxn>
                <a:cxn ang="0">
                  <a:pos x="986" y="164"/>
                </a:cxn>
                <a:cxn ang="0">
                  <a:pos x="976" y="182"/>
                </a:cxn>
                <a:cxn ang="0">
                  <a:pos x="850" y="34"/>
                </a:cxn>
                <a:cxn ang="0">
                  <a:pos x="142" y="3294"/>
                </a:cxn>
                <a:cxn ang="0">
                  <a:pos x="158" y="3160"/>
                </a:cxn>
                <a:cxn ang="0">
                  <a:pos x="96" y="3144"/>
                </a:cxn>
                <a:cxn ang="0">
                  <a:pos x="90" y="2900"/>
                </a:cxn>
                <a:cxn ang="0">
                  <a:pos x="178" y="2918"/>
                </a:cxn>
                <a:cxn ang="0">
                  <a:pos x="208" y="2792"/>
                </a:cxn>
                <a:cxn ang="0">
                  <a:pos x="202" y="2600"/>
                </a:cxn>
                <a:cxn ang="0">
                  <a:pos x="220" y="2654"/>
                </a:cxn>
                <a:cxn ang="0">
                  <a:pos x="310" y="2342"/>
                </a:cxn>
                <a:cxn ang="0">
                  <a:pos x="358" y="2258"/>
                </a:cxn>
                <a:cxn ang="0">
                  <a:pos x="452" y="2116"/>
                </a:cxn>
                <a:cxn ang="0">
                  <a:pos x="468" y="2084"/>
                </a:cxn>
                <a:cxn ang="0">
                  <a:pos x="576" y="1812"/>
                </a:cxn>
                <a:cxn ang="0">
                  <a:pos x="588" y="1788"/>
                </a:cxn>
                <a:cxn ang="0">
                  <a:pos x="648" y="1678"/>
                </a:cxn>
                <a:cxn ang="0">
                  <a:pos x="708" y="1506"/>
                </a:cxn>
                <a:cxn ang="0">
                  <a:pos x="704" y="1520"/>
                </a:cxn>
                <a:cxn ang="0">
                  <a:pos x="796" y="1366"/>
                </a:cxn>
                <a:cxn ang="0">
                  <a:pos x="798" y="1298"/>
                </a:cxn>
                <a:cxn ang="0">
                  <a:pos x="902" y="1160"/>
                </a:cxn>
                <a:cxn ang="0">
                  <a:pos x="908" y="1110"/>
                </a:cxn>
                <a:cxn ang="0">
                  <a:pos x="986" y="988"/>
                </a:cxn>
                <a:cxn ang="0">
                  <a:pos x="974" y="986"/>
                </a:cxn>
                <a:cxn ang="0">
                  <a:pos x="1042" y="842"/>
                </a:cxn>
                <a:cxn ang="0">
                  <a:pos x="1028" y="850"/>
                </a:cxn>
                <a:cxn ang="0">
                  <a:pos x="1092" y="708"/>
                </a:cxn>
                <a:cxn ang="0">
                  <a:pos x="1062" y="702"/>
                </a:cxn>
                <a:cxn ang="0">
                  <a:pos x="1134" y="592"/>
                </a:cxn>
                <a:cxn ang="0">
                  <a:pos x="1072" y="562"/>
                </a:cxn>
                <a:cxn ang="0">
                  <a:pos x="1152" y="482"/>
                </a:cxn>
                <a:cxn ang="0">
                  <a:pos x="1060" y="438"/>
                </a:cxn>
                <a:cxn ang="0">
                  <a:pos x="1100" y="210"/>
                </a:cxn>
                <a:cxn ang="0">
                  <a:pos x="1176" y="90"/>
                </a:cxn>
                <a:cxn ang="0">
                  <a:pos x="1144" y="20"/>
                </a:cxn>
              </a:cxnLst>
              <a:rect l="0" t="0" r="r" b="b"/>
              <a:pathLst>
                <a:path w="1226" h="3488">
                  <a:moveTo>
                    <a:pt x="320" y="3396"/>
                  </a:moveTo>
                  <a:lnTo>
                    <a:pt x="320" y="3396"/>
                  </a:lnTo>
                  <a:lnTo>
                    <a:pt x="304" y="3398"/>
                  </a:lnTo>
                  <a:lnTo>
                    <a:pt x="290" y="3400"/>
                  </a:lnTo>
                  <a:lnTo>
                    <a:pt x="276" y="3404"/>
                  </a:lnTo>
                  <a:lnTo>
                    <a:pt x="266" y="3408"/>
                  </a:lnTo>
                  <a:lnTo>
                    <a:pt x="258" y="3416"/>
                  </a:lnTo>
                  <a:lnTo>
                    <a:pt x="252" y="3424"/>
                  </a:lnTo>
                  <a:lnTo>
                    <a:pt x="248" y="3432"/>
                  </a:lnTo>
                  <a:lnTo>
                    <a:pt x="248" y="3444"/>
                  </a:lnTo>
                  <a:lnTo>
                    <a:pt x="248" y="3444"/>
                  </a:lnTo>
                  <a:lnTo>
                    <a:pt x="248" y="3452"/>
                  </a:lnTo>
                  <a:lnTo>
                    <a:pt x="252" y="3462"/>
                  </a:lnTo>
                  <a:lnTo>
                    <a:pt x="258" y="3470"/>
                  </a:lnTo>
                  <a:lnTo>
                    <a:pt x="264" y="3476"/>
                  </a:lnTo>
                  <a:lnTo>
                    <a:pt x="274" y="3480"/>
                  </a:lnTo>
                  <a:lnTo>
                    <a:pt x="286" y="3484"/>
                  </a:lnTo>
                  <a:lnTo>
                    <a:pt x="300" y="3488"/>
                  </a:lnTo>
                  <a:lnTo>
                    <a:pt x="316" y="3488"/>
                  </a:lnTo>
                  <a:lnTo>
                    <a:pt x="316" y="3488"/>
                  </a:lnTo>
                  <a:lnTo>
                    <a:pt x="332" y="3488"/>
                  </a:lnTo>
                  <a:lnTo>
                    <a:pt x="346" y="3484"/>
                  </a:lnTo>
                  <a:lnTo>
                    <a:pt x="358" y="3480"/>
                  </a:lnTo>
                  <a:lnTo>
                    <a:pt x="368" y="3476"/>
                  </a:lnTo>
                  <a:lnTo>
                    <a:pt x="376" y="3468"/>
                  </a:lnTo>
                  <a:lnTo>
                    <a:pt x="382" y="3460"/>
                  </a:lnTo>
                  <a:lnTo>
                    <a:pt x="386" y="3452"/>
                  </a:lnTo>
                  <a:lnTo>
                    <a:pt x="386" y="3442"/>
                  </a:lnTo>
                  <a:lnTo>
                    <a:pt x="386" y="3442"/>
                  </a:lnTo>
                  <a:lnTo>
                    <a:pt x="386" y="3432"/>
                  </a:lnTo>
                  <a:lnTo>
                    <a:pt x="382" y="3422"/>
                  </a:lnTo>
                  <a:lnTo>
                    <a:pt x="378" y="3414"/>
                  </a:lnTo>
                  <a:lnTo>
                    <a:pt x="370" y="3408"/>
                  </a:lnTo>
                  <a:lnTo>
                    <a:pt x="360" y="3404"/>
                  </a:lnTo>
                  <a:lnTo>
                    <a:pt x="348" y="3400"/>
                  </a:lnTo>
                  <a:lnTo>
                    <a:pt x="336" y="3398"/>
                  </a:lnTo>
                  <a:lnTo>
                    <a:pt x="320" y="3396"/>
                  </a:lnTo>
                  <a:lnTo>
                    <a:pt x="320" y="3396"/>
                  </a:lnTo>
                  <a:close/>
                  <a:moveTo>
                    <a:pt x="316" y="3470"/>
                  </a:moveTo>
                  <a:lnTo>
                    <a:pt x="316" y="3470"/>
                  </a:lnTo>
                  <a:lnTo>
                    <a:pt x="292" y="3468"/>
                  </a:lnTo>
                  <a:lnTo>
                    <a:pt x="284" y="3466"/>
                  </a:lnTo>
                  <a:lnTo>
                    <a:pt x="276" y="3462"/>
                  </a:lnTo>
                  <a:lnTo>
                    <a:pt x="270" y="3458"/>
                  </a:lnTo>
                  <a:lnTo>
                    <a:pt x="266" y="3454"/>
                  </a:lnTo>
                  <a:lnTo>
                    <a:pt x="262" y="3448"/>
                  </a:lnTo>
                  <a:lnTo>
                    <a:pt x="262" y="3442"/>
                  </a:lnTo>
                  <a:lnTo>
                    <a:pt x="262" y="3442"/>
                  </a:lnTo>
                  <a:lnTo>
                    <a:pt x="262" y="3436"/>
                  </a:lnTo>
                  <a:lnTo>
                    <a:pt x="266" y="3430"/>
                  </a:lnTo>
                  <a:lnTo>
                    <a:pt x="270" y="3426"/>
                  </a:lnTo>
                  <a:lnTo>
                    <a:pt x="278" y="3422"/>
                  </a:lnTo>
                  <a:lnTo>
                    <a:pt x="286" y="3418"/>
                  </a:lnTo>
                  <a:lnTo>
                    <a:pt x="296" y="3416"/>
                  </a:lnTo>
                  <a:lnTo>
                    <a:pt x="318" y="3414"/>
                  </a:lnTo>
                  <a:lnTo>
                    <a:pt x="318" y="3414"/>
                  </a:lnTo>
                  <a:lnTo>
                    <a:pt x="340" y="3416"/>
                  </a:lnTo>
                  <a:lnTo>
                    <a:pt x="350" y="3418"/>
                  </a:lnTo>
                  <a:lnTo>
                    <a:pt x="358" y="3422"/>
                  </a:lnTo>
                  <a:lnTo>
                    <a:pt x="364" y="3426"/>
                  </a:lnTo>
                  <a:lnTo>
                    <a:pt x="370" y="3430"/>
                  </a:lnTo>
                  <a:lnTo>
                    <a:pt x="372" y="3436"/>
                  </a:lnTo>
                  <a:lnTo>
                    <a:pt x="372" y="3442"/>
                  </a:lnTo>
                  <a:lnTo>
                    <a:pt x="372" y="3442"/>
                  </a:lnTo>
                  <a:lnTo>
                    <a:pt x="372" y="3448"/>
                  </a:lnTo>
                  <a:lnTo>
                    <a:pt x="370" y="3454"/>
                  </a:lnTo>
                  <a:lnTo>
                    <a:pt x="364" y="3458"/>
                  </a:lnTo>
                  <a:lnTo>
                    <a:pt x="358" y="3462"/>
                  </a:lnTo>
                  <a:lnTo>
                    <a:pt x="350" y="3466"/>
                  </a:lnTo>
                  <a:lnTo>
                    <a:pt x="340" y="3468"/>
                  </a:lnTo>
                  <a:lnTo>
                    <a:pt x="316" y="3470"/>
                  </a:lnTo>
                  <a:lnTo>
                    <a:pt x="316" y="3470"/>
                  </a:lnTo>
                  <a:close/>
                  <a:moveTo>
                    <a:pt x="256" y="3310"/>
                  </a:moveTo>
                  <a:lnTo>
                    <a:pt x="372" y="3310"/>
                  </a:lnTo>
                  <a:lnTo>
                    <a:pt x="372" y="3310"/>
                  </a:lnTo>
                  <a:lnTo>
                    <a:pt x="372" y="3312"/>
                  </a:lnTo>
                  <a:lnTo>
                    <a:pt x="372" y="3312"/>
                  </a:lnTo>
                  <a:lnTo>
                    <a:pt x="358" y="3334"/>
                  </a:lnTo>
                  <a:lnTo>
                    <a:pt x="358" y="3334"/>
                  </a:lnTo>
                  <a:lnTo>
                    <a:pt x="372" y="3338"/>
                  </a:lnTo>
                  <a:lnTo>
                    <a:pt x="372" y="3338"/>
                  </a:lnTo>
                  <a:lnTo>
                    <a:pt x="388" y="3308"/>
                  </a:lnTo>
                  <a:lnTo>
                    <a:pt x="388" y="3308"/>
                  </a:lnTo>
                  <a:lnTo>
                    <a:pt x="388" y="3294"/>
                  </a:lnTo>
                  <a:lnTo>
                    <a:pt x="256" y="3294"/>
                  </a:lnTo>
                  <a:lnTo>
                    <a:pt x="256" y="3294"/>
                  </a:lnTo>
                  <a:lnTo>
                    <a:pt x="256" y="3310"/>
                  </a:lnTo>
                  <a:lnTo>
                    <a:pt x="256" y="3310"/>
                  </a:lnTo>
                  <a:close/>
                  <a:moveTo>
                    <a:pt x="266" y="3174"/>
                  </a:moveTo>
                  <a:lnTo>
                    <a:pt x="380" y="3174"/>
                  </a:lnTo>
                  <a:lnTo>
                    <a:pt x="380" y="3174"/>
                  </a:lnTo>
                  <a:lnTo>
                    <a:pt x="380" y="3176"/>
                  </a:lnTo>
                  <a:lnTo>
                    <a:pt x="380" y="3176"/>
                  </a:lnTo>
                  <a:lnTo>
                    <a:pt x="366" y="3198"/>
                  </a:lnTo>
                  <a:lnTo>
                    <a:pt x="366" y="3198"/>
                  </a:lnTo>
                  <a:lnTo>
                    <a:pt x="378" y="3202"/>
                  </a:lnTo>
                  <a:lnTo>
                    <a:pt x="378" y="3202"/>
                  </a:lnTo>
                  <a:lnTo>
                    <a:pt x="396" y="3172"/>
                  </a:lnTo>
                  <a:lnTo>
                    <a:pt x="396" y="3172"/>
                  </a:lnTo>
                  <a:lnTo>
                    <a:pt x="396" y="3158"/>
                  </a:lnTo>
                  <a:lnTo>
                    <a:pt x="268" y="3158"/>
                  </a:lnTo>
                  <a:lnTo>
                    <a:pt x="268" y="3158"/>
                  </a:lnTo>
                  <a:lnTo>
                    <a:pt x="266" y="3174"/>
                  </a:lnTo>
                  <a:lnTo>
                    <a:pt x="266" y="3174"/>
                  </a:lnTo>
                  <a:close/>
                  <a:moveTo>
                    <a:pt x="354" y="2988"/>
                  </a:moveTo>
                  <a:lnTo>
                    <a:pt x="354" y="2988"/>
                  </a:lnTo>
                  <a:lnTo>
                    <a:pt x="340" y="2990"/>
                  </a:lnTo>
                  <a:lnTo>
                    <a:pt x="326" y="2992"/>
                  </a:lnTo>
                  <a:lnTo>
                    <a:pt x="314" y="2996"/>
                  </a:lnTo>
                  <a:lnTo>
                    <a:pt x="304" y="3002"/>
                  </a:lnTo>
                  <a:lnTo>
                    <a:pt x="296" y="3008"/>
                  </a:lnTo>
                  <a:lnTo>
                    <a:pt x="290" y="3016"/>
                  </a:lnTo>
                  <a:lnTo>
                    <a:pt x="284" y="3026"/>
                  </a:lnTo>
                  <a:lnTo>
                    <a:pt x="282" y="3036"/>
                  </a:lnTo>
                  <a:lnTo>
                    <a:pt x="282" y="3036"/>
                  </a:lnTo>
                  <a:lnTo>
                    <a:pt x="282" y="3046"/>
                  </a:lnTo>
                  <a:lnTo>
                    <a:pt x="284" y="3054"/>
                  </a:lnTo>
                  <a:lnTo>
                    <a:pt x="288" y="3062"/>
                  </a:lnTo>
                  <a:lnTo>
                    <a:pt x="294" y="3068"/>
                  </a:lnTo>
                  <a:lnTo>
                    <a:pt x="304" y="3074"/>
                  </a:lnTo>
                  <a:lnTo>
                    <a:pt x="314" y="3078"/>
                  </a:lnTo>
                  <a:lnTo>
                    <a:pt x="326" y="3080"/>
                  </a:lnTo>
                  <a:lnTo>
                    <a:pt x="340" y="3080"/>
                  </a:lnTo>
                  <a:lnTo>
                    <a:pt x="340" y="3080"/>
                  </a:lnTo>
                  <a:lnTo>
                    <a:pt x="356" y="3080"/>
                  </a:lnTo>
                  <a:lnTo>
                    <a:pt x="368" y="3078"/>
                  </a:lnTo>
                  <a:lnTo>
                    <a:pt x="380" y="3074"/>
                  </a:lnTo>
                  <a:lnTo>
                    <a:pt x="390" y="3068"/>
                  </a:lnTo>
                  <a:lnTo>
                    <a:pt x="396" y="3060"/>
                  </a:lnTo>
                  <a:lnTo>
                    <a:pt x="402" y="3052"/>
                  </a:lnTo>
                  <a:lnTo>
                    <a:pt x="406" y="3044"/>
                  </a:lnTo>
                  <a:lnTo>
                    <a:pt x="408" y="3034"/>
                  </a:lnTo>
                  <a:lnTo>
                    <a:pt x="408" y="3034"/>
                  </a:lnTo>
                  <a:lnTo>
                    <a:pt x="408" y="3024"/>
                  </a:lnTo>
                  <a:lnTo>
                    <a:pt x="406" y="3014"/>
                  </a:lnTo>
                  <a:lnTo>
                    <a:pt x="402" y="3008"/>
                  </a:lnTo>
                  <a:lnTo>
                    <a:pt x="396" y="3000"/>
                  </a:lnTo>
                  <a:lnTo>
                    <a:pt x="388" y="2996"/>
                  </a:lnTo>
                  <a:lnTo>
                    <a:pt x="378" y="2992"/>
                  </a:lnTo>
                  <a:lnTo>
                    <a:pt x="366" y="2990"/>
                  </a:lnTo>
                  <a:lnTo>
                    <a:pt x="354" y="2988"/>
                  </a:lnTo>
                  <a:lnTo>
                    <a:pt x="354" y="2988"/>
                  </a:lnTo>
                  <a:close/>
                  <a:moveTo>
                    <a:pt x="342" y="3062"/>
                  </a:moveTo>
                  <a:lnTo>
                    <a:pt x="342" y="3062"/>
                  </a:lnTo>
                  <a:lnTo>
                    <a:pt x="322" y="3060"/>
                  </a:lnTo>
                  <a:lnTo>
                    <a:pt x="314" y="3058"/>
                  </a:lnTo>
                  <a:lnTo>
                    <a:pt x="306" y="3054"/>
                  </a:lnTo>
                  <a:lnTo>
                    <a:pt x="300" y="3050"/>
                  </a:lnTo>
                  <a:lnTo>
                    <a:pt x="298" y="3046"/>
                  </a:lnTo>
                  <a:lnTo>
                    <a:pt x="296" y="3040"/>
                  </a:lnTo>
                  <a:lnTo>
                    <a:pt x="296" y="3034"/>
                  </a:lnTo>
                  <a:lnTo>
                    <a:pt x="296" y="3034"/>
                  </a:lnTo>
                  <a:lnTo>
                    <a:pt x="298" y="3028"/>
                  </a:lnTo>
                  <a:lnTo>
                    <a:pt x="300" y="3022"/>
                  </a:lnTo>
                  <a:lnTo>
                    <a:pt x="306" y="3018"/>
                  </a:lnTo>
                  <a:lnTo>
                    <a:pt x="312" y="3014"/>
                  </a:lnTo>
                  <a:lnTo>
                    <a:pt x="330" y="3008"/>
                  </a:lnTo>
                  <a:lnTo>
                    <a:pt x="350" y="3008"/>
                  </a:lnTo>
                  <a:lnTo>
                    <a:pt x="350" y="3008"/>
                  </a:lnTo>
                  <a:lnTo>
                    <a:pt x="370" y="3008"/>
                  </a:lnTo>
                  <a:lnTo>
                    <a:pt x="378" y="3010"/>
                  </a:lnTo>
                  <a:lnTo>
                    <a:pt x="384" y="3014"/>
                  </a:lnTo>
                  <a:lnTo>
                    <a:pt x="390" y="3018"/>
                  </a:lnTo>
                  <a:lnTo>
                    <a:pt x="394" y="3022"/>
                  </a:lnTo>
                  <a:lnTo>
                    <a:pt x="396" y="3028"/>
                  </a:lnTo>
                  <a:lnTo>
                    <a:pt x="396" y="3034"/>
                  </a:lnTo>
                  <a:lnTo>
                    <a:pt x="396" y="3034"/>
                  </a:lnTo>
                  <a:lnTo>
                    <a:pt x="394" y="3040"/>
                  </a:lnTo>
                  <a:lnTo>
                    <a:pt x="392" y="3046"/>
                  </a:lnTo>
                  <a:lnTo>
                    <a:pt x="388" y="3050"/>
                  </a:lnTo>
                  <a:lnTo>
                    <a:pt x="382" y="3054"/>
                  </a:lnTo>
                  <a:lnTo>
                    <a:pt x="374" y="3058"/>
                  </a:lnTo>
                  <a:lnTo>
                    <a:pt x="364" y="3060"/>
                  </a:lnTo>
                  <a:lnTo>
                    <a:pt x="342" y="3062"/>
                  </a:lnTo>
                  <a:lnTo>
                    <a:pt x="342" y="3062"/>
                  </a:lnTo>
                  <a:close/>
                  <a:moveTo>
                    <a:pt x="374" y="2854"/>
                  </a:moveTo>
                  <a:lnTo>
                    <a:pt x="374" y="2854"/>
                  </a:lnTo>
                  <a:lnTo>
                    <a:pt x="360" y="2854"/>
                  </a:lnTo>
                  <a:lnTo>
                    <a:pt x="348" y="2856"/>
                  </a:lnTo>
                  <a:lnTo>
                    <a:pt x="336" y="2860"/>
                  </a:lnTo>
                  <a:lnTo>
                    <a:pt x="326" y="2866"/>
                  </a:lnTo>
                  <a:lnTo>
                    <a:pt x="318" y="2872"/>
                  </a:lnTo>
                  <a:lnTo>
                    <a:pt x="312" y="2880"/>
                  </a:lnTo>
                  <a:lnTo>
                    <a:pt x="308" y="2890"/>
                  </a:lnTo>
                  <a:lnTo>
                    <a:pt x="304" y="2900"/>
                  </a:lnTo>
                  <a:lnTo>
                    <a:pt x="304" y="2900"/>
                  </a:lnTo>
                  <a:lnTo>
                    <a:pt x="304" y="2910"/>
                  </a:lnTo>
                  <a:lnTo>
                    <a:pt x="306" y="2918"/>
                  </a:lnTo>
                  <a:lnTo>
                    <a:pt x="310" y="2926"/>
                  </a:lnTo>
                  <a:lnTo>
                    <a:pt x="316" y="2932"/>
                  </a:lnTo>
                  <a:lnTo>
                    <a:pt x="322" y="2938"/>
                  </a:lnTo>
                  <a:lnTo>
                    <a:pt x="332" y="2942"/>
                  </a:lnTo>
                  <a:lnTo>
                    <a:pt x="344" y="2944"/>
                  </a:lnTo>
                  <a:lnTo>
                    <a:pt x="358" y="2944"/>
                  </a:lnTo>
                  <a:lnTo>
                    <a:pt x="358" y="2944"/>
                  </a:lnTo>
                  <a:lnTo>
                    <a:pt x="372" y="2944"/>
                  </a:lnTo>
                  <a:lnTo>
                    <a:pt x="384" y="2942"/>
                  </a:lnTo>
                  <a:lnTo>
                    <a:pt x="394" y="2938"/>
                  </a:lnTo>
                  <a:lnTo>
                    <a:pt x="404" y="2932"/>
                  </a:lnTo>
                  <a:lnTo>
                    <a:pt x="410" y="2924"/>
                  </a:lnTo>
                  <a:lnTo>
                    <a:pt x="416" y="2916"/>
                  </a:lnTo>
                  <a:lnTo>
                    <a:pt x="420" y="2908"/>
                  </a:lnTo>
                  <a:lnTo>
                    <a:pt x="422" y="2898"/>
                  </a:lnTo>
                  <a:lnTo>
                    <a:pt x="422" y="2898"/>
                  </a:lnTo>
                  <a:lnTo>
                    <a:pt x="422" y="2888"/>
                  </a:lnTo>
                  <a:lnTo>
                    <a:pt x="420" y="2878"/>
                  </a:lnTo>
                  <a:lnTo>
                    <a:pt x="418" y="2872"/>
                  </a:lnTo>
                  <a:lnTo>
                    <a:pt x="412" y="2864"/>
                  </a:lnTo>
                  <a:lnTo>
                    <a:pt x="404" y="2860"/>
                  </a:lnTo>
                  <a:lnTo>
                    <a:pt x="396" y="2856"/>
                  </a:lnTo>
                  <a:lnTo>
                    <a:pt x="386" y="2854"/>
                  </a:lnTo>
                  <a:lnTo>
                    <a:pt x="374" y="2854"/>
                  </a:lnTo>
                  <a:lnTo>
                    <a:pt x="374" y="2854"/>
                  </a:lnTo>
                  <a:close/>
                  <a:moveTo>
                    <a:pt x="410" y="2898"/>
                  </a:moveTo>
                  <a:lnTo>
                    <a:pt x="410" y="2898"/>
                  </a:lnTo>
                  <a:lnTo>
                    <a:pt x="410" y="2904"/>
                  </a:lnTo>
                  <a:lnTo>
                    <a:pt x="406" y="2910"/>
                  </a:lnTo>
                  <a:lnTo>
                    <a:pt x="402" y="2914"/>
                  </a:lnTo>
                  <a:lnTo>
                    <a:pt x="396" y="2918"/>
                  </a:lnTo>
                  <a:lnTo>
                    <a:pt x="390" y="2922"/>
                  </a:lnTo>
                  <a:lnTo>
                    <a:pt x="382" y="2924"/>
                  </a:lnTo>
                  <a:lnTo>
                    <a:pt x="360" y="2926"/>
                  </a:lnTo>
                  <a:lnTo>
                    <a:pt x="360" y="2926"/>
                  </a:lnTo>
                  <a:lnTo>
                    <a:pt x="340" y="2924"/>
                  </a:lnTo>
                  <a:lnTo>
                    <a:pt x="332" y="2922"/>
                  </a:lnTo>
                  <a:lnTo>
                    <a:pt x="326" y="2920"/>
                  </a:lnTo>
                  <a:lnTo>
                    <a:pt x="322" y="2916"/>
                  </a:lnTo>
                  <a:lnTo>
                    <a:pt x="318" y="2910"/>
                  </a:lnTo>
                  <a:lnTo>
                    <a:pt x="316" y="2906"/>
                  </a:lnTo>
                  <a:lnTo>
                    <a:pt x="318" y="2900"/>
                  </a:lnTo>
                  <a:lnTo>
                    <a:pt x="318" y="2900"/>
                  </a:lnTo>
                  <a:lnTo>
                    <a:pt x="320" y="2892"/>
                  </a:lnTo>
                  <a:lnTo>
                    <a:pt x="322" y="2886"/>
                  </a:lnTo>
                  <a:lnTo>
                    <a:pt x="328" y="2882"/>
                  </a:lnTo>
                  <a:lnTo>
                    <a:pt x="334" y="2878"/>
                  </a:lnTo>
                  <a:lnTo>
                    <a:pt x="350" y="2874"/>
                  </a:lnTo>
                  <a:lnTo>
                    <a:pt x="370" y="2872"/>
                  </a:lnTo>
                  <a:lnTo>
                    <a:pt x="370" y="2872"/>
                  </a:lnTo>
                  <a:lnTo>
                    <a:pt x="388" y="2874"/>
                  </a:lnTo>
                  <a:lnTo>
                    <a:pt x="396" y="2876"/>
                  </a:lnTo>
                  <a:lnTo>
                    <a:pt x="402" y="2878"/>
                  </a:lnTo>
                  <a:lnTo>
                    <a:pt x="406" y="2882"/>
                  </a:lnTo>
                  <a:lnTo>
                    <a:pt x="408" y="2886"/>
                  </a:lnTo>
                  <a:lnTo>
                    <a:pt x="410" y="2892"/>
                  </a:lnTo>
                  <a:lnTo>
                    <a:pt x="410" y="2898"/>
                  </a:lnTo>
                  <a:lnTo>
                    <a:pt x="410" y="2898"/>
                  </a:lnTo>
                  <a:close/>
                  <a:moveTo>
                    <a:pt x="396" y="2718"/>
                  </a:moveTo>
                  <a:lnTo>
                    <a:pt x="396" y="2718"/>
                  </a:lnTo>
                  <a:lnTo>
                    <a:pt x="384" y="2718"/>
                  </a:lnTo>
                  <a:lnTo>
                    <a:pt x="372" y="2720"/>
                  </a:lnTo>
                  <a:lnTo>
                    <a:pt x="362" y="2724"/>
                  </a:lnTo>
                  <a:lnTo>
                    <a:pt x="354" y="2730"/>
                  </a:lnTo>
                  <a:lnTo>
                    <a:pt x="346" y="2736"/>
                  </a:lnTo>
                  <a:lnTo>
                    <a:pt x="340" y="2744"/>
                  </a:lnTo>
                  <a:lnTo>
                    <a:pt x="334" y="2754"/>
                  </a:lnTo>
                  <a:lnTo>
                    <a:pt x="332" y="2764"/>
                  </a:lnTo>
                  <a:lnTo>
                    <a:pt x="332" y="2764"/>
                  </a:lnTo>
                  <a:lnTo>
                    <a:pt x="330" y="2774"/>
                  </a:lnTo>
                  <a:lnTo>
                    <a:pt x="332" y="2782"/>
                  </a:lnTo>
                  <a:lnTo>
                    <a:pt x="334" y="2790"/>
                  </a:lnTo>
                  <a:lnTo>
                    <a:pt x="340" y="2796"/>
                  </a:lnTo>
                  <a:lnTo>
                    <a:pt x="346" y="2802"/>
                  </a:lnTo>
                  <a:lnTo>
                    <a:pt x="356" y="2806"/>
                  </a:lnTo>
                  <a:lnTo>
                    <a:pt x="366" y="2808"/>
                  </a:lnTo>
                  <a:lnTo>
                    <a:pt x="378" y="2810"/>
                  </a:lnTo>
                  <a:lnTo>
                    <a:pt x="378" y="2810"/>
                  </a:lnTo>
                  <a:lnTo>
                    <a:pt x="392" y="2808"/>
                  </a:lnTo>
                  <a:lnTo>
                    <a:pt x="402" y="2806"/>
                  </a:lnTo>
                  <a:lnTo>
                    <a:pt x="412" y="2802"/>
                  </a:lnTo>
                  <a:lnTo>
                    <a:pt x="420" y="2796"/>
                  </a:lnTo>
                  <a:lnTo>
                    <a:pt x="428" y="2790"/>
                  </a:lnTo>
                  <a:lnTo>
                    <a:pt x="432" y="2780"/>
                  </a:lnTo>
                  <a:lnTo>
                    <a:pt x="436" y="2772"/>
                  </a:lnTo>
                  <a:lnTo>
                    <a:pt x="438" y="2762"/>
                  </a:lnTo>
                  <a:lnTo>
                    <a:pt x="438" y="2762"/>
                  </a:lnTo>
                  <a:lnTo>
                    <a:pt x="438" y="2752"/>
                  </a:lnTo>
                  <a:lnTo>
                    <a:pt x="438" y="2744"/>
                  </a:lnTo>
                  <a:lnTo>
                    <a:pt x="434" y="2736"/>
                  </a:lnTo>
                  <a:lnTo>
                    <a:pt x="430" y="2728"/>
                  </a:lnTo>
                  <a:lnTo>
                    <a:pt x="424" y="2724"/>
                  </a:lnTo>
                  <a:lnTo>
                    <a:pt x="416" y="2720"/>
                  </a:lnTo>
                  <a:lnTo>
                    <a:pt x="408" y="2718"/>
                  </a:lnTo>
                  <a:lnTo>
                    <a:pt x="396" y="2718"/>
                  </a:lnTo>
                  <a:lnTo>
                    <a:pt x="396" y="2718"/>
                  </a:lnTo>
                  <a:close/>
                  <a:moveTo>
                    <a:pt x="428" y="2764"/>
                  </a:moveTo>
                  <a:lnTo>
                    <a:pt x="428" y="2764"/>
                  </a:lnTo>
                  <a:lnTo>
                    <a:pt x="426" y="2768"/>
                  </a:lnTo>
                  <a:lnTo>
                    <a:pt x="424" y="2774"/>
                  </a:lnTo>
                  <a:lnTo>
                    <a:pt x="420" y="2778"/>
                  </a:lnTo>
                  <a:lnTo>
                    <a:pt x="414" y="2782"/>
                  </a:lnTo>
                  <a:lnTo>
                    <a:pt x="408" y="2786"/>
                  </a:lnTo>
                  <a:lnTo>
                    <a:pt x="400" y="2788"/>
                  </a:lnTo>
                  <a:lnTo>
                    <a:pt x="382" y="2790"/>
                  </a:lnTo>
                  <a:lnTo>
                    <a:pt x="382" y="2790"/>
                  </a:lnTo>
                  <a:lnTo>
                    <a:pt x="364" y="2788"/>
                  </a:lnTo>
                  <a:lnTo>
                    <a:pt x="356" y="2786"/>
                  </a:lnTo>
                  <a:lnTo>
                    <a:pt x="350" y="2784"/>
                  </a:lnTo>
                  <a:lnTo>
                    <a:pt x="346" y="2780"/>
                  </a:lnTo>
                  <a:lnTo>
                    <a:pt x="344" y="2774"/>
                  </a:lnTo>
                  <a:lnTo>
                    <a:pt x="342" y="2770"/>
                  </a:lnTo>
                  <a:lnTo>
                    <a:pt x="342" y="2764"/>
                  </a:lnTo>
                  <a:lnTo>
                    <a:pt x="342" y="2764"/>
                  </a:lnTo>
                  <a:lnTo>
                    <a:pt x="346" y="2756"/>
                  </a:lnTo>
                  <a:lnTo>
                    <a:pt x="348" y="2752"/>
                  </a:lnTo>
                  <a:lnTo>
                    <a:pt x="354" y="2746"/>
                  </a:lnTo>
                  <a:lnTo>
                    <a:pt x="360" y="2742"/>
                  </a:lnTo>
                  <a:lnTo>
                    <a:pt x="374" y="2738"/>
                  </a:lnTo>
                  <a:lnTo>
                    <a:pt x="392" y="2736"/>
                  </a:lnTo>
                  <a:lnTo>
                    <a:pt x="392" y="2736"/>
                  </a:lnTo>
                  <a:lnTo>
                    <a:pt x="408" y="2738"/>
                  </a:lnTo>
                  <a:lnTo>
                    <a:pt x="416" y="2740"/>
                  </a:lnTo>
                  <a:lnTo>
                    <a:pt x="420" y="2742"/>
                  </a:lnTo>
                  <a:lnTo>
                    <a:pt x="424" y="2746"/>
                  </a:lnTo>
                  <a:lnTo>
                    <a:pt x="428" y="2750"/>
                  </a:lnTo>
                  <a:lnTo>
                    <a:pt x="428" y="2756"/>
                  </a:lnTo>
                  <a:lnTo>
                    <a:pt x="428" y="2764"/>
                  </a:lnTo>
                  <a:lnTo>
                    <a:pt x="428" y="2764"/>
                  </a:lnTo>
                  <a:close/>
                  <a:moveTo>
                    <a:pt x="362" y="2632"/>
                  </a:moveTo>
                  <a:lnTo>
                    <a:pt x="444" y="2632"/>
                  </a:lnTo>
                  <a:lnTo>
                    <a:pt x="444" y="2632"/>
                  </a:lnTo>
                  <a:lnTo>
                    <a:pt x="444" y="2632"/>
                  </a:lnTo>
                  <a:lnTo>
                    <a:pt x="444" y="2632"/>
                  </a:lnTo>
                  <a:lnTo>
                    <a:pt x="432" y="2656"/>
                  </a:lnTo>
                  <a:lnTo>
                    <a:pt x="432" y="2656"/>
                  </a:lnTo>
                  <a:lnTo>
                    <a:pt x="440" y="2660"/>
                  </a:lnTo>
                  <a:lnTo>
                    <a:pt x="440" y="2660"/>
                  </a:lnTo>
                  <a:lnTo>
                    <a:pt x="456" y="2630"/>
                  </a:lnTo>
                  <a:lnTo>
                    <a:pt x="456" y="2630"/>
                  </a:lnTo>
                  <a:lnTo>
                    <a:pt x="458" y="2614"/>
                  </a:lnTo>
                  <a:lnTo>
                    <a:pt x="368" y="2614"/>
                  </a:lnTo>
                  <a:lnTo>
                    <a:pt x="368" y="2614"/>
                  </a:lnTo>
                  <a:lnTo>
                    <a:pt x="362" y="2632"/>
                  </a:lnTo>
                  <a:lnTo>
                    <a:pt x="362" y="2632"/>
                  </a:lnTo>
                  <a:close/>
                  <a:moveTo>
                    <a:pt x="396" y="2496"/>
                  </a:moveTo>
                  <a:lnTo>
                    <a:pt x="468" y="2496"/>
                  </a:lnTo>
                  <a:lnTo>
                    <a:pt x="468" y="2496"/>
                  </a:lnTo>
                  <a:lnTo>
                    <a:pt x="468" y="2496"/>
                  </a:lnTo>
                  <a:lnTo>
                    <a:pt x="468" y="2496"/>
                  </a:lnTo>
                  <a:lnTo>
                    <a:pt x="456" y="2520"/>
                  </a:lnTo>
                  <a:lnTo>
                    <a:pt x="456" y="2520"/>
                  </a:lnTo>
                  <a:lnTo>
                    <a:pt x="464" y="2524"/>
                  </a:lnTo>
                  <a:lnTo>
                    <a:pt x="464" y="2524"/>
                  </a:lnTo>
                  <a:lnTo>
                    <a:pt x="476" y="2494"/>
                  </a:lnTo>
                  <a:lnTo>
                    <a:pt x="476" y="2494"/>
                  </a:lnTo>
                  <a:lnTo>
                    <a:pt x="480" y="2478"/>
                  </a:lnTo>
                  <a:lnTo>
                    <a:pt x="402" y="2478"/>
                  </a:lnTo>
                  <a:lnTo>
                    <a:pt x="402" y="2478"/>
                  </a:lnTo>
                  <a:lnTo>
                    <a:pt x="396" y="2496"/>
                  </a:lnTo>
                  <a:lnTo>
                    <a:pt x="396" y="2496"/>
                  </a:lnTo>
                  <a:close/>
                  <a:moveTo>
                    <a:pt x="482" y="2310"/>
                  </a:moveTo>
                  <a:lnTo>
                    <a:pt x="482" y="2310"/>
                  </a:lnTo>
                  <a:lnTo>
                    <a:pt x="474" y="2310"/>
                  </a:lnTo>
                  <a:lnTo>
                    <a:pt x="466" y="2312"/>
                  </a:lnTo>
                  <a:lnTo>
                    <a:pt x="460" y="2316"/>
                  </a:lnTo>
                  <a:lnTo>
                    <a:pt x="452" y="2322"/>
                  </a:lnTo>
                  <a:lnTo>
                    <a:pt x="446" y="2328"/>
                  </a:lnTo>
                  <a:lnTo>
                    <a:pt x="442" y="2336"/>
                  </a:lnTo>
                  <a:lnTo>
                    <a:pt x="436" y="2346"/>
                  </a:lnTo>
                  <a:lnTo>
                    <a:pt x="432" y="2356"/>
                  </a:lnTo>
                  <a:lnTo>
                    <a:pt x="432" y="2356"/>
                  </a:lnTo>
                  <a:lnTo>
                    <a:pt x="430" y="2366"/>
                  </a:lnTo>
                  <a:lnTo>
                    <a:pt x="430" y="2374"/>
                  </a:lnTo>
                  <a:lnTo>
                    <a:pt x="432" y="2382"/>
                  </a:lnTo>
                  <a:lnTo>
                    <a:pt x="434" y="2390"/>
                  </a:lnTo>
                  <a:lnTo>
                    <a:pt x="438" y="2394"/>
                  </a:lnTo>
                  <a:lnTo>
                    <a:pt x="444" y="2398"/>
                  </a:lnTo>
                  <a:lnTo>
                    <a:pt x="452" y="2400"/>
                  </a:lnTo>
                  <a:lnTo>
                    <a:pt x="460" y="2402"/>
                  </a:lnTo>
                  <a:lnTo>
                    <a:pt x="460" y="2402"/>
                  </a:lnTo>
                  <a:lnTo>
                    <a:pt x="468" y="2400"/>
                  </a:lnTo>
                  <a:lnTo>
                    <a:pt x="476" y="2398"/>
                  </a:lnTo>
                  <a:lnTo>
                    <a:pt x="482" y="2394"/>
                  </a:lnTo>
                  <a:lnTo>
                    <a:pt x="488" y="2388"/>
                  </a:lnTo>
                  <a:lnTo>
                    <a:pt x="492" y="2382"/>
                  </a:lnTo>
                  <a:lnTo>
                    <a:pt x="496" y="2374"/>
                  </a:lnTo>
                  <a:lnTo>
                    <a:pt x="500" y="2354"/>
                  </a:lnTo>
                  <a:lnTo>
                    <a:pt x="500" y="2354"/>
                  </a:lnTo>
                  <a:lnTo>
                    <a:pt x="502" y="2336"/>
                  </a:lnTo>
                  <a:lnTo>
                    <a:pt x="502" y="2328"/>
                  </a:lnTo>
                  <a:lnTo>
                    <a:pt x="500" y="2322"/>
                  </a:lnTo>
                  <a:lnTo>
                    <a:pt x="498" y="2316"/>
                  </a:lnTo>
                  <a:lnTo>
                    <a:pt x="494" y="2312"/>
                  </a:lnTo>
                  <a:lnTo>
                    <a:pt x="488" y="2310"/>
                  </a:lnTo>
                  <a:lnTo>
                    <a:pt x="482" y="2310"/>
                  </a:lnTo>
                  <a:lnTo>
                    <a:pt x="482" y="2310"/>
                  </a:lnTo>
                  <a:close/>
                  <a:moveTo>
                    <a:pt x="496" y="2356"/>
                  </a:moveTo>
                  <a:lnTo>
                    <a:pt x="496" y="2356"/>
                  </a:lnTo>
                  <a:lnTo>
                    <a:pt x="492" y="2366"/>
                  </a:lnTo>
                  <a:lnTo>
                    <a:pt x="486" y="2376"/>
                  </a:lnTo>
                  <a:lnTo>
                    <a:pt x="476" y="2382"/>
                  </a:lnTo>
                  <a:lnTo>
                    <a:pt x="464" y="2384"/>
                  </a:lnTo>
                  <a:lnTo>
                    <a:pt x="464" y="2384"/>
                  </a:lnTo>
                  <a:lnTo>
                    <a:pt x="452" y="2382"/>
                  </a:lnTo>
                  <a:lnTo>
                    <a:pt x="448" y="2378"/>
                  </a:lnTo>
                  <a:lnTo>
                    <a:pt x="444" y="2376"/>
                  </a:lnTo>
                  <a:lnTo>
                    <a:pt x="442" y="2372"/>
                  </a:lnTo>
                  <a:lnTo>
                    <a:pt x="440" y="2368"/>
                  </a:lnTo>
                  <a:lnTo>
                    <a:pt x="442" y="2356"/>
                  </a:lnTo>
                  <a:lnTo>
                    <a:pt x="442" y="2356"/>
                  </a:lnTo>
                  <a:lnTo>
                    <a:pt x="446" y="2344"/>
                  </a:lnTo>
                  <a:lnTo>
                    <a:pt x="454" y="2334"/>
                  </a:lnTo>
                  <a:lnTo>
                    <a:pt x="466" y="2330"/>
                  </a:lnTo>
                  <a:lnTo>
                    <a:pt x="476" y="2328"/>
                  </a:lnTo>
                  <a:lnTo>
                    <a:pt x="476" y="2328"/>
                  </a:lnTo>
                  <a:lnTo>
                    <a:pt x="486" y="2330"/>
                  </a:lnTo>
                  <a:lnTo>
                    <a:pt x="490" y="2332"/>
                  </a:lnTo>
                  <a:lnTo>
                    <a:pt x="494" y="2334"/>
                  </a:lnTo>
                  <a:lnTo>
                    <a:pt x="496" y="2344"/>
                  </a:lnTo>
                  <a:lnTo>
                    <a:pt x="496" y="2356"/>
                  </a:lnTo>
                  <a:lnTo>
                    <a:pt x="496" y="2356"/>
                  </a:lnTo>
                  <a:close/>
                  <a:moveTo>
                    <a:pt x="472" y="2224"/>
                  </a:moveTo>
                  <a:lnTo>
                    <a:pt x="518" y="2224"/>
                  </a:lnTo>
                  <a:lnTo>
                    <a:pt x="518" y="2224"/>
                  </a:lnTo>
                  <a:lnTo>
                    <a:pt x="518" y="2224"/>
                  </a:lnTo>
                  <a:lnTo>
                    <a:pt x="518" y="2224"/>
                  </a:lnTo>
                  <a:lnTo>
                    <a:pt x="510" y="2248"/>
                  </a:lnTo>
                  <a:lnTo>
                    <a:pt x="510" y="2248"/>
                  </a:lnTo>
                  <a:lnTo>
                    <a:pt x="514" y="2252"/>
                  </a:lnTo>
                  <a:lnTo>
                    <a:pt x="514" y="2252"/>
                  </a:lnTo>
                  <a:lnTo>
                    <a:pt x="524" y="2222"/>
                  </a:lnTo>
                  <a:lnTo>
                    <a:pt x="524" y="2222"/>
                  </a:lnTo>
                  <a:lnTo>
                    <a:pt x="526" y="2206"/>
                  </a:lnTo>
                  <a:lnTo>
                    <a:pt x="478" y="2206"/>
                  </a:lnTo>
                  <a:lnTo>
                    <a:pt x="478" y="2206"/>
                  </a:lnTo>
                  <a:lnTo>
                    <a:pt x="472" y="2224"/>
                  </a:lnTo>
                  <a:lnTo>
                    <a:pt x="472" y="2224"/>
                  </a:lnTo>
                  <a:close/>
                  <a:moveTo>
                    <a:pt x="514" y="2088"/>
                  </a:moveTo>
                  <a:lnTo>
                    <a:pt x="546" y="2088"/>
                  </a:lnTo>
                  <a:lnTo>
                    <a:pt x="546" y="2088"/>
                  </a:lnTo>
                  <a:lnTo>
                    <a:pt x="546" y="2088"/>
                  </a:lnTo>
                  <a:lnTo>
                    <a:pt x="546" y="2088"/>
                  </a:lnTo>
                  <a:lnTo>
                    <a:pt x="538" y="2112"/>
                  </a:lnTo>
                  <a:lnTo>
                    <a:pt x="538" y="2112"/>
                  </a:lnTo>
                  <a:lnTo>
                    <a:pt x="542" y="2116"/>
                  </a:lnTo>
                  <a:lnTo>
                    <a:pt x="542" y="2116"/>
                  </a:lnTo>
                  <a:lnTo>
                    <a:pt x="550" y="2086"/>
                  </a:lnTo>
                  <a:lnTo>
                    <a:pt x="550" y="2086"/>
                  </a:lnTo>
                  <a:lnTo>
                    <a:pt x="552" y="2070"/>
                  </a:lnTo>
                  <a:lnTo>
                    <a:pt x="518" y="2070"/>
                  </a:lnTo>
                  <a:lnTo>
                    <a:pt x="518" y="2070"/>
                  </a:lnTo>
                  <a:lnTo>
                    <a:pt x="514" y="2088"/>
                  </a:lnTo>
                  <a:lnTo>
                    <a:pt x="514" y="2088"/>
                  </a:lnTo>
                  <a:close/>
                  <a:moveTo>
                    <a:pt x="582" y="1902"/>
                  </a:moveTo>
                  <a:lnTo>
                    <a:pt x="582" y="1902"/>
                  </a:lnTo>
                  <a:lnTo>
                    <a:pt x="578" y="1906"/>
                  </a:lnTo>
                  <a:lnTo>
                    <a:pt x="570" y="1914"/>
                  </a:lnTo>
                  <a:lnTo>
                    <a:pt x="564" y="1930"/>
                  </a:lnTo>
                  <a:lnTo>
                    <a:pt x="556" y="1950"/>
                  </a:lnTo>
                  <a:lnTo>
                    <a:pt x="556" y="1950"/>
                  </a:lnTo>
                  <a:lnTo>
                    <a:pt x="552" y="1968"/>
                  </a:lnTo>
                  <a:lnTo>
                    <a:pt x="550" y="1982"/>
                  </a:lnTo>
                  <a:lnTo>
                    <a:pt x="554" y="1990"/>
                  </a:lnTo>
                  <a:lnTo>
                    <a:pt x="556" y="1994"/>
                  </a:lnTo>
                  <a:lnTo>
                    <a:pt x="558" y="1994"/>
                  </a:lnTo>
                  <a:lnTo>
                    <a:pt x="558" y="1994"/>
                  </a:lnTo>
                  <a:lnTo>
                    <a:pt x="562" y="1994"/>
                  </a:lnTo>
                  <a:lnTo>
                    <a:pt x="564" y="1990"/>
                  </a:lnTo>
                  <a:lnTo>
                    <a:pt x="570" y="1980"/>
                  </a:lnTo>
                  <a:lnTo>
                    <a:pt x="574" y="1966"/>
                  </a:lnTo>
                  <a:lnTo>
                    <a:pt x="576" y="1948"/>
                  </a:lnTo>
                  <a:lnTo>
                    <a:pt x="576" y="1948"/>
                  </a:lnTo>
                  <a:lnTo>
                    <a:pt x="584" y="1914"/>
                  </a:lnTo>
                  <a:lnTo>
                    <a:pt x="584" y="1906"/>
                  </a:lnTo>
                  <a:lnTo>
                    <a:pt x="584" y="1904"/>
                  </a:lnTo>
                  <a:lnTo>
                    <a:pt x="582" y="1902"/>
                  </a:lnTo>
                  <a:lnTo>
                    <a:pt x="582" y="1902"/>
                  </a:lnTo>
                  <a:close/>
                  <a:moveTo>
                    <a:pt x="576" y="1948"/>
                  </a:moveTo>
                  <a:lnTo>
                    <a:pt x="576" y="1948"/>
                  </a:lnTo>
                  <a:lnTo>
                    <a:pt x="572" y="1968"/>
                  </a:lnTo>
                  <a:lnTo>
                    <a:pt x="568" y="1974"/>
                  </a:lnTo>
                  <a:lnTo>
                    <a:pt x="564" y="1976"/>
                  </a:lnTo>
                  <a:lnTo>
                    <a:pt x="564" y="1976"/>
                  </a:lnTo>
                  <a:lnTo>
                    <a:pt x="560" y="1974"/>
                  </a:lnTo>
                  <a:lnTo>
                    <a:pt x="558" y="1968"/>
                  </a:lnTo>
                  <a:lnTo>
                    <a:pt x="558" y="1960"/>
                  </a:lnTo>
                  <a:lnTo>
                    <a:pt x="560" y="1948"/>
                  </a:lnTo>
                  <a:lnTo>
                    <a:pt x="560" y="1948"/>
                  </a:lnTo>
                  <a:lnTo>
                    <a:pt x="564" y="1936"/>
                  </a:lnTo>
                  <a:lnTo>
                    <a:pt x="570" y="1928"/>
                  </a:lnTo>
                  <a:lnTo>
                    <a:pt x="574" y="1922"/>
                  </a:lnTo>
                  <a:lnTo>
                    <a:pt x="578" y="1920"/>
                  </a:lnTo>
                  <a:lnTo>
                    <a:pt x="578" y="1920"/>
                  </a:lnTo>
                  <a:lnTo>
                    <a:pt x="580" y="1922"/>
                  </a:lnTo>
                  <a:lnTo>
                    <a:pt x="580" y="1928"/>
                  </a:lnTo>
                  <a:lnTo>
                    <a:pt x="576" y="1948"/>
                  </a:lnTo>
                  <a:lnTo>
                    <a:pt x="576" y="1948"/>
                  </a:lnTo>
                  <a:close/>
                  <a:moveTo>
                    <a:pt x="600" y="1840"/>
                  </a:moveTo>
                  <a:lnTo>
                    <a:pt x="600" y="1840"/>
                  </a:lnTo>
                  <a:lnTo>
                    <a:pt x="604" y="1818"/>
                  </a:lnTo>
                  <a:lnTo>
                    <a:pt x="604" y="1818"/>
                  </a:lnTo>
                  <a:lnTo>
                    <a:pt x="604" y="1816"/>
                  </a:lnTo>
                  <a:lnTo>
                    <a:pt x="602" y="1816"/>
                  </a:lnTo>
                  <a:lnTo>
                    <a:pt x="602" y="1816"/>
                  </a:lnTo>
                  <a:lnTo>
                    <a:pt x="598" y="1844"/>
                  </a:lnTo>
                  <a:lnTo>
                    <a:pt x="598" y="1844"/>
                  </a:lnTo>
                  <a:lnTo>
                    <a:pt x="600" y="1840"/>
                  </a:lnTo>
                  <a:lnTo>
                    <a:pt x="600" y="1840"/>
                  </a:lnTo>
                  <a:close/>
                  <a:moveTo>
                    <a:pt x="606" y="1800"/>
                  </a:moveTo>
                  <a:lnTo>
                    <a:pt x="604" y="1800"/>
                  </a:lnTo>
                  <a:lnTo>
                    <a:pt x="604" y="1800"/>
                  </a:lnTo>
                  <a:lnTo>
                    <a:pt x="598" y="1816"/>
                  </a:lnTo>
                  <a:lnTo>
                    <a:pt x="602" y="1816"/>
                  </a:lnTo>
                  <a:lnTo>
                    <a:pt x="602" y="1816"/>
                  </a:lnTo>
                  <a:lnTo>
                    <a:pt x="604" y="1814"/>
                  </a:lnTo>
                  <a:lnTo>
                    <a:pt x="604" y="1814"/>
                  </a:lnTo>
                  <a:lnTo>
                    <a:pt x="606" y="1800"/>
                  </a:lnTo>
                  <a:lnTo>
                    <a:pt x="606" y="1800"/>
                  </a:lnTo>
                  <a:close/>
                  <a:moveTo>
                    <a:pt x="634" y="1682"/>
                  </a:moveTo>
                  <a:lnTo>
                    <a:pt x="634" y="1682"/>
                  </a:lnTo>
                  <a:lnTo>
                    <a:pt x="634" y="1680"/>
                  </a:lnTo>
                  <a:lnTo>
                    <a:pt x="636" y="1680"/>
                  </a:lnTo>
                  <a:lnTo>
                    <a:pt x="636" y="1680"/>
                  </a:lnTo>
                  <a:lnTo>
                    <a:pt x="638" y="1676"/>
                  </a:lnTo>
                  <a:lnTo>
                    <a:pt x="638" y="1676"/>
                  </a:lnTo>
                  <a:lnTo>
                    <a:pt x="642" y="1664"/>
                  </a:lnTo>
                  <a:lnTo>
                    <a:pt x="634" y="1664"/>
                  </a:lnTo>
                  <a:lnTo>
                    <a:pt x="634" y="1664"/>
                  </a:lnTo>
                  <a:lnTo>
                    <a:pt x="630" y="1678"/>
                  </a:lnTo>
                  <a:lnTo>
                    <a:pt x="630" y="1678"/>
                  </a:lnTo>
                  <a:lnTo>
                    <a:pt x="630" y="1694"/>
                  </a:lnTo>
                  <a:lnTo>
                    <a:pt x="630" y="1694"/>
                  </a:lnTo>
                  <a:lnTo>
                    <a:pt x="634" y="1684"/>
                  </a:lnTo>
                  <a:lnTo>
                    <a:pt x="634" y="1684"/>
                  </a:lnTo>
                  <a:lnTo>
                    <a:pt x="634" y="1682"/>
                  </a:lnTo>
                  <a:lnTo>
                    <a:pt x="634" y="1682"/>
                  </a:lnTo>
                  <a:close/>
                  <a:moveTo>
                    <a:pt x="648" y="1664"/>
                  </a:moveTo>
                  <a:lnTo>
                    <a:pt x="642" y="1664"/>
                  </a:lnTo>
                  <a:lnTo>
                    <a:pt x="642" y="1664"/>
                  </a:lnTo>
                  <a:lnTo>
                    <a:pt x="638" y="1676"/>
                  </a:lnTo>
                  <a:lnTo>
                    <a:pt x="638" y="1676"/>
                  </a:lnTo>
                  <a:lnTo>
                    <a:pt x="636" y="1680"/>
                  </a:lnTo>
                  <a:lnTo>
                    <a:pt x="642" y="1680"/>
                  </a:lnTo>
                  <a:lnTo>
                    <a:pt x="642" y="1680"/>
                  </a:lnTo>
                  <a:lnTo>
                    <a:pt x="648" y="1664"/>
                  </a:lnTo>
                  <a:lnTo>
                    <a:pt x="648" y="1664"/>
                  </a:lnTo>
                  <a:close/>
                  <a:moveTo>
                    <a:pt x="630" y="1696"/>
                  </a:moveTo>
                  <a:lnTo>
                    <a:pt x="630" y="1696"/>
                  </a:lnTo>
                  <a:lnTo>
                    <a:pt x="628" y="1702"/>
                  </a:lnTo>
                  <a:lnTo>
                    <a:pt x="628" y="1702"/>
                  </a:lnTo>
                  <a:lnTo>
                    <a:pt x="632" y="1698"/>
                  </a:lnTo>
                  <a:lnTo>
                    <a:pt x="632" y="1698"/>
                  </a:lnTo>
                  <a:lnTo>
                    <a:pt x="634" y="1686"/>
                  </a:lnTo>
                  <a:lnTo>
                    <a:pt x="634" y="1686"/>
                  </a:lnTo>
                  <a:lnTo>
                    <a:pt x="630" y="1696"/>
                  </a:lnTo>
                  <a:lnTo>
                    <a:pt x="630" y="1696"/>
                  </a:lnTo>
                  <a:close/>
                  <a:moveTo>
                    <a:pt x="688" y="1494"/>
                  </a:moveTo>
                  <a:lnTo>
                    <a:pt x="688" y="1494"/>
                  </a:lnTo>
                  <a:lnTo>
                    <a:pt x="684" y="1496"/>
                  </a:lnTo>
                  <a:lnTo>
                    <a:pt x="680" y="1498"/>
                  </a:lnTo>
                  <a:lnTo>
                    <a:pt x="672" y="1506"/>
                  </a:lnTo>
                  <a:lnTo>
                    <a:pt x="664" y="1520"/>
                  </a:lnTo>
                  <a:lnTo>
                    <a:pt x="658" y="1540"/>
                  </a:lnTo>
                  <a:lnTo>
                    <a:pt x="658" y="1540"/>
                  </a:lnTo>
                  <a:lnTo>
                    <a:pt x="656" y="1558"/>
                  </a:lnTo>
                  <a:lnTo>
                    <a:pt x="656" y="1574"/>
                  </a:lnTo>
                  <a:lnTo>
                    <a:pt x="660" y="1584"/>
                  </a:lnTo>
                  <a:lnTo>
                    <a:pt x="662" y="1586"/>
                  </a:lnTo>
                  <a:lnTo>
                    <a:pt x="666" y="1586"/>
                  </a:lnTo>
                  <a:lnTo>
                    <a:pt x="666" y="1586"/>
                  </a:lnTo>
                  <a:lnTo>
                    <a:pt x="668" y="1586"/>
                  </a:lnTo>
                  <a:lnTo>
                    <a:pt x="670" y="1584"/>
                  </a:lnTo>
                  <a:lnTo>
                    <a:pt x="674" y="1574"/>
                  </a:lnTo>
                  <a:lnTo>
                    <a:pt x="686" y="1542"/>
                  </a:lnTo>
                  <a:lnTo>
                    <a:pt x="686" y="1542"/>
                  </a:lnTo>
                  <a:lnTo>
                    <a:pt x="692" y="1522"/>
                  </a:lnTo>
                  <a:lnTo>
                    <a:pt x="694" y="1508"/>
                  </a:lnTo>
                  <a:lnTo>
                    <a:pt x="694" y="1502"/>
                  </a:lnTo>
                  <a:lnTo>
                    <a:pt x="694" y="1498"/>
                  </a:lnTo>
                  <a:lnTo>
                    <a:pt x="692" y="1496"/>
                  </a:lnTo>
                  <a:lnTo>
                    <a:pt x="688" y="1494"/>
                  </a:lnTo>
                  <a:lnTo>
                    <a:pt x="688" y="1494"/>
                  </a:lnTo>
                  <a:close/>
                  <a:moveTo>
                    <a:pt x="670" y="1568"/>
                  </a:moveTo>
                  <a:lnTo>
                    <a:pt x="670" y="1568"/>
                  </a:lnTo>
                  <a:lnTo>
                    <a:pt x="666" y="1566"/>
                  </a:lnTo>
                  <a:lnTo>
                    <a:pt x="662" y="1560"/>
                  </a:lnTo>
                  <a:lnTo>
                    <a:pt x="662" y="1552"/>
                  </a:lnTo>
                  <a:lnTo>
                    <a:pt x="662" y="1540"/>
                  </a:lnTo>
                  <a:lnTo>
                    <a:pt x="662" y="1540"/>
                  </a:lnTo>
                  <a:lnTo>
                    <a:pt x="666" y="1528"/>
                  </a:lnTo>
                  <a:lnTo>
                    <a:pt x="672" y="1520"/>
                  </a:lnTo>
                  <a:lnTo>
                    <a:pt x="678" y="1514"/>
                  </a:lnTo>
                  <a:lnTo>
                    <a:pt x="684" y="1514"/>
                  </a:lnTo>
                  <a:lnTo>
                    <a:pt x="684" y="1514"/>
                  </a:lnTo>
                  <a:lnTo>
                    <a:pt x="688" y="1514"/>
                  </a:lnTo>
                  <a:lnTo>
                    <a:pt x="690" y="1520"/>
                  </a:lnTo>
                  <a:lnTo>
                    <a:pt x="688" y="1528"/>
                  </a:lnTo>
                  <a:lnTo>
                    <a:pt x="684" y="1540"/>
                  </a:lnTo>
                  <a:lnTo>
                    <a:pt x="684" y="1540"/>
                  </a:lnTo>
                  <a:lnTo>
                    <a:pt x="678" y="1560"/>
                  </a:lnTo>
                  <a:lnTo>
                    <a:pt x="674" y="1566"/>
                  </a:lnTo>
                  <a:lnTo>
                    <a:pt x="670" y="1568"/>
                  </a:lnTo>
                  <a:lnTo>
                    <a:pt x="670" y="1568"/>
                  </a:lnTo>
                  <a:close/>
                  <a:moveTo>
                    <a:pt x="722" y="1360"/>
                  </a:moveTo>
                  <a:lnTo>
                    <a:pt x="722" y="1360"/>
                  </a:lnTo>
                  <a:lnTo>
                    <a:pt x="716" y="1360"/>
                  </a:lnTo>
                  <a:lnTo>
                    <a:pt x="710" y="1362"/>
                  </a:lnTo>
                  <a:lnTo>
                    <a:pt x="706" y="1366"/>
                  </a:lnTo>
                  <a:lnTo>
                    <a:pt x="700" y="1370"/>
                  </a:lnTo>
                  <a:lnTo>
                    <a:pt x="694" y="1378"/>
                  </a:lnTo>
                  <a:lnTo>
                    <a:pt x="690" y="1384"/>
                  </a:lnTo>
                  <a:lnTo>
                    <a:pt x="686" y="1394"/>
                  </a:lnTo>
                  <a:lnTo>
                    <a:pt x="684" y="1404"/>
                  </a:lnTo>
                  <a:lnTo>
                    <a:pt x="684" y="1404"/>
                  </a:lnTo>
                  <a:lnTo>
                    <a:pt x="682" y="1414"/>
                  </a:lnTo>
                  <a:lnTo>
                    <a:pt x="682" y="1422"/>
                  </a:lnTo>
                  <a:lnTo>
                    <a:pt x="684" y="1430"/>
                  </a:lnTo>
                  <a:lnTo>
                    <a:pt x="686" y="1438"/>
                  </a:lnTo>
                  <a:lnTo>
                    <a:pt x="688" y="1444"/>
                  </a:lnTo>
                  <a:lnTo>
                    <a:pt x="692" y="1448"/>
                  </a:lnTo>
                  <a:lnTo>
                    <a:pt x="696" y="1450"/>
                  </a:lnTo>
                  <a:lnTo>
                    <a:pt x="700" y="1450"/>
                  </a:lnTo>
                  <a:lnTo>
                    <a:pt x="700" y="1450"/>
                  </a:lnTo>
                  <a:lnTo>
                    <a:pt x="704" y="1450"/>
                  </a:lnTo>
                  <a:lnTo>
                    <a:pt x="708" y="1448"/>
                  </a:lnTo>
                  <a:lnTo>
                    <a:pt x="716" y="1438"/>
                  </a:lnTo>
                  <a:lnTo>
                    <a:pt x="722" y="1424"/>
                  </a:lnTo>
                  <a:lnTo>
                    <a:pt x="728" y="1406"/>
                  </a:lnTo>
                  <a:lnTo>
                    <a:pt x="728" y="1406"/>
                  </a:lnTo>
                  <a:lnTo>
                    <a:pt x="734" y="1386"/>
                  </a:lnTo>
                  <a:lnTo>
                    <a:pt x="734" y="1372"/>
                  </a:lnTo>
                  <a:lnTo>
                    <a:pt x="734" y="1366"/>
                  </a:lnTo>
                  <a:lnTo>
                    <a:pt x="732" y="1362"/>
                  </a:lnTo>
                  <a:lnTo>
                    <a:pt x="728" y="1360"/>
                  </a:lnTo>
                  <a:lnTo>
                    <a:pt x="722" y="1360"/>
                  </a:lnTo>
                  <a:lnTo>
                    <a:pt x="722" y="1360"/>
                  </a:lnTo>
                  <a:close/>
                  <a:moveTo>
                    <a:pt x="726" y="1406"/>
                  </a:moveTo>
                  <a:lnTo>
                    <a:pt x="726" y="1406"/>
                  </a:lnTo>
                  <a:lnTo>
                    <a:pt x="722" y="1416"/>
                  </a:lnTo>
                  <a:lnTo>
                    <a:pt x="718" y="1426"/>
                  </a:lnTo>
                  <a:lnTo>
                    <a:pt x="712" y="1430"/>
                  </a:lnTo>
                  <a:lnTo>
                    <a:pt x="704" y="1432"/>
                  </a:lnTo>
                  <a:lnTo>
                    <a:pt x="704" y="1432"/>
                  </a:lnTo>
                  <a:lnTo>
                    <a:pt x="698" y="1430"/>
                  </a:lnTo>
                  <a:lnTo>
                    <a:pt x="692" y="1424"/>
                  </a:lnTo>
                  <a:lnTo>
                    <a:pt x="690" y="1416"/>
                  </a:lnTo>
                  <a:lnTo>
                    <a:pt x="690" y="1404"/>
                  </a:lnTo>
                  <a:lnTo>
                    <a:pt x="690" y="1404"/>
                  </a:lnTo>
                  <a:lnTo>
                    <a:pt x="694" y="1392"/>
                  </a:lnTo>
                  <a:lnTo>
                    <a:pt x="702" y="1384"/>
                  </a:lnTo>
                  <a:lnTo>
                    <a:pt x="710" y="1380"/>
                  </a:lnTo>
                  <a:lnTo>
                    <a:pt x="718" y="1378"/>
                  </a:lnTo>
                  <a:lnTo>
                    <a:pt x="718" y="1378"/>
                  </a:lnTo>
                  <a:lnTo>
                    <a:pt x="726" y="1380"/>
                  </a:lnTo>
                  <a:lnTo>
                    <a:pt x="728" y="1384"/>
                  </a:lnTo>
                  <a:lnTo>
                    <a:pt x="728" y="1392"/>
                  </a:lnTo>
                  <a:lnTo>
                    <a:pt x="726" y="1406"/>
                  </a:lnTo>
                  <a:lnTo>
                    <a:pt x="726" y="1406"/>
                  </a:lnTo>
                  <a:close/>
                  <a:moveTo>
                    <a:pt x="734" y="1316"/>
                  </a:moveTo>
                  <a:lnTo>
                    <a:pt x="734" y="1316"/>
                  </a:lnTo>
                  <a:lnTo>
                    <a:pt x="740" y="1314"/>
                  </a:lnTo>
                  <a:lnTo>
                    <a:pt x="746" y="1312"/>
                  </a:lnTo>
                  <a:lnTo>
                    <a:pt x="750" y="1308"/>
                  </a:lnTo>
                  <a:lnTo>
                    <a:pt x="756" y="1302"/>
                  </a:lnTo>
                  <a:lnTo>
                    <a:pt x="762" y="1288"/>
                  </a:lnTo>
                  <a:lnTo>
                    <a:pt x="770" y="1270"/>
                  </a:lnTo>
                  <a:lnTo>
                    <a:pt x="770" y="1270"/>
                  </a:lnTo>
                  <a:lnTo>
                    <a:pt x="774" y="1250"/>
                  </a:lnTo>
                  <a:lnTo>
                    <a:pt x="774" y="1242"/>
                  </a:lnTo>
                  <a:lnTo>
                    <a:pt x="774" y="1236"/>
                  </a:lnTo>
                  <a:lnTo>
                    <a:pt x="772" y="1230"/>
                  </a:lnTo>
                  <a:lnTo>
                    <a:pt x="768" y="1226"/>
                  </a:lnTo>
                  <a:lnTo>
                    <a:pt x="762" y="1224"/>
                  </a:lnTo>
                  <a:lnTo>
                    <a:pt x="756" y="1224"/>
                  </a:lnTo>
                  <a:lnTo>
                    <a:pt x="756" y="1224"/>
                  </a:lnTo>
                  <a:lnTo>
                    <a:pt x="748" y="1224"/>
                  </a:lnTo>
                  <a:lnTo>
                    <a:pt x="740" y="1226"/>
                  </a:lnTo>
                  <a:lnTo>
                    <a:pt x="734" y="1230"/>
                  </a:lnTo>
                  <a:lnTo>
                    <a:pt x="726" y="1234"/>
                  </a:lnTo>
                  <a:lnTo>
                    <a:pt x="720" y="1242"/>
                  </a:lnTo>
                  <a:lnTo>
                    <a:pt x="716" y="1248"/>
                  </a:lnTo>
                  <a:lnTo>
                    <a:pt x="712" y="1258"/>
                  </a:lnTo>
                  <a:lnTo>
                    <a:pt x="708" y="1268"/>
                  </a:lnTo>
                  <a:lnTo>
                    <a:pt x="708" y="1268"/>
                  </a:lnTo>
                  <a:lnTo>
                    <a:pt x="708" y="1278"/>
                  </a:lnTo>
                  <a:lnTo>
                    <a:pt x="708" y="1286"/>
                  </a:lnTo>
                  <a:lnTo>
                    <a:pt x="710" y="1296"/>
                  </a:lnTo>
                  <a:lnTo>
                    <a:pt x="714" y="1302"/>
                  </a:lnTo>
                  <a:lnTo>
                    <a:pt x="718" y="1308"/>
                  </a:lnTo>
                  <a:lnTo>
                    <a:pt x="722" y="1312"/>
                  </a:lnTo>
                  <a:lnTo>
                    <a:pt x="728" y="1314"/>
                  </a:lnTo>
                  <a:lnTo>
                    <a:pt x="734" y="1316"/>
                  </a:lnTo>
                  <a:lnTo>
                    <a:pt x="734" y="1316"/>
                  </a:lnTo>
                  <a:close/>
                  <a:moveTo>
                    <a:pt x="718" y="1270"/>
                  </a:moveTo>
                  <a:lnTo>
                    <a:pt x="718" y="1270"/>
                  </a:lnTo>
                  <a:lnTo>
                    <a:pt x="720" y="1262"/>
                  </a:lnTo>
                  <a:lnTo>
                    <a:pt x="722" y="1256"/>
                  </a:lnTo>
                  <a:lnTo>
                    <a:pt x="730" y="1248"/>
                  </a:lnTo>
                  <a:lnTo>
                    <a:pt x="740" y="1244"/>
                  </a:lnTo>
                  <a:lnTo>
                    <a:pt x="752" y="1242"/>
                  </a:lnTo>
                  <a:lnTo>
                    <a:pt x="752" y="1242"/>
                  </a:lnTo>
                  <a:lnTo>
                    <a:pt x="762" y="1244"/>
                  </a:lnTo>
                  <a:lnTo>
                    <a:pt x="764" y="1246"/>
                  </a:lnTo>
                  <a:lnTo>
                    <a:pt x="766" y="1248"/>
                  </a:lnTo>
                  <a:lnTo>
                    <a:pt x="768" y="1258"/>
                  </a:lnTo>
                  <a:lnTo>
                    <a:pt x="766" y="1270"/>
                  </a:lnTo>
                  <a:lnTo>
                    <a:pt x="766" y="1270"/>
                  </a:lnTo>
                  <a:lnTo>
                    <a:pt x="762" y="1280"/>
                  </a:lnTo>
                  <a:lnTo>
                    <a:pt x="756" y="1290"/>
                  </a:lnTo>
                  <a:lnTo>
                    <a:pt x="748" y="1294"/>
                  </a:lnTo>
                  <a:lnTo>
                    <a:pt x="738" y="1296"/>
                  </a:lnTo>
                  <a:lnTo>
                    <a:pt x="738" y="1296"/>
                  </a:lnTo>
                  <a:lnTo>
                    <a:pt x="728" y="1294"/>
                  </a:lnTo>
                  <a:lnTo>
                    <a:pt x="722" y="1288"/>
                  </a:lnTo>
                  <a:lnTo>
                    <a:pt x="718" y="1280"/>
                  </a:lnTo>
                  <a:lnTo>
                    <a:pt x="718" y="1270"/>
                  </a:lnTo>
                  <a:lnTo>
                    <a:pt x="718" y="1270"/>
                  </a:lnTo>
                  <a:close/>
                  <a:moveTo>
                    <a:pt x="750" y="1162"/>
                  </a:moveTo>
                  <a:lnTo>
                    <a:pt x="750" y="1162"/>
                  </a:lnTo>
                  <a:lnTo>
                    <a:pt x="746" y="1138"/>
                  </a:lnTo>
                  <a:lnTo>
                    <a:pt x="746" y="1138"/>
                  </a:lnTo>
                  <a:lnTo>
                    <a:pt x="746" y="1138"/>
                  </a:lnTo>
                  <a:lnTo>
                    <a:pt x="806" y="1138"/>
                  </a:lnTo>
                  <a:lnTo>
                    <a:pt x="806" y="1138"/>
                  </a:lnTo>
                  <a:lnTo>
                    <a:pt x="812" y="1120"/>
                  </a:lnTo>
                  <a:lnTo>
                    <a:pt x="738" y="1120"/>
                  </a:lnTo>
                  <a:lnTo>
                    <a:pt x="738" y="1120"/>
                  </a:lnTo>
                  <a:lnTo>
                    <a:pt x="734" y="1136"/>
                  </a:lnTo>
                  <a:lnTo>
                    <a:pt x="734" y="1136"/>
                  </a:lnTo>
                  <a:lnTo>
                    <a:pt x="740" y="1166"/>
                  </a:lnTo>
                  <a:lnTo>
                    <a:pt x="740" y="1166"/>
                  </a:lnTo>
                  <a:lnTo>
                    <a:pt x="750" y="1162"/>
                  </a:lnTo>
                  <a:lnTo>
                    <a:pt x="750" y="1162"/>
                  </a:lnTo>
                  <a:close/>
                  <a:moveTo>
                    <a:pt x="776" y="1026"/>
                  </a:moveTo>
                  <a:lnTo>
                    <a:pt x="776" y="1026"/>
                  </a:lnTo>
                  <a:lnTo>
                    <a:pt x="772" y="1002"/>
                  </a:lnTo>
                  <a:lnTo>
                    <a:pt x="772" y="1002"/>
                  </a:lnTo>
                  <a:lnTo>
                    <a:pt x="772" y="1002"/>
                  </a:lnTo>
                  <a:lnTo>
                    <a:pt x="844" y="1002"/>
                  </a:lnTo>
                  <a:lnTo>
                    <a:pt x="844" y="1002"/>
                  </a:lnTo>
                  <a:lnTo>
                    <a:pt x="848" y="984"/>
                  </a:lnTo>
                  <a:lnTo>
                    <a:pt x="760" y="984"/>
                  </a:lnTo>
                  <a:lnTo>
                    <a:pt x="760" y="984"/>
                  </a:lnTo>
                  <a:lnTo>
                    <a:pt x="758" y="1000"/>
                  </a:lnTo>
                  <a:lnTo>
                    <a:pt x="758" y="1000"/>
                  </a:lnTo>
                  <a:lnTo>
                    <a:pt x="766" y="1030"/>
                  </a:lnTo>
                  <a:lnTo>
                    <a:pt x="766" y="1030"/>
                  </a:lnTo>
                  <a:lnTo>
                    <a:pt x="776" y="1026"/>
                  </a:lnTo>
                  <a:lnTo>
                    <a:pt x="776" y="1026"/>
                  </a:lnTo>
                  <a:close/>
                  <a:moveTo>
                    <a:pt x="826" y="908"/>
                  </a:moveTo>
                  <a:lnTo>
                    <a:pt x="826" y="908"/>
                  </a:lnTo>
                  <a:lnTo>
                    <a:pt x="838" y="906"/>
                  </a:lnTo>
                  <a:lnTo>
                    <a:pt x="848" y="904"/>
                  </a:lnTo>
                  <a:lnTo>
                    <a:pt x="856" y="900"/>
                  </a:lnTo>
                  <a:lnTo>
                    <a:pt x="862" y="896"/>
                  </a:lnTo>
                  <a:lnTo>
                    <a:pt x="868" y="888"/>
                  </a:lnTo>
                  <a:lnTo>
                    <a:pt x="872" y="880"/>
                  </a:lnTo>
                  <a:lnTo>
                    <a:pt x="876" y="872"/>
                  </a:lnTo>
                  <a:lnTo>
                    <a:pt x="880" y="862"/>
                  </a:lnTo>
                  <a:lnTo>
                    <a:pt x="880" y="862"/>
                  </a:lnTo>
                  <a:lnTo>
                    <a:pt x="882" y="852"/>
                  </a:lnTo>
                  <a:lnTo>
                    <a:pt x="882" y="842"/>
                  </a:lnTo>
                  <a:lnTo>
                    <a:pt x="880" y="834"/>
                  </a:lnTo>
                  <a:lnTo>
                    <a:pt x="878" y="828"/>
                  </a:lnTo>
                  <a:lnTo>
                    <a:pt x="872" y="822"/>
                  </a:lnTo>
                  <a:lnTo>
                    <a:pt x="864" y="818"/>
                  </a:lnTo>
                  <a:lnTo>
                    <a:pt x="856" y="816"/>
                  </a:lnTo>
                  <a:lnTo>
                    <a:pt x="844" y="816"/>
                  </a:lnTo>
                  <a:lnTo>
                    <a:pt x="844" y="816"/>
                  </a:lnTo>
                  <a:lnTo>
                    <a:pt x="832" y="816"/>
                  </a:lnTo>
                  <a:lnTo>
                    <a:pt x="820" y="818"/>
                  </a:lnTo>
                  <a:lnTo>
                    <a:pt x="810" y="822"/>
                  </a:lnTo>
                  <a:lnTo>
                    <a:pt x="800" y="828"/>
                  </a:lnTo>
                  <a:lnTo>
                    <a:pt x="792" y="834"/>
                  </a:lnTo>
                  <a:lnTo>
                    <a:pt x="784" y="842"/>
                  </a:lnTo>
                  <a:lnTo>
                    <a:pt x="780" y="850"/>
                  </a:lnTo>
                  <a:lnTo>
                    <a:pt x="776" y="860"/>
                  </a:lnTo>
                  <a:lnTo>
                    <a:pt x="776" y="860"/>
                  </a:lnTo>
                  <a:lnTo>
                    <a:pt x="776" y="870"/>
                  </a:lnTo>
                  <a:lnTo>
                    <a:pt x="778" y="880"/>
                  </a:lnTo>
                  <a:lnTo>
                    <a:pt x="782" y="888"/>
                  </a:lnTo>
                  <a:lnTo>
                    <a:pt x="788" y="894"/>
                  </a:lnTo>
                  <a:lnTo>
                    <a:pt x="796" y="900"/>
                  </a:lnTo>
                  <a:lnTo>
                    <a:pt x="806" y="904"/>
                  </a:lnTo>
                  <a:lnTo>
                    <a:pt x="816" y="906"/>
                  </a:lnTo>
                  <a:lnTo>
                    <a:pt x="826" y="908"/>
                  </a:lnTo>
                  <a:lnTo>
                    <a:pt x="826" y="908"/>
                  </a:lnTo>
                  <a:close/>
                  <a:moveTo>
                    <a:pt x="790" y="862"/>
                  </a:moveTo>
                  <a:lnTo>
                    <a:pt x="790" y="862"/>
                  </a:lnTo>
                  <a:lnTo>
                    <a:pt x="792" y="854"/>
                  </a:lnTo>
                  <a:lnTo>
                    <a:pt x="796" y="850"/>
                  </a:lnTo>
                  <a:lnTo>
                    <a:pt x="802" y="844"/>
                  </a:lnTo>
                  <a:lnTo>
                    <a:pt x="808" y="840"/>
                  </a:lnTo>
                  <a:lnTo>
                    <a:pt x="822" y="836"/>
                  </a:lnTo>
                  <a:lnTo>
                    <a:pt x="840" y="834"/>
                  </a:lnTo>
                  <a:lnTo>
                    <a:pt x="840" y="834"/>
                  </a:lnTo>
                  <a:lnTo>
                    <a:pt x="856" y="836"/>
                  </a:lnTo>
                  <a:lnTo>
                    <a:pt x="862" y="838"/>
                  </a:lnTo>
                  <a:lnTo>
                    <a:pt x="868" y="840"/>
                  </a:lnTo>
                  <a:lnTo>
                    <a:pt x="870" y="844"/>
                  </a:lnTo>
                  <a:lnTo>
                    <a:pt x="872" y="850"/>
                  </a:lnTo>
                  <a:lnTo>
                    <a:pt x="872" y="856"/>
                  </a:lnTo>
                  <a:lnTo>
                    <a:pt x="872" y="862"/>
                  </a:lnTo>
                  <a:lnTo>
                    <a:pt x="872" y="862"/>
                  </a:lnTo>
                  <a:lnTo>
                    <a:pt x="868" y="874"/>
                  </a:lnTo>
                  <a:lnTo>
                    <a:pt x="858" y="882"/>
                  </a:lnTo>
                  <a:lnTo>
                    <a:pt x="854" y="884"/>
                  </a:lnTo>
                  <a:lnTo>
                    <a:pt x="846" y="888"/>
                  </a:lnTo>
                  <a:lnTo>
                    <a:pt x="830" y="890"/>
                  </a:lnTo>
                  <a:lnTo>
                    <a:pt x="830" y="890"/>
                  </a:lnTo>
                  <a:lnTo>
                    <a:pt x="814" y="888"/>
                  </a:lnTo>
                  <a:lnTo>
                    <a:pt x="806" y="884"/>
                  </a:lnTo>
                  <a:lnTo>
                    <a:pt x="800" y="882"/>
                  </a:lnTo>
                  <a:lnTo>
                    <a:pt x="796" y="878"/>
                  </a:lnTo>
                  <a:lnTo>
                    <a:pt x="792" y="872"/>
                  </a:lnTo>
                  <a:lnTo>
                    <a:pt x="790" y="868"/>
                  </a:lnTo>
                  <a:lnTo>
                    <a:pt x="790" y="862"/>
                  </a:lnTo>
                  <a:lnTo>
                    <a:pt x="790" y="862"/>
                  </a:lnTo>
                  <a:close/>
                  <a:moveTo>
                    <a:pt x="824" y="754"/>
                  </a:moveTo>
                  <a:lnTo>
                    <a:pt x="824" y="754"/>
                  </a:lnTo>
                  <a:lnTo>
                    <a:pt x="816" y="730"/>
                  </a:lnTo>
                  <a:lnTo>
                    <a:pt x="816" y="730"/>
                  </a:lnTo>
                  <a:lnTo>
                    <a:pt x="816" y="730"/>
                  </a:lnTo>
                  <a:lnTo>
                    <a:pt x="908" y="730"/>
                  </a:lnTo>
                  <a:lnTo>
                    <a:pt x="908" y="730"/>
                  </a:lnTo>
                  <a:lnTo>
                    <a:pt x="912" y="712"/>
                  </a:lnTo>
                  <a:lnTo>
                    <a:pt x="800" y="712"/>
                  </a:lnTo>
                  <a:lnTo>
                    <a:pt x="800" y="712"/>
                  </a:lnTo>
                  <a:lnTo>
                    <a:pt x="798" y="728"/>
                  </a:lnTo>
                  <a:lnTo>
                    <a:pt x="798" y="728"/>
                  </a:lnTo>
                  <a:lnTo>
                    <a:pt x="810" y="758"/>
                  </a:lnTo>
                  <a:lnTo>
                    <a:pt x="810" y="758"/>
                  </a:lnTo>
                  <a:lnTo>
                    <a:pt x="824" y="754"/>
                  </a:lnTo>
                  <a:lnTo>
                    <a:pt x="824" y="754"/>
                  </a:lnTo>
                  <a:close/>
                  <a:moveTo>
                    <a:pt x="844" y="618"/>
                  </a:moveTo>
                  <a:lnTo>
                    <a:pt x="844" y="618"/>
                  </a:lnTo>
                  <a:lnTo>
                    <a:pt x="834" y="594"/>
                  </a:lnTo>
                  <a:lnTo>
                    <a:pt x="834" y="594"/>
                  </a:lnTo>
                  <a:lnTo>
                    <a:pt x="834" y="594"/>
                  </a:lnTo>
                  <a:lnTo>
                    <a:pt x="934" y="594"/>
                  </a:lnTo>
                  <a:lnTo>
                    <a:pt x="934" y="594"/>
                  </a:lnTo>
                  <a:lnTo>
                    <a:pt x="938" y="576"/>
                  </a:lnTo>
                  <a:lnTo>
                    <a:pt x="816" y="576"/>
                  </a:lnTo>
                  <a:lnTo>
                    <a:pt x="816" y="576"/>
                  </a:lnTo>
                  <a:lnTo>
                    <a:pt x="814" y="592"/>
                  </a:lnTo>
                  <a:lnTo>
                    <a:pt x="814" y="592"/>
                  </a:lnTo>
                  <a:lnTo>
                    <a:pt x="828" y="622"/>
                  </a:lnTo>
                  <a:lnTo>
                    <a:pt x="828" y="622"/>
                  </a:lnTo>
                  <a:lnTo>
                    <a:pt x="844" y="618"/>
                  </a:lnTo>
                  <a:lnTo>
                    <a:pt x="844" y="618"/>
                  </a:lnTo>
                  <a:close/>
                  <a:moveTo>
                    <a:pt x="860" y="482"/>
                  </a:moveTo>
                  <a:lnTo>
                    <a:pt x="860" y="482"/>
                  </a:lnTo>
                  <a:lnTo>
                    <a:pt x="848" y="458"/>
                  </a:lnTo>
                  <a:lnTo>
                    <a:pt x="848" y="458"/>
                  </a:lnTo>
                  <a:lnTo>
                    <a:pt x="848" y="458"/>
                  </a:lnTo>
                  <a:lnTo>
                    <a:pt x="958" y="458"/>
                  </a:lnTo>
                  <a:lnTo>
                    <a:pt x="958" y="458"/>
                  </a:lnTo>
                  <a:lnTo>
                    <a:pt x="960" y="440"/>
                  </a:lnTo>
                  <a:lnTo>
                    <a:pt x="830" y="440"/>
                  </a:lnTo>
                  <a:lnTo>
                    <a:pt x="830" y="440"/>
                  </a:lnTo>
                  <a:lnTo>
                    <a:pt x="828" y="456"/>
                  </a:lnTo>
                  <a:lnTo>
                    <a:pt x="828" y="456"/>
                  </a:lnTo>
                  <a:lnTo>
                    <a:pt x="844" y="486"/>
                  </a:lnTo>
                  <a:lnTo>
                    <a:pt x="844" y="486"/>
                  </a:lnTo>
                  <a:lnTo>
                    <a:pt x="860" y="482"/>
                  </a:lnTo>
                  <a:lnTo>
                    <a:pt x="860" y="482"/>
                  </a:lnTo>
                  <a:close/>
                  <a:moveTo>
                    <a:pt x="874" y="346"/>
                  </a:moveTo>
                  <a:lnTo>
                    <a:pt x="874" y="346"/>
                  </a:lnTo>
                  <a:lnTo>
                    <a:pt x="860" y="324"/>
                  </a:lnTo>
                  <a:lnTo>
                    <a:pt x="860" y="324"/>
                  </a:lnTo>
                  <a:lnTo>
                    <a:pt x="860" y="322"/>
                  </a:lnTo>
                  <a:lnTo>
                    <a:pt x="974" y="322"/>
                  </a:lnTo>
                  <a:lnTo>
                    <a:pt x="974" y="322"/>
                  </a:lnTo>
                  <a:lnTo>
                    <a:pt x="976" y="304"/>
                  </a:lnTo>
                  <a:lnTo>
                    <a:pt x="840" y="304"/>
                  </a:lnTo>
                  <a:lnTo>
                    <a:pt x="840" y="304"/>
                  </a:lnTo>
                  <a:lnTo>
                    <a:pt x="840" y="320"/>
                  </a:lnTo>
                  <a:lnTo>
                    <a:pt x="840" y="320"/>
                  </a:lnTo>
                  <a:lnTo>
                    <a:pt x="856" y="350"/>
                  </a:lnTo>
                  <a:lnTo>
                    <a:pt x="856" y="350"/>
                  </a:lnTo>
                  <a:lnTo>
                    <a:pt x="874" y="346"/>
                  </a:lnTo>
                  <a:lnTo>
                    <a:pt x="874" y="346"/>
                  </a:lnTo>
                  <a:close/>
                  <a:moveTo>
                    <a:pt x="922" y="228"/>
                  </a:moveTo>
                  <a:lnTo>
                    <a:pt x="922" y="228"/>
                  </a:lnTo>
                  <a:lnTo>
                    <a:pt x="938" y="228"/>
                  </a:lnTo>
                  <a:lnTo>
                    <a:pt x="952" y="226"/>
                  </a:lnTo>
                  <a:lnTo>
                    <a:pt x="962" y="222"/>
                  </a:lnTo>
                  <a:lnTo>
                    <a:pt x="972" y="216"/>
                  </a:lnTo>
                  <a:lnTo>
                    <a:pt x="978" y="210"/>
                  </a:lnTo>
                  <a:lnTo>
                    <a:pt x="984" y="202"/>
                  </a:lnTo>
                  <a:lnTo>
                    <a:pt x="988" y="194"/>
                  </a:lnTo>
                  <a:lnTo>
                    <a:pt x="988" y="184"/>
                  </a:lnTo>
                  <a:lnTo>
                    <a:pt x="988" y="184"/>
                  </a:lnTo>
                  <a:lnTo>
                    <a:pt x="988" y="174"/>
                  </a:lnTo>
                  <a:lnTo>
                    <a:pt x="986" y="164"/>
                  </a:lnTo>
                  <a:lnTo>
                    <a:pt x="982" y="156"/>
                  </a:lnTo>
                  <a:lnTo>
                    <a:pt x="976" y="148"/>
                  </a:lnTo>
                  <a:lnTo>
                    <a:pt x="968" y="144"/>
                  </a:lnTo>
                  <a:lnTo>
                    <a:pt x="956" y="140"/>
                  </a:lnTo>
                  <a:lnTo>
                    <a:pt x="942" y="138"/>
                  </a:lnTo>
                  <a:lnTo>
                    <a:pt x="926" y="136"/>
                  </a:lnTo>
                  <a:lnTo>
                    <a:pt x="926" y="136"/>
                  </a:lnTo>
                  <a:lnTo>
                    <a:pt x="910" y="138"/>
                  </a:lnTo>
                  <a:lnTo>
                    <a:pt x="894" y="140"/>
                  </a:lnTo>
                  <a:lnTo>
                    <a:pt x="880" y="144"/>
                  </a:lnTo>
                  <a:lnTo>
                    <a:pt x="868" y="148"/>
                  </a:lnTo>
                  <a:lnTo>
                    <a:pt x="858" y="154"/>
                  </a:lnTo>
                  <a:lnTo>
                    <a:pt x="850" y="162"/>
                  </a:lnTo>
                  <a:lnTo>
                    <a:pt x="846" y="172"/>
                  </a:lnTo>
                  <a:lnTo>
                    <a:pt x="844" y="182"/>
                  </a:lnTo>
                  <a:lnTo>
                    <a:pt x="844" y="182"/>
                  </a:lnTo>
                  <a:lnTo>
                    <a:pt x="844" y="192"/>
                  </a:lnTo>
                  <a:lnTo>
                    <a:pt x="850" y="200"/>
                  </a:lnTo>
                  <a:lnTo>
                    <a:pt x="856" y="208"/>
                  </a:lnTo>
                  <a:lnTo>
                    <a:pt x="866" y="216"/>
                  </a:lnTo>
                  <a:lnTo>
                    <a:pt x="878" y="220"/>
                  </a:lnTo>
                  <a:lnTo>
                    <a:pt x="892" y="226"/>
                  </a:lnTo>
                  <a:lnTo>
                    <a:pt x="906" y="228"/>
                  </a:lnTo>
                  <a:lnTo>
                    <a:pt x="922" y="228"/>
                  </a:lnTo>
                  <a:lnTo>
                    <a:pt x="922" y="228"/>
                  </a:lnTo>
                  <a:close/>
                  <a:moveTo>
                    <a:pt x="926" y="156"/>
                  </a:moveTo>
                  <a:lnTo>
                    <a:pt x="926" y="156"/>
                  </a:lnTo>
                  <a:lnTo>
                    <a:pt x="950" y="156"/>
                  </a:lnTo>
                  <a:lnTo>
                    <a:pt x="958" y="158"/>
                  </a:lnTo>
                  <a:lnTo>
                    <a:pt x="966" y="162"/>
                  </a:lnTo>
                  <a:lnTo>
                    <a:pt x="970" y="166"/>
                  </a:lnTo>
                  <a:lnTo>
                    <a:pt x="974" y="170"/>
                  </a:lnTo>
                  <a:lnTo>
                    <a:pt x="976" y="176"/>
                  </a:lnTo>
                  <a:lnTo>
                    <a:pt x="976" y="182"/>
                  </a:lnTo>
                  <a:lnTo>
                    <a:pt x="976" y="182"/>
                  </a:lnTo>
                  <a:lnTo>
                    <a:pt x="976" y="188"/>
                  </a:lnTo>
                  <a:lnTo>
                    <a:pt x="974" y="194"/>
                  </a:lnTo>
                  <a:lnTo>
                    <a:pt x="970" y="198"/>
                  </a:lnTo>
                  <a:lnTo>
                    <a:pt x="964" y="202"/>
                  </a:lnTo>
                  <a:lnTo>
                    <a:pt x="956" y="206"/>
                  </a:lnTo>
                  <a:lnTo>
                    <a:pt x="948" y="208"/>
                  </a:lnTo>
                  <a:lnTo>
                    <a:pt x="924" y="210"/>
                  </a:lnTo>
                  <a:lnTo>
                    <a:pt x="924" y="210"/>
                  </a:lnTo>
                  <a:lnTo>
                    <a:pt x="898" y="208"/>
                  </a:lnTo>
                  <a:lnTo>
                    <a:pt x="888" y="206"/>
                  </a:lnTo>
                  <a:lnTo>
                    <a:pt x="880" y="202"/>
                  </a:lnTo>
                  <a:lnTo>
                    <a:pt x="872" y="198"/>
                  </a:lnTo>
                  <a:lnTo>
                    <a:pt x="866" y="194"/>
                  </a:lnTo>
                  <a:lnTo>
                    <a:pt x="862" y="188"/>
                  </a:lnTo>
                  <a:lnTo>
                    <a:pt x="862" y="182"/>
                  </a:lnTo>
                  <a:lnTo>
                    <a:pt x="862" y="182"/>
                  </a:lnTo>
                  <a:lnTo>
                    <a:pt x="864" y="176"/>
                  </a:lnTo>
                  <a:lnTo>
                    <a:pt x="868" y="170"/>
                  </a:lnTo>
                  <a:lnTo>
                    <a:pt x="874" y="166"/>
                  </a:lnTo>
                  <a:lnTo>
                    <a:pt x="882" y="162"/>
                  </a:lnTo>
                  <a:lnTo>
                    <a:pt x="902" y="156"/>
                  </a:lnTo>
                  <a:lnTo>
                    <a:pt x="926" y="156"/>
                  </a:lnTo>
                  <a:lnTo>
                    <a:pt x="926" y="156"/>
                  </a:lnTo>
                  <a:close/>
                  <a:moveTo>
                    <a:pt x="888" y="74"/>
                  </a:moveTo>
                  <a:lnTo>
                    <a:pt x="888" y="74"/>
                  </a:lnTo>
                  <a:lnTo>
                    <a:pt x="872" y="52"/>
                  </a:lnTo>
                  <a:lnTo>
                    <a:pt x="872" y="52"/>
                  </a:lnTo>
                  <a:lnTo>
                    <a:pt x="872" y="52"/>
                  </a:lnTo>
                  <a:lnTo>
                    <a:pt x="992" y="52"/>
                  </a:lnTo>
                  <a:lnTo>
                    <a:pt x="992" y="52"/>
                  </a:lnTo>
                  <a:lnTo>
                    <a:pt x="992" y="34"/>
                  </a:lnTo>
                  <a:lnTo>
                    <a:pt x="850" y="34"/>
                  </a:lnTo>
                  <a:lnTo>
                    <a:pt x="850" y="34"/>
                  </a:lnTo>
                  <a:lnTo>
                    <a:pt x="850" y="48"/>
                  </a:lnTo>
                  <a:lnTo>
                    <a:pt x="850" y="48"/>
                  </a:lnTo>
                  <a:lnTo>
                    <a:pt x="870" y="78"/>
                  </a:lnTo>
                  <a:lnTo>
                    <a:pt x="870" y="78"/>
                  </a:lnTo>
                  <a:lnTo>
                    <a:pt x="888" y="74"/>
                  </a:lnTo>
                  <a:lnTo>
                    <a:pt x="888" y="74"/>
                  </a:lnTo>
                  <a:close/>
                  <a:moveTo>
                    <a:pt x="0" y="3446"/>
                  </a:moveTo>
                  <a:lnTo>
                    <a:pt x="118" y="3446"/>
                  </a:lnTo>
                  <a:lnTo>
                    <a:pt x="118" y="3446"/>
                  </a:lnTo>
                  <a:lnTo>
                    <a:pt x="118" y="3446"/>
                  </a:lnTo>
                  <a:lnTo>
                    <a:pt x="118" y="3446"/>
                  </a:lnTo>
                  <a:lnTo>
                    <a:pt x="106" y="3470"/>
                  </a:lnTo>
                  <a:lnTo>
                    <a:pt x="106" y="3470"/>
                  </a:lnTo>
                  <a:lnTo>
                    <a:pt x="118" y="3474"/>
                  </a:lnTo>
                  <a:lnTo>
                    <a:pt x="118" y="3474"/>
                  </a:lnTo>
                  <a:lnTo>
                    <a:pt x="136" y="3444"/>
                  </a:lnTo>
                  <a:lnTo>
                    <a:pt x="136" y="3444"/>
                  </a:lnTo>
                  <a:lnTo>
                    <a:pt x="136" y="3428"/>
                  </a:lnTo>
                  <a:lnTo>
                    <a:pt x="0" y="3428"/>
                  </a:lnTo>
                  <a:lnTo>
                    <a:pt x="0" y="3428"/>
                  </a:lnTo>
                  <a:lnTo>
                    <a:pt x="0" y="3446"/>
                  </a:lnTo>
                  <a:lnTo>
                    <a:pt x="0" y="3446"/>
                  </a:lnTo>
                  <a:close/>
                  <a:moveTo>
                    <a:pt x="8" y="3310"/>
                  </a:moveTo>
                  <a:lnTo>
                    <a:pt x="124" y="3310"/>
                  </a:lnTo>
                  <a:lnTo>
                    <a:pt x="124" y="3310"/>
                  </a:lnTo>
                  <a:lnTo>
                    <a:pt x="124" y="3312"/>
                  </a:lnTo>
                  <a:lnTo>
                    <a:pt x="124" y="3312"/>
                  </a:lnTo>
                  <a:lnTo>
                    <a:pt x="110" y="3334"/>
                  </a:lnTo>
                  <a:lnTo>
                    <a:pt x="110" y="3334"/>
                  </a:lnTo>
                  <a:lnTo>
                    <a:pt x="124" y="3338"/>
                  </a:lnTo>
                  <a:lnTo>
                    <a:pt x="124" y="3338"/>
                  </a:lnTo>
                  <a:lnTo>
                    <a:pt x="142" y="3308"/>
                  </a:lnTo>
                  <a:lnTo>
                    <a:pt x="142" y="3308"/>
                  </a:lnTo>
                  <a:lnTo>
                    <a:pt x="142" y="3294"/>
                  </a:lnTo>
                  <a:lnTo>
                    <a:pt x="10" y="3294"/>
                  </a:lnTo>
                  <a:lnTo>
                    <a:pt x="10" y="3294"/>
                  </a:lnTo>
                  <a:lnTo>
                    <a:pt x="8" y="3310"/>
                  </a:lnTo>
                  <a:lnTo>
                    <a:pt x="8" y="3310"/>
                  </a:lnTo>
                  <a:close/>
                  <a:moveTo>
                    <a:pt x="100" y="3124"/>
                  </a:moveTo>
                  <a:lnTo>
                    <a:pt x="100" y="3124"/>
                  </a:lnTo>
                  <a:lnTo>
                    <a:pt x="84" y="3126"/>
                  </a:lnTo>
                  <a:lnTo>
                    <a:pt x="72" y="3128"/>
                  </a:lnTo>
                  <a:lnTo>
                    <a:pt x="60" y="3132"/>
                  </a:lnTo>
                  <a:lnTo>
                    <a:pt x="48" y="3138"/>
                  </a:lnTo>
                  <a:lnTo>
                    <a:pt x="40" y="3144"/>
                  </a:lnTo>
                  <a:lnTo>
                    <a:pt x="34" y="3152"/>
                  </a:lnTo>
                  <a:lnTo>
                    <a:pt x="28" y="3162"/>
                  </a:lnTo>
                  <a:lnTo>
                    <a:pt x="26" y="3172"/>
                  </a:lnTo>
                  <a:lnTo>
                    <a:pt x="26" y="3172"/>
                  </a:lnTo>
                  <a:lnTo>
                    <a:pt x="26" y="3182"/>
                  </a:lnTo>
                  <a:lnTo>
                    <a:pt x="28" y="3190"/>
                  </a:lnTo>
                  <a:lnTo>
                    <a:pt x="32" y="3198"/>
                  </a:lnTo>
                  <a:lnTo>
                    <a:pt x="38" y="3204"/>
                  </a:lnTo>
                  <a:lnTo>
                    <a:pt x="46" y="3210"/>
                  </a:lnTo>
                  <a:lnTo>
                    <a:pt x="56" y="3214"/>
                  </a:lnTo>
                  <a:lnTo>
                    <a:pt x="70" y="3216"/>
                  </a:lnTo>
                  <a:lnTo>
                    <a:pt x="84" y="3216"/>
                  </a:lnTo>
                  <a:lnTo>
                    <a:pt x="84" y="3216"/>
                  </a:lnTo>
                  <a:lnTo>
                    <a:pt x="100" y="3216"/>
                  </a:lnTo>
                  <a:lnTo>
                    <a:pt x="114" y="3214"/>
                  </a:lnTo>
                  <a:lnTo>
                    <a:pt x="126" y="3208"/>
                  </a:lnTo>
                  <a:lnTo>
                    <a:pt x="136" y="3204"/>
                  </a:lnTo>
                  <a:lnTo>
                    <a:pt x="146" y="3196"/>
                  </a:lnTo>
                  <a:lnTo>
                    <a:pt x="152" y="3188"/>
                  </a:lnTo>
                  <a:lnTo>
                    <a:pt x="156" y="3180"/>
                  </a:lnTo>
                  <a:lnTo>
                    <a:pt x="158" y="3170"/>
                  </a:lnTo>
                  <a:lnTo>
                    <a:pt x="158" y="3170"/>
                  </a:lnTo>
                  <a:lnTo>
                    <a:pt x="158" y="3160"/>
                  </a:lnTo>
                  <a:lnTo>
                    <a:pt x="156" y="3150"/>
                  </a:lnTo>
                  <a:lnTo>
                    <a:pt x="152" y="3142"/>
                  </a:lnTo>
                  <a:lnTo>
                    <a:pt x="146" y="3136"/>
                  </a:lnTo>
                  <a:lnTo>
                    <a:pt x="138" y="3132"/>
                  </a:lnTo>
                  <a:lnTo>
                    <a:pt x="126" y="3128"/>
                  </a:lnTo>
                  <a:lnTo>
                    <a:pt x="114" y="3126"/>
                  </a:lnTo>
                  <a:lnTo>
                    <a:pt x="100" y="3124"/>
                  </a:lnTo>
                  <a:lnTo>
                    <a:pt x="100" y="3124"/>
                  </a:lnTo>
                  <a:close/>
                  <a:moveTo>
                    <a:pt x="144" y="3170"/>
                  </a:moveTo>
                  <a:lnTo>
                    <a:pt x="144" y="3170"/>
                  </a:lnTo>
                  <a:lnTo>
                    <a:pt x="144" y="3176"/>
                  </a:lnTo>
                  <a:lnTo>
                    <a:pt x="140" y="3182"/>
                  </a:lnTo>
                  <a:lnTo>
                    <a:pt x="134" y="3186"/>
                  </a:lnTo>
                  <a:lnTo>
                    <a:pt x="128" y="3190"/>
                  </a:lnTo>
                  <a:lnTo>
                    <a:pt x="120" y="3194"/>
                  </a:lnTo>
                  <a:lnTo>
                    <a:pt x="110" y="3196"/>
                  </a:lnTo>
                  <a:lnTo>
                    <a:pt x="86" y="3198"/>
                  </a:lnTo>
                  <a:lnTo>
                    <a:pt x="86" y="3198"/>
                  </a:lnTo>
                  <a:lnTo>
                    <a:pt x="64" y="3196"/>
                  </a:lnTo>
                  <a:lnTo>
                    <a:pt x="56" y="3194"/>
                  </a:lnTo>
                  <a:lnTo>
                    <a:pt x="50" y="3190"/>
                  </a:lnTo>
                  <a:lnTo>
                    <a:pt x="44" y="3186"/>
                  </a:lnTo>
                  <a:lnTo>
                    <a:pt x="40" y="3182"/>
                  </a:lnTo>
                  <a:lnTo>
                    <a:pt x="38" y="3176"/>
                  </a:lnTo>
                  <a:lnTo>
                    <a:pt x="40" y="3170"/>
                  </a:lnTo>
                  <a:lnTo>
                    <a:pt x="40" y="3170"/>
                  </a:lnTo>
                  <a:lnTo>
                    <a:pt x="42" y="3164"/>
                  </a:lnTo>
                  <a:lnTo>
                    <a:pt x="44" y="3158"/>
                  </a:lnTo>
                  <a:lnTo>
                    <a:pt x="50" y="3154"/>
                  </a:lnTo>
                  <a:lnTo>
                    <a:pt x="56" y="3150"/>
                  </a:lnTo>
                  <a:lnTo>
                    <a:pt x="64" y="3146"/>
                  </a:lnTo>
                  <a:lnTo>
                    <a:pt x="74" y="3144"/>
                  </a:lnTo>
                  <a:lnTo>
                    <a:pt x="96" y="3144"/>
                  </a:lnTo>
                  <a:lnTo>
                    <a:pt x="96" y="3144"/>
                  </a:lnTo>
                  <a:lnTo>
                    <a:pt x="118" y="3144"/>
                  </a:lnTo>
                  <a:lnTo>
                    <a:pt x="126" y="3146"/>
                  </a:lnTo>
                  <a:lnTo>
                    <a:pt x="134" y="3150"/>
                  </a:lnTo>
                  <a:lnTo>
                    <a:pt x="138" y="3154"/>
                  </a:lnTo>
                  <a:lnTo>
                    <a:pt x="142" y="3158"/>
                  </a:lnTo>
                  <a:lnTo>
                    <a:pt x="144" y="3164"/>
                  </a:lnTo>
                  <a:lnTo>
                    <a:pt x="144" y="3170"/>
                  </a:lnTo>
                  <a:lnTo>
                    <a:pt x="144" y="3170"/>
                  </a:lnTo>
                  <a:close/>
                  <a:moveTo>
                    <a:pt x="56" y="3040"/>
                  </a:moveTo>
                  <a:lnTo>
                    <a:pt x="162" y="3040"/>
                  </a:lnTo>
                  <a:lnTo>
                    <a:pt x="162" y="3040"/>
                  </a:lnTo>
                  <a:lnTo>
                    <a:pt x="162" y="3040"/>
                  </a:lnTo>
                  <a:lnTo>
                    <a:pt x="162" y="3040"/>
                  </a:lnTo>
                  <a:lnTo>
                    <a:pt x="146" y="3062"/>
                  </a:lnTo>
                  <a:lnTo>
                    <a:pt x="146" y="3062"/>
                  </a:lnTo>
                  <a:lnTo>
                    <a:pt x="158" y="3066"/>
                  </a:lnTo>
                  <a:lnTo>
                    <a:pt x="158" y="3066"/>
                  </a:lnTo>
                  <a:lnTo>
                    <a:pt x="178" y="3036"/>
                  </a:lnTo>
                  <a:lnTo>
                    <a:pt x="178" y="3036"/>
                  </a:lnTo>
                  <a:lnTo>
                    <a:pt x="180" y="3022"/>
                  </a:lnTo>
                  <a:lnTo>
                    <a:pt x="60" y="3022"/>
                  </a:lnTo>
                  <a:lnTo>
                    <a:pt x="60" y="3022"/>
                  </a:lnTo>
                  <a:lnTo>
                    <a:pt x="56" y="3040"/>
                  </a:lnTo>
                  <a:lnTo>
                    <a:pt x="56" y="3040"/>
                  </a:lnTo>
                  <a:close/>
                  <a:moveTo>
                    <a:pt x="162" y="2854"/>
                  </a:moveTo>
                  <a:lnTo>
                    <a:pt x="162" y="2854"/>
                  </a:lnTo>
                  <a:lnTo>
                    <a:pt x="148" y="2854"/>
                  </a:lnTo>
                  <a:lnTo>
                    <a:pt x="136" y="2856"/>
                  </a:lnTo>
                  <a:lnTo>
                    <a:pt x="124" y="2860"/>
                  </a:lnTo>
                  <a:lnTo>
                    <a:pt x="116" y="2866"/>
                  </a:lnTo>
                  <a:lnTo>
                    <a:pt x="106" y="2872"/>
                  </a:lnTo>
                  <a:lnTo>
                    <a:pt x="100" y="2880"/>
                  </a:lnTo>
                  <a:lnTo>
                    <a:pt x="94" y="2890"/>
                  </a:lnTo>
                  <a:lnTo>
                    <a:pt x="90" y="2900"/>
                  </a:lnTo>
                  <a:lnTo>
                    <a:pt x="90" y="2900"/>
                  </a:lnTo>
                  <a:lnTo>
                    <a:pt x="88" y="2910"/>
                  </a:lnTo>
                  <a:lnTo>
                    <a:pt x="88" y="2918"/>
                  </a:lnTo>
                  <a:lnTo>
                    <a:pt x="92" y="2926"/>
                  </a:lnTo>
                  <a:lnTo>
                    <a:pt x="96" y="2932"/>
                  </a:lnTo>
                  <a:lnTo>
                    <a:pt x="102" y="2938"/>
                  </a:lnTo>
                  <a:lnTo>
                    <a:pt x="112" y="2942"/>
                  </a:lnTo>
                  <a:lnTo>
                    <a:pt x="122" y="2944"/>
                  </a:lnTo>
                  <a:lnTo>
                    <a:pt x="136" y="2944"/>
                  </a:lnTo>
                  <a:lnTo>
                    <a:pt x="136" y="2944"/>
                  </a:lnTo>
                  <a:lnTo>
                    <a:pt x="150" y="2944"/>
                  </a:lnTo>
                  <a:lnTo>
                    <a:pt x="162" y="2942"/>
                  </a:lnTo>
                  <a:lnTo>
                    <a:pt x="174" y="2938"/>
                  </a:lnTo>
                  <a:lnTo>
                    <a:pt x="184" y="2932"/>
                  </a:lnTo>
                  <a:lnTo>
                    <a:pt x="192" y="2924"/>
                  </a:lnTo>
                  <a:lnTo>
                    <a:pt x="200" y="2916"/>
                  </a:lnTo>
                  <a:lnTo>
                    <a:pt x="206" y="2908"/>
                  </a:lnTo>
                  <a:lnTo>
                    <a:pt x="208" y="2898"/>
                  </a:lnTo>
                  <a:lnTo>
                    <a:pt x="208" y="2898"/>
                  </a:lnTo>
                  <a:lnTo>
                    <a:pt x="210" y="2888"/>
                  </a:lnTo>
                  <a:lnTo>
                    <a:pt x="208" y="2878"/>
                  </a:lnTo>
                  <a:lnTo>
                    <a:pt x="206" y="2872"/>
                  </a:lnTo>
                  <a:lnTo>
                    <a:pt x="200" y="2864"/>
                  </a:lnTo>
                  <a:lnTo>
                    <a:pt x="194" y="2860"/>
                  </a:lnTo>
                  <a:lnTo>
                    <a:pt x="184" y="2856"/>
                  </a:lnTo>
                  <a:lnTo>
                    <a:pt x="174" y="2854"/>
                  </a:lnTo>
                  <a:lnTo>
                    <a:pt x="162" y="2854"/>
                  </a:lnTo>
                  <a:lnTo>
                    <a:pt x="162" y="2854"/>
                  </a:lnTo>
                  <a:close/>
                  <a:moveTo>
                    <a:pt x="196" y="2898"/>
                  </a:moveTo>
                  <a:lnTo>
                    <a:pt x="196" y="2898"/>
                  </a:lnTo>
                  <a:lnTo>
                    <a:pt x="194" y="2904"/>
                  </a:lnTo>
                  <a:lnTo>
                    <a:pt x="190" y="2910"/>
                  </a:lnTo>
                  <a:lnTo>
                    <a:pt x="184" y="2914"/>
                  </a:lnTo>
                  <a:lnTo>
                    <a:pt x="178" y="2918"/>
                  </a:lnTo>
                  <a:lnTo>
                    <a:pt x="170" y="2922"/>
                  </a:lnTo>
                  <a:lnTo>
                    <a:pt x="162" y="2924"/>
                  </a:lnTo>
                  <a:lnTo>
                    <a:pt x="140" y="2926"/>
                  </a:lnTo>
                  <a:lnTo>
                    <a:pt x="140" y="2926"/>
                  </a:lnTo>
                  <a:lnTo>
                    <a:pt x="120" y="2924"/>
                  </a:lnTo>
                  <a:lnTo>
                    <a:pt x="114" y="2922"/>
                  </a:lnTo>
                  <a:lnTo>
                    <a:pt x="108" y="2920"/>
                  </a:lnTo>
                  <a:lnTo>
                    <a:pt x="104" y="2916"/>
                  </a:lnTo>
                  <a:lnTo>
                    <a:pt x="102" y="2910"/>
                  </a:lnTo>
                  <a:lnTo>
                    <a:pt x="100" y="2906"/>
                  </a:lnTo>
                  <a:lnTo>
                    <a:pt x="102" y="2900"/>
                  </a:lnTo>
                  <a:lnTo>
                    <a:pt x="102" y="2900"/>
                  </a:lnTo>
                  <a:lnTo>
                    <a:pt x="104" y="2892"/>
                  </a:lnTo>
                  <a:lnTo>
                    <a:pt x="108" y="2886"/>
                  </a:lnTo>
                  <a:lnTo>
                    <a:pt x="114" y="2882"/>
                  </a:lnTo>
                  <a:lnTo>
                    <a:pt x="120" y="2878"/>
                  </a:lnTo>
                  <a:lnTo>
                    <a:pt x="136" y="2874"/>
                  </a:lnTo>
                  <a:lnTo>
                    <a:pt x="156" y="2872"/>
                  </a:lnTo>
                  <a:lnTo>
                    <a:pt x="156" y="2872"/>
                  </a:lnTo>
                  <a:lnTo>
                    <a:pt x="174" y="2874"/>
                  </a:lnTo>
                  <a:lnTo>
                    <a:pt x="182" y="2876"/>
                  </a:lnTo>
                  <a:lnTo>
                    <a:pt x="188" y="2878"/>
                  </a:lnTo>
                  <a:lnTo>
                    <a:pt x="192" y="2882"/>
                  </a:lnTo>
                  <a:lnTo>
                    <a:pt x="196" y="2886"/>
                  </a:lnTo>
                  <a:lnTo>
                    <a:pt x="196" y="2892"/>
                  </a:lnTo>
                  <a:lnTo>
                    <a:pt x="196" y="2898"/>
                  </a:lnTo>
                  <a:lnTo>
                    <a:pt x="196" y="2898"/>
                  </a:lnTo>
                  <a:close/>
                  <a:moveTo>
                    <a:pt x="134" y="2768"/>
                  </a:moveTo>
                  <a:lnTo>
                    <a:pt x="226" y="2768"/>
                  </a:lnTo>
                  <a:lnTo>
                    <a:pt x="226" y="2768"/>
                  </a:lnTo>
                  <a:lnTo>
                    <a:pt x="224" y="2768"/>
                  </a:lnTo>
                  <a:lnTo>
                    <a:pt x="224" y="2768"/>
                  </a:lnTo>
                  <a:lnTo>
                    <a:pt x="208" y="2792"/>
                  </a:lnTo>
                  <a:lnTo>
                    <a:pt x="208" y="2792"/>
                  </a:lnTo>
                  <a:lnTo>
                    <a:pt x="218" y="2794"/>
                  </a:lnTo>
                  <a:lnTo>
                    <a:pt x="218" y="2794"/>
                  </a:lnTo>
                  <a:lnTo>
                    <a:pt x="240" y="2766"/>
                  </a:lnTo>
                  <a:lnTo>
                    <a:pt x="240" y="2766"/>
                  </a:lnTo>
                  <a:lnTo>
                    <a:pt x="244" y="2750"/>
                  </a:lnTo>
                  <a:lnTo>
                    <a:pt x="140" y="2750"/>
                  </a:lnTo>
                  <a:lnTo>
                    <a:pt x="140" y="2750"/>
                  </a:lnTo>
                  <a:lnTo>
                    <a:pt x="134" y="2768"/>
                  </a:lnTo>
                  <a:lnTo>
                    <a:pt x="134" y="2768"/>
                  </a:lnTo>
                  <a:close/>
                  <a:moveTo>
                    <a:pt x="214" y="2674"/>
                  </a:moveTo>
                  <a:lnTo>
                    <a:pt x="214" y="2674"/>
                  </a:lnTo>
                  <a:lnTo>
                    <a:pt x="226" y="2672"/>
                  </a:lnTo>
                  <a:lnTo>
                    <a:pt x="238" y="2670"/>
                  </a:lnTo>
                  <a:lnTo>
                    <a:pt x="248" y="2666"/>
                  </a:lnTo>
                  <a:lnTo>
                    <a:pt x="256" y="2660"/>
                  </a:lnTo>
                  <a:lnTo>
                    <a:pt x="264" y="2654"/>
                  </a:lnTo>
                  <a:lnTo>
                    <a:pt x="272" y="2646"/>
                  </a:lnTo>
                  <a:lnTo>
                    <a:pt x="278" y="2636"/>
                  </a:lnTo>
                  <a:lnTo>
                    <a:pt x="280" y="2626"/>
                  </a:lnTo>
                  <a:lnTo>
                    <a:pt x="280" y="2626"/>
                  </a:lnTo>
                  <a:lnTo>
                    <a:pt x="284" y="2616"/>
                  </a:lnTo>
                  <a:lnTo>
                    <a:pt x="284" y="2608"/>
                  </a:lnTo>
                  <a:lnTo>
                    <a:pt x="282" y="2600"/>
                  </a:lnTo>
                  <a:lnTo>
                    <a:pt x="278" y="2594"/>
                  </a:lnTo>
                  <a:lnTo>
                    <a:pt x="272" y="2588"/>
                  </a:lnTo>
                  <a:lnTo>
                    <a:pt x="266" y="2584"/>
                  </a:lnTo>
                  <a:lnTo>
                    <a:pt x="258" y="2582"/>
                  </a:lnTo>
                  <a:lnTo>
                    <a:pt x="248" y="2582"/>
                  </a:lnTo>
                  <a:lnTo>
                    <a:pt x="248" y="2582"/>
                  </a:lnTo>
                  <a:lnTo>
                    <a:pt x="236" y="2582"/>
                  </a:lnTo>
                  <a:lnTo>
                    <a:pt x="226" y="2584"/>
                  </a:lnTo>
                  <a:lnTo>
                    <a:pt x="218" y="2588"/>
                  </a:lnTo>
                  <a:lnTo>
                    <a:pt x="210" y="2594"/>
                  </a:lnTo>
                  <a:lnTo>
                    <a:pt x="202" y="2600"/>
                  </a:lnTo>
                  <a:lnTo>
                    <a:pt x="196" y="2608"/>
                  </a:lnTo>
                  <a:lnTo>
                    <a:pt x="190" y="2618"/>
                  </a:lnTo>
                  <a:lnTo>
                    <a:pt x="184" y="2628"/>
                  </a:lnTo>
                  <a:lnTo>
                    <a:pt x="184" y="2628"/>
                  </a:lnTo>
                  <a:lnTo>
                    <a:pt x="182" y="2638"/>
                  </a:lnTo>
                  <a:lnTo>
                    <a:pt x="180" y="2646"/>
                  </a:lnTo>
                  <a:lnTo>
                    <a:pt x="182" y="2654"/>
                  </a:lnTo>
                  <a:lnTo>
                    <a:pt x="184" y="2660"/>
                  </a:lnTo>
                  <a:lnTo>
                    <a:pt x="188" y="2666"/>
                  </a:lnTo>
                  <a:lnTo>
                    <a:pt x="196" y="2670"/>
                  </a:lnTo>
                  <a:lnTo>
                    <a:pt x="204" y="2672"/>
                  </a:lnTo>
                  <a:lnTo>
                    <a:pt x="214" y="2674"/>
                  </a:lnTo>
                  <a:lnTo>
                    <a:pt x="214" y="2674"/>
                  </a:lnTo>
                  <a:close/>
                  <a:moveTo>
                    <a:pt x="194" y="2628"/>
                  </a:moveTo>
                  <a:lnTo>
                    <a:pt x="194" y="2628"/>
                  </a:lnTo>
                  <a:lnTo>
                    <a:pt x="200" y="2616"/>
                  </a:lnTo>
                  <a:lnTo>
                    <a:pt x="212" y="2606"/>
                  </a:lnTo>
                  <a:lnTo>
                    <a:pt x="224" y="2602"/>
                  </a:lnTo>
                  <a:lnTo>
                    <a:pt x="240" y="2600"/>
                  </a:lnTo>
                  <a:lnTo>
                    <a:pt x="240" y="2600"/>
                  </a:lnTo>
                  <a:lnTo>
                    <a:pt x="256" y="2602"/>
                  </a:lnTo>
                  <a:lnTo>
                    <a:pt x="262" y="2604"/>
                  </a:lnTo>
                  <a:lnTo>
                    <a:pt x="266" y="2606"/>
                  </a:lnTo>
                  <a:lnTo>
                    <a:pt x="270" y="2610"/>
                  </a:lnTo>
                  <a:lnTo>
                    <a:pt x="272" y="2614"/>
                  </a:lnTo>
                  <a:lnTo>
                    <a:pt x="272" y="2620"/>
                  </a:lnTo>
                  <a:lnTo>
                    <a:pt x="270" y="2628"/>
                  </a:lnTo>
                  <a:lnTo>
                    <a:pt x="270" y="2628"/>
                  </a:lnTo>
                  <a:lnTo>
                    <a:pt x="268" y="2634"/>
                  </a:lnTo>
                  <a:lnTo>
                    <a:pt x="264" y="2638"/>
                  </a:lnTo>
                  <a:lnTo>
                    <a:pt x="254" y="2648"/>
                  </a:lnTo>
                  <a:lnTo>
                    <a:pt x="238" y="2652"/>
                  </a:lnTo>
                  <a:lnTo>
                    <a:pt x="220" y="2654"/>
                  </a:lnTo>
                  <a:lnTo>
                    <a:pt x="220" y="2654"/>
                  </a:lnTo>
                  <a:lnTo>
                    <a:pt x="206" y="2652"/>
                  </a:lnTo>
                  <a:lnTo>
                    <a:pt x="200" y="2650"/>
                  </a:lnTo>
                  <a:lnTo>
                    <a:pt x="196" y="2648"/>
                  </a:lnTo>
                  <a:lnTo>
                    <a:pt x="192" y="2644"/>
                  </a:lnTo>
                  <a:lnTo>
                    <a:pt x="192" y="2638"/>
                  </a:lnTo>
                  <a:lnTo>
                    <a:pt x="192" y="2634"/>
                  </a:lnTo>
                  <a:lnTo>
                    <a:pt x="194" y="2628"/>
                  </a:lnTo>
                  <a:lnTo>
                    <a:pt x="194" y="2628"/>
                  </a:lnTo>
                  <a:close/>
                  <a:moveTo>
                    <a:pt x="310" y="2496"/>
                  </a:moveTo>
                  <a:lnTo>
                    <a:pt x="310" y="2496"/>
                  </a:lnTo>
                  <a:lnTo>
                    <a:pt x="294" y="2520"/>
                  </a:lnTo>
                  <a:lnTo>
                    <a:pt x="294" y="2520"/>
                  </a:lnTo>
                  <a:lnTo>
                    <a:pt x="302" y="2524"/>
                  </a:lnTo>
                  <a:lnTo>
                    <a:pt x="302" y="2524"/>
                  </a:lnTo>
                  <a:lnTo>
                    <a:pt x="322" y="2494"/>
                  </a:lnTo>
                  <a:lnTo>
                    <a:pt x="322" y="2494"/>
                  </a:lnTo>
                  <a:lnTo>
                    <a:pt x="326" y="2478"/>
                  </a:lnTo>
                  <a:lnTo>
                    <a:pt x="248" y="2478"/>
                  </a:lnTo>
                  <a:lnTo>
                    <a:pt x="248" y="2478"/>
                  </a:lnTo>
                  <a:lnTo>
                    <a:pt x="240" y="2496"/>
                  </a:lnTo>
                  <a:lnTo>
                    <a:pt x="310" y="2496"/>
                  </a:lnTo>
                  <a:lnTo>
                    <a:pt x="310" y="2496"/>
                  </a:lnTo>
                  <a:lnTo>
                    <a:pt x="310" y="2496"/>
                  </a:lnTo>
                  <a:lnTo>
                    <a:pt x="310" y="2496"/>
                  </a:lnTo>
                  <a:close/>
                  <a:moveTo>
                    <a:pt x="358" y="2360"/>
                  </a:moveTo>
                  <a:lnTo>
                    <a:pt x="358" y="2360"/>
                  </a:lnTo>
                  <a:lnTo>
                    <a:pt x="342" y="2384"/>
                  </a:lnTo>
                  <a:lnTo>
                    <a:pt x="342" y="2384"/>
                  </a:lnTo>
                  <a:lnTo>
                    <a:pt x="350" y="2388"/>
                  </a:lnTo>
                  <a:lnTo>
                    <a:pt x="350" y="2388"/>
                  </a:lnTo>
                  <a:lnTo>
                    <a:pt x="368" y="2358"/>
                  </a:lnTo>
                  <a:lnTo>
                    <a:pt x="368" y="2358"/>
                  </a:lnTo>
                  <a:lnTo>
                    <a:pt x="374" y="2342"/>
                  </a:lnTo>
                  <a:lnTo>
                    <a:pt x="310" y="2342"/>
                  </a:lnTo>
                  <a:lnTo>
                    <a:pt x="310" y="2342"/>
                  </a:lnTo>
                  <a:lnTo>
                    <a:pt x="302" y="2360"/>
                  </a:lnTo>
                  <a:lnTo>
                    <a:pt x="358" y="2360"/>
                  </a:lnTo>
                  <a:lnTo>
                    <a:pt x="358" y="2360"/>
                  </a:lnTo>
                  <a:lnTo>
                    <a:pt x="358" y="2360"/>
                  </a:lnTo>
                  <a:lnTo>
                    <a:pt x="358" y="2360"/>
                  </a:lnTo>
                  <a:close/>
                  <a:moveTo>
                    <a:pt x="370" y="2266"/>
                  </a:moveTo>
                  <a:lnTo>
                    <a:pt x="370" y="2266"/>
                  </a:lnTo>
                  <a:lnTo>
                    <a:pt x="378" y="2264"/>
                  </a:lnTo>
                  <a:lnTo>
                    <a:pt x="386" y="2262"/>
                  </a:lnTo>
                  <a:lnTo>
                    <a:pt x="392" y="2258"/>
                  </a:lnTo>
                  <a:lnTo>
                    <a:pt x="400" y="2252"/>
                  </a:lnTo>
                  <a:lnTo>
                    <a:pt x="412" y="2238"/>
                  </a:lnTo>
                  <a:lnTo>
                    <a:pt x="422" y="2218"/>
                  </a:lnTo>
                  <a:lnTo>
                    <a:pt x="422" y="2218"/>
                  </a:lnTo>
                  <a:lnTo>
                    <a:pt x="426" y="2200"/>
                  </a:lnTo>
                  <a:lnTo>
                    <a:pt x="426" y="2192"/>
                  </a:lnTo>
                  <a:lnTo>
                    <a:pt x="426" y="2186"/>
                  </a:lnTo>
                  <a:lnTo>
                    <a:pt x="424" y="2180"/>
                  </a:lnTo>
                  <a:lnTo>
                    <a:pt x="420" y="2178"/>
                  </a:lnTo>
                  <a:lnTo>
                    <a:pt x="416" y="2174"/>
                  </a:lnTo>
                  <a:lnTo>
                    <a:pt x="410" y="2174"/>
                  </a:lnTo>
                  <a:lnTo>
                    <a:pt x="410" y="2174"/>
                  </a:lnTo>
                  <a:lnTo>
                    <a:pt x="404" y="2174"/>
                  </a:lnTo>
                  <a:lnTo>
                    <a:pt x="400" y="2178"/>
                  </a:lnTo>
                  <a:lnTo>
                    <a:pt x="394" y="2182"/>
                  </a:lnTo>
                  <a:lnTo>
                    <a:pt x="388" y="2186"/>
                  </a:lnTo>
                  <a:lnTo>
                    <a:pt x="378" y="2202"/>
                  </a:lnTo>
                  <a:lnTo>
                    <a:pt x="366" y="2222"/>
                  </a:lnTo>
                  <a:lnTo>
                    <a:pt x="366" y="2222"/>
                  </a:lnTo>
                  <a:lnTo>
                    <a:pt x="360" y="2240"/>
                  </a:lnTo>
                  <a:lnTo>
                    <a:pt x="358" y="2246"/>
                  </a:lnTo>
                  <a:lnTo>
                    <a:pt x="356" y="2254"/>
                  </a:lnTo>
                  <a:lnTo>
                    <a:pt x="358" y="2258"/>
                  </a:lnTo>
                  <a:lnTo>
                    <a:pt x="360" y="2262"/>
                  </a:lnTo>
                  <a:lnTo>
                    <a:pt x="364" y="2264"/>
                  </a:lnTo>
                  <a:lnTo>
                    <a:pt x="370" y="2266"/>
                  </a:lnTo>
                  <a:lnTo>
                    <a:pt x="370" y="2266"/>
                  </a:lnTo>
                  <a:close/>
                  <a:moveTo>
                    <a:pt x="372" y="2220"/>
                  </a:moveTo>
                  <a:lnTo>
                    <a:pt x="372" y="2220"/>
                  </a:lnTo>
                  <a:lnTo>
                    <a:pt x="378" y="2208"/>
                  </a:lnTo>
                  <a:lnTo>
                    <a:pt x="386" y="2200"/>
                  </a:lnTo>
                  <a:lnTo>
                    <a:pt x="394" y="2194"/>
                  </a:lnTo>
                  <a:lnTo>
                    <a:pt x="402" y="2192"/>
                  </a:lnTo>
                  <a:lnTo>
                    <a:pt x="402" y="2192"/>
                  </a:lnTo>
                  <a:lnTo>
                    <a:pt x="410" y="2194"/>
                  </a:lnTo>
                  <a:lnTo>
                    <a:pt x="414" y="2196"/>
                  </a:lnTo>
                  <a:lnTo>
                    <a:pt x="416" y="2198"/>
                  </a:lnTo>
                  <a:lnTo>
                    <a:pt x="418" y="2208"/>
                  </a:lnTo>
                  <a:lnTo>
                    <a:pt x="414" y="2220"/>
                  </a:lnTo>
                  <a:lnTo>
                    <a:pt x="414" y="2220"/>
                  </a:lnTo>
                  <a:lnTo>
                    <a:pt x="408" y="2230"/>
                  </a:lnTo>
                  <a:lnTo>
                    <a:pt x="400" y="2240"/>
                  </a:lnTo>
                  <a:lnTo>
                    <a:pt x="390" y="2246"/>
                  </a:lnTo>
                  <a:lnTo>
                    <a:pt x="378" y="2248"/>
                  </a:lnTo>
                  <a:lnTo>
                    <a:pt x="378" y="2248"/>
                  </a:lnTo>
                  <a:lnTo>
                    <a:pt x="374" y="2246"/>
                  </a:lnTo>
                  <a:lnTo>
                    <a:pt x="370" y="2246"/>
                  </a:lnTo>
                  <a:lnTo>
                    <a:pt x="368" y="2244"/>
                  </a:lnTo>
                  <a:lnTo>
                    <a:pt x="366" y="2240"/>
                  </a:lnTo>
                  <a:lnTo>
                    <a:pt x="366" y="2232"/>
                  </a:lnTo>
                  <a:lnTo>
                    <a:pt x="372" y="2220"/>
                  </a:lnTo>
                  <a:lnTo>
                    <a:pt x="372" y="2220"/>
                  </a:lnTo>
                  <a:close/>
                  <a:moveTo>
                    <a:pt x="430" y="2130"/>
                  </a:moveTo>
                  <a:lnTo>
                    <a:pt x="430" y="2130"/>
                  </a:lnTo>
                  <a:lnTo>
                    <a:pt x="436" y="2130"/>
                  </a:lnTo>
                  <a:lnTo>
                    <a:pt x="442" y="2126"/>
                  </a:lnTo>
                  <a:lnTo>
                    <a:pt x="452" y="2116"/>
                  </a:lnTo>
                  <a:lnTo>
                    <a:pt x="464" y="2102"/>
                  </a:lnTo>
                  <a:lnTo>
                    <a:pt x="474" y="2082"/>
                  </a:lnTo>
                  <a:lnTo>
                    <a:pt x="474" y="2082"/>
                  </a:lnTo>
                  <a:lnTo>
                    <a:pt x="480" y="2064"/>
                  </a:lnTo>
                  <a:lnTo>
                    <a:pt x="480" y="2050"/>
                  </a:lnTo>
                  <a:lnTo>
                    <a:pt x="480" y="2044"/>
                  </a:lnTo>
                  <a:lnTo>
                    <a:pt x="478" y="2042"/>
                  </a:lnTo>
                  <a:lnTo>
                    <a:pt x="474" y="2038"/>
                  </a:lnTo>
                  <a:lnTo>
                    <a:pt x="472" y="2038"/>
                  </a:lnTo>
                  <a:lnTo>
                    <a:pt x="472" y="2038"/>
                  </a:lnTo>
                  <a:lnTo>
                    <a:pt x="468" y="2038"/>
                  </a:lnTo>
                  <a:lnTo>
                    <a:pt x="462" y="2042"/>
                  </a:lnTo>
                  <a:lnTo>
                    <a:pt x="454" y="2050"/>
                  </a:lnTo>
                  <a:lnTo>
                    <a:pt x="444" y="2066"/>
                  </a:lnTo>
                  <a:lnTo>
                    <a:pt x="434" y="2086"/>
                  </a:lnTo>
                  <a:lnTo>
                    <a:pt x="434" y="2086"/>
                  </a:lnTo>
                  <a:lnTo>
                    <a:pt x="426" y="2104"/>
                  </a:lnTo>
                  <a:lnTo>
                    <a:pt x="422" y="2118"/>
                  </a:lnTo>
                  <a:lnTo>
                    <a:pt x="422" y="2122"/>
                  </a:lnTo>
                  <a:lnTo>
                    <a:pt x="422" y="2126"/>
                  </a:lnTo>
                  <a:lnTo>
                    <a:pt x="426" y="2130"/>
                  </a:lnTo>
                  <a:lnTo>
                    <a:pt x="430" y="2130"/>
                  </a:lnTo>
                  <a:lnTo>
                    <a:pt x="430" y="2130"/>
                  </a:lnTo>
                  <a:close/>
                  <a:moveTo>
                    <a:pt x="438" y="2084"/>
                  </a:moveTo>
                  <a:lnTo>
                    <a:pt x="438" y="2084"/>
                  </a:lnTo>
                  <a:lnTo>
                    <a:pt x="444" y="2072"/>
                  </a:lnTo>
                  <a:lnTo>
                    <a:pt x="450" y="2064"/>
                  </a:lnTo>
                  <a:lnTo>
                    <a:pt x="456" y="2058"/>
                  </a:lnTo>
                  <a:lnTo>
                    <a:pt x="462" y="2056"/>
                  </a:lnTo>
                  <a:lnTo>
                    <a:pt x="462" y="2056"/>
                  </a:lnTo>
                  <a:lnTo>
                    <a:pt x="468" y="2058"/>
                  </a:lnTo>
                  <a:lnTo>
                    <a:pt x="472" y="2064"/>
                  </a:lnTo>
                  <a:lnTo>
                    <a:pt x="472" y="2072"/>
                  </a:lnTo>
                  <a:lnTo>
                    <a:pt x="468" y="2084"/>
                  </a:lnTo>
                  <a:lnTo>
                    <a:pt x="468" y="2084"/>
                  </a:lnTo>
                  <a:lnTo>
                    <a:pt x="462" y="2096"/>
                  </a:lnTo>
                  <a:lnTo>
                    <a:pt x="454" y="2104"/>
                  </a:lnTo>
                  <a:lnTo>
                    <a:pt x="446" y="2110"/>
                  </a:lnTo>
                  <a:lnTo>
                    <a:pt x="438" y="2112"/>
                  </a:lnTo>
                  <a:lnTo>
                    <a:pt x="438" y="2112"/>
                  </a:lnTo>
                  <a:lnTo>
                    <a:pt x="434" y="2112"/>
                  </a:lnTo>
                  <a:lnTo>
                    <a:pt x="432" y="2110"/>
                  </a:lnTo>
                  <a:lnTo>
                    <a:pt x="430" y="2104"/>
                  </a:lnTo>
                  <a:lnTo>
                    <a:pt x="432" y="2096"/>
                  </a:lnTo>
                  <a:lnTo>
                    <a:pt x="438" y="2084"/>
                  </a:lnTo>
                  <a:lnTo>
                    <a:pt x="438" y="2084"/>
                  </a:lnTo>
                  <a:close/>
                  <a:moveTo>
                    <a:pt x="520" y="1952"/>
                  </a:moveTo>
                  <a:lnTo>
                    <a:pt x="520" y="1952"/>
                  </a:lnTo>
                  <a:lnTo>
                    <a:pt x="508" y="1976"/>
                  </a:lnTo>
                  <a:lnTo>
                    <a:pt x="508" y="1976"/>
                  </a:lnTo>
                  <a:lnTo>
                    <a:pt x="510" y="1980"/>
                  </a:lnTo>
                  <a:lnTo>
                    <a:pt x="510" y="1980"/>
                  </a:lnTo>
                  <a:lnTo>
                    <a:pt x="526" y="1950"/>
                  </a:lnTo>
                  <a:lnTo>
                    <a:pt x="526" y="1950"/>
                  </a:lnTo>
                  <a:lnTo>
                    <a:pt x="532" y="1934"/>
                  </a:lnTo>
                  <a:lnTo>
                    <a:pt x="512" y="1934"/>
                  </a:lnTo>
                  <a:lnTo>
                    <a:pt x="512" y="1934"/>
                  </a:lnTo>
                  <a:lnTo>
                    <a:pt x="502" y="1952"/>
                  </a:lnTo>
                  <a:lnTo>
                    <a:pt x="520" y="1952"/>
                  </a:lnTo>
                  <a:lnTo>
                    <a:pt x="520" y="1952"/>
                  </a:lnTo>
                  <a:lnTo>
                    <a:pt x="520" y="1952"/>
                  </a:lnTo>
                  <a:lnTo>
                    <a:pt x="520" y="1952"/>
                  </a:lnTo>
                  <a:close/>
                  <a:moveTo>
                    <a:pt x="588" y="1788"/>
                  </a:moveTo>
                  <a:lnTo>
                    <a:pt x="588" y="1788"/>
                  </a:lnTo>
                  <a:lnTo>
                    <a:pt x="588" y="1784"/>
                  </a:lnTo>
                  <a:lnTo>
                    <a:pt x="588" y="1784"/>
                  </a:lnTo>
                  <a:lnTo>
                    <a:pt x="584" y="1792"/>
                  </a:lnTo>
                  <a:lnTo>
                    <a:pt x="576" y="1812"/>
                  </a:lnTo>
                  <a:lnTo>
                    <a:pt x="576" y="1812"/>
                  </a:lnTo>
                  <a:lnTo>
                    <a:pt x="566" y="1830"/>
                  </a:lnTo>
                  <a:lnTo>
                    <a:pt x="562" y="1840"/>
                  </a:lnTo>
                  <a:lnTo>
                    <a:pt x="562" y="1840"/>
                  </a:lnTo>
                  <a:lnTo>
                    <a:pt x="576" y="1814"/>
                  </a:lnTo>
                  <a:lnTo>
                    <a:pt x="576" y="1814"/>
                  </a:lnTo>
                  <a:lnTo>
                    <a:pt x="588" y="1788"/>
                  </a:lnTo>
                  <a:lnTo>
                    <a:pt x="588" y="1788"/>
                  </a:lnTo>
                  <a:close/>
                  <a:moveTo>
                    <a:pt x="588" y="1788"/>
                  </a:moveTo>
                  <a:lnTo>
                    <a:pt x="588" y="1788"/>
                  </a:lnTo>
                  <a:lnTo>
                    <a:pt x="586" y="1798"/>
                  </a:lnTo>
                  <a:lnTo>
                    <a:pt x="580" y="1812"/>
                  </a:lnTo>
                  <a:lnTo>
                    <a:pt x="580" y="1812"/>
                  </a:lnTo>
                  <a:lnTo>
                    <a:pt x="574" y="1824"/>
                  </a:lnTo>
                  <a:lnTo>
                    <a:pt x="570" y="1832"/>
                  </a:lnTo>
                  <a:lnTo>
                    <a:pt x="564" y="1838"/>
                  </a:lnTo>
                  <a:lnTo>
                    <a:pt x="562" y="1840"/>
                  </a:lnTo>
                  <a:lnTo>
                    <a:pt x="562" y="1840"/>
                  </a:lnTo>
                  <a:lnTo>
                    <a:pt x="562" y="1840"/>
                  </a:lnTo>
                  <a:lnTo>
                    <a:pt x="562" y="1840"/>
                  </a:lnTo>
                  <a:lnTo>
                    <a:pt x="554" y="1854"/>
                  </a:lnTo>
                  <a:lnTo>
                    <a:pt x="552" y="1856"/>
                  </a:lnTo>
                  <a:lnTo>
                    <a:pt x="554" y="1858"/>
                  </a:lnTo>
                  <a:lnTo>
                    <a:pt x="554" y="1858"/>
                  </a:lnTo>
                  <a:lnTo>
                    <a:pt x="558" y="1854"/>
                  </a:lnTo>
                  <a:lnTo>
                    <a:pt x="566" y="1846"/>
                  </a:lnTo>
                  <a:lnTo>
                    <a:pt x="574" y="1830"/>
                  </a:lnTo>
                  <a:lnTo>
                    <a:pt x="582" y="1812"/>
                  </a:lnTo>
                  <a:lnTo>
                    <a:pt x="582" y="1812"/>
                  </a:lnTo>
                  <a:lnTo>
                    <a:pt x="590" y="1792"/>
                  </a:lnTo>
                  <a:lnTo>
                    <a:pt x="594" y="1778"/>
                  </a:lnTo>
                  <a:lnTo>
                    <a:pt x="596" y="1766"/>
                  </a:lnTo>
                  <a:lnTo>
                    <a:pt x="596" y="1766"/>
                  </a:lnTo>
                  <a:lnTo>
                    <a:pt x="588" y="1788"/>
                  </a:lnTo>
                  <a:lnTo>
                    <a:pt x="588" y="1788"/>
                  </a:lnTo>
                  <a:close/>
                  <a:moveTo>
                    <a:pt x="660" y="1630"/>
                  </a:moveTo>
                  <a:lnTo>
                    <a:pt x="660" y="1630"/>
                  </a:lnTo>
                  <a:lnTo>
                    <a:pt x="656" y="1632"/>
                  </a:lnTo>
                  <a:lnTo>
                    <a:pt x="654" y="1638"/>
                  </a:lnTo>
                  <a:lnTo>
                    <a:pt x="646" y="1656"/>
                  </a:lnTo>
                  <a:lnTo>
                    <a:pt x="646" y="1656"/>
                  </a:lnTo>
                  <a:lnTo>
                    <a:pt x="648" y="1650"/>
                  </a:lnTo>
                  <a:lnTo>
                    <a:pt x="650" y="1650"/>
                  </a:lnTo>
                  <a:lnTo>
                    <a:pt x="650" y="1650"/>
                  </a:lnTo>
                  <a:lnTo>
                    <a:pt x="652" y="1650"/>
                  </a:lnTo>
                  <a:lnTo>
                    <a:pt x="652" y="1656"/>
                  </a:lnTo>
                  <a:lnTo>
                    <a:pt x="650" y="1664"/>
                  </a:lnTo>
                  <a:lnTo>
                    <a:pt x="646" y="1676"/>
                  </a:lnTo>
                  <a:lnTo>
                    <a:pt x="646" y="1676"/>
                  </a:lnTo>
                  <a:lnTo>
                    <a:pt x="638" y="1688"/>
                  </a:lnTo>
                  <a:lnTo>
                    <a:pt x="632" y="1698"/>
                  </a:lnTo>
                  <a:lnTo>
                    <a:pt x="632" y="1698"/>
                  </a:lnTo>
                  <a:lnTo>
                    <a:pt x="630" y="1704"/>
                  </a:lnTo>
                  <a:lnTo>
                    <a:pt x="630" y="1704"/>
                  </a:lnTo>
                  <a:lnTo>
                    <a:pt x="628" y="1708"/>
                  </a:lnTo>
                  <a:lnTo>
                    <a:pt x="628" y="1708"/>
                  </a:lnTo>
                  <a:lnTo>
                    <a:pt x="628" y="1702"/>
                  </a:lnTo>
                  <a:lnTo>
                    <a:pt x="628" y="1702"/>
                  </a:lnTo>
                  <a:lnTo>
                    <a:pt x="626" y="1704"/>
                  </a:lnTo>
                  <a:lnTo>
                    <a:pt x="626" y="1704"/>
                  </a:lnTo>
                  <a:lnTo>
                    <a:pt x="626" y="1704"/>
                  </a:lnTo>
                  <a:lnTo>
                    <a:pt x="626" y="1704"/>
                  </a:lnTo>
                  <a:lnTo>
                    <a:pt x="616" y="1722"/>
                  </a:lnTo>
                  <a:lnTo>
                    <a:pt x="616" y="1722"/>
                  </a:lnTo>
                  <a:lnTo>
                    <a:pt x="628" y="1710"/>
                  </a:lnTo>
                  <a:lnTo>
                    <a:pt x="638" y="1696"/>
                  </a:lnTo>
                  <a:lnTo>
                    <a:pt x="648" y="1678"/>
                  </a:lnTo>
                  <a:lnTo>
                    <a:pt x="648" y="1678"/>
                  </a:lnTo>
                  <a:lnTo>
                    <a:pt x="656" y="1658"/>
                  </a:lnTo>
                  <a:lnTo>
                    <a:pt x="662" y="1644"/>
                  </a:lnTo>
                  <a:lnTo>
                    <a:pt x="662" y="1634"/>
                  </a:lnTo>
                  <a:lnTo>
                    <a:pt x="660" y="1632"/>
                  </a:lnTo>
                  <a:lnTo>
                    <a:pt x="660" y="1630"/>
                  </a:lnTo>
                  <a:lnTo>
                    <a:pt x="660" y="1630"/>
                  </a:lnTo>
                  <a:close/>
                  <a:moveTo>
                    <a:pt x="630" y="1694"/>
                  </a:moveTo>
                  <a:lnTo>
                    <a:pt x="630" y="1694"/>
                  </a:lnTo>
                  <a:lnTo>
                    <a:pt x="626" y="1704"/>
                  </a:lnTo>
                  <a:lnTo>
                    <a:pt x="626" y="1704"/>
                  </a:lnTo>
                  <a:lnTo>
                    <a:pt x="630" y="1696"/>
                  </a:lnTo>
                  <a:lnTo>
                    <a:pt x="630" y="1696"/>
                  </a:lnTo>
                  <a:lnTo>
                    <a:pt x="630" y="1694"/>
                  </a:lnTo>
                  <a:lnTo>
                    <a:pt x="630" y="1694"/>
                  </a:lnTo>
                  <a:close/>
                  <a:moveTo>
                    <a:pt x="646" y="1656"/>
                  </a:moveTo>
                  <a:lnTo>
                    <a:pt x="646" y="1656"/>
                  </a:lnTo>
                  <a:lnTo>
                    <a:pt x="642" y="1664"/>
                  </a:lnTo>
                  <a:lnTo>
                    <a:pt x="642" y="1664"/>
                  </a:lnTo>
                  <a:lnTo>
                    <a:pt x="642" y="1664"/>
                  </a:lnTo>
                  <a:lnTo>
                    <a:pt x="646" y="1656"/>
                  </a:lnTo>
                  <a:lnTo>
                    <a:pt x="646" y="1656"/>
                  </a:lnTo>
                  <a:close/>
                  <a:moveTo>
                    <a:pt x="636" y="1680"/>
                  </a:moveTo>
                  <a:lnTo>
                    <a:pt x="636" y="1680"/>
                  </a:lnTo>
                  <a:lnTo>
                    <a:pt x="634" y="1684"/>
                  </a:lnTo>
                  <a:lnTo>
                    <a:pt x="634" y="1684"/>
                  </a:lnTo>
                  <a:lnTo>
                    <a:pt x="634" y="1686"/>
                  </a:lnTo>
                  <a:lnTo>
                    <a:pt x="634" y="1686"/>
                  </a:lnTo>
                  <a:lnTo>
                    <a:pt x="636" y="1680"/>
                  </a:lnTo>
                  <a:lnTo>
                    <a:pt x="636" y="1680"/>
                  </a:lnTo>
                  <a:close/>
                  <a:moveTo>
                    <a:pt x="722" y="1494"/>
                  </a:moveTo>
                  <a:lnTo>
                    <a:pt x="722" y="1494"/>
                  </a:lnTo>
                  <a:lnTo>
                    <a:pt x="718" y="1496"/>
                  </a:lnTo>
                  <a:lnTo>
                    <a:pt x="714" y="1498"/>
                  </a:lnTo>
                  <a:lnTo>
                    <a:pt x="708" y="1506"/>
                  </a:lnTo>
                  <a:lnTo>
                    <a:pt x="700" y="1520"/>
                  </a:lnTo>
                  <a:lnTo>
                    <a:pt x="692" y="1540"/>
                  </a:lnTo>
                  <a:lnTo>
                    <a:pt x="692" y="1540"/>
                  </a:lnTo>
                  <a:lnTo>
                    <a:pt x="680" y="1574"/>
                  </a:lnTo>
                  <a:lnTo>
                    <a:pt x="678" y="1584"/>
                  </a:lnTo>
                  <a:lnTo>
                    <a:pt x="678" y="1586"/>
                  </a:lnTo>
                  <a:lnTo>
                    <a:pt x="680" y="1586"/>
                  </a:lnTo>
                  <a:lnTo>
                    <a:pt x="680" y="1586"/>
                  </a:lnTo>
                  <a:lnTo>
                    <a:pt x="686" y="1584"/>
                  </a:lnTo>
                  <a:lnTo>
                    <a:pt x="696" y="1574"/>
                  </a:lnTo>
                  <a:lnTo>
                    <a:pt x="708" y="1560"/>
                  </a:lnTo>
                  <a:lnTo>
                    <a:pt x="720" y="1542"/>
                  </a:lnTo>
                  <a:lnTo>
                    <a:pt x="720" y="1542"/>
                  </a:lnTo>
                  <a:lnTo>
                    <a:pt x="728" y="1522"/>
                  </a:lnTo>
                  <a:lnTo>
                    <a:pt x="730" y="1508"/>
                  </a:lnTo>
                  <a:lnTo>
                    <a:pt x="730" y="1502"/>
                  </a:lnTo>
                  <a:lnTo>
                    <a:pt x="728" y="1498"/>
                  </a:lnTo>
                  <a:lnTo>
                    <a:pt x="724" y="1496"/>
                  </a:lnTo>
                  <a:lnTo>
                    <a:pt x="722" y="1494"/>
                  </a:lnTo>
                  <a:lnTo>
                    <a:pt x="722" y="1494"/>
                  </a:lnTo>
                  <a:close/>
                  <a:moveTo>
                    <a:pt x="714" y="1540"/>
                  </a:moveTo>
                  <a:lnTo>
                    <a:pt x="714" y="1540"/>
                  </a:lnTo>
                  <a:lnTo>
                    <a:pt x="708" y="1552"/>
                  </a:lnTo>
                  <a:lnTo>
                    <a:pt x="700" y="1560"/>
                  </a:lnTo>
                  <a:lnTo>
                    <a:pt x="694" y="1566"/>
                  </a:lnTo>
                  <a:lnTo>
                    <a:pt x="688" y="1568"/>
                  </a:lnTo>
                  <a:lnTo>
                    <a:pt x="688" y="1568"/>
                  </a:lnTo>
                  <a:lnTo>
                    <a:pt x="686" y="1568"/>
                  </a:lnTo>
                  <a:lnTo>
                    <a:pt x="686" y="1566"/>
                  </a:lnTo>
                  <a:lnTo>
                    <a:pt x="686" y="1560"/>
                  </a:lnTo>
                  <a:lnTo>
                    <a:pt x="694" y="1540"/>
                  </a:lnTo>
                  <a:lnTo>
                    <a:pt x="694" y="1540"/>
                  </a:lnTo>
                  <a:lnTo>
                    <a:pt x="700" y="1528"/>
                  </a:lnTo>
                  <a:lnTo>
                    <a:pt x="704" y="1520"/>
                  </a:lnTo>
                  <a:lnTo>
                    <a:pt x="708" y="1514"/>
                  </a:lnTo>
                  <a:lnTo>
                    <a:pt x="714" y="1514"/>
                  </a:lnTo>
                  <a:lnTo>
                    <a:pt x="714" y="1514"/>
                  </a:lnTo>
                  <a:lnTo>
                    <a:pt x="718" y="1514"/>
                  </a:lnTo>
                  <a:lnTo>
                    <a:pt x="720" y="1520"/>
                  </a:lnTo>
                  <a:lnTo>
                    <a:pt x="720" y="1528"/>
                  </a:lnTo>
                  <a:lnTo>
                    <a:pt x="714" y="1540"/>
                  </a:lnTo>
                  <a:lnTo>
                    <a:pt x="714" y="1540"/>
                  </a:lnTo>
                  <a:close/>
                  <a:moveTo>
                    <a:pt x="782" y="1360"/>
                  </a:moveTo>
                  <a:lnTo>
                    <a:pt x="782" y="1360"/>
                  </a:lnTo>
                  <a:lnTo>
                    <a:pt x="778" y="1360"/>
                  </a:lnTo>
                  <a:lnTo>
                    <a:pt x="772" y="1362"/>
                  </a:lnTo>
                  <a:lnTo>
                    <a:pt x="764" y="1370"/>
                  </a:lnTo>
                  <a:lnTo>
                    <a:pt x="756" y="1384"/>
                  </a:lnTo>
                  <a:lnTo>
                    <a:pt x="746" y="1404"/>
                  </a:lnTo>
                  <a:lnTo>
                    <a:pt x="746" y="1404"/>
                  </a:lnTo>
                  <a:lnTo>
                    <a:pt x="740" y="1422"/>
                  </a:lnTo>
                  <a:lnTo>
                    <a:pt x="736" y="1438"/>
                  </a:lnTo>
                  <a:lnTo>
                    <a:pt x="736" y="1444"/>
                  </a:lnTo>
                  <a:lnTo>
                    <a:pt x="736" y="1448"/>
                  </a:lnTo>
                  <a:lnTo>
                    <a:pt x="738" y="1450"/>
                  </a:lnTo>
                  <a:lnTo>
                    <a:pt x="742" y="1450"/>
                  </a:lnTo>
                  <a:lnTo>
                    <a:pt x="742" y="1450"/>
                  </a:lnTo>
                  <a:lnTo>
                    <a:pt x="746" y="1450"/>
                  </a:lnTo>
                  <a:lnTo>
                    <a:pt x="752" y="1448"/>
                  </a:lnTo>
                  <a:lnTo>
                    <a:pt x="764" y="1438"/>
                  </a:lnTo>
                  <a:lnTo>
                    <a:pt x="778" y="1424"/>
                  </a:lnTo>
                  <a:lnTo>
                    <a:pt x="790" y="1406"/>
                  </a:lnTo>
                  <a:lnTo>
                    <a:pt x="790" y="1406"/>
                  </a:lnTo>
                  <a:lnTo>
                    <a:pt x="794" y="1396"/>
                  </a:lnTo>
                  <a:lnTo>
                    <a:pt x="796" y="1386"/>
                  </a:lnTo>
                  <a:lnTo>
                    <a:pt x="798" y="1378"/>
                  </a:lnTo>
                  <a:lnTo>
                    <a:pt x="798" y="1372"/>
                  </a:lnTo>
                  <a:lnTo>
                    <a:pt x="796" y="1366"/>
                  </a:lnTo>
                  <a:lnTo>
                    <a:pt x="792" y="1362"/>
                  </a:lnTo>
                  <a:lnTo>
                    <a:pt x="788" y="1360"/>
                  </a:lnTo>
                  <a:lnTo>
                    <a:pt x="782" y="1360"/>
                  </a:lnTo>
                  <a:lnTo>
                    <a:pt x="782" y="1360"/>
                  </a:lnTo>
                  <a:close/>
                  <a:moveTo>
                    <a:pt x="784" y="1406"/>
                  </a:moveTo>
                  <a:lnTo>
                    <a:pt x="784" y="1406"/>
                  </a:lnTo>
                  <a:lnTo>
                    <a:pt x="776" y="1416"/>
                  </a:lnTo>
                  <a:lnTo>
                    <a:pt x="768" y="1426"/>
                  </a:lnTo>
                  <a:lnTo>
                    <a:pt x="758" y="1430"/>
                  </a:lnTo>
                  <a:lnTo>
                    <a:pt x="750" y="1432"/>
                  </a:lnTo>
                  <a:lnTo>
                    <a:pt x="750" y="1432"/>
                  </a:lnTo>
                  <a:lnTo>
                    <a:pt x="748" y="1432"/>
                  </a:lnTo>
                  <a:lnTo>
                    <a:pt x="746" y="1430"/>
                  </a:lnTo>
                  <a:lnTo>
                    <a:pt x="744" y="1424"/>
                  </a:lnTo>
                  <a:lnTo>
                    <a:pt x="746" y="1416"/>
                  </a:lnTo>
                  <a:lnTo>
                    <a:pt x="750" y="1404"/>
                  </a:lnTo>
                  <a:lnTo>
                    <a:pt x="750" y="1404"/>
                  </a:lnTo>
                  <a:lnTo>
                    <a:pt x="754" y="1392"/>
                  </a:lnTo>
                  <a:lnTo>
                    <a:pt x="760" y="1384"/>
                  </a:lnTo>
                  <a:lnTo>
                    <a:pt x="768" y="1380"/>
                  </a:lnTo>
                  <a:lnTo>
                    <a:pt x="774" y="1378"/>
                  </a:lnTo>
                  <a:lnTo>
                    <a:pt x="774" y="1378"/>
                  </a:lnTo>
                  <a:lnTo>
                    <a:pt x="782" y="1380"/>
                  </a:lnTo>
                  <a:lnTo>
                    <a:pt x="784" y="1382"/>
                  </a:lnTo>
                  <a:lnTo>
                    <a:pt x="786" y="1384"/>
                  </a:lnTo>
                  <a:lnTo>
                    <a:pt x="788" y="1388"/>
                  </a:lnTo>
                  <a:lnTo>
                    <a:pt x="788" y="1392"/>
                  </a:lnTo>
                  <a:lnTo>
                    <a:pt x="784" y="1406"/>
                  </a:lnTo>
                  <a:lnTo>
                    <a:pt x="784" y="1406"/>
                  </a:lnTo>
                  <a:close/>
                  <a:moveTo>
                    <a:pt x="798" y="1272"/>
                  </a:moveTo>
                  <a:lnTo>
                    <a:pt x="798" y="1272"/>
                  </a:lnTo>
                  <a:lnTo>
                    <a:pt x="792" y="1300"/>
                  </a:lnTo>
                  <a:lnTo>
                    <a:pt x="792" y="1300"/>
                  </a:lnTo>
                  <a:lnTo>
                    <a:pt x="798" y="1298"/>
                  </a:lnTo>
                  <a:lnTo>
                    <a:pt x="798" y="1298"/>
                  </a:lnTo>
                  <a:lnTo>
                    <a:pt x="802" y="1274"/>
                  </a:lnTo>
                  <a:lnTo>
                    <a:pt x="802" y="1274"/>
                  </a:lnTo>
                  <a:lnTo>
                    <a:pt x="802" y="1274"/>
                  </a:lnTo>
                  <a:lnTo>
                    <a:pt x="854" y="1274"/>
                  </a:lnTo>
                  <a:lnTo>
                    <a:pt x="854" y="1274"/>
                  </a:lnTo>
                  <a:lnTo>
                    <a:pt x="862" y="1256"/>
                  </a:lnTo>
                  <a:lnTo>
                    <a:pt x="804" y="1256"/>
                  </a:lnTo>
                  <a:lnTo>
                    <a:pt x="804" y="1256"/>
                  </a:lnTo>
                  <a:lnTo>
                    <a:pt x="798" y="1272"/>
                  </a:lnTo>
                  <a:lnTo>
                    <a:pt x="798" y="1272"/>
                  </a:lnTo>
                  <a:close/>
                  <a:moveTo>
                    <a:pt x="898" y="1088"/>
                  </a:moveTo>
                  <a:lnTo>
                    <a:pt x="898" y="1088"/>
                  </a:lnTo>
                  <a:lnTo>
                    <a:pt x="888" y="1088"/>
                  </a:lnTo>
                  <a:lnTo>
                    <a:pt x="882" y="1090"/>
                  </a:lnTo>
                  <a:lnTo>
                    <a:pt x="874" y="1094"/>
                  </a:lnTo>
                  <a:lnTo>
                    <a:pt x="868" y="1100"/>
                  </a:lnTo>
                  <a:lnTo>
                    <a:pt x="862" y="1106"/>
                  </a:lnTo>
                  <a:lnTo>
                    <a:pt x="858" y="1114"/>
                  </a:lnTo>
                  <a:lnTo>
                    <a:pt x="850" y="1132"/>
                  </a:lnTo>
                  <a:lnTo>
                    <a:pt x="850" y="1132"/>
                  </a:lnTo>
                  <a:lnTo>
                    <a:pt x="844" y="1152"/>
                  </a:lnTo>
                  <a:lnTo>
                    <a:pt x="842" y="1160"/>
                  </a:lnTo>
                  <a:lnTo>
                    <a:pt x="844" y="1166"/>
                  </a:lnTo>
                  <a:lnTo>
                    <a:pt x="846" y="1172"/>
                  </a:lnTo>
                  <a:lnTo>
                    <a:pt x="848" y="1176"/>
                  </a:lnTo>
                  <a:lnTo>
                    <a:pt x="854" y="1178"/>
                  </a:lnTo>
                  <a:lnTo>
                    <a:pt x="860" y="1180"/>
                  </a:lnTo>
                  <a:lnTo>
                    <a:pt x="860" y="1180"/>
                  </a:lnTo>
                  <a:lnTo>
                    <a:pt x="868" y="1178"/>
                  </a:lnTo>
                  <a:lnTo>
                    <a:pt x="878" y="1176"/>
                  </a:lnTo>
                  <a:lnTo>
                    <a:pt x="886" y="1172"/>
                  </a:lnTo>
                  <a:lnTo>
                    <a:pt x="894" y="1166"/>
                  </a:lnTo>
                  <a:lnTo>
                    <a:pt x="902" y="1160"/>
                  </a:lnTo>
                  <a:lnTo>
                    <a:pt x="910" y="1152"/>
                  </a:lnTo>
                  <a:lnTo>
                    <a:pt x="916" y="1144"/>
                  </a:lnTo>
                  <a:lnTo>
                    <a:pt x="922" y="1134"/>
                  </a:lnTo>
                  <a:lnTo>
                    <a:pt x="922" y="1134"/>
                  </a:lnTo>
                  <a:lnTo>
                    <a:pt x="926" y="1124"/>
                  </a:lnTo>
                  <a:lnTo>
                    <a:pt x="928" y="1114"/>
                  </a:lnTo>
                  <a:lnTo>
                    <a:pt x="926" y="1106"/>
                  </a:lnTo>
                  <a:lnTo>
                    <a:pt x="924" y="1100"/>
                  </a:lnTo>
                  <a:lnTo>
                    <a:pt x="920" y="1094"/>
                  </a:lnTo>
                  <a:lnTo>
                    <a:pt x="914" y="1090"/>
                  </a:lnTo>
                  <a:lnTo>
                    <a:pt x="906" y="1088"/>
                  </a:lnTo>
                  <a:lnTo>
                    <a:pt x="898" y="1088"/>
                  </a:lnTo>
                  <a:lnTo>
                    <a:pt x="898" y="1088"/>
                  </a:lnTo>
                  <a:close/>
                  <a:moveTo>
                    <a:pt x="912" y="1134"/>
                  </a:moveTo>
                  <a:lnTo>
                    <a:pt x="912" y="1134"/>
                  </a:lnTo>
                  <a:lnTo>
                    <a:pt x="904" y="1144"/>
                  </a:lnTo>
                  <a:lnTo>
                    <a:pt x="894" y="1154"/>
                  </a:lnTo>
                  <a:lnTo>
                    <a:pt x="882" y="1158"/>
                  </a:lnTo>
                  <a:lnTo>
                    <a:pt x="868" y="1160"/>
                  </a:lnTo>
                  <a:lnTo>
                    <a:pt x="868" y="1160"/>
                  </a:lnTo>
                  <a:lnTo>
                    <a:pt x="862" y="1160"/>
                  </a:lnTo>
                  <a:lnTo>
                    <a:pt x="858" y="1158"/>
                  </a:lnTo>
                  <a:lnTo>
                    <a:pt x="854" y="1156"/>
                  </a:lnTo>
                  <a:lnTo>
                    <a:pt x="852" y="1154"/>
                  </a:lnTo>
                  <a:lnTo>
                    <a:pt x="852" y="1144"/>
                  </a:lnTo>
                  <a:lnTo>
                    <a:pt x="854" y="1134"/>
                  </a:lnTo>
                  <a:lnTo>
                    <a:pt x="854" y="1134"/>
                  </a:lnTo>
                  <a:lnTo>
                    <a:pt x="860" y="1120"/>
                  </a:lnTo>
                  <a:lnTo>
                    <a:pt x="868" y="1112"/>
                  </a:lnTo>
                  <a:lnTo>
                    <a:pt x="878" y="1108"/>
                  </a:lnTo>
                  <a:lnTo>
                    <a:pt x="890" y="1106"/>
                  </a:lnTo>
                  <a:lnTo>
                    <a:pt x="890" y="1106"/>
                  </a:lnTo>
                  <a:lnTo>
                    <a:pt x="902" y="1108"/>
                  </a:lnTo>
                  <a:lnTo>
                    <a:pt x="908" y="1110"/>
                  </a:lnTo>
                  <a:lnTo>
                    <a:pt x="912" y="1112"/>
                  </a:lnTo>
                  <a:lnTo>
                    <a:pt x="914" y="1116"/>
                  </a:lnTo>
                  <a:lnTo>
                    <a:pt x="916" y="1122"/>
                  </a:lnTo>
                  <a:lnTo>
                    <a:pt x="914" y="1126"/>
                  </a:lnTo>
                  <a:lnTo>
                    <a:pt x="912" y="1134"/>
                  </a:lnTo>
                  <a:lnTo>
                    <a:pt x="912" y="1134"/>
                  </a:lnTo>
                  <a:close/>
                  <a:moveTo>
                    <a:pt x="950" y="952"/>
                  </a:moveTo>
                  <a:lnTo>
                    <a:pt x="950" y="952"/>
                  </a:lnTo>
                  <a:lnTo>
                    <a:pt x="940" y="952"/>
                  </a:lnTo>
                  <a:lnTo>
                    <a:pt x="930" y="954"/>
                  </a:lnTo>
                  <a:lnTo>
                    <a:pt x="922" y="958"/>
                  </a:lnTo>
                  <a:lnTo>
                    <a:pt x="916" y="964"/>
                  </a:lnTo>
                  <a:lnTo>
                    <a:pt x="910" y="970"/>
                  </a:lnTo>
                  <a:lnTo>
                    <a:pt x="904" y="978"/>
                  </a:lnTo>
                  <a:lnTo>
                    <a:pt x="896" y="996"/>
                  </a:lnTo>
                  <a:lnTo>
                    <a:pt x="896" y="996"/>
                  </a:lnTo>
                  <a:lnTo>
                    <a:pt x="892" y="1016"/>
                  </a:lnTo>
                  <a:lnTo>
                    <a:pt x="892" y="1024"/>
                  </a:lnTo>
                  <a:lnTo>
                    <a:pt x="892" y="1030"/>
                  </a:lnTo>
                  <a:lnTo>
                    <a:pt x="896" y="1036"/>
                  </a:lnTo>
                  <a:lnTo>
                    <a:pt x="900" y="1040"/>
                  </a:lnTo>
                  <a:lnTo>
                    <a:pt x="906" y="1042"/>
                  </a:lnTo>
                  <a:lnTo>
                    <a:pt x="916" y="1044"/>
                  </a:lnTo>
                  <a:lnTo>
                    <a:pt x="916" y="1044"/>
                  </a:lnTo>
                  <a:lnTo>
                    <a:pt x="926" y="1042"/>
                  </a:lnTo>
                  <a:lnTo>
                    <a:pt x="936" y="1040"/>
                  </a:lnTo>
                  <a:lnTo>
                    <a:pt x="946" y="1036"/>
                  </a:lnTo>
                  <a:lnTo>
                    <a:pt x="954" y="1030"/>
                  </a:lnTo>
                  <a:lnTo>
                    <a:pt x="964" y="1024"/>
                  </a:lnTo>
                  <a:lnTo>
                    <a:pt x="972" y="1016"/>
                  </a:lnTo>
                  <a:lnTo>
                    <a:pt x="978" y="1008"/>
                  </a:lnTo>
                  <a:lnTo>
                    <a:pt x="984" y="998"/>
                  </a:lnTo>
                  <a:lnTo>
                    <a:pt x="984" y="998"/>
                  </a:lnTo>
                  <a:lnTo>
                    <a:pt x="986" y="988"/>
                  </a:lnTo>
                  <a:lnTo>
                    <a:pt x="988" y="978"/>
                  </a:lnTo>
                  <a:lnTo>
                    <a:pt x="986" y="970"/>
                  </a:lnTo>
                  <a:lnTo>
                    <a:pt x="982" y="964"/>
                  </a:lnTo>
                  <a:lnTo>
                    <a:pt x="976" y="958"/>
                  </a:lnTo>
                  <a:lnTo>
                    <a:pt x="968" y="954"/>
                  </a:lnTo>
                  <a:lnTo>
                    <a:pt x="960" y="952"/>
                  </a:lnTo>
                  <a:lnTo>
                    <a:pt x="950" y="952"/>
                  </a:lnTo>
                  <a:lnTo>
                    <a:pt x="950" y="952"/>
                  </a:lnTo>
                  <a:close/>
                  <a:moveTo>
                    <a:pt x="972" y="998"/>
                  </a:moveTo>
                  <a:lnTo>
                    <a:pt x="972" y="998"/>
                  </a:lnTo>
                  <a:lnTo>
                    <a:pt x="968" y="1004"/>
                  </a:lnTo>
                  <a:lnTo>
                    <a:pt x="964" y="1008"/>
                  </a:lnTo>
                  <a:lnTo>
                    <a:pt x="952" y="1018"/>
                  </a:lnTo>
                  <a:lnTo>
                    <a:pt x="938" y="1024"/>
                  </a:lnTo>
                  <a:lnTo>
                    <a:pt x="922" y="1026"/>
                  </a:lnTo>
                  <a:lnTo>
                    <a:pt x="922" y="1026"/>
                  </a:lnTo>
                  <a:lnTo>
                    <a:pt x="916" y="1024"/>
                  </a:lnTo>
                  <a:lnTo>
                    <a:pt x="910" y="1024"/>
                  </a:lnTo>
                  <a:lnTo>
                    <a:pt x="906" y="1020"/>
                  </a:lnTo>
                  <a:lnTo>
                    <a:pt x="902" y="1018"/>
                  </a:lnTo>
                  <a:lnTo>
                    <a:pt x="900" y="1014"/>
                  </a:lnTo>
                  <a:lnTo>
                    <a:pt x="900" y="1008"/>
                  </a:lnTo>
                  <a:lnTo>
                    <a:pt x="902" y="998"/>
                  </a:lnTo>
                  <a:lnTo>
                    <a:pt x="902" y="998"/>
                  </a:lnTo>
                  <a:lnTo>
                    <a:pt x="908" y="986"/>
                  </a:lnTo>
                  <a:lnTo>
                    <a:pt x="918" y="976"/>
                  </a:lnTo>
                  <a:lnTo>
                    <a:pt x="928" y="972"/>
                  </a:lnTo>
                  <a:lnTo>
                    <a:pt x="942" y="970"/>
                  </a:lnTo>
                  <a:lnTo>
                    <a:pt x="942" y="970"/>
                  </a:lnTo>
                  <a:lnTo>
                    <a:pt x="958" y="972"/>
                  </a:lnTo>
                  <a:lnTo>
                    <a:pt x="964" y="974"/>
                  </a:lnTo>
                  <a:lnTo>
                    <a:pt x="968" y="976"/>
                  </a:lnTo>
                  <a:lnTo>
                    <a:pt x="972" y="980"/>
                  </a:lnTo>
                  <a:lnTo>
                    <a:pt x="974" y="986"/>
                  </a:lnTo>
                  <a:lnTo>
                    <a:pt x="974" y="992"/>
                  </a:lnTo>
                  <a:lnTo>
                    <a:pt x="972" y="998"/>
                  </a:lnTo>
                  <a:lnTo>
                    <a:pt x="972" y="998"/>
                  </a:lnTo>
                  <a:close/>
                  <a:moveTo>
                    <a:pt x="996" y="816"/>
                  </a:moveTo>
                  <a:lnTo>
                    <a:pt x="996" y="816"/>
                  </a:lnTo>
                  <a:lnTo>
                    <a:pt x="986" y="816"/>
                  </a:lnTo>
                  <a:lnTo>
                    <a:pt x="976" y="818"/>
                  </a:lnTo>
                  <a:lnTo>
                    <a:pt x="968" y="822"/>
                  </a:lnTo>
                  <a:lnTo>
                    <a:pt x="960" y="828"/>
                  </a:lnTo>
                  <a:lnTo>
                    <a:pt x="952" y="834"/>
                  </a:lnTo>
                  <a:lnTo>
                    <a:pt x="948" y="842"/>
                  </a:lnTo>
                  <a:lnTo>
                    <a:pt x="942" y="850"/>
                  </a:lnTo>
                  <a:lnTo>
                    <a:pt x="940" y="860"/>
                  </a:lnTo>
                  <a:lnTo>
                    <a:pt x="940" y="860"/>
                  </a:lnTo>
                  <a:lnTo>
                    <a:pt x="936" y="870"/>
                  </a:lnTo>
                  <a:lnTo>
                    <a:pt x="936" y="880"/>
                  </a:lnTo>
                  <a:lnTo>
                    <a:pt x="936" y="888"/>
                  </a:lnTo>
                  <a:lnTo>
                    <a:pt x="938" y="894"/>
                  </a:lnTo>
                  <a:lnTo>
                    <a:pt x="942" y="900"/>
                  </a:lnTo>
                  <a:lnTo>
                    <a:pt x="948" y="904"/>
                  </a:lnTo>
                  <a:lnTo>
                    <a:pt x="956" y="906"/>
                  </a:lnTo>
                  <a:lnTo>
                    <a:pt x="966" y="908"/>
                  </a:lnTo>
                  <a:lnTo>
                    <a:pt x="966" y="908"/>
                  </a:lnTo>
                  <a:lnTo>
                    <a:pt x="978" y="906"/>
                  </a:lnTo>
                  <a:lnTo>
                    <a:pt x="988" y="904"/>
                  </a:lnTo>
                  <a:lnTo>
                    <a:pt x="1000" y="900"/>
                  </a:lnTo>
                  <a:lnTo>
                    <a:pt x="1010" y="896"/>
                  </a:lnTo>
                  <a:lnTo>
                    <a:pt x="1020" y="888"/>
                  </a:lnTo>
                  <a:lnTo>
                    <a:pt x="1028" y="880"/>
                  </a:lnTo>
                  <a:lnTo>
                    <a:pt x="1034" y="872"/>
                  </a:lnTo>
                  <a:lnTo>
                    <a:pt x="1040" y="862"/>
                  </a:lnTo>
                  <a:lnTo>
                    <a:pt x="1040" y="862"/>
                  </a:lnTo>
                  <a:lnTo>
                    <a:pt x="1042" y="852"/>
                  </a:lnTo>
                  <a:lnTo>
                    <a:pt x="1042" y="842"/>
                  </a:lnTo>
                  <a:lnTo>
                    <a:pt x="1040" y="834"/>
                  </a:lnTo>
                  <a:lnTo>
                    <a:pt x="1034" y="828"/>
                  </a:lnTo>
                  <a:lnTo>
                    <a:pt x="1028" y="822"/>
                  </a:lnTo>
                  <a:lnTo>
                    <a:pt x="1020" y="818"/>
                  </a:lnTo>
                  <a:lnTo>
                    <a:pt x="1008" y="816"/>
                  </a:lnTo>
                  <a:lnTo>
                    <a:pt x="996" y="816"/>
                  </a:lnTo>
                  <a:lnTo>
                    <a:pt x="996" y="816"/>
                  </a:lnTo>
                  <a:close/>
                  <a:moveTo>
                    <a:pt x="1026" y="862"/>
                  </a:moveTo>
                  <a:lnTo>
                    <a:pt x="1026" y="862"/>
                  </a:lnTo>
                  <a:lnTo>
                    <a:pt x="1024" y="868"/>
                  </a:lnTo>
                  <a:lnTo>
                    <a:pt x="1018" y="874"/>
                  </a:lnTo>
                  <a:lnTo>
                    <a:pt x="1006" y="882"/>
                  </a:lnTo>
                  <a:lnTo>
                    <a:pt x="990" y="888"/>
                  </a:lnTo>
                  <a:lnTo>
                    <a:pt x="974" y="890"/>
                  </a:lnTo>
                  <a:lnTo>
                    <a:pt x="974" y="890"/>
                  </a:lnTo>
                  <a:lnTo>
                    <a:pt x="964" y="888"/>
                  </a:lnTo>
                  <a:lnTo>
                    <a:pt x="958" y="888"/>
                  </a:lnTo>
                  <a:lnTo>
                    <a:pt x="952" y="884"/>
                  </a:lnTo>
                  <a:lnTo>
                    <a:pt x="948" y="882"/>
                  </a:lnTo>
                  <a:lnTo>
                    <a:pt x="946" y="878"/>
                  </a:lnTo>
                  <a:lnTo>
                    <a:pt x="946" y="872"/>
                  </a:lnTo>
                  <a:lnTo>
                    <a:pt x="946" y="862"/>
                  </a:lnTo>
                  <a:lnTo>
                    <a:pt x="946" y="862"/>
                  </a:lnTo>
                  <a:lnTo>
                    <a:pt x="952" y="850"/>
                  </a:lnTo>
                  <a:lnTo>
                    <a:pt x="958" y="844"/>
                  </a:lnTo>
                  <a:lnTo>
                    <a:pt x="962" y="840"/>
                  </a:lnTo>
                  <a:lnTo>
                    <a:pt x="976" y="836"/>
                  </a:lnTo>
                  <a:lnTo>
                    <a:pt x="992" y="834"/>
                  </a:lnTo>
                  <a:lnTo>
                    <a:pt x="992" y="834"/>
                  </a:lnTo>
                  <a:lnTo>
                    <a:pt x="1008" y="836"/>
                  </a:lnTo>
                  <a:lnTo>
                    <a:pt x="1016" y="838"/>
                  </a:lnTo>
                  <a:lnTo>
                    <a:pt x="1020" y="840"/>
                  </a:lnTo>
                  <a:lnTo>
                    <a:pt x="1024" y="844"/>
                  </a:lnTo>
                  <a:lnTo>
                    <a:pt x="1028" y="850"/>
                  </a:lnTo>
                  <a:lnTo>
                    <a:pt x="1028" y="856"/>
                  </a:lnTo>
                  <a:lnTo>
                    <a:pt x="1026" y="862"/>
                  </a:lnTo>
                  <a:lnTo>
                    <a:pt x="1026" y="862"/>
                  </a:lnTo>
                  <a:close/>
                  <a:moveTo>
                    <a:pt x="1038" y="680"/>
                  </a:moveTo>
                  <a:lnTo>
                    <a:pt x="1038" y="680"/>
                  </a:lnTo>
                  <a:lnTo>
                    <a:pt x="1026" y="680"/>
                  </a:lnTo>
                  <a:lnTo>
                    <a:pt x="1016" y="682"/>
                  </a:lnTo>
                  <a:lnTo>
                    <a:pt x="1006" y="686"/>
                  </a:lnTo>
                  <a:lnTo>
                    <a:pt x="998" y="692"/>
                  </a:lnTo>
                  <a:lnTo>
                    <a:pt x="992" y="698"/>
                  </a:lnTo>
                  <a:lnTo>
                    <a:pt x="986" y="706"/>
                  </a:lnTo>
                  <a:lnTo>
                    <a:pt x="982" y="714"/>
                  </a:lnTo>
                  <a:lnTo>
                    <a:pt x="978" y="724"/>
                  </a:lnTo>
                  <a:lnTo>
                    <a:pt x="978" y="724"/>
                  </a:lnTo>
                  <a:lnTo>
                    <a:pt x="976" y="734"/>
                  </a:lnTo>
                  <a:lnTo>
                    <a:pt x="976" y="744"/>
                  </a:lnTo>
                  <a:lnTo>
                    <a:pt x="976" y="752"/>
                  </a:lnTo>
                  <a:lnTo>
                    <a:pt x="980" y="758"/>
                  </a:lnTo>
                  <a:lnTo>
                    <a:pt x="984" y="764"/>
                  </a:lnTo>
                  <a:lnTo>
                    <a:pt x="992" y="768"/>
                  </a:lnTo>
                  <a:lnTo>
                    <a:pt x="1000" y="770"/>
                  </a:lnTo>
                  <a:lnTo>
                    <a:pt x="1012" y="772"/>
                  </a:lnTo>
                  <a:lnTo>
                    <a:pt x="1012" y="772"/>
                  </a:lnTo>
                  <a:lnTo>
                    <a:pt x="1026" y="770"/>
                  </a:lnTo>
                  <a:lnTo>
                    <a:pt x="1038" y="768"/>
                  </a:lnTo>
                  <a:lnTo>
                    <a:pt x="1050" y="764"/>
                  </a:lnTo>
                  <a:lnTo>
                    <a:pt x="1060" y="760"/>
                  </a:lnTo>
                  <a:lnTo>
                    <a:pt x="1070" y="752"/>
                  </a:lnTo>
                  <a:lnTo>
                    <a:pt x="1078" y="746"/>
                  </a:lnTo>
                  <a:lnTo>
                    <a:pt x="1086" y="736"/>
                  </a:lnTo>
                  <a:lnTo>
                    <a:pt x="1090" y="726"/>
                  </a:lnTo>
                  <a:lnTo>
                    <a:pt x="1090" y="726"/>
                  </a:lnTo>
                  <a:lnTo>
                    <a:pt x="1092" y="716"/>
                  </a:lnTo>
                  <a:lnTo>
                    <a:pt x="1092" y="708"/>
                  </a:lnTo>
                  <a:lnTo>
                    <a:pt x="1088" y="698"/>
                  </a:lnTo>
                  <a:lnTo>
                    <a:pt x="1082" y="692"/>
                  </a:lnTo>
                  <a:lnTo>
                    <a:pt x="1074" y="686"/>
                  </a:lnTo>
                  <a:lnTo>
                    <a:pt x="1064" y="684"/>
                  </a:lnTo>
                  <a:lnTo>
                    <a:pt x="1052" y="680"/>
                  </a:lnTo>
                  <a:lnTo>
                    <a:pt x="1038" y="680"/>
                  </a:lnTo>
                  <a:lnTo>
                    <a:pt x="1038" y="680"/>
                  </a:lnTo>
                  <a:close/>
                  <a:moveTo>
                    <a:pt x="1076" y="726"/>
                  </a:moveTo>
                  <a:lnTo>
                    <a:pt x="1076" y="726"/>
                  </a:lnTo>
                  <a:lnTo>
                    <a:pt x="1072" y="732"/>
                  </a:lnTo>
                  <a:lnTo>
                    <a:pt x="1068" y="738"/>
                  </a:lnTo>
                  <a:lnTo>
                    <a:pt x="1062" y="742"/>
                  </a:lnTo>
                  <a:lnTo>
                    <a:pt x="1056" y="746"/>
                  </a:lnTo>
                  <a:lnTo>
                    <a:pt x="1038" y="752"/>
                  </a:lnTo>
                  <a:lnTo>
                    <a:pt x="1018" y="754"/>
                  </a:lnTo>
                  <a:lnTo>
                    <a:pt x="1018" y="754"/>
                  </a:lnTo>
                  <a:lnTo>
                    <a:pt x="1008" y="752"/>
                  </a:lnTo>
                  <a:lnTo>
                    <a:pt x="1000" y="752"/>
                  </a:lnTo>
                  <a:lnTo>
                    <a:pt x="994" y="748"/>
                  </a:lnTo>
                  <a:lnTo>
                    <a:pt x="990" y="746"/>
                  </a:lnTo>
                  <a:lnTo>
                    <a:pt x="988" y="742"/>
                  </a:lnTo>
                  <a:lnTo>
                    <a:pt x="986" y="736"/>
                  </a:lnTo>
                  <a:lnTo>
                    <a:pt x="986" y="732"/>
                  </a:lnTo>
                  <a:lnTo>
                    <a:pt x="986" y="726"/>
                  </a:lnTo>
                  <a:lnTo>
                    <a:pt x="986" y="726"/>
                  </a:lnTo>
                  <a:lnTo>
                    <a:pt x="990" y="720"/>
                  </a:lnTo>
                  <a:lnTo>
                    <a:pt x="992" y="714"/>
                  </a:lnTo>
                  <a:lnTo>
                    <a:pt x="998" y="708"/>
                  </a:lnTo>
                  <a:lnTo>
                    <a:pt x="1002" y="704"/>
                  </a:lnTo>
                  <a:lnTo>
                    <a:pt x="1016" y="700"/>
                  </a:lnTo>
                  <a:lnTo>
                    <a:pt x="1034" y="698"/>
                  </a:lnTo>
                  <a:lnTo>
                    <a:pt x="1034" y="698"/>
                  </a:lnTo>
                  <a:lnTo>
                    <a:pt x="1054" y="700"/>
                  </a:lnTo>
                  <a:lnTo>
                    <a:pt x="1062" y="702"/>
                  </a:lnTo>
                  <a:lnTo>
                    <a:pt x="1068" y="706"/>
                  </a:lnTo>
                  <a:lnTo>
                    <a:pt x="1072" y="708"/>
                  </a:lnTo>
                  <a:lnTo>
                    <a:pt x="1076" y="714"/>
                  </a:lnTo>
                  <a:lnTo>
                    <a:pt x="1076" y="720"/>
                  </a:lnTo>
                  <a:lnTo>
                    <a:pt x="1076" y="726"/>
                  </a:lnTo>
                  <a:lnTo>
                    <a:pt x="1076" y="726"/>
                  </a:lnTo>
                  <a:close/>
                  <a:moveTo>
                    <a:pt x="1076" y="544"/>
                  </a:moveTo>
                  <a:lnTo>
                    <a:pt x="1076" y="544"/>
                  </a:lnTo>
                  <a:lnTo>
                    <a:pt x="1062" y="544"/>
                  </a:lnTo>
                  <a:lnTo>
                    <a:pt x="1050" y="548"/>
                  </a:lnTo>
                  <a:lnTo>
                    <a:pt x="1040" y="550"/>
                  </a:lnTo>
                  <a:lnTo>
                    <a:pt x="1032" y="556"/>
                  </a:lnTo>
                  <a:lnTo>
                    <a:pt x="1024" y="562"/>
                  </a:lnTo>
                  <a:lnTo>
                    <a:pt x="1020" y="570"/>
                  </a:lnTo>
                  <a:lnTo>
                    <a:pt x="1014" y="578"/>
                  </a:lnTo>
                  <a:lnTo>
                    <a:pt x="1012" y="588"/>
                  </a:lnTo>
                  <a:lnTo>
                    <a:pt x="1012" y="588"/>
                  </a:lnTo>
                  <a:lnTo>
                    <a:pt x="1010" y="598"/>
                  </a:lnTo>
                  <a:lnTo>
                    <a:pt x="1010" y="608"/>
                  </a:lnTo>
                  <a:lnTo>
                    <a:pt x="1012" y="616"/>
                  </a:lnTo>
                  <a:lnTo>
                    <a:pt x="1016" y="622"/>
                  </a:lnTo>
                  <a:lnTo>
                    <a:pt x="1022" y="628"/>
                  </a:lnTo>
                  <a:lnTo>
                    <a:pt x="1030" y="632"/>
                  </a:lnTo>
                  <a:lnTo>
                    <a:pt x="1040" y="636"/>
                  </a:lnTo>
                  <a:lnTo>
                    <a:pt x="1054" y="636"/>
                  </a:lnTo>
                  <a:lnTo>
                    <a:pt x="1054" y="636"/>
                  </a:lnTo>
                  <a:lnTo>
                    <a:pt x="1066" y="636"/>
                  </a:lnTo>
                  <a:lnTo>
                    <a:pt x="1080" y="632"/>
                  </a:lnTo>
                  <a:lnTo>
                    <a:pt x="1092" y="628"/>
                  </a:lnTo>
                  <a:lnTo>
                    <a:pt x="1104" y="624"/>
                  </a:lnTo>
                  <a:lnTo>
                    <a:pt x="1114" y="616"/>
                  </a:lnTo>
                  <a:lnTo>
                    <a:pt x="1124" y="610"/>
                  </a:lnTo>
                  <a:lnTo>
                    <a:pt x="1130" y="600"/>
                  </a:lnTo>
                  <a:lnTo>
                    <a:pt x="1134" y="592"/>
                  </a:lnTo>
                  <a:lnTo>
                    <a:pt x="1134" y="592"/>
                  </a:lnTo>
                  <a:lnTo>
                    <a:pt x="1136" y="580"/>
                  </a:lnTo>
                  <a:lnTo>
                    <a:pt x="1134" y="572"/>
                  </a:lnTo>
                  <a:lnTo>
                    <a:pt x="1130" y="564"/>
                  </a:lnTo>
                  <a:lnTo>
                    <a:pt x="1122" y="556"/>
                  </a:lnTo>
                  <a:lnTo>
                    <a:pt x="1114" y="552"/>
                  </a:lnTo>
                  <a:lnTo>
                    <a:pt x="1102" y="548"/>
                  </a:lnTo>
                  <a:lnTo>
                    <a:pt x="1090" y="544"/>
                  </a:lnTo>
                  <a:lnTo>
                    <a:pt x="1076" y="544"/>
                  </a:lnTo>
                  <a:lnTo>
                    <a:pt x="1076" y="544"/>
                  </a:lnTo>
                  <a:close/>
                  <a:moveTo>
                    <a:pt x="1118" y="590"/>
                  </a:moveTo>
                  <a:lnTo>
                    <a:pt x="1118" y="590"/>
                  </a:lnTo>
                  <a:lnTo>
                    <a:pt x="1116" y="596"/>
                  </a:lnTo>
                  <a:lnTo>
                    <a:pt x="1112" y="602"/>
                  </a:lnTo>
                  <a:lnTo>
                    <a:pt x="1106" y="606"/>
                  </a:lnTo>
                  <a:lnTo>
                    <a:pt x="1098" y="610"/>
                  </a:lnTo>
                  <a:lnTo>
                    <a:pt x="1080" y="616"/>
                  </a:lnTo>
                  <a:lnTo>
                    <a:pt x="1058" y="618"/>
                  </a:lnTo>
                  <a:lnTo>
                    <a:pt x="1058" y="618"/>
                  </a:lnTo>
                  <a:lnTo>
                    <a:pt x="1048" y="618"/>
                  </a:lnTo>
                  <a:lnTo>
                    <a:pt x="1038" y="616"/>
                  </a:lnTo>
                  <a:lnTo>
                    <a:pt x="1032" y="614"/>
                  </a:lnTo>
                  <a:lnTo>
                    <a:pt x="1026" y="610"/>
                  </a:lnTo>
                  <a:lnTo>
                    <a:pt x="1024" y="606"/>
                  </a:lnTo>
                  <a:lnTo>
                    <a:pt x="1022" y="602"/>
                  </a:lnTo>
                  <a:lnTo>
                    <a:pt x="1020" y="596"/>
                  </a:lnTo>
                  <a:lnTo>
                    <a:pt x="1022" y="590"/>
                  </a:lnTo>
                  <a:lnTo>
                    <a:pt x="1022" y="590"/>
                  </a:lnTo>
                  <a:lnTo>
                    <a:pt x="1024" y="584"/>
                  </a:lnTo>
                  <a:lnTo>
                    <a:pt x="1028" y="578"/>
                  </a:lnTo>
                  <a:lnTo>
                    <a:pt x="1032" y="572"/>
                  </a:lnTo>
                  <a:lnTo>
                    <a:pt x="1038" y="570"/>
                  </a:lnTo>
                  <a:lnTo>
                    <a:pt x="1052" y="564"/>
                  </a:lnTo>
                  <a:lnTo>
                    <a:pt x="1072" y="562"/>
                  </a:lnTo>
                  <a:lnTo>
                    <a:pt x="1072" y="562"/>
                  </a:lnTo>
                  <a:lnTo>
                    <a:pt x="1092" y="564"/>
                  </a:lnTo>
                  <a:lnTo>
                    <a:pt x="1100" y="566"/>
                  </a:lnTo>
                  <a:lnTo>
                    <a:pt x="1108" y="570"/>
                  </a:lnTo>
                  <a:lnTo>
                    <a:pt x="1114" y="574"/>
                  </a:lnTo>
                  <a:lnTo>
                    <a:pt x="1118" y="578"/>
                  </a:lnTo>
                  <a:lnTo>
                    <a:pt x="1120" y="584"/>
                  </a:lnTo>
                  <a:lnTo>
                    <a:pt x="1118" y="590"/>
                  </a:lnTo>
                  <a:lnTo>
                    <a:pt x="1118" y="590"/>
                  </a:lnTo>
                  <a:close/>
                  <a:moveTo>
                    <a:pt x="1104" y="408"/>
                  </a:moveTo>
                  <a:lnTo>
                    <a:pt x="1104" y="408"/>
                  </a:lnTo>
                  <a:lnTo>
                    <a:pt x="1090" y="410"/>
                  </a:lnTo>
                  <a:lnTo>
                    <a:pt x="1078" y="412"/>
                  </a:lnTo>
                  <a:lnTo>
                    <a:pt x="1068" y="414"/>
                  </a:lnTo>
                  <a:lnTo>
                    <a:pt x="1060" y="420"/>
                  </a:lnTo>
                  <a:lnTo>
                    <a:pt x="1052" y="426"/>
                  </a:lnTo>
                  <a:lnTo>
                    <a:pt x="1046" y="434"/>
                  </a:lnTo>
                  <a:lnTo>
                    <a:pt x="1042" y="442"/>
                  </a:lnTo>
                  <a:lnTo>
                    <a:pt x="1040" y="454"/>
                  </a:lnTo>
                  <a:lnTo>
                    <a:pt x="1040" y="454"/>
                  </a:lnTo>
                  <a:lnTo>
                    <a:pt x="1038" y="462"/>
                  </a:lnTo>
                  <a:lnTo>
                    <a:pt x="1040" y="472"/>
                  </a:lnTo>
                  <a:lnTo>
                    <a:pt x="1042" y="480"/>
                  </a:lnTo>
                  <a:lnTo>
                    <a:pt x="1046" y="486"/>
                  </a:lnTo>
                  <a:lnTo>
                    <a:pt x="1054" y="492"/>
                  </a:lnTo>
                  <a:lnTo>
                    <a:pt x="1062" y="496"/>
                  </a:lnTo>
                  <a:lnTo>
                    <a:pt x="1074" y="500"/>
                  </a:lnTo>
                  <a:lnTo>
                    <a:pt x="1088" y="500"/>
                  </a:lnTo>
                  <a:lnTo>
                    <a:pt x="1088" y="500"/>
                  </a:lnTo>
                  <a:lnTo>
                    <a:pt x="1102" y="500"/>
                  </a:lnTo>
                  <a:lnTo>
                    <a:pt x="1116" y="496"/>
                  </a:lnTo>
                  <a:lnTo>
                    <a:pt x="1130" y="492"/>
                  </a:lnTo>
                  <a:lnTo>
                    <a:pt x="1142" y="488"/>
                  </a:lnTo>
                  <a:lnTo>
                    <a:pt x="1152" y="482"/>
                  </a:lnTo>
                  <a:lnTo>
                    <a:pt x="1160" y="474"/>
                  </a:lnTo>
                  <a:lnTo>
                    <a:pt x="1166" y="464"/>
                  </a:lnTo>
                  <a:lnTo>
                    <a:pt x="1170" y="456"/>
                  </a:lnTo>
                  <a:lnTo>
                    <a:pt x="1170" y="456"/>
                  </a:lnTo>
                  <a:lnTo>
                    <a:pt x="1172" y="444"/>
                  </a:lnTo>
                  <a:lnTo>
                    <a:pt x="1170" y="436"/>
                  </a:lnTo>
                  <a:lnTo>
                    <a:pt x="1164" y="428"/>
                  </a:lnTo>
                  <a:lnTo>
                    <a:pt x="1156" y="420"/>
                  </a:lnTo>
                  <a:lnTo>
                    <a:pt x="1146" y="416"/>
                  </a:lnTo>
                  <a:lnTo>
                    <a:pt x="1134" y="412"/>
                  </a:lnTo>
                  <a:lnTo>
                    <a:pt x="1120" y="410"/>
                  </a:lnTo>
                  <a:lnTo>
                    <a:pt x="1104" y="408"/>
                  </a:lnTo>
                  <a:lnTo>
                    <a:pt x="1104" y="408"/>
                  </a:lnTo>
                  <a:close/>
                  <a:moveTo>
                    <a:pt x="1154" y="454"/>
                  </a:moveTo>
                  <a:lnTo>
                    <a:pt x="1154" y="454"/>
                  </a:lnTo>
                  <a:lnTo>
                    <a:pt x="1152" y="460"/>
                  </a:lnTo>
                  <a:lnTo>
                    <a:pt x="1146" y="466"/>
                  </a:lnTo>
                  <a:lnTo>
                    <a:pt x="1140" y="470"/>
                  </a:lnTo>
                  <a:lnTo>
                    <a:pt x="1134" y="474"/>
                  </a:lnTo>
                  <a:lnTo>
                    <a:pt x="1114" y="480"/>
                  </a:lnTo>
                  <a:lnTo>
                    <a:pt x="1092" y="482"/>
                  </a:lnTo>
                  <a:lnTo>
                    <a:pt x="1092" y="482"/>
                  </a:lnTo>
                  <a:lnTo>
                    <a:pt x="1080" y="482"/>
                  </a:lnTo>
                  <a:lnTo>
                    <a:pt x="1070" y="480"/>
                  </a:lnTo>
                  <a:lnTo>
                    <a:pt x="1062" y="478"/>
                  </a:lnTo>
                  <a:lnTo>
                    <a:pt x="1058" y="474"/>
                  </a:lnTo>
                  <a:lnTo>
                    <a:pt x="1054" y="470"/>
                  </a:lnTo>
                  <a:lnTo>
                    <a:pt x="1050" y="466"/>
                  </a:lnTo>
                  <a:lnTo>
                    <a:pt x="1050" y="460"/>
                  </a:lnTo>
                  <a:lnTo>
                    <a:pt x="1050" y="454"/>
                  </a:lnTo>
                  <a:lnTo>
                    <a:pt x="1050" y="454"/>
                  </a:lnTo>
                  <a:lnTo>
                    <a:pt x="1052" y="448"/>
                  </a:lnTo>
                  <a:lnTo>
                    <a:pt x="1056" y="442"/>
                  </a:lnTo>
                  <a:lnTo>
                    <a:pt x="1060" y="438"/>
                  </a:lnTo>
                  <a:lnTo>
                    <a:pt x="1066" y="434"/>
                  </a:lnTo>
                  <a:lnTo>
                    <a:pt x="1072" y="430"/>
                  </a:lnTo>
                  <a:lnTo>
                    <a:pt x="1082" y="428"/>
                  </a:lnTo>
                  <a:lnTo>
                    <a:pt x="1102" y="426"/>
                  </a:lnTo>
                  <a:lnTo>
                    <a:pt x="1102" y="426"/>
                  </a:lnTo>
                  <a:lnTo>
                    <a:pt x="1124" y="428"/>
                  </a:lnTo>
                  <a:lnTo>
                    <a:pt x="1134" y="430"/>
                  </a:lnTo>
                  <a:lnTo>
                    <a:pt x="1142" y="434"/>
                  </a:lnTo>
                  <a:lnTo>
                    <a:pt x="1148" y="438"/>
                  </a:lnTo>
                  <a:lnTo>
                    <a:pt x="1152" y="442"/>
                  </a:lnTo>
                  <a:lnTo>
                    <a:pt x="1154" y="448"/>
                  </a:lnTo>
                  <a:lnTo>
                    <a:pt x="1154" y="454"/>
                  </a:lnTo>
                  <a:lnTo>
                    <a:pt x="1154" y="454"/>
                  </a:lnTo>
                  <a:close/>
                  <a:moveTo>
                    <a:pt x="1062" y="320"/>
                  </a:moveTo>
                  <a:lnTo>
                    <a:pt x="1062" y="320"/>
                  </a:lnTo>
                  <a:lnTo>
                    <a:pt x="1070" y="350"/>
                  </a:lnTo>
                  <a:lnTo>
                    <a:pt x="1070" y="350"/>
                  </a:lnTo>
                  <a:lnTo>
                    <a:pt x="1084" y="346"/>
                  </a:lnTo>
                  <a:lnTo>
                    <a:pt x="1084" y="346"/>
                  </a:lnTo>
                  <a:lnTo>
                    <a:pt x="1076" y="324"/>
                  </a:lnTo>
                  <a:lnTo>
                    <a:pt x="1076" y="324"/>
                  </a:lnTo>
                  <a:lnTo>
                    <a:pt x="1076" y="322"/>
                  </a:lnTo>
                  <a:lnTo>
                    <a:pt x="1196" y="322"/>
                  </a:lnTo>
                  <a:lnTo>
                    <a:pt x="1196" y="322"/>
                  </a:lnTo>
                  <a:lnTo>
                    <a:pt x="1198" y="304"/>
                  </a:lnTo>
                  <a:lnTo>
                    <a:pt x="1064" y="304"/>
                  </a:lnTo>
                  <a:lnTo>
                    <a:pt x="1064" y="304"/>
                  </a:lnTo>
                  <a:lnTo>
                    <a:pt x="1062" y="320"/>
                  </a:lnTo>
                  <a:lnTo>
                    <a:pt x="1062" y="320"/>
                  </a:lnTo>
                  <a:close/>
                  <a:moveTo>
                    <a:pt x="1078" y="184"/>
                  </a:moveTo>
                  <a:lnTo>
                    <a:pt x="1078" y="184"/>
                  </a:lnTo>
                  <a:lnTo>
                    <a:pt x="1088" y="214"/>
                  </a:lnTo>
                  <a:lnTo>
                    <a:pt x="1088" y="214"/>
                  </a:lnTo>
                  <a:lnTo>
                    <a:pt x="1100" y="210"/>
                  </a:lnTo>
                  <a:lnTo>
                    <a:pt x="1100" y="210"/>
                  </a:lnTo>
                  <a:lnTo>
                    <a:pt x="1092" y="188"/>
                  </a:lnTo>
                  <a:lnTo>
                    <a:pt x="1092" y="188"/>
                  </a:lnTo>
                  <a:lnTo>
                    <a:pt x="1092" y="186"/>
                  </a:lnTo>
                  <a:lnTo>
                    <a:pt x="1092" y="186"/>
                  </a:lnTo>
                  <a:lnTo>
                    <a:pt x="1214" y="186"/>
                  </a:lnTo>
                  <a:lnTo>
                    <a:pt x="1214" y="186"/>
                  </a:lnTo>
                  <a:lnTo>
                    <a:pt x="1216" y="170"/>
                  </a:lnTo>
                  <a:lnTo>
                    <a:pt x="1078" y="170"/>
                  </a:lnTo>
                  <a:lnTo>
                    <a:pt x="1078" y="170"/>
                  </a:lnTo>
                  <a:lnTo>
                    <a:pt x="1078" y="184"/>
                  </a:lnTo>
                  <a:lnTo>
                    <a:pt x="1078" y="184"/>
                  </a:lnTo>
                  <a:close/>
                  <a:moveTo>
                    <a:pt x="1144" y="0"/>
                  </a:moveTo>
                  <a:lnTo>
                    <a:pt x="1144" y="0"/>
                  </a:lnTo>
                  <a:lnTo>
                    <a:pt x="1130" y="2"/>
                  </a:lnTo>
                  <a:lnTo>
                    <a:pt x="1116" y="4"/>
                  </a:lnTo>
                  <a:lnTo>
                    <a:pt x="1106" y="8"/>
                  </a:lnTo>
                  <a:lnTo>
                    <a:pt x="1098" y="12"/>
                  </a:lnTo>
                  <a:lnTo>
                    <a:pt x="1090" y="18"/>
                  </a:lnTo>
                  <a:lnTo>
                    <a:pt x="1086" y="26"/>
                  </a:lnTo>
                  <a:lnTo>
                    <a:pt x="1084" y="36"/>
                  </a:lnTo>
                  <a:lnTo>
                    <a:pt x="1082" y="46"/>
                  </a:lnTo>
                  <a:lnTo>
                    <a:pt x="1082" y="46"/>
                  </a:lnTo>
                  <a:lnTo>
                    <a:pt x="1082" y="56"/>
                  </a:lnTo>
                  <a:lnTo>
                    <a:pt x="1086" y="64"/>
                  </a:lnTo>
                  <a:lnTo>
                    <a:pt x="1090" y="72"/>
                  </a:lnTo>
                  <a:lnTo>
                    <a:pt x="1096" y="80"/>
                  </a:lnTo>
                  <a:lnTo>
                    <a:pt x="1104" y="86"/>
                  </a:lnTo>
                  <a:lnTo>
                    <a:pt x="1116" y="90"/>
                  </a:lnTo>
                  <a:lnTo>
                    <a:pt x="1128" y="92"/>
                  </a:lnTo>
                  <a:lnTo>
                    <a:pt x="1144" y="92"/>
                  </a:lnTo>
                  <a:lnTo>
                    <a:pt x="1144" y="92"/>
                  </a:lnTo>
                  <a:lnTo>
                    <a:pt x="1160" y="92"/>
                  </a:lnTo>
                  <a:lnTo>
                    <a:pt x="1176" y="90"/>
                  </a:lnTo>
                  <a:lnTo>
                    <a:pt x="1190" y="86"/>
                  </a:lnTo>
                  <a:lnTo>
                    <a:pt x="1202" y="80"/>
                  </a:lnTo>
                  <a:lnTo>
                    <a:pt x="1212" y="74"/>
                  </a:lnTo>
                  <a:lnTo>
                    <a:pt x="1220" y="66"/>
                  </a:lnTo>
                  <a:lnTo>
                    <a:pt x="1224" y="58"/>
                  </a:lnTo>
                  <a:lnTo>
                    <a:pt x="1226" y="48"/>
                  </a:lnTo>
                  <a:lnTo>
                    <a:pt x="1226" y="48"/>
                  </a:lnTo>
                  <a:lnTo>
                    <a:pt x="1226" y="38"/>
                  </a:lnTo>
                  <a:lnTo>
                    <a:pt x="1220" y="28"/>
                  </a:lnTo>
                  <a:lnTo>
                    <a:pt x="1214" y="20"/>
                  </a:lnTo>
                  <a:lnTo>
                    <a:pt x="1204" y="14"/>
                  </a:lnTo>
                  <a:lnTo>
                    <a:pt x="1190" y="8"/>
                  </a:lnTo>
                  <a:lnTo>
                    <a:pt x="1176" y="4"/>
                  </a:lnTo>
                  <a:lnTo>
                    <a:pt x="1162" y="2"/>
                  </a:lnTo>
                  <a:lnTo>
                    <a:pt x="1144" y="0"/>
                  </a:lnTo>
                  <a:lnTo>
                    <a:pt x="1144" y="0"/>
                  </a:lnTo>
                  <a:close/>
                  <a:moveTo>
                    <a:pt x="1146" y="74"/>
                  </a:moveTo>
                  <a:lnTo>
                    <a:pt x="1146" y="74"/>
                  </a:lnTo>
                  <a:lnTo>
                    <a:pt x="1132" y="74"/>
                  </a:lnTo>
                  <a:lnTo>
                    <a:pt x="1122" y="72"/>
                  </a:lnTo>
                  <a:lnTo>
                    <a:pt x="1112" y="70"/>
                  </a:lnTo>
                  <a:lnTo>
                    <a:pt x="1106" y="66"/>
                  </a:lnTo>
                  <a:lnTo>
                    <a:pt x="1100" y="62"/>
                  </a:lnTo>
                  <a:lnTo>
                    <a:pt x="1096" y="58"/>
                  </a:lnTo>
                  <a:lnTo>
                    <a:pt x="1094" y="52"/>
                  </a:lnTo>
                  <a:lnTo>
                    <a:pt x="1094" y="46"/>
                  </a:lnTo>
                  <a:lnTo>
                    <a:pt x="1094" y="46"/>
                  </a:lnTo>
                  <a:lnTo>
                    <a:pt x="1094" y="40"/>
                  </a:lnTo>
                  <a:lnTo>
                    <a:pt x="1098" y="34"/>
                  </a:lnTo>
                  <a:lnTo>
                    <a:pt x="1102" y="30"/>
                  </a:lnTo>
                  <a:lnTo>
                    <a:pt x="1106" y="26"/>
                  </a:lnTo>
                  <a:lnTo>
                    <a:pt x="1114" y="22"/>
                  </a:lnTo>
                  <a:lnTo>
                    <a:pt x="1122" y="20"/>
                  </a:lnTo>
                  <a:lnTo>
                    <a:pt x="1144" y="20"/>
                  </a:lnTo>
                  <a:lnTo>
                    <a:pt x="1144" y="20"/>
                  </a:lnTo>
                  <a:lnTo>
                    <a:pt x="1170" y="20"/>
                  </a:lnTo>
                  <a:lnTo>
                    <a:pt x="1180" y="24"/>
                  </a:lnTo>
                  <a:lnTo>
                    <a:pt x="1190" y="26"/>
                  </a:lnTo>
                  <a:lnTo>
                    <a:pt x="1198" y="30"/>
                  </a:lnTo>
                  <a:lnTo>
                    <a:pt x="1204" y="34"/>
                  </a:lnTo>
                  <a:lnTo>
                    <a:pt x="1208" y="40"/>
                  </a:lnTo>
                  <a:lnTo>
                    <a:pt x="1208" y="46"/>
                  </a:lnTo>
                  <a:lnTo>
                    <a:pt x="1208" y="46"/>
                  </a:lnTo>
                  <a:lnTo>
                    <a:pt x="1206" y="52"/>
                  </a:lnTo>
                  <a:lnTo>
                    <a:pt x="1204" y="58"/>
                  </a:lnTo>
                  <a:lnTo>
                    <a:pt x="1198" y="62"/>
                  </a:lnTo>
                  <a:lnTo>
                    <a:pt x="1190" y="66"/>
                  </a:lnTo>
                  <a:lnTo>
                    <a:pt x="1170" y="72"/>
                  </a:lnTo>
                  <a:lnTo>
                    <a:pt x="1146" y="74"/>
                  </a:lnTo>
                  <a:lnTo>
                    <a:pt x="1146" y="74"/>
                  </a:lnTo>
                  <a:close/>
                </a:path>
              </a:pathLst>
            </a:custGeom>
            <a:solidFill>
              <a:srgbClr val="000000"/>
            </a:solidFill>
            <a:ln w="9525">
              <a:solidFill>
                <a:srgbClr val="000000"/>
              </a:solidFill>
              <a:round/>
              <a:headEnd/>
              <a:tailEnd/>
            </a:ln>
          </p:spPr>
          <p:txBody>
            <a:bodyPr/>
            <a:lstStyle/>
            <a:p>
              <a:endParaRPr lang="en-US" sz="2000" dirty="0">
                <a:latin typeface="微软雅黑" pitchFamily="34" charset="-122"/>
                <a:ea typeface="微软雅黑" pitchFamily="34" charset="-122"/>
              </a:endParaRPr>
            </a:p>
          </p:txBody>
        </p:sp>
        <p:grpSp>
          <p:nvGrpSpPr>
            <p:cNvPr id="258" name="Group 257"/>
            <p:cNvGrpSpPr/>
            <p:nvPr/>
          </p:nvGrpSpPr>
          <p:grpSpPr>
            <a:xfrm>
              <a:off x="3340173" y="3803720"/>
              <a:ext cx="1296987" cy="321945"/>
              <a:chOff x="171035" y="954157"/>
              <a:chExt cx="390949" cy="387626"/>
            </a:xfrm>
          </p:grpSpPr>
          <p:sp>
            <p:nvSpPr>
              <p:cNvPr id="260" name="Round Diagonal Corner Rectangle 259"/>
              <p:cNvSpPr/>
              <p:nvPr/>
            </p:nvSpPr>
            <p:spPr>
              <a:xfrm flipV="1">
                <a:off x="171035" y="954157"/>
                <a:ext cx="387626" cy="387626"/>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dirty="0">
                  <a:latin typeface="微软雅黑" pitchFamily="34" charset="-122"/>
                  <a:ea typeface="微软雅黑" pitchFamily="34" charset="-122"/>
                </a:endParaRPr>
              </a:p>
            </p:txBody>
          </p:sp>
          <p:sp>
            <p:nvSpPr>
              <p:cNvPr id="261" name="Round Diagonal Corner Rectangle 260"/>
              <p:cNvSpPr/>
              <p:nvPr/>
            </p:nvSpPr>
            <p:spPr>
              <a:xfrm>
                <a:off x="174358" y="954157"/>
                <a:ext cx="387626" cy="387626"/>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2300" dirty="0">
                    <a:latin typeface="微软雅黑" pitchFamily="34" charset="-122"/>
                    <a:ea typeface="微软雅黑" pitchFamily="34" charset="-122"/>
                  </a:rPr>
                  <a:t>外泄</a:t>
                </a:r>
                <a:endParaRPr lang="en-US" sz="2300" dirty="0">
                  <a:latin typeface="微软雅黑" pitchFamily="34" charset="-122"/>
                  <a:ea typeface="微软雅黑" pitchFamily="34" charset="-122"/>
                </a:endParaRPr>
              </a:p>
            </p:txBody>
          </p:sp>
        </p:grpSp>
      </p:grpSp>
      <p:grpSp>
        <p:nvGrpSpPr>
          <p:cNvPr id="207" name="Group 206"/>
          <p:cNvGrpSpPr/>
          <p:nvPr/>
        </p:nvGrpSpPr>
        <p:grpSpPr>
          <a:xfrm>
            <a:off x="2464160" y="1236387"/>
            <a:ext cx="2812559" cy="763129"/>
            <a:chOff x="270108" y="3859212"/>
            <a:chExt cx="1980724" cy="536575"/>
          </a:xfrm>
        </p:grpSpPr>
        <p:sp>
          <p:nvSpPr>
            <p:cNvPr id="208" name="Round Diagonal Corner Rectangle 207"/>
            <p:cNvSpPr/>
            <p:nvPr/>
          </p:nvSpPr>
          <p:spPr>
            <a:xfrm flipV="1">
              <a:off x="270108" y="3859212"/>
              <a:ext cx="1840046" cy="536575"/>
            </a:xfrm>
            <a:prstGeom prst="round2Diag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00" dirty="0">
                <a:latin typeface="微软雅黑" pitchFamily="34" charset="-122"/>
                <a:ea typeface="微软雅黑" pitchFamily="34" charset="-122"/>
              </a:endParaRPr>
            </a:p>
          </p:txBody>
        </p:sp>
        <p:sp>
          <p:nvSpPr>
            <p:cNvPr id="209" name="Round Diagonal Corner Rectangle 208"/>
            <p:cNvSpPr/>
            <p:nvPr/>
          </p:nvSpPr>
          <p:spPr>
            <a:xfrm>
              <a:off x="281355" y="3912208"/>
              <a:ext cx="1969477" cy="430585"/>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zh-CN" altLang="en-US" sz="2300" dirty="0">
                  <a:solidFill>
                    <a:srgbClr val="000000"/>
                  </a:solidFill>
                  <a:latin typeface="微软雅黑" pitchFamily="34" charset="-122"/>
                  <a:ea typeface="微软雅黑" pitchFamily="34" charset="-122"/>
                </a:rPr>
                <a:t>安全情报研究</a:t>
              </a:r>
              <a:endParaRPr lang="en-US" sz="2300" dirty="0">
                <a:solidFill>
                  <a:srgbClr val="000000"/>
                </a:solidFill>
                <a:latin typeface="微软雅黑" pitchFamily="34" charset="-122"/>
                <a:ea typeface="微软雅黑" pitchFamily="34" charset="-122"/>
              </a:endParaRPr>
            </a:p>
          </p:txBody>
        </p:sp>
      </p:grpSp>
      <p:grpSp>
        <p:nvGrpSpPr>
          <p:cNvPr id="210" name="Group 209"/>
          <p:cNvGrpSpPr/>
          <p:nvPr/>
        </p:nvGrpSpPr>
        <p:grpSpPr>
          <a:xfrm>
            <a:off x="3969976" y="1916701"/>
            <a:ext cx="2812559" cy="763129"/>
            <a:chOff x="270108" y="3859212"/>
            <a:chExt cx="1980724" cy="536575"/>
          </a:xfrm>
        </p:grpSpPr>
        <p:sp>
          <p:nvSpPr>
            <p:cNvPr id="211" name="Round Diagonal Corner Rectangle 210"/>
            <p:cNvSpPr/>
            <p:nvPr/>
          </p:nvSpPr>
          <p:spPr>
            <a:xfrm flipV="1">
              <a:off x="270108" y="3859212"/>
              <a:ext cx="1840046" cy="536575"/>
            </a:xfrm>
            <a:prstGeom prst="round2Diag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00" dirty="0">
                <a:latin typeface="微软雅黑" pitchFamily="34" charset="-122"/>
                <a:ea typeface="微软雅黑" pitchFamily="34" charset="-122"/>
              </a:endParaRPr>
            </a:p>
          </p:txBody>
        </p:sp>
        <p:sp>
          <p:nvSpPr>
            <p:cNvPr id="212" name="Round Diagonal Corner Rectangle 211"/>
            <p:cNvSpPr/>
            <p:nvPr/>
          </p:nvSpPr>
          <p:spPr>
            <a:xfrm>
              <a:off x="281355" y="3912208"/>
              <a:ext cx="1969477" cy="430585"/>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zh-CN" altLang="en-US" sz="2300" dirty="0">
                  <a:solidFill>
                    <a:srgbClr val="000000"/>
                  </a:solidFill>
                  <a:latin typeface="微软雅黑" pitchFamily="34" charset="-122"/>
                  <a:ea typeface="微软雅黑" pitchFamily="34" charset="-122"/>
                </a:rPr>
                <a:t>阻断访问</a:t>
              </a:r>
              <a:endParaRPr lang="en-US" sz="2300" dirty="0">
                <a:solidFill>
                  <a:srgbClr val="000000"/>
                </a:solidFill>
                <a:latin typeface="微软雅黑" pitchFamily="34" charset="-122"/>
                <a:ea typeface="微软雅黑" pitchFamily="34" charset="-122"/>
              </a:endParaRPr>
            </a:p>
          </p:txBody>
        </p:sp>
      </p:grpSp>
    </p:spTree>
    <p:extLst>
      <p:ext uri="{BB962C8B-B14F-4D97-AF65-F5344CB8AC3E}">
        <p14:creationId xmlns:p14="http://schemas.microsoft.com/office/powerpoint/2010/main" val="3524471393"/>
      </p:ext>
    </p:extLst>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262"/>
                                        </p:tgtEl>
                                        <p:attrNameLst>
                                          <p:attrName>style.visibility</p:attrName>
                                        </p:attrNameLst>
                                      </p:cBhvr>
                                      <p:to>
                                        <p:strVal val="visible"/>
                                      </p:to>
                                    </p:set>
                                    <p:animEffect transition="in" filter="fade">
                                      <p:cBhvr>
                                        <p:cTn id="10" dur="500"/>
                                        <p:tgtEl>
                                          <p:spTgt spid="262"/>
                                        </p:tgtEl>
                                      </p:cBhvr>
                                    </p:animEffect>
                                  </p:childTnLst>
                                </p:cTn>
                              </p:par>
                              <p:par>
                                <p:cTn id="11" presetID="22" presetClass="entr" presetSubtype="8"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wipe(left)">
                                      <p:cBhvr>
                                        <p:cTn id="13" dur="500"/>
                                        <p:tgtEl>
                                          <p:spTgt spid="10"/>
                                        </p:tgtEl>
                                      </p:cBhvr>
                                    </p:animEffect>
                                  </p:childTnLst>
                                </p:cTn>
                              </p:par>
                              <p:par>
                                <p:cTn id="14" presetID="22" presetClass="entr" presetSubtype="1"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wipe(up)">
                                      <p:cBhvr>
                                        <p:cTn id="16" dur="500"/>
                                        <p:tgtEl>
                                          <p:spTgt spid="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71"/>
                                        </p:tgtEl>
                                        <p:attrNameLst>
                                          <p:attrName>style.visibility</p:attrName>
                                        </p:attrNameLst>
                                      </p:cBhvr>
                                      <p:to>
                                        <p:strVal val="visible"/>
                                      </p:to>
                                    </p:set>
                                    <p:animEffect transition="in" filter="fade">
                                      <p:cBhvr>
                                        <p:cTn id="19" dur="250"/>
                                        <p:tgtEl>
                                          <p:spTgt spid="271"/>
                                        </p:tgtEl>
                                      </p:cBhvr>
                                    </p:animEffect>
                                  </p:childTnLst>
                                </p:cTn>
                              </p:par>
                              <p:par>
                                <p:cTn id="20" presetID="10" presetClass="entr" presetSubtype="0" fill="hold" nodeType="withEffect">
                                  <p:stCondLst>
                                    <p:cond delay="0"/>
                                  </p:stCondLst>
                                  <p:childTnLst>
                                    <p:set>
                                      <p:cBhvr>
                                        <p:cTn id="21" dur="1" fill="hold">
                                          <p:stCondLst>
                                            <p:cond delay="0"/>
                                          </p:stCondLst>
                                        </p:cTn>
                                        <p:tgtEl>
                                          <p:spTgt spid="268"/>
                                        </p:tgtEl>
                                        <p:attrNameLst>
                                          <p:attrName>style.visibility</p:attrName>
                                        </p:attrNameLst>
                                      </p:cBhvr>
                                      <p:to>
                                        <p:strVal val="visible"/>
                                      </p:to>
                                    </p:set>
                                    <p:animEffect transition="in" filter="fade">
                                      <p:cBhvr>
                                        <p:cTn id="22" dur="500"/>
                                        <p:tgtEl>
                                          <p:spTgt spid="268"/>
                                        </p:tgtEl>
                                      </p:cBhvr>
                                    </p:animEffect>
                                  </p:childTnLst>
                                </p:cTn>
                              </p:par>
                              <p:par>
                                <p:cTn id="23" presetID="22" presetClass="entr" presetSubtype="2" fill="hold" nodeType="withEffect">
                                  <p:stCondLst>
                                    <p:cond delay="0"/>
                                  </p:stCondLst>
                                  <p:childTnLst>
                                    <p:set>
                                      <p:cBhvr>
                                        <p:cTn id="24" dur="1" fill="hold">
                                          <p:stCondLst>
                                            <p:cond delay="0"/>
                                          </p:stCondLst>
                                        </p:cTn>
                                        <p:tgtEl>
                                          <p:spTgt spid="9"/>
                                        </p:tgtEl>
                                        <p:attrNameLst>
                                          <p:attrName>style.visibility</p:attrName>
                                        </p:attrNameLst>
                                      </p:cBhvr>
                                      <p:to>
                                        <p:strVal val="visible"/>
                                      </p:to>
                                    </p:set>
                                    <p:animEffect transition="in" filter="wipe(right)">
                                      <p:cBhvr>
                                        <p:cTn id="25" dur="500"/>
                                        <p:tgtEl>
                                          <p:spTgt spid="9"/>
                                        </p:tgtEl>
                                      </p:cBhvr>
                                    </p:animEffect>
                                  </p:childTnLst>
                                </p:cTn>
                              </p:par>
                              <p:par>
                                <p:cTn id="26" presetID="10" presetClass="entr" presetSubtype="0" fill="hold" nodeType="withEffect">
                                  <p:stCondLst>
                                    <p:cond delay="0"/>
                                  </p:stCondLst>
                                  <p:childTnLst>
                                    <p:set>
                                      <p:cBhvr>
                                        <p:cTn id="27" dur="1" fill="hold">
                                          <p:stCondLst>
                                            <p:cond delay="0"/>
                                          </p:stCondLst>
                                        </p:cTn>
                                        <p:tgtEl>
                                          <p:spTgt spid="452"/>
                                        </p:tgtEl>
                                        <p:attrNameLst>
                                          <p:attrName>style.visibility</p:attrName>
                                        </p:attrNameLst>
                                      </p:cBhvr>
                                      <p:to>
                                        <p:strVal val="visible"/>
                                      </p:to>
                                    </p:set>
                                    <p:animEffect transition="in" filter="fade">
                                      <p:cBhvr>
                                        <p:cTn id="28" dur="500"/>
                                        <p:tgtEl>
                                          <p:spTgt spid="452"/>
                                        </p:tgtEl>
                                      </p:cBhvr>
                                    </p:animEffect>
                                  </p:childTnLst>
                                </p:cTn>
                              </p:par>
                              <p:par>
                                <p:cTn id="29" presetID="10" presetClass="entr" presetSubtype="0" fill="hold" nodeType="withEffect">
                                  <p:stCondLst>
                                    <p:cond delay="0"/>
                                  </p:stCondLst>
                                  <p:childTnLst>
                                    <p:set>
                                      <p:cBhvr>
                                        <p:cTn id="30" dur="1" fill="hold">
                                          <p:stCondLst>
                                            <p:cond delay="0"/>
                                          </p:stCondLst>
                                        </p:cTn>
                                        <p:tgtEl>
                                          <p:spTgt spid="432"/>
                                        </p:tgtEl>
                                        <p:attrNameLst>
                                          <p:attrName>style.visibility</p:attrName>
                                        </p:attrNameLst>
                                      </p:cBhvr>
                                      <p:to>
                                        <p:strVal val="visible"/>
                                      </p:to>
                                    </p:set>
                                    <p:animEffect transition="in" filter="fade">
                                      <p:cBhvr>
                                        <p:cTn id="31" dur="500"/>
                                        <p:tgtEl>
                                          <p:spTgt spid="432"/>
                                        </p:tgtEl>
                                      </p:cBhvr>
                                    </p:animEffect>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nodeType="clickEffect">
                                  <p:stCondLst>
                                    <p:cond delay="0"/>
                                  </p:stCondLst>
                                  <p:childTnLst>
                                    <p:set>
                                      <p:cBhvr>
                                        <p:cTn id="35" dur="1" fill="hold">
                                          <p:stCondLst>
                                            <p:cond delay="0"/>
                                          </p:stCondLst>
                                        </p:cTn>
                                        <p:tgtEl>
                                          <p:spTgt spid="207"/>
                                        </p:tgtEl>
                                        <p:attrNameLst>
                                          <p:attrName>style.visibility</p:attrName>
                                        </p:attrNameLst>
                                      </p:cBhvr>
                                      <p:to>
                                        <p:strVal val="visible"/>
                                      </p:to>
                                    </p:se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210"/>
                                        </p:tgtEl>
                                        <p:attrNameLst>
                                          <p:attrName>style.visibility</p:attrName>
                                        </p:attrNameLst>
                                      </p:cBhvr>
                                      <p:to>
                                        <p:strVal val="visible"/>
                                      </p:to>
                                    </p:set>
                                    <p:animEffect transition="in" filter="fade">
                                      <p:cBhvr>
                                        <p:cTn id="40" dur="500"/>
                                        <p:tgtEl>
                                          <p:spTgt spid="2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1"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3"/>
          <p:cNvSpPr>
            <a:spLocks noGrp="1"/>
          </p:cNvSpPr>
          <p:nvPr>
            <p:ph type="title"/>
          </p:nvPr>
        </p:nvSpPr>
        <p:spPr>
          <a:xfrm>
            <a:off x="470675" y="334312"/>
            <a:ext cx="12013056" cy="587284"/>
          </a:xfrm>
        </p:spPr>
        <p:txBody>
          <a:bodyPr/>
          <a:lstStyle/>
          <a:p>
            <a:r>
              <a:rPr lang="en-US" b="1" dirty="0">
                <a:latin typeface="微软雅黑" pitchFamily="34" charset="-122"/>
                <a:ea typeface="微软雅黑" pitchFamily="34" charset="-122"/>
              </a:rPr>
              <a:t>HP </a:t>
            </a:r>
            <a:r>
              <a:rPr lang="en-US" b="1" dirty="0" smtClean="0">
                <a:latin typeface="微软雅黑" pitchFamily="34" charset="-122"/>
                <a:ea typeface="微软雅黑" pitchFamily="34" charset="-122"/>
              </a:rPr>
              <a:t>Tipping Point </a:t>
            </a:r>
            <a:r>
              <a:rPr lang="zh-CN" altLang="en-US" b="1" dirty="0">
                <a:latin typeface="微软雅黑" pitchFamily="34" charset="-122"/>
                <a:ea typeface="微软雅黑" pitchFamily="34" charset="-122"/>
              </a:rPr>
              <a:t>是网络安全的 领导者 </a:t>
            </a:r>
            <a:endParaRPr lang="en-US" b="1" dirty="0">
              <a:latin typeface="微软雅黑" pitchFamily="34" charset="-122"/>
              <a:ea typeface="微软雅黑" pitchFamily="34" charset="-122"/>
            </a:endParaRPr>
          </a:p>
        </p:txBody>
      </p:sp>
      <p:sp>
        <p:nvSpPr>
          <p:cNvPr id="10" name="Round Diagonal Corner Rectangle 9"/>
          <p:cNvSpPr/>
          <p:nvPr/>
        </p:nvSpPr>
        <p:spPr>
          <a:xfrm>
            <a:off x="9457298" y="4132437"/>
            <a:ext cx="2596833" cy="2577141"/>
          </a:xfrm>
          <a:prstGeom prst="round2DiagRect">
            <a:avLst>
              <a:gd name="adj1" fmla="val 0"/>
              <a:gd name="adj2" fmla="val 5754"/>
            </a:avLst>
          </a:prstGeom>
          <a:noFill/>
          <a:ln>
            <a:noFill/>
          </a:ln>
          <a:effectLst/>
        </p:spPr>
        <p:style>
          <a:lnRef idx="1">
            <a:schemeClr val="accent1"/>
          </a:lnRef>
          <a:fillRef idx="3">
            <a:schemeClr val="accent1"/>
          </a:fillRef>
          <a:effectRef idx="2">
            <a:schemeClr val="accent1"/>
          </a:effectRef>
          <a:fontRef idx="minor">
            <a:schemeClr val="lt1"/>
          </a:fontRef>
        </p:style>
        <p:txBody>
          <a:bodyPr lIns="129909" tIns="64954" rIns="129909" bIns="64954" rtlCol="0" anchor="t" anchorCtr="0"/>
          <a:lstStyle/>
          <a:p>
            <a:pPr>
              <a:spcAft>
                <a:spcPts val="1705"/>
              </a:spcAft>
            </a:pPr>
            <a:r>
              <a:rPr lang="zh-CN" altLang="en-US" sz="2800" dirty="0">
                <a:solidFill>
                  <a:schemeClr val="accent4"/>
                </a:solidFill>
                <a:latin typeface="微软雅黑" pitchFamily="34" charset="-122"/>
                <a:ea typeface="微软雅黑" pitchFamily="34" charset="-122"/>
              </a:rPr>
              <a:t>可靠</a:t>
            </a:r>
            <a:endParaRPr lang="en-US" altLang="zh-CN" sz="2800" dirty="0">
              <a:solidFill>
                <a:schemeClr val="accent4"/>
              </a:solidFill>
              <a:latin typeface="微软雅黑" pitchFamily="34" charset="-122"/>
              <a:ea typeface="微软雅黑" pitchFamily="34" charset="-122"/>
            </a:endParaRPr>
          </a:p>
          <a:p>
            <a:pPr>
              <a:spcAft>
                <a:spcPts val="1705"/>
              </a:spcAft>
            </a:pPr>
            <a:r>
              <a:rPr lang="en-US" sz="2300" dirty="0">
                <a:solidFill>
                  <a:schemeClr val="tx1"/>
                </a:solidFill>
                <a:latin typeface="微软雅黑" pitchFamily="34" charset="-122"/>
                <a:ea typeface="微软雅黑" pitchFamily="34" charset="-122"/>
              </a:rPr>
              <a:t>NGIPS 99.99999% </a:t>
            </a:r>
            <a:r>
              <a:rPr lang="zh-CN" altLang="en-US" sz="2300" dirty="0">
                <a:solidFill>
                  <a:schemeClr val="tx1"/>
                </a:solidFill>
                <a:latin typeface="微软雅黑" pitchFamily="34" charset="-122"/>
                <a:ea typeface="微软雅黑" pitchFamily="34" charset="-122"/>
              </a:rPr>
              <a:t>网络可靠性记录</a:t>
            </a:r>
            <a:endParaRPr lang="en-US" sz="2300" dirty="0">
              <a:solidFill>
                <a:schemeClr val="tx1"/>
              </a:solidFill>
              <a:latin typeface="微软雅黑" pitchFamily="34" charset="-122"/>
              <a:ea typeface="微软雅黑" pitchFamily="34" charset="-122"/>
            </a:endParaRPr>
          </a:p>
        </p:txBody>
      </p:sp>
      <p:pic>
        <p:nvPicPr>
          <p:cNvPr id="4" name="Picture 3"/>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823983" y="2013098"/>
            <a:ext cx="1441547" cy="1753589"/>
          </a:xfrm>
          <a:prstGeom prst="rect">
            <a:avLst/>
          </a:prstGeom>
        </p:spPr>
      </p:pic>
      <p:sp>
        <p:nvSpPr>
          <p:cNvPr id="8" name="Round Diagonal Corner Rectangle 7"/>
          <p:cNvSpPr/>
          <p:nvPr/>
        </p:nvSpPr>
        <p:spPr>
          <a:xfrm>
            <a:off x="1560359" y="4144020"/>
            <a:ext cx="3084684" cy="2577141"/>
          </a:xfrm>
          <a:prstGeom prst="round2DiagRect">
            <a:avLst>
              <a:gd name="adj1" fmla="val 0"/>
              <a:gd name="adj2" fmla="val 5754"/>
            </a:avLst>
          </a:prstGeom>
          <a:noFill/>
          <a:ln>
            <a:noFill/>
          </a:ln>
          <a:effectLst/>
        </p:spPr>
        <p:style>
          <a:lnRef idx="1">
            <a:schemeClr val="accent1"/>
          </a:lnRef>
          <a:fillRef idx="3">
            <a:schemeClr val="accent1"/>
          </a:fillRef>
          <a:effectRef idx="2">
            <a:schemeClr val="accent1"/>
          </a:effectRef>
          <a:fontRef idx="minor">
            <a:schemeClr val="lt1"/>
          </a:fontRef>
        </p:style>
        <p:txBody>
          <a:bodyPr lIns="129909" tIns="64954" rIns="129909" bIns="64954" rtlCol="0" anchor="t" anchorCtr="0"/>
          <a:lstStyle/>
          <a:p>
            <a:pPr>
              <a:spcAft>
                <a:spcPts val="1705"/>
              </a:spcAft>
            </a:pPr>
            <a:r>
              <a:rPr lang="zh-CN" altLang="en-US" sz="2800" dirty="0">
                <a:solidFill>
                  <a:schemeClr val="accent4"/>
                </a:solidFill>
                <a:latin typeface="微软雅黑" pitchFamily="34" charset="-122"/>
                <a:ea typeface="微软雅黑" pitchFamily="34" charset="-122"/>
              </a:rPr>
              <a:t>简单</a:t>
            </a:r>
            <a:endParaRPr lang="en-US" altLang="zh-CN" sz="2800" dirty="0">
              <a:solidFill>
                <a:schemeClr val="accent4"/>
              </a:solidFill>
              <a:latin typeface="微软雅黑" pitchFamily="34" charset="-122"/>
              <a:ea typeface="微软雅黑" pitchFamily="34" charset="-122"/>
            </a:endParaRPr>
          </a:p>
          <a:p>
            <a:pPr>
              <a:spcAft>
                <a:spcPts val="1705"/>
              </a:spcAft>
            </a:pPr>
            <a:r>
              <a:rPr lang="zh-CN" altLang="en-US" sz="2300" dirty="0">
                <a:solidFill>
                  <a:schemeClr val="tx1"/>
                </a:solidFill>
                <a:latin typeface="微软雅黑" pitchFamily="34" charset="-122"/>
                <a:ea typeface="微软雅黑" pitchFamily="34" charset="-122"/>
              </a:rPr>
              <a:t>易用，安装配置</a:t>
            </a:r>
            <a:endParaRPr lang="en-US" altLang="zh-CN" sz="2300" dirty="0">
              <a:solidFill>
                <a:schemeClr val="tx1"/>
              </a:solidFill>
              <a:latin typeface="微软雅黑" pitchFamily="34" charset="-122"/>
              <a:ea typeface="微软雅黑" pitchFamily="34" charset="-122"/>
            </a:endParaRPr>
          </a:p>
          <a:p>
            <a:pPr>
              <a:spcAft>
                <a:spcPts val="1705"/>
              </a:spcAft>
            </a:pPr>
            <a:r>
              <a:rPr lang="zh-CN" altLang="en-US" sz="2300" dirty="0">
                <a:solidFill>
                  <a:schemeClr val="tx1"/>
                </a:solidFill>
                <a:latin typeface="微软雅黑" pitchFamily="34" charset="-122"/>
                <a:ea typeface="微软雅黑" pitchFamily="34" charset="-122"/>
              </a:rPr>
              <a:t>集中化管理</a:t>
            </a:r>
            <a:endParaRPr lang="en-US" sz="2300" dirty="0">
              <a:solidFill>
                <a:schemeClr val="tx1"/>
              </a:solidFill>
              <a:latin typeface="微软雅黑" pitchFamily="34" charset="-122"/>
              <a:ea typeface="微软雅黑" pitchFamily="34" charset="-122"/>
            </a:endParaRPr>
          </a:p>
        </p:txBody>
      </p:sp>
      <p:pic>
        <p:nvPicPr>
          <p:cNvPr id="12" name="Picture 11" descr="Simple.png"/>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752081" y="2207391"/>
            <a:ext cx="1734925" cy="1406266"/>
          </a:xfrm>
          <a:prstGeom prst="rect">
            <a:avLst/>
          </a:prstGeom>
        </p:spPr>
      </p:pic>
      <p:sp>
        <p:nvSpPr>
          <p:cNvPr id="9" name="Round Diagonal Corner Rectangle 8"/>
          <p:cNvSpPr/>
          <p:nvPr/>
        </p:nvSpPr>
        <p:spPr>
          <a:xfrm>
            <a:off x="5318703" y="4152756"/>
            <a:ext cx="3279969" cy="2577141"/>
          </a:xfrm>
          <a:prstGeom prst="round2DiagRect">
            <a:avLst>
              <a:gd name="adj1" fmla="val 0"/>
              <a:gd name="adj2" fmla="val 5754"/>
            </a:avLst>
          </a:prstGeom>
          <a:noFill/>
          <a:ln>
            <a:noFill/>
          </a:ln>
          <a:effectLst/>
        </p:spPr>
        <p:style>
          <a:lnRef idx="1">
            <a:schemeClr val="accent1"/>
          </a:lnRef>
          <a:fillRef idx="3">
            <a:schemeClr val="accent1"/>
          </a:fillRef>
          <a:effectRef idx="2">
            <a:schemeClr val="accent1"/>
          </a:effectRef>
          <a:fontRef idx="minor">
            <a:schemeClr val="lt1"/>
          </a:fontRef>
        </p:style>
        <p:txBody>
          <a:bodyPr lIns="129909" tIns="64954" rIns="129909" bIns="64954" rtlCol="0" anchor="t" anchorCtr="0"/>
          <a:lstStyle/>
          <a:p>
            <a:pPr>
              <a:spcAft>
                <a:spcPts val="1705"/>
              </a:spcAft>
            </a:pPr>
            <a:r>
              <a:rPr lang="zh-CN" altLang="en-US" sz="2800" dirty="0">
                <a:solidFill>
                  <a:schemeClr val="accent4"/>
                </a:solidFill>
                <a:latin typeface="微软雅黑" pitchFamily="34" charset="-122"/>
                <a:ea typeface="微软雅黑" pitchFamily="34" charset="-122"/>
              </a:rPr>
              <a:t>高效</a:t>
            </a:r>
            <a:endParaRPr lang="en-US" altLang="zh-CN" sz="2800" dirty="0">
              <a:solidFill>
                <a:schemeClr val="accent4"/>
              </a:solidFill>
              <a:latin typeface="微软雅黑" pitchFamily="34" charset="-122"/>
              <a:ea typeface="微软雅黑" pitchFamily="34" charset="-122"/>
            </a:endParaRPr>
          </a:p>
          <a:p>
            <a:pPr>
              <a:spcAft>
                <a:spcPts val="1705"/>
              </a:spcAft>
            </a:pPr>
            <a:r>
              <a:rPr lang="zh-CN" altLang="en-US" sz="2300" dirty="0">
                <a:solidFill>
                  <a:schemeClr val="tx1"/>
                </a:solidFill>
                <a:latin typeface="微软雅黑" pitchFamily="34" charset="-122"/>
                <a:ea typeface="微软雅黑" pitchFamily="34" charset="-122"/>
              </a:rPr>
              <a:t>行业领先的 安全智能，特征库实时更新</a:t>
            </a:r>
            <a:endParaRPr lang="en-US" sz="2300" dirty="0">
              <a:solidFill>
                <a:schemeClr val="tx1"/>
              </a:solidFill>
              <a:latin typeface="微软雅黑" pitchFamily="34" charset="-122"/>
              <a:ea typeface="微软雅黑" pitchFamily="34" charset="-122"/>
            </a:endParaRPr>
          </a:p>
        </p:txBody>
      </p:sp>
      <p:pic>
        <p:nvPicPr>
          <p:cNvPr id="13" name="Picture 12" descr="Effective.png"/>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5769201" y="2175256"/>
            <a:ext cx="1550790" cy="1470535"/>
          </a:xfrm>
          <a:prstGeom prst="rect">
            <a:avLst/>
          </a:prstGeom>
        </p:spPr>
      </p:pic>
      <p:grpSp>
        <p:nvGrpSpPr>
          <p:cNvPr id="16" name="Group 15"/>
          <p:cNvGrpSpPr/>
          <p:nvPr/>
        </p:nvGrpSpPr>
        <p:grpSpPr>
          <a:xfrm>
            <a:off x="4422185" y="1947209"/>
            <a:ext cx="4244823" cy="4393621"/>
            <a:chOff x="2991437" y="1137139"/>
            <a:chExt cx="2989385" cy="3317630"/>
          </a:xfrm>
        </p:grpSpPr>
        <p:cxnSp>
          <p:nvCxnSpPr>
            <p:cNvPr id="14" name="Straight Connector 13"/>
            <p:cNvCxnSpPr/>
            <p:nvPr/>
          </p:nvCxnSpPr>
          <p:spPr>
            <a:xfrm>
              <a:off x="2991437" y="1137139"/>
              <a:ext cx="0" cy="3317630"/>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a:off x="5980822" y="1137139"/>
              <a:ext cx="0" cy="3317630"/>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561012440"/>
      </p:ext>
    </p:extLst>
  </p:cSld>
  <p:clrMapOvr>
    <a:masterClrMapping/>
  </p:clrMapOvr>
  <p:transition spd="slow">
    <p:randomBar dir="vert"/>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277389" y="4579303"/>
            <a:ext cx="3559146" cy="1558572"/>
          </a:xfrm>
          <a:prstGeom prst="rect">
            <a:avLst/>
          </a:prstGeom>
          <a:noFill/>
          <a:ln w="25400" cap="flat" cmpd="sng" algn="ctr">
            <a:noFill/>
            <a:prstDash val="solid"/>
          </a:ln>
          <a:effectLst/>
        </p:spPr>
        <p:txBody>
          <a:bodyPr lIns="129909" tIns="64954" rIns="129909" bIns="129909" rtlCol="0" anchor="ctr" anchorCtr="0"/>
          <a:lstStyle/>
          <a:p>
            <a:pPr defTabSz="1299088">
              <a:spcAft>
                <a:spcPts val="568"/>
              </a:spcAft>
              <a:defRPr/>
            </a:pPr>
            <a:r>
              <a:rPr lang="zh-CN" altLang="en-US" sz="2800" kern="0" dirty="0">
                <a:solidFill>
                  <a:schemeClr val="tx2"/>
                </a:solidFill>
                <a:latin typeface="微软雅黑" pitchFamily="34" charset="-122"/>
                <a:ea typeface="微软雅黑" pitchFamily="34" charset="-122"/>
              </a:rPr>
              <a:t>评估</a:t>
            </a:r>
            <a:endParaRPr lang="en-US" altLang="zh-CN" sz="2800" kern="0" dirty="0">
              <a:solidFill>
                <a:schemeClr val="tx2"/>
              </a:solidFill>
              <a:latin typeface="微软雅黑" pitchFamily="34" charset="-122"/>
              <a:ea typeface="微软雅黑" pitchFamily="34" charset="-122"/>
            </a:endParaRPr>
          </a:p>
          <a:p>
            <a:pPr defTabSz="1299088">
              <a:spcAft>
                <a:spcPts val="568"/>
              </a:spcAft>
              <a:defRPr/>
            </a:pPr>
            <a:r>
              <a:rPr lang="zh-CN" altLang="en-US" sz="2300" kern="0" dirty="0">
                <a:latin typeface="微软雅黑" pitchFamily="34" charset="-122"/>
                <a:ea typeface="微软雅黑" pitchFamily="34" charset="-122"/>
              </a:rPr>
              <a:t>发现各种类型软件</a:t>
            </a:r>
            <a:endParaRPr lang="en-US" altLang="zh-CN" sz="2300" kern="0" dirty="0">
              <a:latin typeface="微软雅黑" pitchFamily="34" charset="-122"/>
              <a:ea typeface="微软雅黑" pitchFamily="34" charset="-122"/>
            </a:endParaRPr>
          </a:p>
          <a:p>
            <a:pPr defTabSz="1299088">
              <a:spcAft>
                <a:spcPts val="568"/>
              </a:spcAft>
              <a:defRPr/>
            </a:pPr>
            <a:r>
              <a:rPr lang="zh-CN" altLang="en-US" sz="2300" kern="0" dirty="0">
                <a:latin typeface="微软雅黑" pitchFamily="34" charset="-122"/>
                <a:ea typeface="微软雅黑" pitchFamily="34" charset="-122"/>
              </a:rPr>
              <a:t>应用的安全缺陷</a:t>
            </a:r>
            <a:endParaRPr lang="en-US" sz="2300" kern="0" dirty="0">
              <a:latin typeface="微软雅黑" pitchFamily="34" charset="-122"/>
              <a:ea typeface="微软雅黑" pitchFamily="34" charset="-122"/>
            </a:endParaRPr>
          </a:p>
        </p:txBody>
      </p:sp>
      <p:sp>
        <p:nvSpPr>
          <p:cNvPr id="5" name="Rectangle 4"/>
          <p:cNvSpPr/>
          <p:nvPr/>
        </p:nvSpPr>
        <p:spPr>
          <a:xfrm>
            <a:off x="4846912" y="4569818"/>
            <a:ext cx="3800820" cy="1564295"/>
          </a:xfrm>
          <a:prstGeom prst="rect">
            <a:avLst/>
          </a:prstGeom>
          <a:noFill/>
          <a:ln w="25400" cap="flat" cmpd="sng" algn="ctr">
            <a:noFill/>
            <a:prstDash val="solid"/>
          </a:ln>
          <a:effectLst/>
        </p:spPr>
        <p:txBody>
          <a:bodyPr lIns="129909" tIns="64954" rIns="129909" bIns="129909" rtlCol="0" anchor="ctr" anchorCtr="0"/>
          <a:lstStyle/>
          <a:p>
            <a:pPr defTabSz="1299088">
              <a:spcAft>
                <a:spcPts val="568"/>
              </a:spcAft>
              <a:defRPr/>
            </a:pPr>
            <a:r>
              <a:rPr lang="zh-CN" altLang="en-US" sz="2800" kern="0" dirty="0">
                <a:solidFill>
                  <a:schemeClr val="tx2"/>
                </a:solidFill>
                <a:latin typeface="微软雅黑" pitchFamily="34" charset="-122"/>
                <a:ea typeface="微软雅黑" pitchFamily="34" charset="-122"/>
              </a:rPr>
              <a:t>保障</a:t>
            </a:r>
            <a:endParaRPr lang="en-US" altLang="zh-CN" sz="2800" kern="0" dirty="0">
              <a:solidFill>
                <a:schemeClr val="tx2"/>
              </a:solidFill>
              <a:latin typeface="微软雅黑" pitchFamily="34" charset="-122"/>
              <a:ea typeface="微软雅黑" pitchFamily="34" charset="-122"/>
            </a:endParaRPr>
          </a:p>
          <a:p>
            <a:pPr defTabSz="1299088">
              <a:spcAft>
                <a:spcPts val="568"/>
              </a:spcAft>
              <a:defRPr/>
            </a:pPr>
            <a:r>
              <a:rPr lang="zh-CN" altLang="en-US" sz="2300" kern="0" dirty="0">
                <a:latin typeface="微软雅黑" pitchFamily="34" charset="-122"/>
                <a:ea typeface="微软雅黑" pitchFamily="34" charset="-122"/>
              </a:rPr>
              <a:t>在上线运行之前检测</a:t>
            </a:r>
            <a:endParaRPr lang="en-US" altLang="zh-CN" sz="2300" kern="0" dirty="0">
              <a:latin typeface="微软雅黑" pitchFamily="34" charset="-122"/>
              <a:ea typeface="微软雅黑" pitchFamily="34" charset="-122"/>
            </a:endParaRPr>
          </a:p>
          <a:p>
            <a:pPr defTabSz="1299088">
              <a:spcAft>
                <a:spcPts val="568"/>
              </a:spcAft>
              <a:defRPr/>
            </a:pPr>
            <a:r>
              <a:rPr lang="zh-CN" altLang="en-US" sz="2300" kern="0" dirty="0">
                <a:latin typeface="微软雅黑" pitchFamily="34" charset="-122"/>
                <a:ea typeface="微软雅黑" pitchFamily="34" charset="-122"/>
              </a:rPr>
              <a:t>出软件安全漏洞</a:t>
            </a:r>
            <a:endParaRPr lang="en-US" sz="2300" kern="0" dirty="0">
              <a:latin typeface="微软雅黑" pitchFamily="34" charset="-122"/>
              <a:ea typeface="微软雅黑" pitchFamily="34" charset="-122"/>
            </a:endParaRPr>
          </a:p>
        </p:txBody>
      </p:sp>
      <p:sp>
        <p:nvSpPr>
          <p:cNvPr id="6" name="Rectangle 5"/>
          <p:cNvSpPr/>
          <p:nvPr/>
        </p:nvSpPr>
        <p:spPr>
          <a:xfrm>
            <a:off x="8965859" y="4596649"/>
            <a:ext cx="3790813" cy="1564295"/>
          </a:xfrm>
          <a:prstGeom prst="rect">
            <a:avLst/>
          </a:prstGeom>
          <a:noFill/>
          <a:ln w="25400" cap="flat" cmpd="sng" algn="ctr">
            <a:noFill/>
            <a:prstDash val="solid"/>
          </a:ln>
          <a:effectLst/>
        </p:spPr>
        <p:txBody>
          <a:bodyPr lIns="129909" tIns="64954" rIns="129909" bIns="129909" rtlCol="0" anchor="ctr" anchorCtr="0"/>
          <a:lstStyle/>
          <a:p>
            <a:pPr defTabSz="1299088">
              <a:spcAft>
                <a:spcPts val="568"/>
              </a:spcAft>
              <a:defRPr/>
            </a:pPr>
            <a:r>
              <a:rPr lang="zh-CN" altLang="en-US" sz="2800" kern="0" dirty="0">
                <a:solidFill>
                  <a:schemeClr val="tx2"/>
                </a:solidFill>
                <a:latin typeface="微软雅黑" pitchFamily="34" charset="-122"/>
                <a:ea typeface="微软雅黑" pitchFamily="34" charset="-122"/>
              </a:rPr>
              <a:t>保护</a:t>
            </a:r>
            <a:endParaRPr lang="en-US" altLang="zh-CN" sz="2800" kern="0" dirty="0">
              <a:solidFill>
                <a:schemeClr val="tx2"/>
              </a:solidFill>
              <a:latin typeface="微软雅黑" pitchFamily="34" charset="-122"/>
              <a:ea typeface="微软雅黑" pitchFamily="34" charset="-122"/>
            </a:endParaRPr>
          </a:p>
          <a:p>
            <a:pPr defTabSz="1299088">
              <a:spcAft>
                <a:spcPts val="568"/>
              </a:spcAft>
              <a:defRPr/>
            </a:pPr>
            <a:r>
              <a:rPr lang="zh-CN" altLang="en-US" sz="2300" kern="0" dirty="0">
                <a:latin typeface="微软雅黑" pitchFamily="34" charset="-122"/>
                <a:ea typeface="微软雅黑" pitchFamily="34" charset="-122"/>
              </a:rPr>
              <a:t>检测与保护在运行</a:t>
            </a:r>
            <a:endParaRPr lang="en-US" altLang="zh-CN" sz="2300" kern="0" dirty="0">
              <a:latin typeface="微软雅黑" pitchFamily="34" charset="-122"/>
              <a:ea typeface="微软雅黑" pitchFamily="34" charset="-122"/>
            </a:endParaRPr>
          </a:p>
          <a:p>
            <a:pPr defTabSz="1299088">
              <a:spcAft>
                <a:spcPts val="568"/>
              </a:spcAft>
              <a:defRPr/>
            </a:pPr>
            <a:r>
              <a:rPr lang="zh-CN" altLang="en-US" sz="2300" kern="0" dirty="0">
                <a:latin typeface="微软雅黑" pitchFamily="34" charset="-122"/>
                <a:ea typeface="微软雅黑" pitchFamily="34" charset="-122"/>
              </a:rPr>
              <a:t>状态的应用系统</a:t>
            </a:r>
            <a:endParaRPr lang="en-US" sz="2300" kern="0" dirty="0">
              <a:latin typeface="微软雅黑" pitchFamily="34" charset="-122"/>
              <a:ea typeface="微软雅黑" pitchFamily="34" charset="-122"/>
            </a:endParaRPr>
          </a:p>
        </p:txBody>
      </p:sp>
      <p:sp>
        <p:nvSpPr>
          <p:cNvPr id="7" name="Rectangle 64"/>
          <p:cNvSpPr>
            <a:spLocks noChangeArrowheads="1"/>
          </p:cNvSpPr>
          <p:nvPr>
            <p:custDataLst>
              <p:tags r:id="rId1"/>
            </p:custDataLst>
          </p:nvPr>
        </p:nvSpPr>
        <p:spPr bwMode="auto">
          <a:xfrm>
            <a:off x="4836535" y="3592775"/>
            <a:ext cx="3772124" cy="569045"/>
          </a:xfrm>
          <a:prstGeom prst="rect">
            <a:avLst/>
          </a:prstGeom>
          <a:noFill/>
          <a:ln w="9525">
            <a:noFill/>
            <a:miter lim="800000"/>
            <a:headEnd/>
            <a:tailEnd/>
          </a:ln>
        </p:spPr>
        <p:txBody>
          <a:bodyPr wrap="square" lIns="129909" tIns="64954" rIns="129909" bIns="64954">
            <a:prstTxWarp prst="textNoShape">
              <a:avLst/>
            </a:prstTxWarp>
            <a:spAutoFit/>
          </a:bodyPr>
          <a:lstStyle/>
          <a:p>
            <a:r>
              <a:rPr lang="zh-CN" altLang="en-US" sz="2800" dirty="0">
                <a:solidFill>
                  <a:schemeClr val="accent4"/>
                </a:solidFill>
                <a:latin typeface="微软雅黑" pitchFamily="34" charset="-122"/>
                <a:ea typeface="微软雅黑" pitchFamily="34" charset="-122"/>
              </a:rPr>
              <a:t>软件安全保障</a:t>
            </a:r>
            <a:endParaRPr lang="en-US" sz="2800" dirty="0">
              <a:solidFill>
                <a:schemeClr val="accent4"/>
              </a:solidFill>
              <a:latin typeface="微软雅黑" pitchFamily="34" charset="-122"/>
              <a:ea typeface="微软雅黑" pitchFamily="34" charset="-122"/>
            </a:endParaRPr>
          </a:p>
        </p:txBody>
      </p:sp>
      <p:sp>
        <p:nvSpPr>
          <p:cNvPr id="8" name="Rectangle 71"/>
          <p:cNvSpPr>
            <a:spLocks noChangeArrowheads="1"/>
          </p:cNvSpPr>
          <p:nvPr>
            <p:custDataLst>
              <p:tags r:id="rId2"/>
            </p:custDataLst>
          </p:nvPr>
        </p:nvSpPr>
        <p:spPr bwMode="auto">
          <a:xfrm>
            <a:off x="1067872" y="3624646"/>
            <a:ext cx="3978181" cy="569045"/>
          </a:xfrm>
          <a:prstGeom prst="rect">
            <a:avLst/>
          </a:prstGeom>
          <a:noFill/>
          <a:ln w="9525">
            <a:noFill/>
            <a:miter lim="800000"/>
            <a:headEnd/>
            <a:tailEnd/>
          </a:ln>
        </p:spPr>
        <p:txBody>
          <a:bodyPr wrap="square" lIns="129909" tIns="64954" rIns="129909" bIns="64954">
            <a:prstTxWarp prst="textNoShape">
              <a:avLst/>
            </a:prstTxWarp>
            <a:spAutoFit/>
          </a:bodyPr>
          <a:lstStyle/>
          <a:p>
            <a:r>
              <a:rPr lang="zh-CN" altLang="en-US" sz="2800" dirty="0">
                <a:solidFill>
                  <a:schemeClr val="accent4"/>
                </a:solidFill>
                <a:latin typeface="微软雅黑" pitchFamily="34" charset="-122"/>
                <a:ea typeface="微软雅黑" pitchFamily="34" charset="-122"/>
              </a:rPr>
              <a:t>应用评估</a:t>
            </a:r>
            <a:endParaRPr lang="en-US" sz="2800" dirty="0">
              <a:solidFill>
                <a:schemeClr val="accent4"/>
              </a:solidFill>
              <a:latin typeface="微软雅黑" pitchFamily="34" charset="-122"/>
              <a:ea typeface="微软雅黑" pitchFamily="34" charset="-122"/>
            </a:endParaRPr>
          </a:p>
        </p:txBody>
      </p:sp>
      <p:sp>
        <p:nvSpPr>
          <p:cNvPr id="9" name="Rectangle 73"/>
          <p:cNvSpPr>
            <a:spLocks noChangeArrowheads="1"/>
          </p:cNvSpPr>
          <p:nvPr>
            <p:custDataLst>
              <p:tags r:id="rId3"/>
            </p:custDataLst>
          </p:nvPr>
        </p:nvSpPr>
        <p:spPr bwMode="auto">
          <a:xfrm>
            <a:off x="8986678" y="3638234"/>
            <a:ext cx="3749177" cy="569045"/>
          </a:xfrm>
          <a:prstGeom prst="rect">
            <a:avLst/>
          </a:prstGeom>
          <a:noFill/>
          <a:ln w="9525">
            <a:noFill/>
            <a:miter lim="800000"/>
            <a:headEnd/>
            <a:tailEnd/>
          </a:ln>
        </p:spPr>
        <p:txBody>
          <a:bodyPr wrap="square" lIns="129909" tIns="64954" rIns="129909" bIns="64954">
            <a:prstTxWarp prst="textNoShape">
              <a:avLst/>
            </a:prstTxWarp>
            <a:spAutoFit/>
          </a:bodyPr>
          <a:lstStyle/>
          <a:p>
            <a:r>
              <a:rPr lang="zh-CN" altLang="en-US" sz="2800" dirty="0">
                <a:solidFill>
                  <a:schemeClr val="accent4"/>
                </a:solidFill>
                <a:latin typeface="微软雅黑" pitchFamily="34" charset="-122"/>
                <a:ea typeface="微软雅黑" pitchFamily="34" charset="-122"/>
              </a:rPr>
              <a:t>应用保护</a:t>
            </a:r>
            <a:endParaRPr lang="en-US" sz="2800" dirty="0">
              <a:solidFill>
                <a:schemeClr val="accent4"/>
              </a:solidFill>
              <a:latin typeface="微软雅黑" pitchFamily="34" charset="-122"/>
              <a:ea typeface="微软雅黑" pitchFamily="34" charset="-122"/>
            </a:endParaRPr>
          </a:p>
        </p:txBody>
      </p:sp>
      <p:sp>
        <p:nvSpPr>
          <p:cNvPr id="10" name="Title 2"/>
          <p:cNvSpPr txBox="1">
            <a:spLocks/>
          </p:cNvSpPr>
          <p:nvPr/>
        </p:nvSpPr>
        <p:spPr bwMode="black">
          <a:xfrm>
            <a:off x="563563" y="287338"/>
            <a:ext cx="11503025"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5992" tIns="57996" rIns="115992" bIns="57996" numCol="1" anchor="t" anchorCtr="0" compatLnSpc="1">
            <a:prstTxWarp prst="textNoShape">
              <a:avLst/>
            </a:prstTxWarp>
          </a:bodyPr>
          <a:lstStyle>
            <a:lvl1pPr algn="l" defTabSz="1160463" rtl="0" eaLnBrk="1" fontAlgn="base" hangingPunct="1">
              <a:lnSpc>
                <a:spcPct val="90000"/>
              </a:lnSpc>
              <a:spcBef>
                <a:spcPct val="0"/>
              </a:spcBef>
              <a:spcAft>
                <a:spcPct val="0"/>
              </a:spcAft>
              <a:defRPr kumimoji="1" sz="4100">
                <a:solidFill>
                  <a:schemeClr val="tx2"/>
                </a:solidFill>
                <a:latin typeface="+mj-lt"/>
                <a:ea typeface="宋体" charset="0"/>
                <a:cs typeface="+mj-cs"/>
              </a:defRPr>
            </a:lvl1pPr>
            <a:lvl2pPr algn="l" defTabSz="1160463" rtl="0" eaLnBrk="1" fontAlgn="base" hangingPunct="1">
              <a:lnSpc>
                <a:spcPct val="90000"/>
              </a:lnSpc>
              <a:spcBef>
                <a:spcPct val="0"/>
              </a:spcBef>
              <a:spcAft>
                <a:spcPct val="0"/>
              </a:spcAft>
              <a:defRPr kumimoji="1" sz="4100">
                <a:solidFill>
                  <a:schemeClr val="tx2"/>
                </a:solidFill>
                <a:latin typeface="Arial" charset="0"/>
                <a:ea typeface="宋体" charset="0"/>
                <a:cs typeface="Arial" charset="0"/>
              </a:defRPr>
            </a:lvl2pPr>
            <a:lvl3pPr algn="l" defTabSz="1160463" rtl="0" eaLnBrk="1" fontAlgn="base" hangingPunct="1">
              <a:lnSpc>
                <a:spcPct val="90000"/>
              </a:lnSpc>
              <a:spcBef>
                <a:spcPct val="0"/>
              </a:spcBef>
              <a:spcAft>
                <a:spcPct val="0"/>
              </a:spcAft>
              <a:defRPr kumimoji="1" sz="4100">
                <a:solidFill>
                  <a:schemeClr val="tx2"/>
                </a:solidFill>
                <a:latin typeface="Arial" charset="0"/>
                <a:ea typeface="宋体" charset="0"/>
                <a:cs typeface="Arial" charset="0"/>
              </a:defRPr>
            </a:lvl3pPr>
            <a:lvl4pPr algn="l" defTabSz="1160463" rtl="0" eaLnBrk="1" fontAlgn="base" hangingPunct="1">
              <a:lnSpc>
                <a:spcPct val="90000"/>
              </a:lnSpc>
              <a:spcBef>
                <a:spcPct val="0"/>
              </a:spcBef>
              <a:spcAft>
                <a:spcPct val="0"/>
              </a:spcAft>
              <a:defRPr kumimoji="1" sz="4100">
                <a:solidFill>
                  <a:schemeClr val="tx2"/>
                </a:solidFill>
                <a:latin typeface="Arial" charset="0"/>
                <a:ea typeface="宋体" charset="0"/>
                <a:cs typeface="Arial" charset="0"/>
              </a:defRPr>
            </a:lvl4pPr>
            <a:lvl5pPr algn="l" defTabSz="1160463" rtl="0" eaLnBrk="1" fontAlgn="base" hangingPunct="1">
              <a:lnSpc>
                <a:spcPct val="90000"/>
              </a:lnSpc>
              <a:spcBef>
                <a:spcPct val="0"/>
              </a:spcBef>
              <a:spcAft>
                <a:spcPct val="0"/>
              </a:spcAft>
              <a:defRPr kumimoji="1" sz="4100">
                <a:solidFill>
                  <a:schemeClr val="tx2"/>
                </a:solidFill>
                <a:latin typeface="Arial" charset="0"/>
                <a:ea typeface="宋体" charset="0"/>
                <a:cs typeface="Arial" charset="0"/>
              </a:defRPr>
            </a:lvl5pPr>
            <a:lvl6pPr marL="457200" algn="l" rtl="0" eaLnBrk="1" fontAlgn="base" hangingPunct="1">
              <a:lnSpc>
                <a:spcPct val="90000"/>
              </a:lnSpc>
              <a:spcBef>
                <a:spcPct val="0"/>
              </a:spcBef>
              <a:spcAft>
                <a:spcPct val="0"/>
              </a:spcAft>
              <a:defRPr sz="2800" b="1">
                <a:solidFill>
                  <a:schemeClr val="tx2"/>
                </a:solidFill>
                <a:latin typeface="Arial" charset="0"/>
                <a:cs typeface="Arial" charset="0"/>
              </a:defRPr>
            </a:lvl6pPr>
            <a:lvl7pPr marL="914400" algn="l" rtl="0" eaLnBrk="1" fontAlgn="base" hangingPunct="1">
              <a:lnSpc>
                <a:spcPct val="90000"/>
              </a:lnSpc>
              <a:spcBef>
                <a:spcPct val="0"/>
              </a:spcBef>
              <a:spcAft>
                <a:spcPct val="0"/>
              </a:spcAft>
              <a:defRPr sz="2800" b="1">
                <a:solidFill>
                  <a:schemeClr val="tx2"/>
                </a:solidFill>
                <a:latin typeface="Arial" charset="0"/>
                <a:cs typeface="Arial" charset="0"/>
              </a:defRPr>
            </a:lvl7pPr>
            <a:lvl8pPr marL="1371600" algn="l" rtl="0" eaLnBrk="1" fontAlgn="base" hangingPunct="1">
              <a:lnSpc>
                <a:spcPct val="90000"/>
              </a:lnSpc>
              <a:spcBef>
                <a:spcPct val="0"/>
              </a:spcBef>
              <a:spcAft>
                <a:spcPct val="0"/>
              </a:spcAft>
              <a:defRPr sz="2800" b="1">
                <a:solidFill>
                  <a:schemeClr val="tx2"/>
                </a:solidFill>
                <a:latin typeface="Arial" charset="0"/>
                <a:cs typeface="Arial" charset="0"/>
              </a:defRPr>
            </a:lvl8pPr>
            <a:lvl9pPr marL="1828800" algn="l" rtl="0" eaLnBrk="1" fontAlgn="base" hangingPunct="1">
              <a:lnSpc>
                <a:spcPct val="90000"/>
              </a:lnSpc>
              <a:spcBef>
                <a:spcPct val="0"/>
              </a:spcBef>
              <a:spcAft>
                <a:spcPct val="0"/>
              </a:spcAft>
              <a:defRPr sz="2800" b="1">
                <a:solidFill>
                  <a:schemeClr val="tx2"/>
                </a:solidFill>
                <a:latin typeface="Arial" charset="0"/>
                <a:cs typeface="Arial" charset="0"/>
              </a:defRPr>
            </a:lvl9pPr>
          </a:lstStyle>
          <a:p>
            <a:r>
              <a:rPr lang="zh-CN" altLang="en-US" smtClean="0">
                <a:latin typeface="微软雅黑" pitchFamily="34" charset="-122"/>
                <a:ea typeface="微软雅黑" pitchFamily="34" charset="-122"/>
              </a:rPr>
              <a:t>惠普</a:t>
            </a:r>
            <a:r>
              <a:rPr lang="en-US" smtClean="0">
                <a:latin typeface="微软雅黑" pitchFamily="34" charset="-122"/>
                <a:ea typeface="微软雅黑" pitchFamily="34" charset="-122"/>
              </a:rPr>
              <a:t>Fortify </a:t>
            </a:r>
            <a:r>
              <a:rPr lang="zh-CN" altLang="en-US" smtClean="0">
                <a:latin typeface="微软雅黑" pitchFamily="34" charset="-122"/>
                <a:ea typeface="微软雅黑" pitchFamily="34" charset="-122"/>
              </a:rPr>
              <a:t>保护企业应用系统的 安全</a:t>
            </a:r>
            <a:endParaRPr lang="en-US" dirty="0">
              <a:latin typeface="微软雅黑" pitchFamily="34" charset="-122"/>
              <a:ea typeface="微软雅黑" pitchFamily="34" charset="-122"/>
            </a:endParaRPr>
          </a:p>
        </p:txBody>
      </p:sp>
      <p:grpSp>
        <p:nvGrpSpPr>
          <p:cNvPr id="11" name="Group 10"/>
          <p:cNvGrpSpPr/>
          <p:nvPr/>
        </p:nvGrpSpPr>
        <p:grpSpPr>
          <a:xfrm>
            <a:off x="1753032" y="1768273"/>
            <a:ext cx="1381131" cy="1680976"/>
            <a:chOff x="0" y="0"/>
            <a:chExt cx="1150938" cy="1398587"/>
          </a:xfrm>
        </p:grpSpPr>
        <p:sp>
          <p:nvSpPr>
            <p:cNvPr id="12" name="Freeform 11"/>
            <p:cNvSpPr>
              <a:spLocks noEditPoints="1"/>
            </p:cNvSpPr>
            <p:nvPr/>
          </p:nvSpPr>
          <p:spPr bwMode="auto">
            <a:xfrm>
              <a:off x="0" y="0"/>
              <a:ext cx="903287" cy="1165225"/>
            </a:xfrm>
            <a:custGeom>
              <a:avLst/>
              <a:gdLst>
                <a:gd name="T0" fmla="*/ 160 w 241"/>
                <a:gd name="T1" fmla="*/ 0 h 311"/>
                <a:gd name="T2" fmla="*/ 0 w 241"/>
                <a:gd name="T3" fmla="*/ 0 h 311"/>
                <a:gd name="T4" fmla="*/ 0 w 241"/>
                <a:gd name="T5" fmla="*/ 36 h 311"/>
                <a:gd name="T6" fmla="*/ 20 w 241"/>
                <a:gd name="T7" fmla="*/ 36 h 311"/>
                <a:gd name="T8" fmla="*/ 20 w 241"/>
                <a:gd name="T9" fmla="*/ 20 h 311"/>
                <a:gd name="T10" fmla="*/ 147 w 241"/>
                <a:gd name="T11" fmla="*/ 20 h 311"/>
                <a:gd name="T12" fmla="*/ 147 w 241"/>
                <a:gd name="T13" fmla="*/ 80 h 311"/>
                <a:gd name="T14" fmla="*/ 160 w 241"/>
                <a:gd name="T15" fmla="*/ 93 h 311"/>
                <a:gd name="T16" fmla="*/ 220 w 241"/>
                <a:gd name="T17" fmla="*/ 93 h 311"/>
                <a:gd name="T18" fmla="*/ 220 w 241"/>
                <a:gd name="T19" fmla="*/ 191 h 311"/>
                <a:gd name="T20" fmla="*/ 241 w 241"/>
                <a:gd name="T21" fmla="*/ 201 h 311"/>
                <a:gd name="T22" fmla="*/ 241 w 241"/>
                <a:gd name="T23" fmla="*/ 80 h 311"/>
                <a:gd name="T24" fmla="*/ 160 w 241"/>
                <a:gd name="T25" fmla="*/ 0 h 311"/>
                <a:gd name="T26" fmla="*/ 160 w 241"/>
                <a:gd name="T27" fmla="*/ 80 h 311"/>
                <a:gd name="T28" fmla="*/ 160 w 241"/>
                <a:gd name="T29" fmla="*/ 24 h 311"/>
                <a:gd name="T30" fmla="*/ 216 w 241"/>
                <a:gd name="T31" fmla="*/ 80 h 311"/>
                <a:gd name="T32" fmla="*/ 160 w 241"/>
                <a:gd name="T33" fmla="*/ 80 h 311"/>
                <a:gd name="T34" fmla="*/ 146 w 241"/>
                <a:gd name="T35" fmla="*/ 169 h 311"/>
                <a:gd name="T36" fmla="*/ 98 w 241"/>
                <a:gd name="T37" fmla="*/ 169 h 311"/>
                <a:gd name="T38" fmla="*/ 98 w 241"/>
                <a:gd name="T39" fmla="*/ 216 h 311"/>
                <a:gd name="T40" fmla="*/ 51 w 241"/>
                <a:gd name="T41" fmla="*/ 216 h 311"/>
                <a:gd name="T42" fmla="*/ 51 w 241"/>
                <a:gd name="T43" fmla="*/ 264 h 311"/>
                <a:gd name="T44" fmla="*/ 116 w 241"/>
                <a:gd name="T45" fmla="*/ 264 h 311"/>
                <a:gd name="T46" fmla="*/ 194 w 241"/>
                <a:gd name="T47" fmla="*/ 187 h 311"/>
                <a:gd name="T48" fmla="*/ 194 w 241"/>
                <a:gd name="T49" fmla="*/ 121 h 311"/>
                <a:gd name="T50" fmla="*/ 146 w 241"/>
                <a:gd name="T51" fmla="*/ 121 h 311"/>
                <a:gd name="T52" fmla="*/ 146 w 241"/>
                <a:gd name="T53" fmla="*/ 169 h 311"/>
                <a:gd name="T54" fmla="*/ 20 w 241"/>
                <a:gd name="T55" fmla="*/ 291 h 311"/>
                <a:gd name="T56" fmla="*/ 20 w 241"/>
                <a:gd name="T57" fmla="*/ 264 h 311"/>
                <a:gd name="T58" fmla="*/ 0 w 241"/>
                <a:gd name="T59" fmla="*/ 264 h 311"/>
                <a:gd name="T60" fmla="*/ 0 w 241"/>
                <a:gd name="T61" fmla="*/ 291 h 311"/>
                <a:gd name="T62" fmla="*/ 20 w 241"/>
                <a:gd name="T63" fmla="*/ 311 h 311"/>
                <a:gd name="T64" fmla="*/ 130 w 241"/>
                <a:gd name="T65" fmla="*/ 311 h 311"/>
                <a:gd name="T66" fmla="*/ 120 w 241"/>
                <a:gd name="T67" fmla="*/ 291 h 311"/>
                <a:gd name="T68" fmla="*/ 20 w 241"/>
                <a:gd name="T69" fmla="*/ 291 h 311"/>
                <a:gd name="T70" fmla="*/ 3 w 241"/>
                <a:gd name="T71" fmla="*/ 169 h 311"/>
                <a:gd name="T72" fmla="*/ 3 w 241"/>
                <a:gd name="T73" fmla="*/ 216 h 311"/>
                <a:gd name="T74" fmla="*/ 51 w 241"/>
                <a:gd name="T75" fmla="*/ 216 h 311"/>
                <a:gd name="T76" fmla="*/ 51 w 241"/>
                <a:gd name="T77" fmla="*/ 169 h 311"/>
                <a:gd name="T78" fmla="*/ 3 w 241"/>
                <a:gd name="T79" fmla="*/ 169 h 311"/>
                <a:gd name="T80" fmla="*/ 3 w 241"/>
                <a:gd name="T81" fmla="*/ 73 h 311"/>
                <a:gd name="T82" fmla="*/ 3 w 241"/>
                <a:gd name="T83" fmla="*/ 121 h 311"/>
                <a:gd name="T84" fmla="*/ 51 w 241"/>
                <a:gd name="T85" fmla="*/ 121 h 311"/>
                <a:gd name="T86" fmla="*/ 51 w 241"/>
                <a:gd name="T87" fmla="*/ 73 h 311"/>
                <a:gd name="T88" fmla="*/ 3 w 241"/>
                <a:gd name="T89" fmla="*/ 73 h 311"/>
                <a:gd name="T90" fmla="*/ 98 w 241"/>
                <a:gd name="T91" fmla="*/ 121 h 311"/>
                <a:gd name="T92" fmla="*/ 51 w 241"/>
                <a:gd name="T93" fmla="*/ 121 h 311"/>
                <a:gd name="T94" fmla="*/ 51 w 241"/>
                <a:gd name="T95" fmla="*/ 169 h 311"/>
                <a:gd name="T96" fmla="*/ 98 w 241"/>
                <a:gd name="T97" fmla="*/ 169 h 311"/>
                <a:gd name="T98" fmla="*/ 98 w 241"/>
                <a:gd name="T99" fmla="*/ 121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1" h="311">
                  <a:moveTo>
                    <a:pt x="160" y="0"/>
                  </a:moveTo>
                  <a:cubicBezTo>
                    <a:pt x="0" y="0"/>
                    <a:pt x="0" y="0"/>
                    <a:pt x="0" y="0"/>
                  </a:cubicBezTo>
                  <a:cubicBezTo>
                    <a:pt x="0" y="36"/>
                    <a:pt x="0" y="36"/>
                    <a:pt x="0" y="36"/>
                  </a:cubicBezTo>
                  <a:cubicBezTo>
                    <a:pt x="20" y="36"/>
                    <a:pt x="20" y="36"/>
                    <a:pt x="20" y="36"/>
                  </a:cubicBezTo>
                  <a:cubicBezTo>
                    <a:pt x="20" y="20"/>
                    <a:pt x="20" y="20"/>
                    <a:pt x="20" y="20"/>
                  </a:cubicBezTo>
                  <a:cubicBezTo>
                    <a:pt x="147" y="20"/>
                    <a:pt x="147" y="20"/>
                    <a:pt x="147" y="20"/>
                  </a:cubicBezTo>
                  <a:cubicBezTo>
                    <a:pt x="147" y="80"/>
                    <a:pt x="147" y="80"/>
                    <a:pt x="147" y="80"/>
                  </a:cubicBezTo>
                  <a:cubicBezTo>
                    <a:pt x="147" y="87"/>
                    <a:pt x="153" y="93"/>
                    <a:pt x="160" y="93"/>
                  </a:cubicBezTo>
                  <a:cubicBezTo>
                    <a:pt x="220" y="93"/>
                    <a:pt x="220" y="93"/>
                    <a:pt x="220" y="93"/>
                  </a:cubicBezTo>
                  <a:cubicBezTo>
                    <a:pt x="220" y="191"/>
                    <a:pt x="220" y="191"/>
                    <a:pt x="220" y="191"/>
                  </a:cubicBezTo>
                  <a:cubicBezTo>
                    <a:pt x="228" y="194"/>
                    <a:pt x="234" y="197"/>
                    <a:pt x="241" y="201"/>
                  </a:cubicBezTo>
                  <a:cubicBezTo>
                    <a:pt x="241" y="80"/>
                    <a:pt x="241" y="80"/>
                    <a:pt x="241" y="80"/>
                  </a:cubicBezTo>
                  <a:lnTo>
                    <a:pt x="160" y="0"/>
                  </a:lnTo>
                  <a:close/>
                  <a:moveTo>
                    <a:pt x="160" y="80"/>
                  </a:moveTo>
                  <a:cubicBezTo>
                    <a:pt x="160" y="24"/>
                    <a:pt x="160" y="24"/>
                    <a:pt x="160" y="24"/>
                  </a:cubicBezTo>
                  <a:cubicBezTo>
                    <a:pt x="216" y="80"/>
                    <a:pt x="216" y="80"/>
                    <a:pt x="216" y="80"/>
                  </a:cubicBezTo>
                  <a:lnTo>
                    <a:pt x="160" y="80"/>
                  </a:lnTo>
                  <a:close/>
                  <a:moveTo>
                    <a:pt x="146" y="169"/>
                  </a:moveTo>
                  <a:cubicBezTo>
                    <a:pt x="98" y="169"/>
                    <a:pt x="98" y="169"/>
                    <a:pt x="98" y="169"/>
                  </a:cubicBezTo>
                  <a:cubicBezTo>
                    <a:pt x="98" y="216"/>
                    <a:pt x="98" y="216"/>
                    <a:pt x="98" y="216"/>
                  </a:cubicBezTo>
                  <a:cubicBezTo>
                    <a:pt x="51" y="216"/>
                    <a:pt x="51" y="216"/>
                    <a:pt x="51" y="216"/>
                  </a:cubicBezTo>
                  <a:cubicBezTo>
                    <a:pt x="51" y="264"/>
                    <a:pt x="51" y="264"/>
                    <a:pt x="51" y="264"/>
                  </a:cubicBezTo>
                  <a:cubicBezTo>
                    <a:pt x="116" y="264"/>
                    <a:pt x="116" y="264"/>
                    <a:pt x="116" y="264"/>
                  </a:cubicBezTo>
                  <a:cubicBezTo>
                    <a:pt x="117" y="222"/>
                    <a:pt x="151" y="187"/>
                    <a:pt x="194" y="187"/>
                  </a:cubicBezTo>
                  <a:cubicBezTo>
                    <a:pt x="194" y="121"/>
                    <a:pt x="194" y="121"/>
                    <a:pt x="194" y="121"/>
                  </a:cubicBezTo>
                  <a:cubicBezTo>
                    <a:pt x="146" y="121"/>
                    <a:pt x="146" y="121"/>
                    <a:pt x="146" y="121"/>
                  </a:cubicBezTo>
                  <a:lnTo>
                    <a:pt x="146" y="169"/>
                  </a:lnTo>
                  <a:close/>
                  <a:moveTo>
                    <a:pt x="20" y="291"/>
                  </a:moveTo>
                  <a:cubicBezTo>
                    <a:pt x="20" y="264"/>
                    <a:pt x="20" y="264"/>
                    <a:pt x="20" y="264"/>
                  </a:cubicBezTo>
                  <a:cubicBezTo>
                    <a:pt x="0" y="264"/>
                    <a:pt x="0" y="264"/>
                    <a:pt x="0" y="264"/>
                  </a:cubicBezTo>
                  <a:cubicBezTo>
                    <a:pt x="0" y="291"/>
                    <a:pt x="0" y="291"/>
                    <a:pt x="0" y="291"/>
                  </a:cubicBezTo>
                  <a:cubicBezTo>
                    <a:pt x="0" y="302"/>
                    <a:pt x="9" y="311"/>
                    <a:pt x="20" y="311"/>
                  </a:cubicBezTo>
                  <a:cubicBezTo>
                    <a:pt x="130" y="311"/>
                    <a:pt x="130" y="311"/>
                    <a:pt x="130" y="311"/>
                  </a:cubicBezTo>
                  <a:cubicBezTo>
                    <a:pt x="126" y="305"/>
                    <a:pt x="123" y="298"/>
                    <a:pt x="120" y="291"/>
                  </a:cubicBezTo>
                  <a:lnTo>
                    <a:pt x="20" y="291"/>
                  </a:lnTo>
                  <a:close/>
                  <a:moveTo>
                    <a:pt x="3" y="169"/>
                  </a:moveTo>
                  <a:cubicBezTo>
                    <a:pt x="3" y="216"/>
                    <a:pt x="3" y="216"/>
                    <a:pt x="3" y="216"/>
                  </a:cubicBezTo>
                  <a:cubicBezTo>
                    <a:pt x="51" y="216"/>
                    <a:pt x="51" y="216"/>
                    <a:pt x="51" y="216"/>
                  </a:cubicBezTo>
                  <a:cubicBezTo>
                    <a:pt x="51" y="169"/>
                    <a:pt x="51" y="169"/>
                    <a:pt x="51" y="169"/>
                  </a:cubicBezTo>
                  <a:lnTo>
                    <a:pt x="3" y="169"/>
                  </a:lnTo>
                  <a:close/>
                  <a:moveTo>
                    <a:pt x="3" y="73"/>
                  </a:moveTo>
                  <a:cubicBezTo>
                    <a:pt x="3" y="121"/>
                    <a:pt x="3" y="121"/>
                    <a:pt x="3" y="121"/>
                  </a:cubicBezTo>
                  <a:cubicBezTo>
                    <a:pt x="51" y="121"/>
                    <a:pt x="51" y="121"/>
                    <a:pt x="51" y="121"/>
                  </a:cubicBezTo>
                  <a:cubicBezTo>
                    <a:pt x="51" y="73"/>
                    <a:pt x="51" y="73"/>
                    <a:pt x="51" y="73"/>
                  </a:cubicBezTo>
                  <a:lnTo>
                    <a:pt x="3" y="73"/>
                  </a:lnTo>
                  <a:close/>
                  <a:moveTo>
                    <a:pt x="98" y="121"/>
                  </a:moveTo>
                  <a:cubicBezTo>
                    <a:pt x="51" y="121"/>
                    <a:pt x="51" y="121"/>
                    <a:pt x="51" y="121"/>
                  </a:cubicBezTo>
                  <a:cubicBezTo>
                    <a:pt x="51" y="169"/>
                    <a:pt x="51" y="169"/>
                    <a:pt x="51" y="169"/>
                  </a:cubicBezTo>
                  <a:cubicBezTo>
                    <a:pt x="98" y="169"/>
                    <a:pt x="98" y="169"/>
                    <a:pt x="98" y="169"/>
                  </a:cubicBezTo>
                  <a:lnTo>
                    <a:pt x="98" y="121"/>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13" name="Freeform 12"/>
            <p:cNvSpPr>
              <a:spLocks noEditPoints="1"/>
            </p:cNvSpPr>
            <p:nvPr/>
          </p:nvSpPr>
          <p:spPr bwMode="auto">
            <a:xfrm>
              <a:off x="487363" y="754062"/>
              <a:ext cx="663575" cy="644525"/>
            </a:xfrm>
            <a:custGeom>
              <a:avLst/>
              <a:gdLst>
                <a:gd name="T0" fmla="*/ 145 w 177"/>
                <a:gd name="T1" fmla="*/ 169 h 172"/>
                <a:gd name="T2" fmla="*/ 99 w 177"/>
                <a:gd name="T3" fmla="*/ 122 h 172"/>
                <a:gd name="T4" fmla="*/ 98 w 177"/>
                <a:gd name="T5" fmla="*/ 122 h 172"/>
                <a:gd name="T6" fmla="*/ 65 w 177"/>
                <a:gd name="T7" fmla="*/ 131 h 172"/>
                <a:gd name="T8" fmla="*/ 65 w 177"/>
                <a:gd name="T9" fmla="*/ 131 h 172"/>
                <a:gd name="T10" fmla="*/ 0 w 177"/>
                <a:gd name="T11" fmla="*/ 65 h 172"/>
                <a:gd name="T12" fmla="*/ 0 w 177"/>
                <a:gd name="T13" fmla="*/ 65 h 172"/>
                <a:gd name="T14" fmla="*/ 0 w 177"/>
                <a:gd name="T15" fmla="*/ 65 h 172"/>
                <a:gd name="T16" fmla="*/ 65 w 177"/>
                <a:gd name="T17" fmla="*/ 0 h 172"/>
                <a:gd name="T18" fmla="*/ 65 w 177"/>
                <a:gd name="T19" fmla="*/ 0 h 172"/>
                <a:gd name="T20" fmla="*/ 131 w 177"/>
                <a:gd name="T21" fmla="*/ 65 h 172"/>
                <a:gd name="T22" fmla="*/ 131 w 177"/>
                <a:gd name="T23" fmla="*/ 65 h 172"/>
                <a:gd name="T24" fmla="*/ 122 w 177"/>
                <a:gd name="T25" fmla="*/ 99 h 172"/>
                <a:gd name="T26" fmla="*/ 122 w 177"/>
                <a:gd name="T27" fmla="*/ 99 h 172"/>
                <a:gd name="T28" fmla="*/ 122 w 177"/>
                <a:gd name="T29" fmla="*/ 99 h 172"/>
                <a:gd name="T30" fmla="*/ 177 w 177"/>
                <a:gd name="T31" fmla="*/ 154 h 172"/>
                <a:gd name="T32" fmla="*/ 162 w 177"/>
                <a:gd name="T33" fmla="*/ 169 h 172"/>
                <a:gd name="T34" fmla="*/ 154 w 177"/>
                <a:gd name="T35" fmla="*/ 172 h 172"/>
                <a:gd name="T36" fmla="*/ 154 w 177"/>
                <a:gd name="T37" fmla="*/ 172 h 172"/>
                <a:gd name="T38" fmla="*/ 145 w 177"/>
                <a:gd name="T39" fmla="*/ 169 h 172"/>
                <a:gd name="T40" fmla="*/ 22 w 177"/>
                <a:gd name="T41" fmla="*/ 65 h 172"/>
                <a:gd name="T42" fmla="*/ 65 w 177"/>
                <a:gd name="T43" fmla="*/ 109 h 172"/>
                <a:gd name="T44" fmla="*/ 65 w 177"/>
                <a:gd name="T45" fmla="*/ 109 h 172"/>
                <a:gd name="T46" fmla="*/ 82 w 177"/>
                <a:gd name="T47" fmla="*/ 106 h 172"/>
                <a:gd name="T48" fmla="*/ 82 w 177"/>
                <a:gd name="T49" fmla="*/ 106 h 172"/>
                <a:gd name="T50" fmla="*/ 106 w 177"/>
                <a:gd name="T51" fmla="*/ 82 h 172"/>
                <a:gd name="T52" fmla="*/ 106 w 177"/>
                <a:gd name="T53" fmla="*/ 82 h 172"/>
                <a:gd name="T54" fmla="*/ 109 w 177"/>
                <a:gd name="T55" fmla="*/ 65 h 172"/>
                <a:gd name="T56" fmla="*/ 109 w 177"/>
                <a:gd name="T57" fmla="*/ 65 h 172"/>
                <a:gd name="T58" fmla="*/ 65 w 177"/>
                <a:gd name="T59" fmla="*/ 22 h 172"/>
                <a:gd name="T60" fmla="*/ 65 w 177"/>
                <a:gd name="T61" fmla="*/ 22 h 172"/>
                <a:gd name="T62" fmla="*/ 22 w 177"/>
                <a:gd name="T63" fmla="*/ 65 h 172"/>
                <a:gd name="T64" fmla="*/ 22 w 177"/>
                <a:gd name="T65" fmla="*/ 65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7" h="172">
                  <a:moveTo>
                    <a:pt x="145" y="169"/>
                  </a:moveTo>
                  <a:cubicBezTo>
                    <a:pt x="99" y="122"/>
                    <a:pt x="99" y="122"/>
                    <a:pt x="99" y="122"/>
                  </a:cubicBezTo>
                  <a:cubicBezTo>
                    <a:pt x="98" y="122"/>
                    <a:pt x="98" y="122"/>
                    <a:pt x="98" y="122"/>
                  </a:cubicBezTo>
                  <a:cubicBezTo>
                    <a:pt x="88" y="128"/>
                    <a:pt x="77" y="131"/>
                    <a:pt x="65" y="131"/>
                  </a:cubicBezTo>
                  <a:cubicBezTo>
                    <a:pt x="65" y="131"/>
                    <a:pt x="65" y="131"/>
                    <a:pt x="65" y="131"/>
                  </a:cubicBezTo>
                  <a:cubicBezTo>
                    <a:pt x="29" y="131"/>
                    <a:pt x="0" y="102"/>
                    <a:pt x="0" y="65"/>
                  </a:cubicBezTo>
                  <a:cubicBezTo>
                    <a:pt x="0" y="65"/>
                    <a:pt x="0" y="65"/>
                    <a:pt x="0" y="65"/>
                  </a:cubicBezTo>
                  <a:cubicBezTo>
                    <a:pt x="0" y="65"/>
                    <a:pt x="0" y="65"/>
                    <a:pt x="0" y="65"/>
                  </a:cubicBezTo>
                  <a:cubicBezTo>
                    <a:pt x="0" y="29"/>
                    <a:pt x="29" y="0"/>
                    <a:pt x="65" y="0"/>
                  </a:cubicBezTo>
                  <a:cubicBezTo>
                    <a:pt x="65" y="0"/>
                    <a:pt x="65" y="0"/>
                    <a:pt x="65" y="0"/>
                  </a:cubicBezTo>
                  <a:cubicBezTo>
                    <a:pt x="101" y="0"/>
                    <a:pt x="131" y="29"/>
                    <a:pt x="131" y="65"/>
                  </a:cubicBezTo>
                  <a:cubicBezTo>
                    <a:pt x="131" y="65"/>
                    <a:pt x="131" y="65"/>
                    <a:pt x="131" y="65"/>
                  </a:cubicBezTo>
                  <a:cubicBezTo>
                    <a:pt x="131" y="77"/>
                    <a:pt x="128" y="89"/>
                    <a:pt x="122" y="99"/>
                  </a:cubicBezTo>
                  <a:cubicBezTo>
                    <a:pt x="122" y="99"/>
                    <a:pt x="122" y="99"/>
                    <a:pt x="122" y="99"/>
                  </a:cubicBezTo>
                  <a:cubicBezTo>
                    <a:pt x="122" y="99"/>
                    <a:pt x="122" y="99"/>
                    <a:pt x="122" y="99"/>
                  </a:cubicBezTo>
                  <a:cubicBezTo>
                    <a:pt x="177" y="154"/>
                    <a:pt x="177" y="154"/>
                    <a:pt x="177" y="154"/>
                  </a:cubicBezTo>
                  <a:cubicBezTo>
                    <a:pt x="162" y="169"/>
                    <a:pt x="162" y="169"/>
                    <a:pt x="162" y="169"/>
                  </a:cubicBezTo>
                  <a:cubicBezTo>
                    <a:pt x="160" y="171"/>
                    <a:pt x="157" y="172"/>
                    <a:pt x="154" y="172"/>
                  </a:cubicBezTo>
                  <a:cubicBezTo>
                    <a:pt x="154" y="172"/>
                    <a:pt x="154" y="172"/>
                    <a:pt x="154" y="172"/>
                  </a:cubicBezTo>
                  <a:cubicBezTo>
                    <a:pt x="151" y="172"/>
                    <a:pt x="148" y="171"/>
                    <a:pt x="145" y="169"/>
                  </a:cubicBezTo>
                  <a:close/>
                  <a:moveTo>
                    <a:pt x="22" y="65"/>
                  </a:moveTo>
                  <a:cubicBezTo>
                    <a:pt x="22" y="90"/>
                    <a:pt x="41" y="109"/>
                    <a:pt x="65" y="109"/>
                  </a:cubicBezTo>
                  <a:cubicBezTo>
                    <a:pt x="65" y="109"/>
                    <a:pt x="65" y="109"/>
                    <a:pt x="65" y="109"/>
                  </a:cubicBezTo>
                  <a:cubicBezTo>
                    <a:pt x="71" y="109"/>
                    <a:pt x="77" y="108"/>
                    <a:pt x="82" y="106"/>
                  </a:cubicBezTo>
                  <a:cubicBezTo>
                    <a:pt x="82" y="106"/>
                    <a:pt x="82" y="106"/>
                    <a:pt x="82" y="106"/>
                  </a:cubicBezTo>
                  <a:cubicBezTo>
                    <a:pt x="93" y="101"/>
                    <a:pt x="101" y="93"/>
                    <a:pt x="106" y="82"/>
                  </a:cubicBezTo>
                  <a:cubicBezTo>
                    <a:pt x="106" y="82"/>
                    <a:pt x="106" y="82"/>
                    <a:pt x="106" y="82"/>
                  </a:cubicBezTo>
                  <a:cubicBezTo>
                    <a:pt x="108" y="77"/>
                    <a:pt x="109" y="71"/>
                    <a:pt x="109" y="65"/>
                  </a:cubicBezTo>
                  <a:cubicBezTo>
                    <a:pt x="109" y="65"/>
                    <a:pt x="109" y="65"/>
                    <a:pt x="109" y="65"/>
                  </a:cubicBezTo>
                  <a:cubicBezTo>
                    <a:pt x="109" y="41"/>
                    <a:pt x="90" y="22"/>
                    <a:pt x="65" y="22"/>
                  </a:cubicBezTo>
                  <a:cubicBezTo>
                    <a:pt x="65" y="22"/>
                    <a:pt x="65" y="22"/>
                    <a:pt x="65" y="22"/>
                  </a:cubicBezTo>
                  <a:cubicBezTo>
                    <a:pt x="41" y="22"/>
                    <a:pt x="22" y="41"/>
                    <a:pt x="22" y="65"/>
                  </a:cubicBezTo>
                  <a:cubicBezTo>
                    <a:pt x="22" y="65"/>
                    <a:pt x="22" y="65"/>
                    <a:pt x="22" y="65"/>
                  </a:cubicBez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grpSp>
      <p:grpSp>
        <p:nvGrpSpPr>
          <p:cNvPr id="14" name="Group 13"/>
          <p:cNvGrpSpPr/>
          <p:nvPr/>
        </p:nvGrpSpPr>
        <p:grpSpPr>
          <a:xfrm>
            <a:off x="4735390" y="1718374"/>
            <a:ext cx="3207854" cy="1569347"/>
            <a:chOff x="3786129" y="3139940"/>
            <a:chExt cx="2259107" cy="1103447"/>
          </a:xfrm>
        </p:grpSpPr>
        <p:sp>
          <p:nvSpPr>
            <p:cNvPr id="15" name="TextBox 51"/>
            <p:cNvSpPr txBox="1">
              <a:spLocks noChangeArrowheads="1"/>
            </p:cNvSpPr>
            <p:nvPr/>
          </p:nvSpPr>
          <p:spPr bwMode="auto">
            <a:xfrm>
              <a:off x="4862061" y="3153380"/>
              <a:ext cx="945644" cy="238046"/>
            </a:xfrm>
            <a:prstGeom prst="rect">
              <a:avLst/>
            </a:prstGeom>
            <a:noFill/>
            <a:ln w="9525">
              <a:noFill/>
              <a:miter lim="800000"/>
              <a:headEnd/>
              <a:tailEnd/>
            </a:ln>
          </p:spPr>
          <p:txBody>
            <a:bodyPr wrap="square">
              <a:prstTxWarp prst="textNoShape">
                <a:avLst/>
              </a:prstTxWarp>
              <a:spAutoFit/>
            </a:bodyPr>
            <a:lstStyle/>
            <a:p>
              <a:r>
                <a:rPr lang="en-US" dirty="0">
                  <a:solidFill>
                    <a:schemeClr val="accent1"/>
                  </a:solidFill>
                  <a:latin typeface="微软雅黑" pitchFamily="34" charset="-122"/>
                  <a:ea typeface="微软雅黑" pitchFamily="34" charset="-122"/>
                </a:rPr>
                <a:t>In-house</a:t>
              </a:r>
            </a:p>
          </p:txBody>
        </p:sp>
        <p:sp>
          <p:nvSpPr>
            <p:cNvPr id="16" name="TextBox 54"/>
            <p:cNvSpPr txBox="1">
              <a:spLocks noChangeArrowheads="1"/>
            </p:cNvSpPr>
            <p:nvPr/>
          </p:nvSpPr>
          <p:spPr bwMode="auto">
            <a:xfrm>
              <a:off x="4862061" y="3356582"/>
              <a:ext cx="1026315" cy="238046"/>
            </a:xfrm>
            <a:prstGeom prst="rect">
              <a:avLst/>
            </a:prstGeom>
            <a:noFill/>
            <a:ln w="9525">
              <a:noFill/>
              <a:miter lim="800000"/>
              <a:headEnd/>
              <a:tailEnd/>
            </a:ln>
          </p:spPr>
          <p:txBody>
            <a:bodyPr wrap="square">
              <a:prstTxWarp prst="textNoShape">
                <a:avLst/>
              </a:prstTxWarp>
              <a:spAutoFit/>
            </a:bodyPr>
            <a:lstStyle/>
            <a:p>
              <a:r>
                <a:rPr lang="en-US" dirty="0">
                  <a:solidFill>
                    <a:schemeClr val="accent1"/>
                  </a:solidFill>
                  <a:latin typeface="微软雅黑" pitchFamily="34" charset="-122"/>
                  <a:ea typeface="微软雅黑" pitchFamily="34" charset="-122"/>
                </a:rPr>
                <a:t>Outsourced</a:t>
              </a:r>
            </a:p>
          </p:txBody>
        </p:sp>
        <p:sp>
          <p:nvSpPr>
            <p:cNvPr id="17" name="TextBox 57"/>
            <p:cNvSpPr txBox="1">
              <a:spLocks noChangeArrowheads="1"/>
            </p:cNvSpPr>
            <p:nvPr/>
          </p:nvSpPr>
          <p:spPr bwMode="auto">
            <a:xfrm>
              <a:off x="4862061" y="3559784"/>
              <a:ext cx="1087760" cy="238046"/>
            </a:xfrm>
            <a:prstGeom prst="rect">
              <a:avLst/>
            </a:prstGeom>
            <a:noFill/>
            <a:ln w="9525">
              <a:noFill/>
              <a:miter lim="800000"/>
              <a:headEnd/>
              <a:tailEnd/>
            </a:ln>
          </p:spPr>
          <p:txBody>
            <a:bodyPr wrap="square">
              <a:prstTxWarp prst="textNoShape">
                <a:avLst/>
              </a:prstTxWarp>
              <a:spAutoFit/>
            </a:bodyPr>
            <a:lstStyle/>
            <a:p>
              <a:r>
                <a:rPr lang="en-US" dirty="0">
                  <a:solidFill>
                    <a:schemeClr val="accent1"/>
                  </a:solidFill>
                  <a:latin typeface="微软雅黑" pitchFamily="34" charset="-122"/>
                  <a:ea typeface="微软雅黑" pitchFamily="34" charset="-122"/>
                </a:rPr>
                <a:t>Commercial</a:t>
              </a:r>
            </a:p>
          </p:txBody>
        </p:sp>
        <p:sp>
          <p:nvSpPr>
            <p:cNvPr id="18" name="TextBox 60"/>
            <p:cNvSpPr txBox="1">
              <a:spLocks noChangeArrowheads="1"/>
            </p:cNvSpPr>
            <p:nvPr/>
          </p:nvSpPr>
          <p:spPr bwMode="auto">
            <a:xfrm>
              <a:off x="4862061" y="3762985"/>
              <a:ext cx="1183175" cy="238046"/>
            </a:xfrm>
            <a:prstGeom prst="rect">
              <a:avLst/>
            </a:prstGeom>
            <a:noFill/>
            <a:ln w="9525">
              <a:noFill/>
              <a:miter lim="800000"/>
              <a:headEnd/>
              <a:tailEnd/>
            </a:ln>
          </p:spPr>
          <p:txBody>
            <a:bodyPr wrap="square">
              <a:prstTxWarp prst="textNoShape">
                <a:avLst/>
              </a:prstTxWarp>
              <a:spAutoFit/>
            </a:bodyPr>
            <a:lstStyle/>
            <a:p>
              <a:r>
                <a:rPr lang="en-US" dirty="0">
                  <a:solidFill>
                    <a:schemeClr val="accent1"/>
                  </a:solidFill>
                  <a:latin typeface="微软雅黑" pitchFamily="34" charset="-122"/>
                  <a:ea typeface="微软雅黑" pitchFamily="34" charset="-122"/>
                </a:rPr>
                <a:t>Open source</a:t>
              </a:r>
            </a:p>
          </p:txBody>
        </p:sp>
        <p:grpSp>
          <p:nvGrpSpPr>
            <p:cNvPr id="19" name="Group 18"/>
            <p:cNvGrpSpPr/>
            <p:nvPr/>
          </p:nvGrpSpPr>
          <p:grpSpPr>
            <a:xfrm flipH="1">
              <a:off x="3786129" y="3139940"/>
              <a:ext cx="1114115" cy="1103447"/>
              <a:chOff x="0" y="0"/>
              <a:chExt cx="1492250" cy="1477963"/>
            </a:xfrm>
          </p:grpSpPr>
          <p:sp>
            <p:nvSpPr>
              <p:cNvPr id="20" name="Freeform 19"/>
              <p:cNvSpPr>
                <a:spLocks/>
              </p:cNvSpPr>
              <p:nvPr/>
            </p:nvSpPr>
            <p:spPr bwMode="auto">
              <a:xfrm>
                <a:off x="0" y="0"/>
                <a:ext cx="1309688" cy="1304925"/>
              </a:xfrm>
              <a:custGeom>
                <a:avLst/>
                <a:gdLst>
                  <a:gd name="T0" fmla="*/ 193 w 349"/>
                  <a:gd name="T1" fmla="*/ 270 h 348"/>
                  <a:gd name="T2" fmla="*/ 173 w 349"/>
                  <a:gd name="T3" fmla="*/ 271 h 348"/>
                  <a:gd name="T4" fmla="*/ 77 w 349"/>
                  <a:gd name="T5" fmla="*/ 172 h 348"/>
                  <a:gd name="T6" fmla="*/ 176 w 349"/>
                  <a:gd name="T7" fmla="*/ 76 h 348"/>
                  <a:gd name="T8" fmla="*/ 272 w 349"/>
                  <a:gd name="T9" fmla="*/ 175 h 348"/>
                  <a:gd name="T10" fmla="*/ 270 w 349"/>
                  <a:gd name="T11" fmla="*/ 193 h 348"/>
                  <a:gd name="T12" fmla="*/ 306 w 349"/>
                  <a:gd name="T13" fmla="*/ 229 h 348"/>
                  <a:gd name="T14" fmla="*/ 312 w 349"/>
                  <a:gd name="T15" fmla="*/ 211 h 348"/>
                  <a:gd name="T16" fmla="*/ 349 w 349"/>
                  <a:gd name="T17" fmla="*/ 202 h 348"/>
                  <a:gd name="T18" fmla="*/ 349 w 349"/>
                  <a:gd name="T19" fmla="*/ 147 h 348"/>
                  <a:gd name="T20" fmla="*/ 313 w 349"/>
                  <a:gd name="T21" fmla="*/ 138 h 348"/>
                  <a:gd name="T22" fmla="*/ 298 w 349"/>
                  <a:gd name="T23" fmla="*/ 103 h 348"/>
                  <a:gd name="T24" fmla="*/ 318 w 349"/>
                  <a:gd name="T25" fmla="*/ 71 h 348"/>
                  <a:gd name="T26" fmla="*/ 279 w 349"/>
                  <a:gd name="T27" fmla="*/ 32 h 348"/>
                  <a:gd name="T28" fmla="*/ 247 w 349"/>
                  <a:gd name="T29" fmla="*/ 51 h 348"/>
                  <a:gd name="T30" fmla="*/ 212 w 349"/>
                  <a:gd name="T31" fmla="*/ 36 h 348"/>
                  <a:gd name="T32" fmla="*/ 203 w 349"/>
                  <a:gd name="T33" fmla="*/ 0 h 348"/>
                  <a:gd name="T34" fmla="*/ 148 w 349"/>
                  <a:gd name="T35" fmla="*/ 0 h 348"/>
                  <a:gd name="T36" fmla="*/ 139 w 349"/>
                  <a:gd name="T37" fmla="*/ 36 h 348"/>
                  <a:gd name="T38" fmla="*/ 103 w 349"/>
                  <a:gd name="T39" fmla="*/ 50 h 348"/>
                  <a:gd name="T40" fmla="*/ 71 w 349"/>
                  <a:gd name="T41" fmla="*/ 31 h 348"/>
                  <a:gd name="T42" fmla="*/ 32 w 349"/>
                  <a:gd name="T43" fmla="*/ 70 h 348"/>
                  <a:gd name="T44" fmla="*/ 51 w 349"/>
                  <a:gd name="T45" fmla="*/ 102 h 348"/>
                  <a:gd name="T46" fmla="*/ 37 w 349"/>
                  <a:gd name="T47" fmla="*/ 137 h 348"/>
                  <a:gd name="T48" fmla="*/ 1 w 349"/>
                  <a:gd name="T49" fmla="*/ 146 h 348"/>
                  <a:gd name="T50" fmla="*/ 0 w 349"/>
                  <a:gd name="T51" fmla="*/ 201 h 348"/>
                  <a:gd name="T52" fmla="*/ 37 w 349"/>
                  <a:gd name="T53" fmla="*/ 210 h 348"/>
                  <a:gd name="T54" fmla="*/ 51 w 349"/>
                  <a:gd name="T55" fmla="*/ 245 h 348"/>
                  <a:gd name="T56" fmla="*/ 32 w 349"/>
                  <a:gd name="T57" fmla="*/ 277 h 348"/>
                  <a:gd name="T58" fmla="*/ 70 w 349"/>
                  <a:gd name="T59" fmla="*/ 316 h 348"/>
                  <a:gd name="T60" fmla="*/ 102 w 349"/>
                  <a:gd name="T61" fmla="*/ 297 h 348"/>
                  <a:gd name="T62" fmla="*/ 138 w 349"/>
                  <a:gd name="T63" fmla="*/ 312 h 348"/>
                  <a:gd name="T64" fmla="*/ 146 w 349"/>
                  <a:gd name="T65" fmla="*/ 348 h 348"/>
                  <a:gd name="T66" fmla="*/ 201 w 349"/>
                  <a:gd name="T67" fmla="*/ 348 h 348"/>
                  <a:gd name="T68" fmla="*/ 211 w 349"/>
                  <a:gd name="T69" fmla="*/ 312 h 348"/>
                  <a:gd name="T70" fmla="*/ 229 w 349"/>
                  <a:gd name="T71" fmla="*/ 306 h 348"/>
                  <a:gd name="T72" fmla="*/ 193 w 349"/>
                  <a:gd name="T73" fmla="*/ 270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49" h="348">
                    <a:moveTo>
                      <a:pt x="193" y="270"/>
                    </a:moveTo>
                    <a:cubicBezTo>
                      <a:pt x="187" y="271"/>
                      <a:pt x="180" y="271"/>
                      <a:pt x="173" y="271"/>
                    </a:cubicBezTo>
                    <a:cubicBezTo>
                      <a:pt x="119" y="270"/>
                      <a:pt x="76" y="226"/>
                      <a:pt x="77" y="172"/>
                    </a:cubicBezTo>
                    <a:cubicBezTo>
                      <a:pt x="78" y="118"/>
                      <a:pt x="122" y="76"/>
                      <a:pt x="176" y="76"/>
                    </a:cubicBezTo>
                    <a:cubicBezTo>
                      <a:pt x="230" y="77"/>
                      <a:pt x="273" y="121"/>
                      <a:pt x="272" y="175"/>
                    </a:cubicBezTo>
                    <a:cubicBezTo>
                      <a:pt x="272" y="181"/>
                      <a:pt x="271" y="187"/>
                      <a:pt x="270" y="193"/>
                    </a:cubicBezTo>
                    <a:cubicBezTo>
                      <a:pt x="306" y="229"/>
                      <a:pt x="306" y="229"/>
                      <a:pt x="306" y="229"/>
                    </a:cubicBezTo>
                    <a:cubicBezTo>
                      <a:pt x="309" y="223"/>
                      <a:pt x="311" y="217"/>
                      <a:pt x="312" y="211"/>
                    </a:cubicBezTo>
                    <a:cubicBezTo>
                      <a:pt x="349" y="202"/>
                      <a:pt x="349" y="202"/>
                      <a:pt x="349" y="202"/>
                    </a:cubicBezTo>
                    <a:cubicBezTo>
                      <a:pt x="349" y="147"/>
                      <a:pt x="349" y="147"/>
                      <a:pt x="349" y="147"/>
                    </a:cubicBezTo>
                    <a:cubicBezTo>
                      <a:pt x="313" y="138"/>
                      <a:pt x="313" y="138"/>
                      <a:pt x="313" y="138"/>
                    </a:cubicBezTo>
                    <a:cubicBezTo>
                      <a:pt x="309" y="125"/>
                      <a:pt x="305" y="113"/>
                      <a:pt x="298" y="103"/>
                    </a:cubicBezTo>
                    <a:cubicBezTo>
                      <a:pt x="318" y="71"/>
                      <a:pt x="318" y="71"/>
                      <a:pt x="318" y="71"/>
                    </a:cubicBezTo>
                    <a:cubicBezTo>
                      <a:pt x="279" y="32"/>
                      <a:pt x="279" y="32"/>
                      <a:pt x="279" y="32"/>
                    </a:cubicBezTo>
                    <a:cubicBezTo>
                      <a:pt x="247" y="51"/>
                      <a:pt x="247" y="51"/>
                      <a:pt x="247" y="51"/>
                    </a:cubicBezTo>
                    <a:cubicBezTo>
                      <a:pt x="236" y="44"/>
                      <a:pt x="224" y="39"/>
                      <a:pt x="212" y="36"/>
                    </a:cubicBezTo>
                    <a:cubicBezTo>
                      <a:pt x="203" y="0"/>
                      <a:pt x="203" y="0"/>
                      <a:pt x="203" y="0"/>
                    </a:cubicBezTo>
                    <a:cubicBezTo>
                      <a:pt x="148" y="0"/>
                      <a:pt x="148" y="0"/>
                      <a:pt x="148" y="0"/>
                    </a:cubicBezTo>
                    <a:cubicBezTo>
                      <a:pt x="139" y="36"/>
                      <a:pt x="139" y="36"/>
                      <a:pt x="139" y="36"/>
                    </a:cubicBezTo>
                    <a:cubicBezTo>
                      <a:pt x="126" y="39"/>
                      <a:pt x="114" y="44"/>
                      <a:pt x="103" y="50"/>
                    </a:cubicBezTo>
                    <a:cubicBezTo>
                      <a:pt x="71" y="31"/>
                      <a:pt x="71" y="31"/>
                      <a:pt x="71" y="31"/>
                    </a:cubicBezTo>
                    <a:cubicBezTo>
                      <a:pt x="32" y="70"/>
                      <a:pt x="32" y="70"/>
                      <a:pt x="32" y="70"/>
                    </a:cubicBezTo>
                    <a:cubicBezTo>
                      <a:pt x="51" y="102"/>
                      <a:pt x="51" y="102"/>
                      <a:pt x="51" y="102"/>
                    </a:cubicBezTo>
                    <a:cubicBezTo>
                      <a:pt x="45" y="113"/>
                      <a:pt x="40" y="124"/>
                      <a:pt x="37" y="137"/>
                    </a:cubicBezTo>
                    <a:cubicBezTo>
                      <a:pt x="1" y="146"/>
                      <a:pt x="1" y="146"/>
                      <a:pt x="1" y="146"/>
                    </a:cubicBezTo>
                    <a:cubicBezTo>
                      <a:pt x="0" y="201"/>
                      <a:pt x="0" y="201"/>
                      <a:pt x="0" y="201"/>
                    </a:cubicBezTo>
                    <a:cubicBezTo>
                      <a:pt x="37" y="210"/>
                      <a:pt x="37" y="210"/>
                      <a:pt x="37" y="210"/>
                    </a:cubicBezTo>
                    <a:cubicBezTo>
                      <a:pt x="40" y="222"/>
                      <a:pt x="45" y="234"/>
                      <a:pt x="51" y="245"/>
                    </a:cubicBezTo>
                    <a:cubicBezTo>
                      <a:pt x="32" y="277"/>
                      <a:pt x="32" y="277"/>
                      <a:pt x="32" y="277"/>
                    </a:cubicBezTo>
                    <a:cubicBezTo>
                      <a:pt x="70" y="316"/>
                      <a:pt x="70" y="316"/>
                      <a:pt x="70" y="316"/>
                    </a:cubicBezTo>
                    <a:cubicBezTo>
                      <a:pt x="102" y="297"/>
                      <a:pt x="102" y="297"/>
                      <a:pt x="102" y="297"/>
                    </a:cubicBezTo>
                    <a:cubicBezTo>
                      <a:pt x="113" y="303"/>
                      <a:pt x="125" y="308"/>
                      <a:pt x="138" y="312"/>
                    </a:cubicBezTo>
                    <a:cubicBezTo>
                      <a:pt x="146" y="348"/>
                      <a:pt x="146" y="348"/>
                      <a:pt x="146" y="348"/>
                    </a:cubicBezTo>
                    <a:cubicBezTo>
                      <a:pt x="201" y="348"/>
                      <a:pt x="201" y="348"/>
                      <a:pt x="201" y="348"/>
                    </a:cubicBezTo>
                    <a:cubicBezTo>
                      <a:pt x="211" y="312"/>
                      <a:pt x="211" y="312"/>
                      <a:pt x="211" y="312"/>
                    </a:cubicBezTo>
                    <a:cubicBezTo>
                      <a:pt x="217" y="310"/>
                      <a:pt x="223" y="308"/>
                      <a:pt x="229" y="306"/>
                    </a:cubicBezTo>
                    <a:lnTo>
                      <a:pt x="193" y="270"/>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21" name="Freeform 20"/>
              <p:cNvSpPr>
                <a:spLocks noEditPoints="1"/>
              </p:cNvSpPr>
              <p:nvPr/>
            </p:nvSpPr>
            <p:spPr bwMode="auto">
              <a:xfrm>
                <a:off x="355600" y="352425"/>
                <a:ext cx="1136650" cy="1125538"/>
              </a:xfrm>
              <a:custGeom>
                <a:avLst/>
                <a:gdLst>
                  <a:gd name="T0" fmla="*/ 288 w 303"/>
                  <a:gd name="T1" fmla="*/ 235 h 300"/>
                  <a:gd name="T2" fmla="*/ 150 w 303"/>
                  <a:gd name="T3" fmla="*/ 97 h 300"/>
                  <a:gd name="T4" fmla="*/ 131 w 303"/>
                  <a:gd name="T5" fmla="*/ 28 h 300"/>
                  <a:gd name="T6" fmla="*/ 49 w 303"/>
                  <a:gd name="T7" fmla="*/ 12 h 300"/>
                  <a:gd name="T8" fmla="*/ 88 w 303"/>
                  <a:gd name="T9" fmla="*/ 51 h 300"/>
                  <a:gd name="T10" fmla="*/ 88 w 303"/>
                  <a:gd name="T11" fmla="*/ 89 h 300"/>
                  <a:gd name="T12" fmla="*/ 51 w 303"/>
                  <a:gd name="T13" fmla="*/ 89 h 300"/>
                  <a:gd name="T14" fmla="*/ 12 w 303"/>
                  <a:gd name="T15" fmla="*/ 50 h 300"/>
                  <a:gd name="T16" fmla="*/ 27 w 303"/>
                  <a:gd name="T17" fmla="*/ 132 h 300"/>
                  <a:gd name="T18" fmla="*/ 96 w 303"/>
                  <a:gd name="T19" fmla="*/ 151 h 300"/>
                  <a:gd name="T20" fmla="*/ 234 w 303"/>
                  <a:gd name="T21" fmla="*/ 289 h 300"/>
                  <a:gd name="T22" fmla="*/ 261 w 303"/>
                  <a:gd name="T23" fmla="*/ 300 h 300"/>
                  <a:gd name="T24" fmla="*/ 288 w 303"/>
                  <a:gd name="T25" fmla="*/ 289 h 300"/>
                  <a:gd name="T26" fmla="*/ 288 w 303"/>
                  <a:gd name="T27" fmla="*/ 235 h 300"/>
                  <a:gd name="T28" fmla="*/ 274 w 303"/>
                  <a:gd name="T29" fmla="*/ 273 h 300"/>
                  <a:gd name="T30" fmla="*/ 250 w 303"/>
                  <a:gd name="T31" fmla="*/ 273 h 300"/>
                  <a:gd name="T32" fmla="*/ 250 w 303"/>
                  <a:gd name="T33" fmla="*/ 249 h 300"/>
                  <a:gd name="T34" fmla="*/ 274 w 303"/>
                  <a:gd name="T35" fmla="*/ 249 h 300"/>
                  <a:gd name="T36" fmla="*/ 274 w 303"/>
                  <a:gd name="T37" fmla="*/ 27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3" h="300">
                    <a:moveTo>
                      <a:pt x="288" y="235"/>
                    </a:moveTo>
                    <a:cubicBezTo>
                      <a:pt x="150" y="97"/>
                      <a:pt x="150" y="97"/>
                      <a:pt x="150" y="97"/>
                    </a:cubicBezTo>
                    <a:cubicBezTo>
                      <a:pt x="156" y="73"/>
                      <a:pt x="150" y="46"/>
                      <a:pt x="131" y="28"/>
                    </a:cubicBezTo>
                    <a:cubicBezTo>
                      <a:pt x="109" y="5"/>
                      <a:pt x="76" y="0"/>
                      <a:pt x="49" y="12"/>
                    </a:cubicBezTo>
                    <a:cubicBezTo>
                      <a:pt x="88" y="51"/>
                      <a:pt x="88" y="51"/>
                      <a:pt x="88" y="51"/>
                    </a:cubicBezTo>
                    <a:cubicBezTo>
                      <a:pt x="99" y="62"/>
                      <a:pt x="99" y="79"/>
                      <a:pt x="88" y="89"/>
                    </a:cubicBezTo>
                    <a:cubicBezTo>
                      <a:pt x="78" y="100"/>
                      <a:pt x="61" y="100"/>
                      <a:pt x="51" y="89"/>
                    </a:cubicBezTo>
                    <a:cubicBezTo>
                      <a:pt x="12" y="50"/>
                      <a:pt x="12" y="50"/>
                      <a:pt x="12" y="50"/>
                    </a:cubicBezTo>
                    <a:cubicBezTo>
                      <a:pt x="0" y="77"/>
                      <a:pt x="5" y="110"/>
                      <a:pt x="27" y="132"/>
                    </a:cubicBezTo>
                    <a:cubicBezTo>
                      <a:pt x="46" y="151"/>
                      <a:pt x="72" y="157"/>
                      <a:pt x="96" y="151"/>
                    </a:cubicBezTo>
                    <a:cubicBezTo>
                      <a:pt x="234" y="289"/>
                      <a:pt x="234" y="289"/>
                      <a:pt x="234" y="289"/>
                    </a:cubicBezTo>
                    <a:cubicBezTo>
                      <a:pt x="242" y="296"/>
                      <a:pt x="251" y="300"/>
                      <a:pt x="261" y="300"/>
                    </a:cubicBezTo>
                    <a:cubicBezTo>
                      <a:pt x="271" y="300"/>
                      <a:pt x="281" y="296"/>
                      <a:pt x="288" y="289"/>
                    </a:cubicBezTo>
                    <a:cubicBezTo>
                      <a:pt x="303" y="274"/>
                      <a:pt x="303" y="250"/>
                      <a:pt x="288" y="235"/>
                    </a:cubicBezTo>
                    <a:close/>
                    <a:moveTo>
                      <a:pt x="274" y="273"/>
                    </a:moveTo>
                    <a:cubicBezTo>
                      <a:pt x="267" y="280"/>
                      <a:pt x="257" y="280"/>
                      <a:pt x="250" y="273"/>
                    </a:cubicBezTo>
                    <a:cubicBezTo>
                      <a:pt x="243" y="267"/>
                      <a:pt x="243" y="256"/>
                      <a:pt x="250" y="249"/>
                    </a:cubicBezTo>
                    <a:cubicBezTo>
                      <a:pt x="257" y="243"/>
                      <a:pt x="267" y="243"/>
                      <a:pt x="274" y="249"/>
                    </a:cubicBezTo>
                    <a:cubicBezTo>
                      <a:pt x="280" y="256"/>
                      <a:pt x="280" y="267"/>
                      <a:pt x="274" y="273"/>
                    </a:cubicBez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grpSp>
      </p:grpSp>
      <p:grpSp>
        <p:nvGrpSpPr>
          <p:cNvPr id="22" name="Group 21"/>
          <p:cNvGrpSpPr/>
          <p:nvPr/>
        </p:nvGrpSpPr>
        <p:grpSpPr>
          <a:xfrm>
            <a:off x="9201730" y="1774912"/>
            <a:ext cx="1659536" cy="1456267"/>
            <a:chOff x="6325871" y="3219450"/>
            <a:chExt cx="1168716" cy="1023938"/>
          </a:xfrm>
        </p:grpSpPr>
        <p:grpSp>
          <p:nvGrpSpPr>
            <p:cNvPr id="23" name="Group 22"/>
            <p:cNvGrpSpPr/>
            <p:nvPr/>
          </p:nvGrpSpPr>
          <p:grpSpPr>
            <a:xfrm>
              <a:off x="6325871" y="3219450"/>
              <a:ext cx="1168716" cy="1023938"/>
              <a:chOff x="333034" y="1700152"/>
              <a:chExt cx="814413" cy="713525"/>
            </a:xfrm>
          </p:grpSpPr>
          <p:sp>
            <p:nvSpPr>
              <p:cNvPr id="27" name="Round Diagonal Corner Rectangle 26"/>
              <p:cNvSpPr/>
              <p:nvPr/>
            </p:nvSpPr>
            <p:spPr>
              <a:xfrm flipH="1">
                <a:off x="333034" y="2082340"/>
                <a:ext cx="375515" cy="331337"/>
              </a:xfrm>
              <a:prstGeom prst="round2Diag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微软雅黑" pitchFamily="34" charset="-122"/>
                  <a:ea typeface="微软雅黑" pitchFamily="34" charset="-122"/>
                </a:endParaRPr>
              </a:p>
            </p:txBody>
          </p:sp>
          <p:sp>
            <p:nvSpPr>
              <p:cNvPr id="28" name="Round Diagonal Corner Rectangle 27"/>
              <p:cNvSpPr/>
              <p:nvPr/>
            </p:nvSpPr>
            <p:spPr>
              <a:xfrm flipH="1">
                <a:off x="771932" y="2082340"/>
                <a:ext cx="375515" cy="331337"/>
              </a:xfrm>
              <a:prstGeom prst="round2Diag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微软雅黑" pitchFamily="34" charset="-122"/>
                  <a:ea typeface="微软雅黑" pitchFamily="34" charset="-122"/>
                </a:endParaRPr>
              </a:p>
            </p:txBody>
          </p:sp>
          <p:sp>
            <p:nvSpPr>
              <p:cNvPr id="29" name="Round Diagonal Corner Rectangle 28"/>
              <p:cNvSpPr/>
              <p:nvPr/>
            </p:nvSpPr>
            <p:spPr>
              <a:xfrm flipH="1">
                <a:off x="333034" y="1700152"/>
                <a:ext cx="375515" cy="331337"/>
              </a:xfrm>
              <a:prstGeom prst="round2Diag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微软雅黑" pitchFamily="34" charset="-122"/>
                  <a:ea typeface="微软雅黑" pitchFamily="34" charset="-122"/>
                </a:endParaRPr>
              </a:p>
            </p:txBody>
          </p:sp>
          <p:sp>
            <p:nvSpPr>
              <p:cNvPr id="30" name="Round Diagonal Corner Rectangle 29"/>
              <p:cNvSpPr/>
              <p:nvPr/>
            </p:nvSpPr>
            <p:spPr>
              <a:xfrm flipH="1">
                <a:off x="771932" y="1700152"/>
                <a:ext cx="375515" cy="331337"/>
              </a:xfrm>
              <a:prstGeom prst="round2Diag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微软雅黑" pitchFamily="34" charset="-122"/>
                  <a:ea typeface="微软雅黑" pitchFamily="34" charset="-122"/>
                </a:endParaRPr>
              </a:p>
            </p:txBody>
          </p:sp>
          <p:grpSp>
            <p:nvGrpSpPr>
              <p:cNvPr id="31" name="Group 30"/>
              <p:cNvGrpSpPr/>
              <p:nvPr/>
            </p:nvGrpSpPr>
            <p:grpSpPr>
              <a:xfrm>
                <a:off x="352625" y="1800614"/>
                <a:ext cx="325528" cy="130412"/>
                <a:chOff x="4486275" y="1470264"/>
                <a:chExt cx="1541463" cy="617538"/>
              </a:xfrm>
              <a:solidFill>
                <a:schemeClr val="bg1"/>
              </a:solidFill>
            </p:grpSpPr>
            <p:sp>
              <p:nvSpPr>
                <p:cNvPr id="44" name="Freeform 43"/>
                <p:cNvSpPr>
                  <a:spLocks/>
                </p:cNvSpPr>
                <p:nvPr/>
              </p:nvSpPr>
              <p:spPr bwMode="auto">
                <a:xfrm>
                  <a:off x="4686300" y="1752839"/>
                  <a:ext cx="1143000" cy="334963"/>
                </a:xfrm>
                <a:custGeom>
                  <a:avLst/>
                  <a:gdLst>
                    <a:gd name="T0" fmla="*/ 304 w 304"/>
                    <a:gd name="T1" fmla="*/ 61 h 89"/>
                    <a:gd name="T2" fmla="*/ 276 w 304"/>
                    <a:gd name="T3" fmla="*/ 89 h 89"/>
                    <a:gd name="T4" fmla="*/ 152 w 304"/>
                    <a:gd name="T5" fmla="*/ 39 h 89"/>
                    <a:gd name="T6" fmla="*/ 28 w 304"/>
                    <a:gd name="T7" fmla="*/ 89 h 89"/>
                    <a:gd name="T8" fmla="*/ 0 w 304"/>
                    <a:gd name="T9" fmla="*/ 61 h 89"/>
                    <a:gd name="T10" fmla="*/ 152 w 304"/>
                    <a:gd name="T11" fmla="*/ 0 h 89"/>
                    <a:gd name="T12" fmla="*/ 304 w 304"/>
                    <a:gd name="T13" fmla="*/ 61 h 89"/>
                  </a:gdLst>
                  <a:ahLst/>
                  <a:cxnLst>
                    <a:cxn ang="0">
                      <a:pos x="T0" y="T1"/>
                    </a:cxn>
                    <a:cxn ang="0">
                      <a:pos x="T2" y="T3"/>
                    </a:cxn>
                    <a:cxn ang="0">
                      <a:pos x="T4" y="T5"/>
                    </a:cxn>
                    <a:cxn ang="0">
                      <a:pos x="T6" y="T7"/>
                    </a:cxn>
                    <a:cxn ang="0">
                      <a:pos x="T8" y="T9"/>
                    </a:cxn>
                    <a:cxn ang="0">
                      <a:pos x="T10" y="T11"/>
                    </a:cxn>
                    <a:cxn ang="0">
                      <a:pos x="T12" y="T13"/>
                    </a:cxn>
                  </a:cxnLst>
                  <a:rect l="0" t="0" r="r" b="b"/>
                  <a:pathLst>
                    <a:path w="304" h="89">
                      <a:moveTo>
                        <a:pt x="304" y="61"/>
                      </a:moveTo>
                      <a:cubicBezTo>
                        <a:pt x="276" y="89"/>
                        <a:pt x="276" y="89"/>
                        <a:pt x="276" y="89"/>
                      </a:cubicBezTo>
                      <a:cubicBezTo>
                        <a:pt x="244" y="58"/>
                        <a:pt x="200" y="39"/>
                        <a:pt x="152" y="39"/>
                      </a:cubicBezTo>
                      <a:cubicBezTo>
                        <a:pt x="104" y="39"/>
                        <a:pt x="60" y="58"/>
                        <a:pt x="28" y="89"/>
                      </a:cubicBezTo>
                      <a:cubicBezTo>
                        <a:pt x="0" y="61"/>
                        <a:pt x="0" y="61"/>
                        <a:pt x="0" y="61"/>
                      </a:cubicBezTo>
                      <a:cubicBezTo>
                        <a:pt x="40" y="23"/>
                        <a:pt x="93" y="0"/>
                        <a:pt x="152" y="0"/>
                      </a:cubicBezTo>
                      <a:cubicBezTo>
                        <a:pt x="211" y="0"/>
                        <a:pt x="264" y="23"/>
                        <a:pt x="304" y="61"/>
                      </a:cubicBezTo>
                    </a:path>
                  </a:pathLst>
                </a:custGeom>
                <a:grpFill/>
                <a:ln>
                  <a:no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45" name="Freeform 44"/>
                <p:cNvSpPr>
                  <a:spLocks/>
                </p:cNvSpPr>
                <p:nvPr/>
              </p:nvSpPr>
              <p:spPr bwMode="auto">
                <a:xfrm>
                  <a:off x="4486275" y="1470264"/>
                  <a:ext cx="1541463" cy="417513"/>
                </a:xfrm>
                <a:custGeom>
                  <a:avLst/>
                  <a:gdLst>
                    <a:gd name="T0" fmla="*/ 410 w 410"/>
                    <a:gd name="T1" fmla="*/ 83 h 111"/>
                    <a:gd name="T2" fmla="*/ 205 w 410"/>
                    <a:gd name="T3" fmla="*/ 0 h 111"/>
                    <a:gd name="T4" fmla="*/ 0 w 410"/>
                    <a:gd name="T5" fmla="*/ 83 h 111"/>
                    <a:gd name="T6" fmla="*/ 27 w 410"/>
                    <a:gd name="T7" fmla="*/ 110 h 111"/>
                    <a:gd name="T8" fmla="*/ 205 w 410"/>
                    <a:gd name="T9" fmla="*/ 39 h 111"/>
                    <a:gd name="T10" fmla="*/ 382 w 410"/>
                    <a:gd name="T11" fmla="*/ 111 h 111"/>
                    <a:gd name="T12" fmla="*/ 410 w 410"/>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410" h="111">
                      <a:moveTo>
                        <a:pt x="410" y="83"/>
                      </a:moveTo>
                      <a:cubicBezTo>
                        <a:pt x="357" y="32"/>
                        <a:pt x="284" y="0"/>
                        <a:pt x="205" y="0"/>
                      </a:cubicBezTo>
                      <a:cubicBezTo>
                        <a:pt x="125" y="0"/>
                        <a:pt x="53" y="31"/>
                        <a:pt x="0" y="83"/>
                      </a:cubicBezTo>
                      <a:cubicBezTo>
                        <a:pt x="27" y="110"/>
                        <a:pt x="27" y="110"/>
                        <a:pt x="27" y="110"/>
                      </a:cubicBezTo>
                      <a:cubicBezTo>
                        <a:pt x="73" y="66"/>
                        <a:pt x="136" y="39"/>
                        <a:pt x="205" y="39"/>
                      </a:cubicBezTo>
                      <a:cubicBezTo>
                        <a:pt x="274" y="39"/>
                        <a:pt x="336" y="66"/>
                        <a:pt x="382" y="111"/>
                      </a:cubicBezTo>
                      <a:lnTo>
                        <a:pt x="410" y="83"/>
                      </a:lnTo>
                      <a:close/>
                    </a:path>
                  </a:pathLst>
                </a:custGeom>
                <a:grpFill/>
                <a:ln>
                  <a:no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grpSp>
          <p:sp>
            <p:nvSpPr>
              <p:cNvPr id="32" name="Freeform 31"/>
              <p:cNvSpPr>
                <a:spLocks noEditPoints="1"/>
              </p:cNvSpPr>
              <p:nvPr/>
            </p:nvSpPr>
            <p:spPr bwMode="auto">
              <a:xfrm>
                <a:off x="811556" y="1765033"/>
                <a:ext cx="282566" cy="201573"/>
              </a:xfrm>
              <a:custGeom>
                <a:avLst/>
                <a:gdLst>
                  <a:gd name="T0" fmla="*/ 348 w 396"/>
                  <a:gd name="T1" fmla="*/ 0 h 282"/>
                  <a:gd name="T2" fmla="*/ 252 w 396"/>
                  <a:gd name="T3" fmla="*/ 0 h 282"/>
                  <a:gd name="T4" fmla="*/ 242 w 396"/>
                  <a:gd name="T5" fmla="*/ 0 h 282"/>
                  <a:gd name="T6" fmla="*/ 236 w 396"/>
                  <a:gd name="T7" fmla="*/ 7 h 282"/>
                  <a:gd name="T8" fmla="*/ 200 w 396"/>
                  <a:gd name="T9" fmla="*/ 42 h 282"/>
                  <a:gd name="T10" fmla="*/ 24 w 396"/>
                  <a:gd name="T11" fmla="*/ 42 h 282"/>
                  <a:gd name="T12" fmla="*/ 0 w 396"/>
                  <a:gd name="T13" fmla="*/ 42 h 282"/>
                  <a:gd name="T14" fmla="*/ 0 w 396"/>
                  <a:gd name="T15" fmla="*/ 66 h 282"/>
                  <a:gd name="T16" fmla="*/ 0 w 396"/>
                  <a:gd name="T17" fmla="*/ 254 h 282"/>
                  <a:gd name="T18" fmla="*/ 22 w 396"/>
                  <a:gd name="T19" fmla="*/ 281 h 282"/>
                  <a:gd name="T20" fmla="*/ 24 w 396"/>
                  <a:gd name="T21" fmla="*/ 281 h 282"/>
                  <a:gd name="T22" fmla="*/ 28 w 396"/>
                  <a:gd name="T23" fmla="*/ 282 h 282"/>
                  <a:gd name="T24" fmla="*/ 372 w 396"/>
                  <a:gd name="T25" fmla="*/ 282 h 282"/>
                  <a:gd name="T26" fmla="*/ 396 w 396"/>
                  <a:gd name="T27" fmla="*/ 282 h 282"/>
                  <a:gd name="T28" fmla="*/ 396 w 396"/>
                  <a:gd name="T29" fmla="*/ 282 h 282"/>
                  <a:gd name="T30" fmla="*/ 396 w 396"/>
                  <a:gd name="T31" fmla="*/ 258 h 282"/>
                  <a:gd name="T32" fmla="*/ 396 w 396"/>
                  <a:gd name="T33" fmla="*/ 258 h 282"/>
                  <a:gd name="T34" fmla="*/ 396 w 396"/>
                  <a:gd name="T35" fmla="*/ 90 h 282"/>
                  <a:gd name="T36" fmla="*/ 396 w 396"/>
                  <a:gd name="T37" fmla="*/ 48 h 282"/>
                  <a:gd name="T38" fmla="*/ 348 w 396"/>
                  <a:gd name="T39" fmla="*/ 0 h 282"/>
                  <a:gd name="T40" fmla="*/ 210 w 396"/>
                  <a:gd name="T41" fmla="*/ 66 h 282"/>
                  <a:gd name="T42" fmla="*/ 252 w 396"/>
                  <a:gd name="T43" fmla="*/ 24 h 282"/>
                  <a:gd name="T44" fmla="*/ 348 w 396"/>
                  <a:gd name="T45" fmla="*/ 24 h 282"/>
                  <a:gd name="T46" fmla="*/ 372 w 396"/>
                  <a:gd name="T47" fmla="*/ 48 h 282"/>
                  <a:gd name="T48" fmla="*/ 372 w 396"/>
                  <a:gd name="T49" fmla="*/ 90 h 282"/>
                  <a:gd name="T50" fmla="*/ 72 w 396"/>
                  <a:gd name="T51" fmla="*/ 90 h 282"/>
                  <a:gd name="T52" fmla="*/ 60 w 396"/>
                  <a:gd name="T53" fmla="*/ 99 h 282"/>
                  <a:gd name="T54" fmla="*/ 24 w 396"/>
                  <a:gd name="T55" fmla="*/ 227 h 282"/>
                  <a:gd name="T56" fmla="*/ 24 w 396"/>
                  <a:gd name="T57" fmla="*/ 66 h 282"/>
                  <a:gd name="T58" fmla="*/ 210 w 396"/>
                  <a:gd name="T59" fmla="*/ 66 h 282"/>
                  <a:gd name="T60" fmla="*/ 39 w 396"/>
                  <a:gd name="T61" fmla="*/ 258 h 282"/>
                  <a:gd name="T62" fmla="*/ 81 w 396"/>
                  <a:gd name="T63" fmla="*/ 114 h 282"/>
                  <a:gd name="T64" fmla="*/ 372 w 396"/>
                  <a:gd name="T65" fmla="*/ 114 h 282"/>
                  <a:gd name="T66" fmla="*/ 372 w 396"/>
                  <a:gd name="T67" fmla="*/ 258 h 282"/>
                  <a:gd name="T68" fmla="*/ 39 w 396"/>
                  <a:gd name="T69" fmla="*/ 258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6" h="282">
                    <a:moveTo>
                      <a:pt x="348" y="0"/>
                    </a:moveTo>
                    <a:cubicBezTo>
                      <a:pt x="252" y="0"/>
                      <a:pt x="252" y="0"/>
                      <a:pt x="252" y="0"/>
                    </a:cubicBezTo>
                    <a:cubicBezTo>
                      <a:pt x="242" y="0"/>
                      <a:pt x="242" y="0"/>
                      <a:pt x="242" y="0"/>
                    </a:cubicBezTo>
                    <a:cubicBezTo>
                      <a:pt x="236" y="7"/>
                      <a:pt x="236" y="7"/>
                      <a:pt x="236" y="7"/>
                    </a:cubicBezTo>
                    <a:cubicBezTo>
                      <a:pt x="200" y="42"/>
                      <a:pt x="200" y="42"/>
                      <a:pt x="200" y="42"/>
                    </a:cubicBezTo>
                    <a:cubicBezTo>
                      <a:pt x="24" y="42"/>
                      <a:pt x="24" y="42"/>
                      <a:pt x="24" y="42"/>
                    </a:cubicBezTo>
                    <a:cubicBezTo>
                      <a:pt x="0" y="42"/>
                      <a:pt x="0" y="42"/>
                      <a:pt x="0" y="42"/>
                    </a:cubicBezTo>
                    <a:cubicBezTo>
                      <a:pt x="0" y="66"/>
                      <a:pt x="0" y="66"/>
                      <a:pt x="0" y="66"/>
                    </a:cubicBezTo>
                    <a:cubicBezTo>
                      <a:pt x="0" y="254"/>
                      <a:pt x="0" y="254"/>
                      <a:pt x="0" y="254"/>
                    </a:cubicBezTo>
                    <a:cubicBezTo>
                      <a:pt x="0" y="268"/>
                      <a:pt x="10" y="279"/>
                      <a:pt x="22" y="281"/>
                    </a:cubicBezTo>
                    <a:cubicBezTo>
                      <a:pt x="23" y="281"/>
                      <a:pt x="23" y="281"/>
                      <a:pt x="24" y="281"/>
                    </a:cubicBezTo>
                    <a:cubicBezTo>
                      <a:pt x="25" y="282"/>
                      <a:pt x="26" y="282"/>
                      <a:pt x="28" y="282"/>
                    </a:cubicBezTo>
                    <a:cubicBezTo>
                      <a:pt x="372" y="282"/>
                      <a:pt x="372" y="282"/>
                      <a:pt x="372" y="282"/>
                    </a:cubicBezTo>
                    <a:cubicBezTo>
                      <a:pt x="396" y="282"/>
                      <a:pt x="396" y="282"/>
                      <a:pt x="396" y="282"/>
                    </a:cubicBezTo>
                    <a:cubicBezTo>
                      <a:pt x="396" y="282"/>
                      <a:pt x="396" y="282"/>
                      <a:pt x="396" y="282"/>
                    </a:cubicBezTo>
                    <a:cubicBezTo>
                      <a:pt x="396" y="258"/>
                      <a:pt x="396" y="258"/>
                      <a:pt x="396" y="258"/>
                    </a:cubicBezTo>
                    <a:cubicBezTo>
                      <a:pt x="396" y="258"/>
                      <a:pt x="396" y="258"/>
                      <a:pt x="396" y="258"/>
                    </a:cubicBezTo>
                    <a:cubicBezTo>
                      <a:pt x="396" y="90"/>
                      <a:pt x="396" y="90"/>
                      <a:pt x="396" y="90"/>
                    </a:cubicBezTo>
                    <a:cubicBezTo>
                      <a:pt x="396" y="48"/>
                      <a:pt x="396" y="48"/>
                      <a:pt x="396" y="48"/>
                    </a:cubicBezTo>
                    <a:cubicBezTo>
                      <a:pt x="396" y="15"/>
                      <a:pt x="381" y="0"/>
                      <a:pt x="348" y="0"/>
                    </a:cubicBezTo>
                    <a:moveTo>
                      <a:pt x="210" y="66"/>
                    </a:moveTo>
                    <a:cubicBezTo>
                      <a:pt x="252" y="24"/>
                      <a:pt x="252" y="24"/>
                      <a:pt x="252" y="24"/>
                    </a:cubicBezTo>
                    <a:cubicBezTo>
                      <a:pt x="348" y="24"/>
                      <a:pt x="348" y="24"/>
                      <a:pt x="348" y="24"/>
                    </a:cubicBezTo>
                    <a:cubicBezTo>
                      <a:pt x="368" y="24"/>
                      <a:pt x="372" y="28"/>
                      <a:pt x="372" y="48"/>
                    </a:cubicBezTo>
                    <a:cubicBezTo>
                      <a:pt x="372" y="90"/>
                      <a:pt x="372" y="90"/>
                      <a:pt x="372" y="90"/>
                    </a:cubicBezTo>
                    <a:cubicBezTo>
                      <a:pt x="72" y="90"/>
                      <a:pt x="72" y="90"/>
                      <a:pt x="72" y="90"/>
                    </a:cubicBezTo>
                    <a:cubicBezTo>
                      <a:pt x="66" y="90"/>
                      <a:pt x="62" y="94"/>
                      <a:pt x="60" y="99"/>
                    </a:cubicBezTo>
                    <a:cubicBezTo>
                      <a:pt x="24" y="227"/>
                      <a:pt x="24" y="227"/>
                      <a:pt x="24" y="227"/>
                    </a:cubicBezTo>
                    <a:cubicBezTo>
                      <a:pt x="24" y="66"/>
                      <a:pt x="24" y="66"/>
                      <a:pt x="24" y="66"/>
                    </a:cubicBezTo>
                    <a:lnTo>
                      <a:pt x="210" y="66"/>
                    </a:lnTo>
                    <a:close/>
                    <a:moveTo>
                      <a:pt x="39" y="258"/>
                    </a:moveTo>
                    <a:cubicBezTo>
                      <a:pt x="81" y="114"/>
                      <a:pt x="81" y="114"/>
                      <a:pt x="81" y="114"/>
                    </a:cubicBezTo>
                    <a:cubicBezTo>
                      <a:pt x="372" y="114"/>
                      <a:pt x="372" y="114"/>
                      <a:pt x="372" y="114"/>
                    </a:cubicBezTo>
                    <a:cubicBezTo>
                      <a:pt x="372" y="258"/>
                      <a:pt x="372" y="258"/>
                      <a:pt x="372" y="258"/>
                    </a:cubicBezTo>
                    <a:lnTo>
                      <a:pt x="39" y="258"/>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grpSp>
            <p:nvGrpSpPr>
              <p:cNvPr id="33" name="Group 32"/>
              <p:cNvGrpSpPr/>
              <p:nvPr/>
            </p:nvGrpSpPr>
            <p:grpSpPr>
              <a:xfrm>
                <a:off x="373490" y="2148383"/>
                <a:ext cx="327044" cy="219998"/>
                <a:chOff x="9001127" y="114300"/>
                <a:chExt cx="1493837" cy="1004887"/>
              </a:xfrm>
              <a:solidFill>
                <a:schemeClr val="bg1"/>
              </a:solidFill>
            </p:grpSpPr>
            <p:sp>
              <p:nvSpPr>
                <p:cNvPr id="42" name="Freeform 41"/>
                <p:cNvSpPr>
                  <a:spLocks/>
                </p:cNvSpPr>
                <p:nvPr/>
              </p:nvSpPr>
              <p:spPr bwMode="auto">
                <a:xfrm>
                  <a:off x="9377364" y="563562"/>
                  <a:ext cx="677862" cy="555625"/>
                </a:xfrm>
                <a:custGeom>
                  <a:avLst/>
                  <a:gdLst>
                    <a:gd name="T0" fmla="*/ 161 w 181"/>
                    <a:gd name="T1" fmla="*/ 0 h 148"/>
                    <a:gd name="T2" fmla="*/ 0 w 181"/>
                    <a:gd name="T3" fmla="*/ 0 h 148"/>
                    <a:gd name="T4" fmla="*/ 0 w 181"/>
                    <a:gd name="T5" fmla="*/ 63 h 148"/>
                    <a:gd name="T6" fmla="*/ 13 w 181"/>
                    <a:gd name="T7" fmla="*/ 63 h 148"/>
                    <a:gd name="T8" fmla="*/ 13 w 181"/>
                    <a:gd name="T9" fmla="*/ 44 h 148"/>
                    <a:gd name="T10" fmla="*/ 168 w 181"/>
                    <a:gd name="T11" fmla="*/ 44 h 148"/>
                    <a:gd name="T12" fmla="*/ 168 w 181"/>
                    <a:gd name="T13" fmla="*/ 135 h 148"/>
                    <a:gd name="T14" fmla="*/ 20 w 181"/>
                    <a:gd name="T15" fmla="*/ 135 h 148"/>
                    <a:gd name="T16" fmla="*/ 13 w 181"/>
                    <a:gd name="T17" fmla="*/ 128 h 148"/>
                    <a:gd name="T18" fmla="*/ 13 w 181"/>
                    <a:gd name="T19" fmla="*/ 114 h 148"/>
                    <a:gd name="T20" fmla="*/ 0 w 181"/>
                    <a:gd name="T21" fmla="*/ 114 h 148"/>
                    <a:gd name="T22" fmla="*/ 0 w 181"/>
                    <a:gd name="T23" fmla="*/ 128 h 148"/>
                    <a:gd name="T24" fmla="*/ 20 w 181"/>
                    <a:gd name="T25" fmla="*/ 148 h 148"/>
                    <a:gd name="T26" fmla="*/ 181 w 181"/>
                    <a:gd name="T27" fmla="*/ 148 h 148"/>
                    <a:gd name="T28" fmla="*/ 181 w 181"/>
                    <a:gd name="T29" fmla="*/ 20 h 148"/>
                    <a:gd name="T30" fmla="*/ 161 w 181"/>
                    <a:gd name="T31"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1" h="148">
                      <a:moveTo>
                        <a:pt x="161" y="0"/>
                      </a:moveTo>
                      <a:cubicBezTo>
                        <a:pt x="0" y="0"/>
                        <a:pt x="0" y="0"/>
                        <a:pt x="0" y="0"/>
                      </a:cubicBezTo>
                      <a:cubicBezTo>
                        <a:pt x="0" y="63"/>
                        <a:pt x="0" y="63"/>
                        <a:pt x="0" y="63"/>
                      </a:cubicBezTo>
                      <a:cubicBezTo>
                        <a:pt x="13" y="63"/>
                        <a:pt x="13" y="63"/>
                        <a:pt x="13" y="63"/>
                      </a:cubicBezTo>
                      <a:cubicBezTo>
                        <a:pt x="13" y="44"/>
                        <a:pt x="13" y="44"/>
                        <a:pt x="13" y="44"/>
                      </a:cubicBezTo>
                      <a:cubicBezTo>
                        <a:pt x="168" y="44"/>
                        <a:pt x="168" y="44"/>
                        <a:pt x="168" y="44"/>
                      </a:cubicBezTo>
                      <a:cubicBezTo>
                        <a:pt x="168" y="135"/>
                        <a:pt x="168" y="135"/>
                        <a:pt x="168" y="135"/>
                      </a:cubicBezTo>
                      <a:cubicBezTo>
                        <a:pt x="20" y="135"/>
                        <a:pt x="20" y="135"/>
                        <a:pt x="20" y="135"/>
                      </a:cubicBezTo>
                      <a:cubicBezTo>
                        <a:pt x="16" y="135"/>
                        <a:pt x="13" y="132"/>
                        <a:pt x="13" y="128"/>
                      </a:cubicBezTo>
                      <a:cubicBezTo>
                        <a:pt x="13" y="114"/>
                        <a:pt x="13" y="114"/>
                        <a:pt x="13" y="114"/>
                      </a:cubicBezTo>
                      <a:cubicBezTo>
                        <a:pt x="0" y="114"/>
                        <a:pt x="0" y="114"/>
                        <a:pt x="0" y="114"/>
                      </a:cubicBezTo>
                      <a:cubicBezTo>
                        <a:pt x="0" y="128"/>
                        <a:pt x="0" y="128"/>
                        <a:pt x="0" y="128"/>
                      </a:cubicBezTo>
                      <a:cubicBezTo>
                        <a:pt x="0" y="139"/>
                        <a:pt x="9" y="148"/>
                        <a:pt x="20" y="148"/>
                      </a:cubicBezTo>
                      <a:cubicBezTo>
                        <a:pt x="181" y="148"/>
                        <a:pt x="181" y="148"/>
                        <a:pt x="181" y="148"/>
                      </a:cubicBezTo>
                      <a:cubicBezTo>
                        <a:pt x="181" y="20"/>
                        <a:pt x="181" y="20"/>
                        <a:pt x="181" y="20"/>
                      </a:cubicBezTo>
                      <a:cubicBezTo>
                        <a:pt x="181" y="9"/>
                        <a:pt x="172" y="0"/>
                        <a:pt x="1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43" name="Freeform 42"/>
                <p:cNvSpPr>
                  <a:spLocks/>
                </p:cNvSpPr>
                <p:nvPr/>
              </p:nvSpPr>
              <p:spPr bwMode="auto">
                <a:xfrm>
                  <a:off x="9001127" y="114300"/>
                  <a:ext cx="1493837" cy="892175"/>
                </a:xfrm>
                <a:custGeom>
                  <a:avLst/>
                  <a:gdLst>
                    <a:gd name="T0" fmla="*/ 370 w 398"/>
                    <a:gd name="T1" fmla="*/ 128 h 238"/>
                    <a:gd name="T2" fmla="*/ 356 w 398"/>
                    <a:gd name="T3" fmla="*/ 125 h 238"/>
                    <a:gd name="T4" fmla="*/ 311 w 398"/>
                    <a:gd name="T5" fmla="*/ 69 h 238"/>
                    <a:gd name="T6" fmla="*/ 280 w 398"/>
                    <a:gd name="T7" fmla="*/ 63 h 238"/>
                    <a:gd name="T8" fmla="*/ 258 w 398"/>
                    <a:gd name="T9" fmla="*/ 66 h 238"/>
                    <a:gd name="T10" fmla="*/ 205 w 398"/>
                    <a:gd name="T11" fmla="*/ 8 h 238"/>
                    <a:gd name="T12" fmla="*/ 167 w 398"/>
                    <a:gd name="T13" fmla="*/ 0 h 238"/>
                    <a:gd name="T14" fmla="*/ 78 w 398"/>
                    <a:gd name="T15" fmla="*/ 58 h 238"/>
                    <a:gd name="T16" fmla="*/ 73 w 398"/>
                    <a:gd name="T17" fmla="*/ 74 h 238"/>
                    <a:gd name="T18" fmla="*/ 72 w 398"/>
                    <a:gd name="T19" fmla="*/ 74 h 238"/>
                    <a:gd name="T20" fmla="*/ 6 w 398"/>
                    <a:gd name="T21" fmla="*/ 117 h 238"/>
                    <a:gd name="T22" fmla="*/ 0 w 398"/>
                    <a:gd name="T23" fmla="*/ 146 h 238"/>
                    <a:gd name="T24" fmla="*/ 44 w 398"/>
                    <a:gd name="T25" fmla="*/ 212 h 238"/>
                    <a:gd name="T26" fmla="*/ 72 w 398"/>
                    <a:gd name="T27" fmla="*/ 218 h 238"/>
                    <a:gd name="T28" fmla="*/ 72 w 398"/>
                    <a:gd name="T29" fmla="*/ 218 h 238"/>
                    <a:gd name="T30" fmla="*/ 164 w 398"/>
                    <a:gd name="T31" fmla="*/ 218 h 238"/>
                    <a:gd name="T32" fmla="*/ 164 w 398"/>
                    <a:gd name="T33" fmla="*/ 222 h 238"/>
                    <a:gd name="T34" fmla="*/ 164 w 398"/>
                    <a:gd name="T35" fmla="*/ 230 h 238"/>
                    <a:gd name="T36" fmla="*/ 172 w 398"/>
                    <a:gd name="T37" fmla="*/ 236 h 238"/>
                    <a:gd name="T38" fmla="*/ 211 w 398"/>
                    <a:gd name="T39" fmla="*/ 214 h 238"/>
                    <a:gd name="T40" fmla="*/ 211 w 398"/>
                    <a:gd name="T41" fmla="*/ 205 h 238"/>
                    <a:gd name="T42" fmla="*/ 172 w 398"/>
                    <a:gd name="T43" fmla="*/ 183 h 238"/>
                    <a:gd name="T44" fmla="*/ 164 w 398"/>
                    <a:gd name="T45" fmla="*/ 188 h 238"/>
                    <a:gd name="T46" fmla="*/ 164 w 398"/>
                    <a:gd name="T47" fmla="*/ 197 h 238"/>
                    <a:gd name="T48" fmla="*/ 164 w 398"/>
                    <a:gd name="T49" fmla="*/ 200 h 238"/>
                    <a:gd name="T50" fmla="*/ 72 w 398"/>
                    <a:gd name="T51" fmla="*/ 200 h 238"/>
                    <a:gd name="T52" fmla="*/ 72 w 398"/>
                    <a:gd name="T53" fmla="*/ 200 h 238"/>
                    <a:gd name="T54" fmla="*/ 51 w 398"/>
                    <a:gd name="T55" fmla="*/ 195 h 238"/>
                    <a:gd name="T56" fmla="*/ 19 w 398"/>
                    <a:gd name="T57" fmla="*/ 146 h 238"/>
                    <a:gd name="T58" fmla="*/ 23 w 398"/>
                    <a:gd name="T59" fmla="*/ 125 h 238"/>
                    <a:gd name="T60" fmla="*/ 72 w 398"/>
                    <a:gd name="T61" fmla="*/ 92 h 238"/>
                    <a:gd name="T62" fmla="*/ 80 w 398"/>
                    <a:gd name="T63" fmla="*/ 93 h 238"/>
                    <a:gd name="T64" fmla="*/ 89 w 398"/>
                    <a:gd name="T65" fmla="*/ 94 h 238"/>
                    <a:gd name="T66" fmla="*/ 90 w 398"/>
                    <a:gd name="T67" fmla="*/ 85 h 238"/>
                    <a:gd name="T68" fmla="*/ 96 w 398"/>
                    <a:gd name="T69" fmla="*/ 66 h 238"/>
                    <a:gd name="T70" fmla="*/ 167 w 398"/>
                    <a:gd name="T71" fmla="*/ 19 h 238"/>
                    <a:gd name="T72" fmla="*/ 198 w 398"/>
                    <a:gd name="T73" fmla="*/ 25 h 238"/>
                    <a:gd name="T74" fmla="*/ 243 w 398"/>
                    <a:gd name="T75" fmla="*/ 80 h 238"/>
                    <a:gd name="T76" fmla="*/ 245 w 398"/>
                    <a:gd name="T77" fmla="*/ 91 h 238"/>
                    <a:gd name="T78" fmla="*/ 256 w 398"/>
                    <a:gd name="T79" fmla="*/ 87 h 238"/>
                    <a:gd name="T80" fmla="*/ 280 w 398"/>
                    <a:gd name="T81" fmla="*/ 81 h 238"/>
                    <a:gd name="T82" fmla="*/ 304 w 398"/>
                    <a:gd name="T83" fmla="*/ 86 h 238"/>
                    <a:gd name="T84" fmla="*/ 339 w 398"/>
                    <a:gd name="T85" fmla="*/ 135 h 238"/>
                    <a:gd name="T86" fmla="*/ 340 w 398"/>
                    <a:gd name="T87" fmla="*/ 144 h 238"/>
                    <a:gd name="T88" fmla="*/ 349 w 398"/>
                    <a:gd name="T89" fmla="*/ 143 h 238"/>
                    <a:gd name="T90" fmla="*/ 352 w 398"/>
                    <a:gd name="T91" fmla="*/ 143 h 238"/>
                    <a:gd name="T92" fmla="*/ 362 w 398"/>
                    <a:gd name="T93" fmla="*/ 145 h 238"/>
                    <a:gd name="T94" fmla="*/ 362 w 398"/>
                    <a:gd name="T95" fmla="*/ 145 h 238"/>
                    <a:gd name="T96" fmla="*/ 379 w 398"/>
                    <a:gd name="T97" fmla="*/ 171 h 238"/>
                    <a:gd name="T98" fmla="*/ 377 w 398"/>
                    <a:gd name="T99" fmla="*/ 182 h 238"/>
                    <a:gd name="T100" fmla="*/ 354 w 398"/>
                    <a:gd name="T101" fmla="*/ 200 h 238"/>
                    <a:gd name="T102" fmla="*/ 297 w 398"/>
                    <a:gd name="T103" fmla="*/ 200 h 238"/>
                    <a:gd name="T104" fmla="*/ 297 w 398"/>
                    <a:gd name="T105" fmla="*/ 218 h 238"/>
                    <a:gd name="T106" fmla="*/ 355 w 398"/>
                    <a:gd name="T107" fmla="*/ 218 h 238"/>
                    <a:gd name="T108" fmla="*/ 356 w 398"/>
                    <a:gd name="T109" fmla="*/ 218 h 238"/>
                    <a:gd name="T110" fmla="*/ 394 w 398"/>
                    <a:gd name="T111" fmla="*/ 190 h 238"/>
                    <a:gd name="T112" fmla="*/ 398 w 398"/>
                    <a:gd name="T113" fmla="*/ 171 h 238"/>
                    <a:gd name="T114" fmla="*/ 370 w 398"/>
                    <a:gd name="T115" fmla="*/ 1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8" h="238">
                      <a:moveTo>
                        <a:pt x="370" y="128"/>
                      </a:moveTo>
                      <a:cubicBezTo>
                        <a:pt x="365" y="126"/>
                        <a:pt x="361" y="125"/>
                        <a:pt x="356" y="125"/>
                      </a:cubicBezTo>
                      <a:cubicBezTo>
                        <a:pt x="352" y="101"/>
                        <a:pt x="335" y="79"/>
                        <a:pt x="311" y="69"/>
                      </a:cubicBezTo>
                      <a:cubicBezTo>
                        <a:pt x="301" y="65"/>
                        <a:pt x="291" y="63"/>
                        <a:pt x="280" y="63"/>
                      </a:cubicBezTo>
                      <a:cubicBezTo>
                        <a:pt x="273" y="63"/>
                        <a:pt x="265" y="64"/>
                        <a:pt x="258" y="66"/>
                      </a:cubicBezTo>
                      <a:cubicBezTo>
                        <a:pt x="250" y="41"/>
                        <a:pt x="231" y="19"/>
                        <a:pt x="205" y="8"/>
                      </a:cubicBezTo>
                      <a:cubicBezTo>
                        <a:pt x="193" y="3"/>
                        <a:pt x="180" y="0"/>
                        <a:pt x="167" y="0"/>
                      </a:cubicBezTo>
                      <a:cubicBezTo>
                        <a:pt x="130" y="0"/>
                        <a:pt x="94" y="22"/>
                        <a:pt x="78" y="58"/>
                      </a:cubicBezTo>
                      <a:cubicBezTo>
                        <a:pt x="76" y="63"/>
                        <a:pt x="74" y="68"/>
                        <a:pt x="73" y="74"/>
                      </a:cubicBezTo>
                      <a:cubicBezTo>
                        <a:pt x="73" y="74"/>
                        <a:pt x="73" y="74"/>
                        <a:pt x="72" y="74"/>
                      </a:cubicBezTo>
                      <a:cubicBezTo>
                        <a:pt x="45" y="74"/>
                        <a:pt x="18" y="90"/>
                        <a:pt x="6" y="117"/>
                      </a:cubicBezTo>
                      <a:cubicBezTo>
                        <a:pt x="2" y="127"/>
                        <a:pt x="0" y="136"/>
                        <a:pt x="0" y="146"/>
                      </a:cubicBezTo>
                      <a:cubicBezTo>
                        <a:pt x="0" y="174"/>
                        <a:pt x="16" y="200"/>
                        <a:pt x="44" y="212"/>
                      </a:cubicBezTo>
                      <a:cubicBezTo>
                        <a:pt x="53" y="216"/>
                        <a:pt x="63" y="218"/>
                        <a:pt x="72" y="218"/>
                      </a:cubicBezTo>
                      <a:cubicBezTo>
                        <a:pt x="72" y="218"/>
                        <a:pt x="72" y="218"/>
                        <a:pt x="72" y="218"/>
                      </a:cubicBezTo>
                      <a:cubicBezTo>
                        <a:pt x="164" y="218"/>
                        <a:pt x="164" y="218"/>
                        <a:pt x="164" y="218"/>
                      </a:cubicBezTo>
                      <a:cubicBezTo>
                        <a:pt x="164" y="222"/>
                        <a:pt x="164" y="222"/>
                        <a:pt x="164" y="222"/>
                      </a:cubicBezTo>
                      <a:cubicBezTo>
                        <a:pt x="164" y="230"/>
                        <a:pt x="164" y="230"/>
                        <a:pt x="164" y="230"/>
                      </a:cubicBezTo>
                      <a:cubicBezTo>
                        <a:pt x="164" y="236"/>
                        <a:pt x="168" y="238"/>
                        <a:pt x="172" y="236"/>
                      </a:cubicBezTo>
                      <a:cubicBezTo>
                        <a:pt x="211" y="214"/>
                        <a:pt x="211" y="214"/>
                        <a:pt x="211" y="214"/>
                      </a:cubicBezTo>
                      <a:cubicBezTo>
                        <a:pt x="216" y="211"/>
                        <a:pt x="216" y="207"/>
                        <a:pt x="211" y="205"/>
                      </a:cubicBezTo>
                      <a:cubicBezTo>
                        <a:pt x="172" y="183"/>
                        <a:pt x="172" y="183"/>
                        <a:pt x="172" y="183"/>
                      </a:cubicBezTo>
                      <a:cubicBezTo>
                        <a:pt x="168" y="180"/>
                        <a:pt x="164" y="183"/>
                        <a:pt x="164" y="188"/>
                      </a:cubicBezTo>
                      <a:cubicBezTo>
                        <a:pt x="164" y="197"/>
                        <a:pt x="164" y="197"/>
                        <a:pt x="164" y="197"/>
                      </a:cubicBezTo>
                      <a:cubicBezTo>
                        <a:pt x="164" y="200"/>
                        <a:pt x="164" y="200"/>
                        <a:pt x="164" y="200"/>
                      </a:cubicBezTo>
                      <a:cubicBezTo>
                        <a:pt x="72" y="200"/>
                        <a:pt x="72" y="200"/>
                        <a:pt x="72" y="200"/>
                      </a:cubicBezTo>
                      <a:cubicBezTo>
                        <a:pt x="72" y="200"/>
                        <a:pt x="72" y="200"/>
                        <a:pt x="72" y="200"/>
                      </a:cubicBezTo>
                      <a:cubicBezTo>
                        <a:pt x="65" y="200"/>
                        <a:pt x="58" y="198"/>
                        <a:pt x="51" y="195"/>
                      </a:cubicBezTo>
                      <a:cubicBezTo>
                        <a:pt x="31" y="186"/>
                        <a:pt x="19" y="167"/>
                        <a:pt x="19" y="146"/>
                      </a:cubicBezTo>
                      <a:cubicBezTo>
                        <a:pt x="19" y="139"/>
                        <a:pt x="20" y="132"/>
                        <a:pt x="23" y="125"/>
                      </a:cubicBezTo>
                      <a:cubicBezTo>
                        <a:pt x="32" y="104"/>
                        <a:pt x="52" y="92"/>
                        <a:pt x="72" y="92"/>
                      </a:cubicBezTo>
                      <a:cubicBezTo>
                        <a:pt x="75" y="92"/>
                        <a:pt x="77" y="92"/>
                        <a:pt x="80" y="93"/>
                      </a:cubicBezTo>
                      <a:cubicBezTo>
                        <a:pt x="89" y="94"/>
                        <a:pt x="89" y="94"/>
                        <a:pt x="89" y="94"/>
                      </a:cubicBezTo>
                      <a:cubicBezTo>
                        <a:pt x="90" y="85"/>
                        <a:pt x="90" y="85"/>
                        <a:pt x="90" y="85"/>
                      </a:cubicBezTo>
                      <a:cubicBezTo>
                        <a:pt x="91" y="78"/>
                        <a:pt x="93" y="72"/>
                        <a:pt x="96" y="66"/>
                      </a:cubicBezTo>
                      <a:cubicBezTo>
                        <a:pt x="108" y="36"/>
                        <a:pt x="137" y="19"/>
                        <a:pt x="167" y="19"/>
                      </a:cubicBezTo>
                      <a:cubicBezTo>
                        <a:pt x="177" y="19"/>
                        <a:pt x="188" y="21"/>
                        <a:pt x="198" y="25"/>
                      </a:cubicBezTo>
                      <a:cubicBezTo>
                        <a:pt x="222" y="35"/>
                        <a:pt x="238" y="56"/>
                        <a:pt x="243" y="80"/>
                      </a:cubicBezTo>
                      <a:cubicBezTo>
                        <a:pt x="245" y="91"/>
                        <a:pt x="245" y="91"/>
                        <a:pt x="245" y="91"/>
                      </a:cubicBezTo>
                      <a:cubicBezTo>
                        <a:pt x="256" y="87"/>
                        <a:pt x="256" y="87"/>
                        <a:pt x="256" y="87"/>
                      </a:cubicBezTo>
                      <a:cubicBezTo>
                        <a:pt x="263" y="83"/>
                        <a:pt x="272" y="81"/>
                        <a:pt x="280" y="81"/>
                      </a:cubicBezTo>
                      <a:cubicBezTo>
                        <a:pt x="288" y="81"/>
                        <a:pt x="296" y="83"/>
                        <a:pt x="304" y="86"/>
                      </a:cubicBezTo>
                      <a:cubicBezTo>
                        <a:pt x="324" y="95"/>
                        <a:pt x="337" y="114"/>
                        <a:pt x="339" y="135"/>
                      </a:cubicBezTo>
                      <a:cubicBezTo>
                        <a:pt x="340" y="144"/>
                        <a:pt x="340" y="144"/>
                        <a:pt x="340" y="144"/>
                      </a:cubicBezTo>
                      <a:cubicBezTo>
                        <a:pt x="349" y="143"/>
                        <a:pt x="349" y="143"/>
                        <a:pt x="349" y="143"/>
                      </a:cubicBezTo>
                      <a:cubicBezTo>
                        <a:pt x="350" y="143"/>
                        <a:pt x="351" y="143"/>
                        <a:pt x="352" y="143"/>
                      </a:cubicBezTo>
                      <a:cubicBezTo>
                        <a:pt x="355" y="143"/>
                        <a:pt x="359" y="144"/>
                        <a:pt x="362" y="145"/>
                      </a:cubicBezTo>
                      <a:cubicBezTo>
                        <a:pt x="362" y="145"/>
                        <a:pt x="362" y="145"/>
                        <a:pt x="362" y="145"/>
                      </a:cubicBezTo>
                      <a:cubicBezTo>
                        <a:pt x="373" y="150"/>
                        <a:pt x="379" y="160"/>
                        <a:pt x="379" y="171"/>
                      </a:cubicBezTo>
                      <a:cubicBezTo>
                        <a:pt x="379" y="175"/>
                        <a:pt x="379" y="178"/>
                        <a:pt x="377" y="182"/>
                      </a:cubicBezTo>
                      <a:cubicBezTo>
                        <a:pt x="373" y="192"/>
                        <a:pt x="364" y="199"/>
                        <a:pt x="354" y="200"/>
                      </a:cubicBezTo>
                      <a:cubicBezTo>
                        <a:pt x="297" y="200"/>
                        <a:pt x="297" y="200"/>
                        <a:pt x="297" y="200"/>
                      </a:cubicBezTo>
                      <a:cubicBezTo>
                        <a:pt x="297" y="218"/>
                        <a:pt x="297" y="218"/>
                        <a:pt x="297" y="218"/>
                      </a:cubicBezTo>
                      <a:cubicBezTo>
                        <a:pt x="355" y="218"/>
                        <a:pt x="355" y="218"/>
                        <a:pt x="355" y="218"/>
                      </a:cubicBezTo>
                      <a:cubicBezTo>
                        <a:pt x="356" y="218"/>
                        <a:pt x="356" y="218"/>
                        <a:pt x="356" y="218"/>
                      </a:cubicBezTo>
                      <a:cubicBezTo>
                        <a:pt x="373" y="217"/>
                        <a:pt x="387" y="205"/>
                        <a:pt x="394" y="190"/>
                      </a:cubicBezTo>
                      <a:cubicBezTo>
                        <a:pt x="397" y="183"/>
                        <a:pt x="398" y="177"/>
                        <a:pt x="398" y="171"/>
                      </a:cubicBezTo>
                      <a:cubicBezTo>
                        <a:pt x="398" y="153"/>
                        <a:pt x="387" y="136"/>
                        <a:pt x="370" y="1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grpSp>
          <p:grpSp>
            <p:nvGrpSpPr>
              <p:cNvPr id="34" name="Group 33"/>
              <p:cNvGrpSpPr/>
              <p:nvPr/>
            </p:nvGrpSpPr>
            <p:grpSpPr>
              <a:xfrm>
                <a:off x="837367" y="2114131"/>
                <a:ext cx="255551" cy="272840"/>
                <a:chOff x="6754889" y="1016143"/>
                <a:chExt cx="1290638" cy="1377950"/>
              </a:xfrm>
              <a:solidFill>
                <a:schemeClr val="bg1"/>
              </a:solidFill>
            </p:grpSpPr>
            <p:sp>
              <p:nvSpPr>
                <p:cNvPr id="35" name="Line 58"/>
                <p:cNvSpPr>
                  <a:spLocks noChangeShapeType="1"/>
                </p:cNvSpPr>
                <p:nvPr/>
              </p:nvSpPr>
              <p:spPr bwMode="auto">
                <a:xfrm>
                  <a:off x="7054926" y="2273443"/>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36" name="Line 59"/>
                <p:cNvSpPr>
                  <a:spLocks noChangeShapeType="1"/>
                </p:cNvSpPr>
                <p:nvPr/>
              </p:nvSpPr>
              <p:spPr bwMode="auto">
                <a:xfrm>
                  <a:off x="7054926" y="2273443"/>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37" name="Freeform 36"/>
                <p:cNvSpPr>
                  <a:spLocks/>
                </p:cNvSpPr>
                <p:nvPr/>
              </p:nvSpPr>
              <p:spPr bwMode="auto">
                <a:xfrm>
                  <a:off x="7148589" y="2086118"/>
                  <a:ext cx="25400" cy="41275"/>
                </a:xfrm>
                <a:custGeom>
                  <a:avLst/>
                  <a:gdLst>
                    <a:gd name="T0" fmla="*/ 16 w 16"/>
                    <a:gd name="T1" fmla="*/ 0 h 26"/>
                    <a:gd name="T2" fmla="*/ 0 w 16"/>
                    <a:gd name="T3" fmla="*/ 26 h 26"/>
                    <a:gd name="T4" fmla="*/ 16 w 16"/>
                    <a:gd name="T5" fmla="*/ 0 h 26"/>
                  </a:gdLst>
                  <a:ahLst/>
                  <a:cxnLst>
                    <a:cxn ang="0">
                      <a:pos x="T0" y="T1"/>
                    </a:cxn>
                    <a:cxn ang="0">
                      <a:pos x="T2" y="T3"/>
                    </a:cxn>
                    <a:cxn ang="0">
                      <a:pos x="T4" y="T5"/>
                    </a:cxn>
                  </a:cxnLst>
                  <a:rect l="0" t="0" r="r" b="b"/>
                  <a:pathLst>
                    <a:path w="16" h="26">
                      <a:moveTo>
                        <a:pt x="16" y="0"/>
                      </a:moveTo>
                      <a:lnTo>
                        <a:pt x="0" y="26"/>
                      </a:lnTo>
                      <a:lnTo>
                        <a:pt x="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38" name="Line 61"/>
                <p:cNvSpPr>
                  <a:spLocks noChangeShapeType="1"/>
                </p:cNvSpPr>
                <p:nvPr/>
              </p:nvSpPr>
              <p:spPr bwMode="auto">
                <a:xfrm flipH="1">
                  <a:off x="7148589" y="2086118"/>
                  <a:ext cx="25400" cy="41275"/>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39" name="Freeform 38"/>
                <p:cNvSpPr>
                  <a:spLocks/>
                </p:cNvSpPr>
                <p:nvPr/>
              </p:nvSpPr>
              <p:spPr bwMode="auto">
                <a:xfrm>
                  <a:off x="6754889" y="1068531"/>
                  <a:ext cx="638175" cy="1325562"/>
                </a:xfrm>
                <a:custGeom>
                  <a:avLst/>
                  <a:gdLst>
                    <a:gd name="T0" fmla="*/ 166 w 170"/>
                    <a:gd name="T1" fmla="*/ 339 h 353"/>
                    <a:gd name="T2" fmla="*/ 129 w 170"/>
                    <a:gd name="T3" fmla="*/ 271 h 353"/>
                    <a:gd name="T4" fmla="*/ 112 w 170"/>
                    <a:gd name="T5" fmla="*/ 271 h 353"/>
                    <a:gd name="T6" fmla="*/ 102 w 170"/>
                    <a:gd name="T7" fmla="*/ 287 h 353"/>
                    <a:gd name="T8" fmla="*/ 36 w 170"/>
                    <a:gd name="T9" fmla="*/ 170 h 353"/>
                    <a:gd name="T10" fmla="*/ 164 w 170"/>
                    <a:gd name="T11" fmla="*/ 34 h 353"/>
                    <a:gd name="T12" fmla="*/ 146 w 170"/>
                    <a:gd name="T13" fmla="*/ 0 h 353"/>
                    <a:gd name="T14" fmla="*/ 0 w 170"/>
                    <a:gd name="T15" fmla="*/ 170 h 353"/>
                    <a:gd name="T16" fmla="*/ 82 w 170"/>
                    <a:gd name="T17" fmla="*/ 317 h 353"/>
                    <a:gd name="T18" fmla="*/ 80 w 170"/>
                    <a:gd name="T19" fmla="*/ 321 h 353"/>
                    <a:gd name="T20" fmla="*/ 73 w 170"/>
                    <a:gd name="T21" fmla="*/ 332 h 353"/>
                    <a:gd name="T22" fmla="*/ 80 w 170"/>
                    <a:gd name="T23" fmla="*/ 348 h 353"/>
                    <a:gd name="T24" fmla="*/ 157 w 170"/>
                    <a:gd name="T25" fmla="*/ 353 h 353"/>
                    <a:gd name="T26" fmla="*/ 166 w 170"/>
                    <a:gd name="T27" fmla="*/ 339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0" h="353">
                      <a:moveTo>
                        <a:pt x="166" y="339"/>
                      </a:moveTo>
                      <a:cubicBezTo>
                        <a:pt x="129" y="271"/>
                        <a:pt x="129" y="271"/>
                        <a:pt x="129" y="271"/>
                      </a:cubicBezTo>
                      <a:cubicBezTo>
                        <a:pt x="125" y="263"/>
                        <a:pt x="117" y="263"/>
                        <a:pt x="112" y="271"/>
                      </a:cubicBezTo>
                      <a:cubicBezTo>
                        <a:pt x="102" y="287"/>
                        <a:pt x="102" y="287"/>
                        <a:pt x="102" y="287"/>
                      </a:cubicBezTo>
                      <a:cubicBezTo>
                        <a:pt x="63" y="263"/>
                        <a:pt x="36" y="220"/>
                        <a:pt x="36" y="170"/>
                      </a:cubicBezTo>
                      <a:cubicBezTo>
                        <a:pt x="36" y="98"/>
                        <a:pt x="92" y="39"/>
                        <a:pt x="164" y="34"/>
                      </a:cubicBezTo>
                      <a:cubicBezTo>
                        <a:pt x="146" y="0"/>
                        <a:pt x="146" y="0"/>
                        <a:pt x="146" y="0"/>
                      </a:cubicBezTo>
                      <a:cubicBezTo>
                        <a:pt x="63" y="13"/>
                        <a:pt x="0" y="84"/>
                        <a:pt x="0" y="170"/>
                      </a:cubicBezTo>
                      <a:cubicBezTo>
                        <a:pt x="0" y="232"/>
                        <a:pt x="33" y="287"/>
                        <a:pt x="82" y="317"/>
                      </a:cubicBezTo>
                      <a:cubicBezTo>
                        <a:pt x="80" y="321"/>
                        <a:pt x="80" y="321"/>
                        <a:pt x="80" y="321"/>
                      </a:cubicBezTo>
                      <a:cubicBezTo>
                        <a:pt x="73" y="332"/>
                        <a:pt x="73" y="332"/>
                        <a:pt x="73" y="332"/>
                      </a:cubicBezTo>
                      <a:cubicBezTo>
                        <a:pt x="68" y="340"/>
                        <a:pt x="71" y="347"/>
                        <a:pt x="80" y="348"/>
                      </a:cubicBezTo>
                      <a:cubicBezTo>
                        <a:pt x="157" y="353"/>
                        <a:pt x="157" y="353"/>
                        <a:pt x="157" y="353"/>
                      </a:cubicBezTo>
                      <a:cubicBezTo>
                        <a:pt x="166" y="353"/>
                        <a:pt x="170" y="347"/>
                        <a:pt x="166" y="3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40" name="Freeform 39"/>
                <p:cNvSpPr>
                  <a:spLocks/>
                </p:cNvSpPr>
                <p:nvPr/>
              </p:nvSpPr>
              <p:spPr bwMode="auto">
                <a:xfrm>
                  <a:off x="7399414" y="1016143"/>
                  <a:ext cx="646113" cy="1331912"/>
                </a:xfrm>
                <a:custGeom>
                  <a:avLst/>
                  <a:gdLst>
                    <a:gd name="T0" fmla="*/ 88 w 172"/>
                    <a:gd name="T1" fmla="*/ 36 h 355"/>
                    <a:gd name="T2" fmla="*/ 91 w 172"/>
                    <a:gd name="T3" fmla="*/ 32 h 355"/>
                    <a:gd name="T4" fmla="*/ 97 w 172"/>
                    <a:gd name="T5" fmla="*/ 22 h 355"/>
                    <a:gd name="T6" fmla="*/ 91 w 172"/>
                    <a:gd name="T7" fmla="*/ 6 h 355"/>
                    <a:gd name="T8" fmla="*/ 13 w 172"/>
                    <a:gd name="T9" fmla="*/ 1 h 355"/>
                    <a:gd name="T10" fmla="*/ 4 w 172"/>
                    <a:gd name="T11" fmla="*/ 14 h 355"/>
                    <a:gd name="T12" fmla="*/ 41 w 172"/>
                    <a:gd name="T13" fmla="*/ 83 h 355"/>
                    <a:gd name="T14" fmla="*/ 58 w 172"/>
                    <a:gd name="T15" fmla="*/ 82 h 355"/>
                    <a:gd name="T16" fmla="*/ 66 w 172"/>
                    <a:gd name="T17" fmla="*/ 71 h 355"/>
                    <a:gd name="T18" fmla="*/ 68 w 172"/>
                    <a:gd name="T19" fmla="*/ 67 h 355"/>
                    <a:gd name="T20" fmla="*/ 136 w 172"/>
                    <a:gd name="T21" fmla="*/ 184 h 355"/>
                    <a:gd name="T22" fmla="*/ 7 w 172"/>
                    <a:gd name="T23" fmla="*/ 320 h 355"/>
                    <a:gd name="T24" fmla="*/ 25 w 172"/>
                    <a:gd name="T25" fmla="*/ 355 h 355"/>
                    <a:gd name="T26" fmla="*/ 172 w 172"/>
                    <a:gd name="T27" fmla="*/ 184 h 355"/>
                    <a:gd name="T28" fmla="*/ 88 w 172"/>
                    <a:gd name="T29" fmla="*/ 36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2" h="355">
                      <a:moveTo>
                        <a:pt x="88" y="36"/>
                      </a:moveTo>
                      <a:cubicBezTo>
                        <a:pt x="91" y="32"/>
                        <a:pt x="91" y="32"/>
                        <a:pt x="91" y="32"/>
                      </a:cubicBezTo>
                      <a:cubicBezTo>
                        <a:pt x="97" y="22"/>
                        <a:pt x="97" y="22"/>
                        <a:pt x="97" y="22"/>
                      </a:cubicBezTo>
                      <a:cubicBezTo>
                        <a:pt x="103" y="13"/>
                        <a:pt x="100" y="6"/>
                        <a:pt x="91" y="6"/>
                      </a:cubicBezTo>
                      <a:cubicBezTo>
                        <a:pt x="13" y="1"/>
                        <a:pt x="13" y="1"/>
                        <a:pt x="13" y="1"/>
                      </a:cubicBezTo>
                      <a:cubicBezTo>
                        <a:pt x="4" y="0"/>
                        <a:pt x="0" y="6"/>
                        <a:pt x="4" y="14"/>
                      </a:cubicBezTo>
                      <a:cubicBezTo>
                        <a:pt x="41" y="83"/>
                        <a:pt x="41" y="83"/>
                        <a:pt x="41" y="83"/>
                      </a:cubicBezTo>
                      <a:cubicBezTo>
                        <a:pt x="45" y="91"/>
                        <a:pt x="53" y="91"/>
                        <a:pt x="58" y="82"/>
                      </a:cubicBezTo>
                      <a:cubicBezTo>
                        <a:pt x="66" y="71"/>
                        <a:pt x="66" y="71"/>
                        <a:pt x="66" y="71"/>
                      </a:cubicBezTo>
                      <a:cubicBezTo>
                        <a:pt x="68" y="67"/>
                        <a:pt x="68" y="67"/>
                        <a:pt x="68" y="67"/>
                      </a:cubicBezTo>
                      <a:cubicBezTo>
                        <a:pt x="109" y="90"/>
                        <a:pt x="136" y="134"/>
                        <a:pt x="136" y="184"/>
                      </a:cubicBezTo>
                      <a:cubicBezTo>
                        <a:pt x="136" y="257"/>
                        <a:pt x="79" y="316"/>
                        <a:pt x="7" y="320"/>
                      </a:cubicBezTo>
                      <a:cubicBezTo>
                        <a:pt x="25" y="355"/>
                        <a:pt x="25" y="355"/>
                        <a:pt x="25" y="355"/>
                      </a:cubicBezTo>
                      <a:cubicBezTo>
                        <a:pt x="108" y="343"/>
                        <a:pt x="172" y="271"/>
                        <a:pt x="172" y="184"/>
                      </a:cubicBezTo>
                      <a:cubicBezTo>
                        <a:pt x="172" y="121"/>
                        <a:pt x="139" y="66"/>
                        <a:pt x="8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41" name="Freeform 40"/>
                <p:cNvSpPr>
                  <a:spLocks noEditPoints="1"/>
                </p:cNvSpPr>
                <p:nvPr/>
              </p:nvSpPr>
              <p:spPr bwMode="auto">
                <a:xfrm>
                  <a:off x="7021589" y="1327293"/>
                  <a:ext cx="754063" cy="758825"/>
                </a:xfrm>
                <a:custGeom>
                  <a:avLst/>
                  <a:gdLst>
                    <a:gd name="T0" fmla="*/ 180 w 201"/>
                    <a:gd name="T1" fmla="*/ 122 h 202"/>
                    <a:gd name="T2" fmla="*/ 201 w 201"/>
                    <a:gd name="T3" fmla="*/ 117 h 202"/>
                    <a:gd name="T4" fmla="*/ 201 w 201"/>
                    <a:gd name="T5" fmla="*/ 85 h 202"/>
                    <a:gd name="T6" fmla="*/ 180 w 201"/>
                    <a:gd name="T7" fmla="*/ 80 h 202"/>
                    <a:gd name="T8" fmla="*/ 172 w 201"/>
                    <a:gd name="T9" fmla="*/ 59 h 202"/>
                    <a:gd name="T10" fmla="*/ 183 w 201"/>
                    <a:gd name="T11" fmla="*/ 41 h 202"/>
                    <a:gd name="T12" fmla="*/ 160 w 201"/>
                    <a:gd name="T13" fmla="*/ 18 h 202"/>
                    <a:gd name="T14" fmla="*/ 142 w 201"/>
                    <a:gd name="T15" fmla="*/ 29 h 202"/>
                    <a:gd name="T16" fmla="*/ 122 w 201"/>
                    <a:gd name="T17" fmla="*/ 21 h 202"/>
                    <a:gd name="T18" fmla="*/ 116 w 201"/>
                    <a:gd name="T19" fmla="*/ 0 h 202"/>
                    <a:gd name="T20" fmla="*/ 84 w 201"/>
                    <a:gd name="T21" fmla="*/ 0 h 202"/>
                    <a:gd name="T22" fmla="*/ 79 w 201"/>
                    <a:gd name="T23" fmla="*/ 21 h 202"/>
                    <a:gd name="T24" fmla="*/ 59 w 201"/>
                    <a:gd name="T25" fmla="*/ 29 h 202"/>
                    <a:gd name="T26" fmla="*/ 40 w 201"/>
                    <a:gd name="T27" fmla="*/ 18 h 202"/>
                    <a:gd name="T28" fmla="*/ 18 w 201"/>
                    <a:gd name="T29" fmla="*/ 41 h 202"/>
                    <a:gd name="T30" fmla="*/ 29 w 201"/>
                    <a:gd name="T31" fmla="*/ 59 h 202"/>
                    <a:gd name="T32" fmla="*/ 20 w 201"/>
                    <a:gd name="T33" fmla="*/ 80 h 202"/>
                    <a:gd name="T34" fmla="*/ 0 w 201"/>
                    <a:gd name="T35" fmla="*/ 85 h 202"/>
                    <a:gd name="T36" fmla="*/ 0 w 201"/>
                    <a:gd name="T37" fmla="*/ 117 h 202"/>
                    <a:gd name="T38" fmla="*/ 21 w 201"/>
                    <a:gd name="T39" fmla="*/ 122 h 202"/>
                    <a:gd name="T40" fmla="*/ 29 w 201"/>
                    <a:gd name="T41" fmla="*/ 142 h 202"/>
                    <a:gd name="T42" fmla="*/ 18 w 201"/>
                    <a:gd name="T43" fmla="*/ 161 h 202"/>
                    <a:gd name="T44" fmla="*/ 40 w 201"/>
                    <a:gd name="T45" fmla="*/ 184 h 202"/>
                    <a:gd name="T46" fmla="*/ 59 w 201"/>
                    <a:gd name="T47" fmla="*/ 172 h 202"/>
                    <a:gd name="T48" fmla="*/ 79 w 201"/>
                    <a:gd name="T49" fmla="*/ 181 h 202"/>
                    <a:gd name="T50" fmla="*/ 85 w 201"/>
                    <a:gd name="T51" fmla="*/ 202 h 202"/>
                    <a:gd name="T52" fmla="*/ 117 w 201"/>
                    <a:gd name="T53" fmla="*/ 202 h 202"/>
                    <a:gd name="T54" fmla="*/ 122 w 201"/>
                    <a:gd name="T55" fmla="*/ 181 h 202"/>
                    <a:gd name="T56" fmla="*/ 142 w 201"/>
                    <a:gd name="T57" fmla="*/ 172 h 202"/>
                    <a:gd name="T58" fmla="*/ 161 w 201"/>
                    <a:gd name="T59" fmla="*/ 183 h 202"/>
                    <a:gd name="T60" fmla="*/ 183 w 201"/>
                    <a:gd name="T61" fmla="*/ 161 h 202"/>
                    <a:gd name="T62" fmla="*/ 172 w 201"/>
                    <a:gd name="T63" fmla="*/ 142 h 202"/>
                    <a:gd name="T64" fmla="*/ 180 w 201"/>
                    <a:gd name="T65" fmla="*/ 122 h 202"/>
                    <a:gd name="T66" fmla="*/ 101 w 201"/>
                    <a:gd name="T67" fmla="*/ 157 h 202"/>
                    <a:gd name="T68" fmla="*/ 44 w 201"/>
                    <a:gd name="T69" fmla="*/ 101 h 202"/>
                    <a:gd name="T70" fmla="*/ 100 w 201"/>
                    <a:gd name="T71" fmla="*/ 44 h 202"/>
                    <a:gd name="T72" fmla="*/ 157 w 201"/>
                    <a:gd name="T73" fmla="*/ 101 h 202"/>
                    <a:gd name="T74" fmla="*/ 101 w 201"/>
                    <a:gd name="T75" fmla="*/ 1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1" h="202">
                      <a:moveTo>
                        <a:pt x="180" y="122"/>
                      </a:moveTo>
                      <a:cubicBezTo>
                        <a:pt x="201" y="117"/>
                        <a:pt x="201" y="117"/>
                        <a:pt x="201" y="117"/>
                      </a:cubicBezTo>
                      <a:cubicBezTo>
                        <a:pt x="201" y="85"/>
                        <a:pt x="201" y="85"/>
                        <a:pt x="201" y="85"/>
                      </a:cubicBezTo>
                      <a:cubicBezTo>
                        <a:pt x="180" y="80"/>
                        <a:pt x="180" y="80"/>
                        <a:pt x="180" y="80"/>
                      </a:cubicBezTo>
                      <a:cubicBezTo>
                        <a:pt x="178" y="72"/>
                        <a:pt x="176" y="65"/>
                        <a:pt x="172" y="59"/>
                      </a:cubicBezTo>
                      <a:cubicBezTo>
                        <a:pt x="183" y="41"/>
                        <a:pt x="183" y="41"/>
                        <a:pt x="183" y="41"/>
                      </a:cubicBezTo>
                      <a:cubicBezTo>
                        <a:pt x="160" y="18"/>
                        <a:pt x="160" y="18"/>
                        <a:pt x="160" y="18"/>
                      </a:cubicBezTo>
                      <a:cubicBezTo>
                        <a:pt x="142" y="29"/>
                        <a:pt x="142" y="29"/>
                        <a:pt x="142" y="29"/>
                      </a:cubicBezTo>
                      <a:cubicBezTo>
                        <a:pt x="136" y="26"/>
                        <a:pt x="129" y="23"/>
                        <a:pt x="122" y="21"/>
                      </a:cubicBezTo>
                      <a:cubicBezTo>
                        <a:pt x="116" y="0"/>
                        <a:pt x="116" y="0"/>
                        <a:pt x="116" y="0"/>
                      </a:cubicBezTo>
                      <a:cubicBezTo>
                        <a:pt x="84" y="0"/>
                        <a:pt x="84" y="0"/>
                        <a:pt x="84" y="0"/>
                      </a:cubicBezTo>
                      <a:cubicBezTo>
                        <a:pt x="79" y="21"/>
                        <a:pt x="79" y="21"/>
                        <a:pt x="79" y="21"/>
                      </a:cubicBezTo>
                      <a:cubicBezTo>
                        <a:pt x="72" y="23"/>
                        <a:pt x="65" y="26"/>
                        <a:pt x="59" y="29"/>
                      </a:cubicBezTo>
                      <a:cubicBezTo>
                        <a:pt x="40" y="18"/>
                        <a:pt x="40" y="18"/>
                        <a:pt x="40" y="18"/>
                      </a:cubicBezTo>
                      <a:cubicBezTo>
                        <a:pt x="18" y="41"/>
                        <a:pt x="18" y="41"/>
                        <a:pt x="18" y="41"/>
                      </a:cubicBezTo>
                      <a:cubicBezTo>
                        <a:pt x="29" y="59"/>
                        <a:pt x="29" y="59"/>
                        <a:pt x="29" y="59"/>
                      </a:cubicBezTo>
                      <a:cubicBezTo>
                        <a:pt x="25" y="66"/>
                        <a:pt x="22" y="73"/>
                        <a:pt x="20" y="80"/>
                      </a:cubicBezTo>
                      <a:cubicBezTo>
                        <a:pt x="0" y="85"/>
                        <a:pt x="0" y="85"/>
                        <a:pt x="0" y="85"/>
                      </a:cubicBezTo>
                      <a:cubicBezTo>
                        <a:pt x="0" y="117"/>
                        <a:pt x="0" y="117"/>
                        <a:pt x="0" y="117"/>
                      </a:cubicBezTo>
                      <a:cubicBezTo>
                        <a:pt x="21" y="122"/>
                        <a:pt x="21" y="122"/>
                        <a:pt x="21" y="122"/>
                      </a:cubicBezTo>
                      <a:cubicBezTo>
                        <a:pt x="22" y="129"/>
                        <a:pt x="25" y="136"/>
                        <a:pt x="29" y="142"/>
                      </a:cubicBezTo>
                      <a:cubicBezTo>
                        <a:pt x="18" y="161"/>
                        <a:pt x="18" y="161"/>
                        <a:pt x="18" y="161"/>
                      </a:cubicBezTo>
                      <a:cubicBezTo>
                        <a:pt x="40" y="184"/>
                        <a:pt x="40" y="184"/>
                        <a:pt x="40" y="184"/>
                      </a:cubicBezTo>
                      <a:cubicBezTo>
                        <a:pt x="59" y="172"/>
                        <a:pt x="59" y="172"/>
                        <a:pt x="59" y="172"/>
                      </a:cubicBezTo>
                      <a:cubicBezTo>
                        <a:pt x="65" y="176"/>
                        <a:pt x="72" y="179"/>
                        <a:pt x="79" y="181"/>
                      </a:cubicBezTo>
                      <a:cubicBezTo>
                        <a:pt x="85" y="202"/>
                        <a:pt x="85" y="202"/>
                        <a:pt x="85" y="202"/>
                      </a:cubicBezTo>
                      <a:cubicBezTo>
                        <a:pt x="117" y="202"/>
                        <a:pt x="117" y="202"/>
                        <a:pt x="117" y="202"/>
                      </a:cubicBezTo>
                      <a:cubicBezTo>
                        <a:pt x="122" y="181"/>
                        <a:pt x="122" y="181"/>
                        <a:pt x="122" y="181"/>
                      </a:cubicBezTo>
                      <a:cubicBezTo>
                        <a:pt x="129" y="179"/>
                        <a:pt x="136" y="176"/>
                        <a:pt x="142" y="172"/>
                      </a:cubicBezTo>
                      <a:cubicBezTo>
                        <a:pt x="161" y="183"/>
                        <a:pt x="161" y="183"/>
                        <a:pt x="161" y="183"/>
                      </a:cubicBezTo>
                      <a:cubicBezTo>
                        <a:pt x="183" y="161"/>
                        <a:pt x="183" y="161"/>
                        <a:pt x="183" y="161"/>
                      </a:cubicBezTo>
                      <a:cubicBezTo>
                        <a:pt x="172" y="142"/>
                        <a:pt x="172" y="142"/>
                        <a:pt x="172" y="142"/>
                      </a:cubicBezTo>
                      <a:cubicBezTo>
                        <a:pt x="176" y="136"/>
                        <a:pt x="178" y="129"/>
                        <a:pt x="180" y="122"/>
                      </a:cubicBezTo>
                      <a:close/>
                      <a:moveTo>
                        <a:pt x="101" y="157"/>
                      </a:moveTo>
                      <a:cubicBezTo>
                        <a:pt x="69" y="157"/>
                        <a:pt x="44" y="132"/>
                        <a:pt x="44" y="101"/>
                      </a:cubicBezTo>
                      <a:cubicBezTo>
                        <a:pt x="44" y="70"/>
                        <a:pt x="69" y="44"/>
                        <a:pt x="100" y="44"/>
                      </a:cubicBezTo>
                      <a:cubicBezTo>
                        <a:pt x="132" y="44"/>
                        <a:pt x="157" y="70"/>
                        <a:pt x="157" y="101"/>
                      </a:cubicBezTo>
                      <a:cubicBezTo>
                        <a:pt x="157" y="132"/>
                        <a:pt x="132" y="157"/>
                        <a:pt x="101" y="1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grpSp>
        </p:grpSp>
        <p:grpSp>
          <p:nvGrpSpPr>
            <p:cNvPr id="24" name="Group 23"/>
            <p:cNvGrpSpPr/>
            <p:nvPr/>
          </p:nvGrpSpPr>
          <p:grpSpPr>
            <a:xfrm>
              <a:off x="6563320" y="3413870"/>
              <a:ext cx="693819" cy="635099"/>
              <a:chOff x="8018643" y="3346058"/>
              <a:chExt cx="693819" cy="635099"/>
            </a:xfrm>
          </p:grpSpPr>
          <p:sp>
            <p:nvSpPr>
              <p:cNvPr id="25" name="Freeform 24"/>
              <p:cNvSpPr/>
              <p:nvPr/>
            </p:nvSpPr>
            <p:spPr>
              <a:xfrm>
                <a:off x="8105963" y="3366537"/>
                <a:ext cx="517731" cy="589853"/>
              </a:xfrm>
              <a:custGeom>
                <a:avLst/>
                <a:gdLst>
                  <a:gd name="connsiteX0" fmla="*/ 5151 w 517731"/>
                  <a:gd name="connsiteY0" fmla="*/ 0 h 589853"/>
                  <a:gd name="connsiteX1" fmla="*/ 517731 w 517731"/>
                  <a:gd name="connsiteY1" fmla="*/ 2576 h 589853"/>
                  <a:gd name="connsiteX2" fmla="*/ 510003 w 517731"/>
                  <a:gd name="connsiteY2" fmla="*/ 242123 h 589853"/>
                  <a:gd name="connsiteX3" fmla="*/ 443033 w 517731"/>
                  <a:gd name="connsiteY3" fmla="*/ 422428 h 589853"/>
                  <a:gd name="connsiteX4" fmla="*/ 347729 w 517731"/>
                  <a:gd name="connsiteY4" fmla="*/ 538337 h 589853"/>
                  <a:gd name="connsiteX5" fmla="*/ 260153 w 517731"/>
                  <a:gd name="connsiteY5" fmla="*/ 589853 h 589853"/>
                  <a:gd name="connsiteX6" fmla="*/ 113334 w 517731"/>
                  <a:gd name="connsiteY6" fmla="*/ 476519 h 589853"/>
                  <a:gd name="connsiteX7" fmla="*/ 38636 w 517731"/>
                  <a:gd name="connsiteY7" fmla="*/ 332275 h 589853"/>
                  <a:gd name="connsiteX8" fmla="*/ 0 w 517731"/>
                  <a:gd name="connsiteY8" fmla="*/ 195759 h 589853"/>
                  <a:gd name="connsiteX9" fmla="*/ 5151 w 517731"/>
                  <a:gd name="connsiteY9" fmla="*/ 0 h 589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7731" h="589853">
                    <a:moveTo>
                      <a:pt x="5151" y="0"/>
                    </a:moveTo>
                    <a:lnTo>
                      <a:pt x="517731" y="2576"/>
                    </a:lnTo>
                    <a:lnTo>
                      <a:pt x="510003" y="242123"/>
                    </a:lnTo>
                    <a:lnTo>
                      <a:pt x="443033" y="422428"/>
                    </a:lnTo>
                    <a:lnTo>
                      <a:pt x="347729" y="538337"/>
                    </a:lnTo>
                    <a:lnTo>
                      <a:pt x="260153" y="589853"/>
                    </a:lnTo>
                    <a:lnTo>
                      <a:pt x="113334" y="476519"/>
                    </a:lnTo>
                    <a:lnTo>
                      <a:pt x="38636" y="332275"/>
                    </a:lnTo>
                    <a:lnTo>
                      <a:pt x="0" y="195759"/>
                    </a:lnTo>
                    <a:lnTo>
                      <a:pt x="5151" y="0"/>
                    </a:ln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微软雅黑" pitchFamily="34" charset="-122"/>
                  <a:ea typeface="微软雅黑" pitchFamily="34" charset="-122"/>
                </a:endParaRPr>
              </a:p>
            </p:txBody>
          </p:sp>
          <p:sp>
            <p:nvSpPr>
              <p:cNvPr id="26" name="Freeform 25"/>
              <p:cNvSpPr>
                <a:spLocks noEditPoints="1"/>
              </p:cNvSpPr>
              <p:nvPr/>
            </p:nvSpPr>
            <p:spPr bwMode="auto">
              <a:xfrm>
                <a:off x="8018643" y="3346058"/>
                <a:ext cx="693819" cy="635099"/>
              </a:xfrm>
              <a:custGeom>
                <a:avLst/>
                <a:gdLst>
                  <a:gd name="T0" fmla="*/ 342 w 380"/>
                  <a:gd name="T1" fmla="*/ 0 h 348"/>
                  <a:gd name="T2" fmla="*/ 190 w 380"/>
                  <a:gd name="T3" fmla="*/ 348 h 348"/>
                  <a:gd name="T4" fmla="*/ 38 w 380"/>
                  <a:gd name="T5" fmla="*/ 0 h 348"/>
                  <a:gd name="T6" fmla="*/ 342 w 380"/>
                  <a:gd name="T7" fmla="*/ 0 h 348"/>
                  <a:gd name="T8" fmla="*/ 322 w 380"/>
                  <a:gd name="T9" fmla="*/ 22 h 348"/>
                  <a:gd name="T10" fmla="*/ 58 w 380"/>
                  <a:gd name="T11" fmla="*/ 22 h 348"/>
                  <a:gd name="T12" fmla="*/ 65 w 380"/>
                  <a:gd name="T13" fmla="*/ 136 h 348"/>
                  <a:gd name="T14" fmla="*/ 190 w 380"/>
                  <a:gd name="T15" fmla="*/ 322 h 348"/>
                  <a:gd name="T16" fmla="*/ 315 w 380"/>
                  <a:gd name="T17" fmla="*/ 135 h 348"/>
                  <a:gd name="T18" fmla="*/ 322 w 380"/>
                  <a:gd name="T19" fmla="*/ 22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0" h="348">
                    <a:moveTo>
                      <a:pt x="342" y="0"/>
                    </a:moveTo>
                    <a:cubicBezTo>
                      <a:pt x="342" y="0"/>
                      <a:pt x="380" y="254"/>
                      <a:pt x="190" y="348"/>
                    </a:cubicBezTo>
                    <a:cubicBezTo>
                      <a:pt x="0" y="254"/>
                      <a:pt x="38" y="0"/>
                      <a:pt x="38" y="0"/>
                    </a:cubicBezTo>
                    <a:cubicBezTo>
                      <a:pt x="342" y="0"/>
                      <a:pt x="342" y="0"/>
                      <a:pt x="342" y="0"/>
                    </a:cubicBezTo>
                    <a:moveTo>
                      <a:pt x="322" y="22"/>
                    </a:moveTo>
                    <a:cubicBezTo>
                      <a:pt x="58" y="22"/>
                      <a:pt x="58" y="22"/>
                      <a:pt x="58" y="22"/>
                    </a:cubicBezTo>
                    <a:cubicBezTo>
                      <a:pt x="57" y="46"/>
                      <a:pt x="56" y="89"/>
                      <a:pt x="65" y="136"/>
                    </a:cubicBezTo>
                    <a:cubicBezTo>
                      <a:pt x="82" y="223"/>
                      <a:pt x="124" y="286"/>
                      <a:pt x="190" y="322"/>
                    </a:cubicBezTo>
                    <a:cubicBezTo>
                      <a:pt x="257" y="286"/>
                      <a:pt x="299" y="223"/>
                      <a:pt x="315" y="135"/>
                    </a:cubicBezTo>
                    <a:cubicBezTo>
                      <a:pt x="324" y="88"/>
                      <a:pt x="323" y="46"/>
                      <a:pt x="322" y="22"/>
                    </a:cubicBez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grpSp>
      </p:grpSp>
      <p:grpSp>
        <p:nvGrpSpPr>
          <p:cNvPr id="46" name="Group 45"/>
          <p:cNvGrpSpPr/>
          <p:nvPr/>
        </p:nvGrpSpPr>
        <p:grpSpPr>
          <a:xfrm>
            <a:off x="4339190" y="1598345"/>
            <a:ext cx="4244823" cy="4718407"/>
            <a:chOff x="2825504" y="949325"/>
            <a:chExt cx="2989385" cy="3505444"/>
          </a:xfrm>
        </p:grpSpPr>
        <p:cxnSp>
          <p:nvCxnSpPr>
            <p:cNvPr id="47" name="Straight Connector 46"/>
            <p:cNvCxnSpPr/>
            <p:nvPr/>
          </p:nvCxnSpPr>
          <p:spPr>
            <a:xfrm>
              <a:off x="2825504" y="949325"/>
              <a:ext cx="0" cy="3505444"/>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48" name="Straight Connector 47"/>
            <p:cNvCxnSpPr/>
            <p:nvPr/>
          </p:nvCxnSpPr>
          <p:spPr>
            <a:xfrm>
              <a:off x="5814889" y="949325"/>
              <a:ext cx="0" cy="3505444"/>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46526799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latin typeface="微软雅黑" pitchFamily="34" charset="-122"/>
              <a:ea typeface="微软雅黑" pitchFamily="34" charset="-122"/>
            </a:endParaRPr>
          </a:p>
        </p:txBody>
      </p:sp>
      <p:pic>
        <p:nvPicPr>
          <p:cNvPr id="15362" name="Picture 2"/>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23537" y="30333"/>
            <a:ext cx="12914284" cy="7315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631177" y="6768075"/>
            <a:ext cx="11377536" cy="325120"/>
          </a:xfrm>
          <a:prstGeom prst="rect">
            <a:avLst/>
          </a:prstGeom>
          <a:noFill/>
        </p:spPr>
        <p:txBody>
          <a:bodyPr wrap="square" lIns="129909" tIns="64954" rIns="129909" bIns="64954" rtlCol="0">
            <a:noAutofit/>
          </a:bodyPr>
          <a:lstStyle/>
          <a:p>
            <a:pPr defTabSz="649544" fontAlgn="auto">
              <a:spcBef>
                <a:spcPts val="0"/>
              </a:spcBef>
              <a:spcAft>
                <a:spcPts val="0"/>
              </a:spcAft>
              <a:defRPr/>
            </a:pPr>
            <a:r>
              <a:rPr lang="en-US" sz="1000" b="0" dirty="0">
                <a:solidFill>
                  <a:srgbClr val="B9B8BB"/>
                </a:solidFill>
                <a:latin typeface="微软雅黑" pitchFamily="34" charset="-122"/>
                <a:ea typeface="微软雅黑" pitchFamily="34" charset="-122"/>
                <a:cs typeface="HP Simplified"/>
              </a:rPr>
              <a:t>© Copyright 2014 Hewlett-Packard Development Company, L.P.  The information contained herein is subject to change without notice.</a:t>
            </a:r>
          </a:p>
        </p:txBody>
      </p:sp>
    </p:spTree>
    <p:extLst>
      <p:ext uri="{BB962C8B-B14F-4D97-AF65-F5344CB8AC3E}">
        <p14:creationId xmlns:p14="http://schemas.microsoft.com/office/powerpoint/2010/main" val="1874793660"/>
      </p:ext>
    </p:extLst>
  </p:cSld>
  <p:clrMapOvr>
    <a:masterClrMapping/>
  </p:clrMapOvr>
  <p:transition spd="slow">
    <p:randomBar dir="vert"/>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7" name="Freeform 575"/>
          <p:cNvSpPr>
            <a:spLocks noEditPoints="1"/>
          </p:cNvSpPr>
          <p:nvPr/>
        </p:nvSpPr>
        <p:spPr bwMode="auto">
          <a:xfrm>
            <a:off x="5707947" y="1382790"/>
            <a:ext cx="2573849" cy="5204176"/>
          </a:xfrm>
          <a:custGeom>
            <a:avLst/>
            <a:gdLst>
              <a:gd name="T0" fmla="*/ 156 w 180"/>
              <a:gd name="T1" fmla="*/ 0 h 364"/>
              <a:gd name="T2" fmla="*/ 0 w 180"/>
              <a:gd name="T3" fmla="*/ 0 h 364"/>
              <a:gd name="T4" fmla="*/ 0 w 180"/>
              <a:gd name="T5" fmla="*/ 340 h 364"/>
              <a:gd name="T6" fmla="*/ 24 w 180"/>
              <a:gd name="T7" fmla="*/ 364 h 364"/>
              <a:gd name="T8" fmla="*/ 180 w 180"/>
              <a:gd name="T9" fmla="*/ 364 h 364"/>
              <a:gd name="T10" fmla="*/ 180 w 180"/>
              <a:gd name="T11" fmla="*/ 24 h 364"/>
              <a:gd name="T12" fmla="*/ 156 w 180"/>
              <a:gd name="T13" fmla="*/ 0 h 364"/>
              <a:gd name="T14" fmla="*/ 76 w 180"/>
              <a:gd name="T15" fmla="*/ 292 h 364"/>
              <a:gd name="T16" fmla="*/ 28 w 180"/>
              <a:gd name="T17" fmla="*/ 292 h 364"/>
              <a:gd name="T18" fmla="*/ 28 w 180"/>
              <a:gd name="T19" fmla="*/ 244 h 364"/>
              <a:gd name="T20" fmla="*/ 76 w 180"/>
              <a:gd name="T21" fmla="*/ 244 h 364"/>
              <a:gd name="T22" fmla="*/ 76 w 180"/>
              <a:gd name="T23" fmla="*/ 292 h 364"/>
              <a:gd name="T24" fmla="*/ 76 w 180"/>
              <a:gd name="T25" fmla="*/ 220 h 364"/>
              <a:gd name="T26" fmla="*/ 28 w 180"/>
              <a:gd name="T27" fmla="*/ 220 h 364"/>
              <a:gd name="T28" fmla="*/ 28 w 180"/>
              <a:gd name="T29" fmla="*/ 172 h 364"/>
              <a:gd name="T30" fmla="*/ 76 w 180"/>
              <a:gd name="T31" fmla="*/ 172 h 364"/>
              <a:gd name="T32" fmla="*/ 76 w 180"/>
              <a:gd name="T33" fmla="*/ 220 h 364"/>
              <a:gd name="T34" fmla="*/ 76 w 180"/>
              <a:gd name="T35" fmla="*/ 148 h 364"/>
              <a:gd name="T36" fmla="*/ 28 w 180"/>
              <a:gd name="T37" fmla="*/ 148 h 364"/>
              <a:gd name="T38" fmla="*/ 28 w 180"/>
              <a:gd name="T39" fmla="*/ 100 h 364"/>
              <a:gd name="T40" fmla="*/ 76 w 180"/>
              <a:gd name="T41" fmla="*/ 100 h 364"/>
              <a:gd name="T42" fmla="*/ 76 w 180"/>
              <a:gd name="T43" fmla="*/ 148 h 364"/>
              <a:gd name="T44" fmla="*/ 76 w 180"/>
              <a:gd name="T45" fmla="*/ 76 h 364"/>
              <a:gd name="T46" fmla="*/ 28 w 180"/>
              <a:gd name="T47" fmla="*/ 76 h 364"/>
              <a:gd name="T48" fmla="*/ 28 w 180"/>
              <a:gd name="T49" fmla="*/ 28 h 364"/>
              <a:gd name="T50" fmla="*/ 76 w 180"/>
              <a:gd name="T51" fmla="*/ 28 h 364"/>
              <a:gd name="T52" fmla="*/ 76 w 180"/>
              <a:gd name="T53" fmla="*/ 76 h 364"/>
              <a:gd name="T54" fmla="*/ 152 w 180"/>
              <a:gd name="T55" fmla="*/ 220 h 364"/>
              <a:gd name="T56" fmla="*/ 104 w 180"/>
              <a:gd name="T57" fmla="*/ 220 h 364"/>
              <a:gd name="T58" fmla="*/ 104 w 180"/>
              <a:gd name="T59" fmla="*/ 172 h 364"/>
              <a:gd name="T60" fmla="*/ 152 w 180"/>
              <a:gd name="T61" fmla="*/ 172 h 364"/>
              <a:gd name="T62" fmla="*/ 152 w 180"/>
              <a:gd name="T63" fmla="*/ 220 h 364"/>
              <a:gd name="T64" fmla="*/ 152 w 180"/>
              <a:gd name="T65" fmla="*/ 148 h 364"/>
              <a:gd name="T66" fmla="*/ 104 w 180"/>
              <a:gd name="T67" fmla="*/ 148 h 364"/>
              <a:gd name="T68" fmla="*/ 104 w 180"/>
              <a:gd name="T69" fmla="*/ 100 h 364"/>
              <a:gd name="T70" fmla="*/ 152 w 180"/>
              <a:gd name="T71" fmla="*/ 100 h 364"/>
              <a:gd name="T72" fmla="*/ 152 w 180"/>
              <a:gd name="T73" fmla="*/ 148 h 364"/>
              <a:gd name="T74" fmla="*/ 152 w 180"/>
              <a:gd name="T75" fmla="*/ 76 h 364"/>
              <a:gd name="T76" fmla="*/ 104 w 180"/>
              <a:gd name="T77" fmla="*/ 76 h 364"/>
              <a:gd name="T78" fmla="*/ 104 w 180"/>
              <a:gd name="T79" fmla="*/ 28 h 364"/>
              <a:gd name="T80" fmla="*/ 152 w 180"/>
              <a:gd name="T81" fmla="*/ 28 h 364"/>
              <a:gd name="T82" fmla="*/ 152 w 180"/>
              <a:gd name="T83" fmla="*/ 76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0" h="364">
                <a:moveTo>
                  <a:pt x="156" y="0"/>
                </a:moveTo>
                <a:cubicBezTo>
                  <a:pt x="0" y="0"/>
                  <a:pt x="0" y="0"/>
                  <a:pt x="0" y="0"/>
                </a:cubicBezTo>
                <a:cubicBezTo>
                  <a:pt x="0" y="340"/>
                  <a:pt x="0" y="340"/>
                  <a:pt x="0" y="340"/>
                </a:cubicBezTo>
                <a:cubicBezTo>
                  <a:pt x="0" y="353"/>
                  <a:pt x="10" y="364"/>
                  <a:pt x="24" y="364"/>
                </a:cubicBezTo>
                <a:cubicBezTo>
                  <a:pt x="180" y="364"/>
                  <a:pt x="180" y="364"/>
                  <a:pt x="180" y="364"/>
                </a:cubicBezTo>
                <a:cubicBezTo>
                  <a:pt x="180" y="24"/>
                  <a:pt x="180" y="24"/>
                  <a:pt x="180" y="24"/>
                </a:cubicBezTo>
                <a:cubicBezTo>
                  <a:pt x="180" y="11"/>
                  <a:pt x="169" y="0"/>
                  <a:pt x="156" y="0"/>
                </a:cubicBezTo>
                <a:moveTo>
                  <a:pt x="76" y="292"/>
                </a:moveTo>
                <a:cubicBezTo>
                  <a:pt x="28" y="292"/>
                  <a:pt x="28" y="292"/>
                  <a:pt x="28" y="292"/>
                </a:cubicBezTo>
                <a:cubicBezTo>
                  <a:pt x="28" y="244"/>
                  <a:pt x="28" y="244"/>
                  <a:pt x="28" y="244"/>
                </a:cubicBezTo>
                <a:cubicBezTo>
                  <a:pt x="76" y="244"/>
                  <a:pt x="76" y="244"/>
                  <a:pt x="76" y="244"/>
                </a:cubicBezTo>
                <a:lnTo>
                  <a:pt x="76" y="292"/>
                </a:lnTo>
                <a:close/>
                <a:moveTo>
                  <a:pt x="76" y="220"/>
                </a:moveTo>
                <a:cubicBezTo>
                  <a:pt x="28" y="220"/>
                  <a:pt x="28" y="220"/>
                  <a:pt x="28" y="220"/>
                </a:cubicBezTo>
                <a:cubicBezTo>
                  <a:pt x="28" y="172"/>
                  <a:pt x="28" y="172"/>
                  <a:pt x="28" y="172"/>
                </a:cubicBezTo>
                <a:cubicBezTo>
                  <a:pt x="76" y="172"/>
                  <a:pt x="76" y="172"/>
                  <a:pt x="76" y="172"/>
                </a:cubicBezTo>
                <a:lnTo>
                  <a:pt x="76" y="220"/>
                </a:lnTo>
                <a:close/>
                <a:moveTo>
                  <a:pt x="76" y="148"/>
                </a:moveTo>
                <a:cubicBezTo>
                  <a:pt x="28" y="148"/>
                  <a:pt x="28" y="148"/>
                  <a:pt x="28" y="148"/>
                </a:cubicBezTo>
                <a:cubicBezTo>
                  <a:pt x="28" y="100"/>
                  <a:pt x="28" y="100"/>
                  <a:pt x="28" y="100"/>
                </a:cubicBezTo>
                <a:cubicBezTo>
                  <a:pt x="76" y="100"/>
                  <a:pt x="76" y="100"/>
                  <a:pt x="76" y="100"/>
                </a:cubicBezTo>
                <a:lnTo>
                  <a:pt x="76" y="148"/>
                </a:lnTo>
                <a:close/>
                <a:moveTo>
                  <a:pt x="76" y="76"/>
                </a:moveTo>
                <a:cubicBezTo>
                  <a:pt x="28" y="76"/>
                  <a:pt x="28" y="76"/>
                  <a:pt x="28" y="76"/>
                </a:cubicBezTo>
                <a:cubicBezTo>
                  <a:pt x="28" y="28"/>
                  <a:pt x="28" y="28"/>
                  <a:pt x="28" y="28"/>
                </a:cubicBezTo>
                <a:cubicBezTo>
                  <a:pt x="76" y="28"/>
                  <a:pt x="76" y="28"/>
                  <a:pt x="76" y="28"/>
                </a:cubicBezTo>
                <a:lnTo>
                  <a:pt x="76" y="76"/>
                </a:lnTo>
                <a:close/>
                <a:moveTo>
                  <a:pt x="152" y="220"/>
                </a:moveTo>
                <a:cubicBezTo>
                  <a:pt x="104" y="220"/>
                  <a:pt x="104" y="220"/>
                  <a:pt x="104" y="220"/>
                </a:cubicBezTo>
                <a:cubicBezTo>
                  <a:pt x="104" y="172"/>
                  <a:pt x="104" y="172"/>
                  <a:pt x="104" y="172"/>
                </a:cubicBezTo>
                <a:cubicBezTo>
                  <a:pt x="152" y="172"/>
                  <a:pt x="152" y="172"/>
                  <a:pt x="152" y="172"/>
                </a:cubicBezTo>
                <a:lnTo>
                  <a:pt x="152" y="220"/>
                </a:lnTo>
                <a:close/>
                <a:moveTo>
                  <a:pt x="152" y="148"/>
                </a:moveTo>
                <a:cubicBezTo>
                  <a:pt x="104" y="148"/>
                  <a:pt x="104" y="148"/>
                  <a:pt x="104" y="148"/>
                </a:cubicBezTo>
                <a:cubicBezTo>
                  <a:pt x="104" y="100"/>
                  <a:pt x="104" y="100"/>
                  <a:pt x="104" y="100"/>
                </a:cubicBezTo>
                <a:cubicBezTo>
                  <a:pt x="152" y="100"/>
                  <a:pt x="152" y="100"/>
                  <a:pt x="152" y="100"/>
                </a:cubicBezTo>
                <a:lnTo>
                  <a:pt x="152" y="148"/>
                </a:lnTo>
                <a:close/>
                <a:moveTo>
                  <a:pt x="152" y="76"/>
                </a:moveTo>
                <a:cubicBezTo>
                  <a:pt x="104" y="76"/>
                  <a:pt x="104" y="76"/>
                  <a:pt x="104" y="76"/>
                </a:cubicBezTo>
                <a:cubicBezTo>
                  <a:pt x="104" y="28"/>
                  <a:pt x="104" y="28"/>
                  <a:pt x="104" y="28"/>
                </a:cubicBezTo>
                <a:cubicBezTo>
                  <a:pt x="152" y="28"/>
                  <a:pt x="152" y="28"/>
                  <a:pt x="152" y="28"/>
                </a:cubicBezTo>
                <a:lnTo>
                  <a:pt x="152" y="76"/>
                </a:lnTo>
                <a:close/>
              </a:path>
            </a:pathLst>
          </a:custGeom>
          <a:solidFill>
            <a:schemeClr val="accent4">
              <a:lumMod val="40000"/>
              <a:lumOff val="60000"/>
            </a:schemeClr>
          </a:solidFill>
          <a:ln>
            <a:noFill/>
          </a:ln>
        </p:spPr>
        <p:txBody>
          <a:bodyPr vert="horz" wrap="square" lIns="129909" tIns="64954" rIns="129909" bIns="64954" numCol="1" anchor="t" anchorCtr="0" compatLnSpc="1">
            <a:prstTxWarp prst="textNoShape">
              <a:avLst/>
            </a:prstTxWarp>
          </a:bodyPr>
          <a:lstStyle/>
          <a:p>
            <a:endParaRPr lang="en-US">
              <a:latin typeface="微软雅黑" pitchFamily="34" charset="-122"/>
              <a:ea typeface="微软雅黑" pitchFamily="34" charset="-122"/>
            </a:endParaRPr>
          </a:p>
        </p:txBody>
      </p:sp>
      <p:grpSp>
        <p:nvGrpSpPr>
          <p:cNvPr id="8" name="Group 7"/>
          <p:cNvGrpSpPr/>
          <p:nvPr/>
        </p:nvGrpSpPr>
        <p:grpSpPr>
          <a:xfrm>
            <a:off x="6521830" y="2476623"/>
            <a:ext cx="1481740" cy="2674644"/>
            <a:chOff x="4592950" y="1741375"/>
            <a:chExt cx="1043504" cy="1880609"/>
          </a:xfrm>
        </p:grpSpPr>
        <p:grpSp>
          <p:nvGrpSpPr>
            <p:cNvPr id="297" name="Group 322"/>
            <p:cNvGrpSpPr/>
            <p:nvPr/>
          </p:nvGrpSpPr>
          <p:grpSpPr>
            <a:xfrm>
              <a:off x="4756914" y="2780883"/>
              <a:ext cx="738382" cy="841101"/>
              <a:chOff x="2344975" y="3326629"/>
              <a:chExt cx="809388" cy="921985"/>
            </a:xfrm>
            <a:solidFill>
              <a:srgbClr val="000000"/>
            </a:solidFill>
          </p:grpSpPr>
          <p:sp>
            <p:nvSpPr>
              <p:cNvPr id="298" name="Freeform 158"/>
              <p:cNvSpPr>
                <a:spLocks/>
              </p:cNvSpPr>
              <p:nvPr/>
            </p:nvSpPr>
            <p:spPr bwMode="auto">
              <a:xfrm>
                <a:off x="2354350" y="3326629"/>
                <a:ext cx="32813" cy="89224"/>
              </a:xfrm>
              <a:custGeom>
                <a:avLst/>
                <a:gdLst/>
                <a:ahLst/>
                <a:cxnLst>
                  <a:cxn ang="0">
                    <a:pos x="21" y="57"/>
                  </a:cxn>
                  <a:cxn ang="0">
                    <a:pos x="11" y="57"/>
                  </a:cxn>
                  <a:cxn ang="0">
                    <a:pos x="11" y="10"/>
                  </a:cxn>
                  <a:cxn ang="0">
                    <a:pos x="0" y="10"/>
                  </a:cxn>
                  <a:cxn ang="0">
                    <a:pos x="4" y="0"/>
                  </a:cxn>
                  <a:cxn ang="0">
                    <a:pos x="21" y="0"/>
                  </a:cxn>
                  <a:cxn ang="0">
                    <a:pos x="21" y="57"/>
                  </a:cxn>
                </a:cxnLst>
                <a:rect l="0" t="0" r="r" b="b"/>
                <a:pathLst>
                  <a:path w="21" h="57">
                    <a:moveTo>
                      <a:pt x="21" y="57"/>
                    </a:moveTo>
                    <a:lnTo>
                      <a:pt x="11" y="57"/>
                    </a:lnTo>
                    <a:lnTo>
                      <a:pt x="11" y="10"/>
                    </a:lnTo>
                    <a:lnTo>
                      <a:pt x="0" y="10"/>
                    </a:lnTo>
                    <a:lnTo>
                      <a:pt x="4" y="0"/>
                    </a:lnTo>
                    <a:lnTo>
                      <a:pt x="21" y="0"/>
                    </a:lnTo>
                    <a:lnTo>
                      <a:pt x="21"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299" name="Freeform 159"/>
              <p:cNvSpPr>
                <a:spLocks noEditPoints="1"/>
              </p:cNvSpPr>
              <p:nvPr/>
            </p:nvSpPr>
            <p:spPr bwMode="auto">
              <a:xfrm>
                <a:off x="2402789" y="3326629"/>
                <a:ext cx="60938" cy="89224"/>
              </a:xfrm>
              <a:custGeom>
                <a:avLst/>
                <a:gdLst/>
                <a:ahLst/>
                <a:cxnLst>
                  <a:cxn ang="0">
                    <a:pos x="51" y="37"/>
                  </a:cxn>
                  <a:cxn ang="0">
                    <a:pos x="44" y="65"/>
                  </a:cxn>
                  <a:cxn ang="0">
                    <a:pos x="25" y="75"/>
                  </a:cxn>
                  <a:cxn ang="0">
                    <a:pos x="7" y="65"/>
                  </a:cxn>
                  <a:cxn ang="0">
                    <a:pos x="0" y="37"/>
                  </a:cxn>
                  <a:cxn ang="0">
                    <a:pos x="7" y="10"/>
                  </a:cxn>
                  <a:cxn ang="0">
                    <a:pos x="25" y="0"/>
                  </a:cxn>
                  <a:cxn ang="0">
                    <a:pos x="44" y="10"/>
                  </a:cxn>
                  <a:cxn ang="0">
                    <a:pos x="51" y="37"/>
                  </a:cxn>
                  <a:cxn ang="0">
                    <a:pos x="37" y="37"/>
                  </a:cxn>
                  <a:cxn ang="0">
                    <a:pos x="34" y="19"/>
                  </a:cxn>
                  <a:cxn ang="0">
                    <a:pos x="25" y="12"/>
                  </a:cxn>
                  <a:cxn ang="0">
                    <a:pos x="17" y="19"/>
                  </a:cxn>
                  <a:cxn ang="0">
                    <a:pos x="13" y="37"/>
                  </a:cxn>
                  <a:cxn ang="0">
                    <a:pos x="17" y="56"/>
                  </a:cxn>
                  <a:cxn ang="0">
                    <a:pos x="25" y="63"/>
                  </a:cxn>
                  <a:cxn ang="0">
                    <a:pos x="34" y="56"/>
                  </a:cxn>
                  <a:cxn ang="0">
                    <a:pos x="37" y="37"/>
                  </a:cxn>
                </a:cxnLst>
                <a:rect l="0" t="0" r="r" b="b"/>
                <a:pathLst>
                  <a:path w="51" h="75">
                    <a:moveTo>
                      <a:pt x="51" y="37"/>
                    </a:moveTo>
                    <a:cubicBezTo>
                      <a:pt x="51" y="49"/>
                      <a:pt x="49" y="58"/>
                      <a:pt x="44" y="65"/>
                    </a:cubicBezTo>
                    <a:cubicBezTo>
                      <a:pt x="39" y="72"/>
                      <a:pt x="33" y="75"/>
                      <a:pt x="25" y="75"/>
                    </a:cubicBezTo>
                    <a:cubicBezTo>
                      <a:pt x="18" y="75"/>
                      <a:pt x="11" y="72"/>
                      <a:pt x="7" y="65"/>
                    </a:cubicBezTo>
                    <a:cubicBezTo>
                      <a:pt x="2" y="58"/>
                      <a:pt x="0" y="49"/>
                      <a:pt x="0" y="37"/>
                    </a:cubicBezTo>
                    <a:cubicBezTo>
                      <a:pt x="0" y="26"/>
                      <a:pt x="2" y="17"/>
                      <a:pt x="7" y="10"/>
                    </a:cubicBezTo>
                    <a:cubicBezTo>
                      <a:pt x="11" y="3"/>
                      <a:pt x="18" y="0"/>
                      <a:pt x="25" y="0"/>
                    </a:cubicBezTo>
                    <a:cubicBezTo>
                      <a:pt x="33" y="0"/>
                      <a:pt x="40" y="3"/>
                      <a:pt x="44" y="10"/>
                    </a:cubicBezTo>
                    <a:cubicBezTo>
                      <a:pt x="49" y="17"/>
                      <a:pt x="51" y="26"/>
                      <a:pt x="51" y="37"/>
                    </a:cubicBezTo>
                    <a:close/>
                    <a:moveTo>
                      <a:pt x="37" y="37"/>
                    </a:moveTo>
                    <a:cubicBezTo>
                      <a:pt x="37" y="30"/>
                      <a:pt x="36" y="24"/>
                      <a:pt x="34" y="19"/>
                    </a:cubicBezTo>
                    <a:cubicBezTo>
                      <a:pt x="32" y="14"/>
                      <a:pt x="29" y="12"/>
                      <a:pt x="25" y="12"/>
                    </a:cubicBezTo>
                    <a:cubicBezTo>
                      <a:pt x="22" y="12"/>
                      <a:pt x="19" y="14"/>
                      <a:pt x="17" y="19"/>
                    </a:cubicBezTo>
                    <a:cubicBezTo>
                      <a:pt x="15" y="24"/>
                      <a:pt x="13" y="30"/>
                      <a:pt x="13" y="37"/>
                    </a:cubicBezTo>
                    <a:cubicBezTo>
                      <a:pt x="13" y="45"/>
                      <a:pt x="15" y="51"/>
                      <a:pt x="17" y="56"/>
                    </a:cubicBezTo>
                    <a:cubicBezTo>
                      <a:pt x="19" y="60"/>
                      <a:pt x="22" y="63"/>
                      <a:pt x="25" y="63"/>
                    </a:cubicBezTo>
                    <a:cubicBezTo>
                      <a:pt x="29" y="63"/>
                      <a:pt x="32" y="61"/>
                      <a:pt x="34" y="56"/>
                    </a:cubicBezTo>
                    <a:cubicBezTo>
                      <a:pt x="36" y="51"/>
                      <a:pt x="37" y="45"/>
                      <a:pt x="37"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0" name="Freeform 160"/>
              <p:cNvSpPr>
                <a:spLocks/>
              </p:cNvSpPr>
              <p:nvPr/>
            </p:nvSpPr>
            <p:spPr bwMode="auto">
              <a:xfrm>
                <a:off x="2465290" y="3326629"/>
                <a:ext cx="32813" cy="89224"/>
              </a:xfrm>
              <a:custGeom>
                <a:avLst/>
                <a:gdLst/>
                <a:ahLst/>
                <a:cxnLst>
                  <a:cxn ang="0">
                    <a:pos x="21" y="57"/>
                  </a:cxn>
                  <a:cxn ang="0">
                    <a:pos x="10" y="57"/>
                  </a:cxn>
                  <a:cxn ang="0">
                    <a:pos x="10" y="10"/>
                  </a:cxn>
                  <a:cxn ang="0">
                    <a:pos x="0" y="10"/>
                  </a:cxn>
                  <a:cxn ang="0">
                    <a:pos x="4" y="0"/>
                  </a:cxn>
                  <a:cxn ang="0">
                    <a:pos x="21" y="0"/>
                  </a:cxn>
                  <a:cxn ang="0">
                    <a:pos x="21" y="57"/>
                  </a:cxn>
                </a:cxnLst>
                <a:rect l="0" t="0" r="r" b="b"/>
                <a:pathLst>
                  <a:path w="21" h="57">
                    <a:moveTo>
                      <a:pt x="21" y="57"/>
                    </a:moveTo>
                    <a:lnTo>
                      <a:pt x="10" y="57"/>
                    </a:lnTo>
                    <a:lnTo>
                      <a:pt x="10" y="10"/>
                    </a:lnTo>
                    <a:lnTo>
                      <a:pt x="0" y="10"/>
                    </a:lnTo>
                    <a:lnTo>
                      <a:pt x="4" y="0"/>
                    </a:lnTo>
                    <a:lnTo>
                      <a:pt x="21" y="0"/>
                    </a:lnTo>
                    <a:lnTo>
                      <a:pt x="21"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1" name="Freeform 161"/>
              <p:cNvSpPr>
                <a:spLocks/>
              </p:cNvSpPr>
              <p:nvPr/>
            </p:nvSpPr>
            <p:spPr bwMode="auto">
              <a:xfrm>
                <a:off x="2505915" y="3326629"/>
                <a:ext cx="32813" cy="89224"/>
              </a:xfrm>
              <a:custGeom>
                <a:avLst/>
                <a:gdLst/>
                <a:ahLst/>
                <a:cxnLst>
                  <a:cxn ang="0">
                    <a:pos x="21" y="57"/>
                  </a:cxn>
                  <a:cxn ang="0">
                    <a:pos x="11" y="57"/>
                  </a:cxn>
                  <a:cxn ang="0">
                    <a:pos x="11" y="10"/>
                  </a:cxn>
                  <a:cxn ang="0">
                    <a:pos x="0" y="10"/>
                  </a:cxn>
                  <a:cxn ang="0">
                    <a:pos x="4" y="0"/>
                  </a:cxn>
                  <a:cxn ang="0">
                    <a:pos x="21" y="0"/>
                  </a:cxn>
                  <a:cxn ang="0">
                    <a:pos x="21" y="57"/>
                  </a:cxn>
                </a:cxnLst>
                <a:rect l="0" t="0" r="r" b="b"/>
                <a:pathLst>
                  <a:path w="21" h="57">
                    <a:moveTo>
                      <a:pt x="21" y="57"/>
                    </a:moveTo>
                    <a:lnTo>
                      <a:pt x="11" y="57"/>
                    </a:lnTo>
                    <a:lnTo>
                      <a:pt x="11" y="10"/>
                    </a:lnTo>
                    <a:lnTo>
                      <a:pt x="0" y="10"/>
                    </a:lnTo>
                    <a:lnTo>
                      <a:pt x="4" y="0"/>
                    </a:lnTo>
                    <a:lnTo>
                      <a:pt x="21" y="0"/>
                    </a:lnTo>
                    <a:lnTo>
                      <a:pt x="21"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2" name="Freeform 162"/>
              <p:cNvSpPr>
                <a:spLocks/>
              </p:cNvSpPr>
              <p:nvPr/>
            </p:nvSpPr>
            <p:spPr bwMode="auto">
              <a:xfrm>
                <a:off x="2546541" y="3326629"/>
                <a:ext cx="32813" cy="89224"/>
              </a:xfrm>
              <a:custGeom>
                <a:avLst/>
                <a:gdLst/>
                <a:ahLst/>
                <a:cxnLst>
                  <a:cxn ang="0">
                    <a:pos x="21" y="57"/>
                  </a:cxn>
                  <a:cxn ang="0">
                    <a:pos x="11" y="57"/>
                  </a:cxn>
                  <a:cxn ang="0">
                    <a:pos x="11" y="10"/>
                  </a:cxn>
                  <a:cxn ang="0">
                    <a:pos x="0" y="10"/>
                  </a:cxn>
                  <a:cxn ang="0">
                    <a:pos x="5" y="0"/>
                  </a:cxn>
                  <a:cxn ang="0">
                    <a:pos x="21" y="0"/>
                  </a:cxn>
                  <a:cxn ang="0">
                    <a:pos x="21" y="57"/>
                  </a:cxn>
                </a:cxnLst>
                <a:rect l="0" t="0" r="r" b="b"/>
                <a:pathLst>
                  <a:path w="21" h="57">
                    <a:moveTo>
                      <a:pt x="21" y="57"/>
                    </a:moveTo>
                    <a:lnTo>
                      <a:pt x="11" y="57"/>
                    </a:lnTo>
                    <a:lnTo>
                      <a:pt x="11" y="10"/>
                    </a:lnTo>
                    <a:lnTo>
                      <a:pt x="0" y="10"/>
                    </a:lnTo>
                    <a:lnTo>
                      <a:pt x="5" y="0"/>
                    </a:lnTo>
                    <a:lnTo>
                      <a:pt x="21" y="0"/>
                    </a:lnTo>
                    <a:lnTo>
                      <a:pt x="21"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3" name="Freeform 163"/>
              <p:cNvSpPr>
                <a:spLocks/>
              </p:cNvSpPr>
              <p:nvPr/>
            </p:nvSpPr>
            <p:spPr bwMode="auto">
              <a:xfrm>
                <a:off x="2587167" y="3326629"/>
                <a:ext cx="34376" cy="89224"/>
              </a:xfrm>
              <a:custGeom>
                <a:avLst/>
                <a:gdLst/>
                <a:ahLst/>
                <a:cxnLst>
                  <a:cxn ang="0">
                    <a:pos x="22" y="57"/>
                  </a:cxn>
                  <a:cxn ang="0">
                    <a:pos x="11" y="57"/>
                  </a:cxn>
                  <a:cxn ang="0">
                    <a:pos x="11" y="10"/>
                  </a:cxn>
                  <a:cxn ang="0">
                    <a:pos x="0" y="10"/>
                  </a:cxn>
                  <a:cxn ang="0">
                    <a:pos x="5" y="0"/>
                  </a:cxn>
                  <a:cxn ang="0">
                    <a:pos x="22" y="0"/>
                  </a:cxn>
                  <a:cxn ang="0">
                    <a:pos x="22" y="57"/>
                  </a:cxn>
                </a:cxnLst>
                <a:rect l="0" t="0" r="r" b="b"/>
                <a:pathLst>
                  <a:path w="22" h="57">
                    <a:moveTo>
                      <a:pt x="22" y="57"/>
                    </a:moveTo>
                    <a:lnTo>
                      <a:pt x="11" y="57"/>
                    </a:lnTo>
                    <a:lnTo>
                      <a:pt x="11" y="10"/>
                    </a:lnTo>
                    <a:lnTo>
                      <a:pt x="0" y="10"/>
                    </a:lnTo>
                    <a:lnTo>
                      <a:pt x="5" y="0"/>
                    </a:lnTo>
                    <a:lnTo>
                      <a:pt x="22" y="0"/>
                    </a:lnTo>
                    <a:lnTo>
                      <a:pt x="22"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4" name="Freeform 164"/>
              <p:cNvSpPr>
                <a:spLocks noEditPoints="1"/>
              </p:cNvSpPr>
              <p:nvPr/>
            </p:nvSpPr>
            <p:spPr bwMode="auto">
              <a:xfrm>
                <a:off x="2635605" y="3326629"/>
                <a:ext cx="60938" cy="89224"/>
              </a:xfrm>
              <a:custGeom>
                <a:avLst/>
                <a:gdLst/>
                <a:ahLst/>
                <a:cxnLst>
                  <a:cxn ang="0">
                    <a:pos x="51" y="37"/>
                  </a:cxn>
                  <a:cxn ang="0">
                    <a:pos x="44" y="65"/>
                  </a:cxn>
                  <a:cxn ang="0">
                    <a:pos x="25" y="75"/>
                  </a:cxn>
                  <a:cxn ang="0">
                    <a:pos x="7" y="65"/>
                  </a:cxn>
                  <a:cxn ang="0">
                    <a:pos x="0" y="37"/>
                  </a:cxn>
                  <a:cxn ang="0">
                    <a:pos x="7" y="10"/>
                  </a:cxn>
                  <a:cxn ang="0">
                    <a:pos x="25" y="0"/>
                  </a:cxn>
                  <a:cxn ang="0">
                    <a:pos x="44" y="10"/>
                  </a:cxn>
                  <a:cxn ang="0">
                    <a:pos x="51" y="37"/>
                  </a:cxn>
                  <a:cxn ang="0">
                    <a:pos x="37" y="37"/>
                  </a:cxn>
                  <a:cxn ang="0">
                    <a:pos x="34" y="19"/>
                  </a:cxn>
                  <a:cxn ang="0">
                    <a:pos x="25" y="12"/>
                  </a:cxn>
                  <a:cxn ang="0">
                    <a:pos x="17" y="19"/>
                  </a:cxn>
                  <a:cxn ang="0">
                    <a:pos x="13" y="37"/>
                  </a:cxn>
                  <a:cxn ang="0">
                    <a:pos x="17" y="56"/>
                  </a:cxn>
                  <a:cxn ang="0">
                    <a:pos x="25" y="63"/>
                  </a:cxn>
                  <a:cxn ang="0">
                    <a:pos x="34" y="56"/>
                  </a:cxn>
                  <a:cxn ang="0">
                    <a:pos x="37" y="37"/>
                  </a:cxn>
                </a:cxnLst>
                <a:rect l="0" t="0" r="r" b="b"/>
                <a:pathLst>
                  <a:path w="51" h="75">
                    <a:moveTo>
                      <a:pt x="51" y="37"/>
                    </a:moveTo>
                    <a:cubicBezTo>
                      <a:pt x="51" y="49"/>
                      <a:pt x="49" y="58"/>
                      <a:pt x="44" y="65"/>
                    </a:cubicBezTo>
                    <a:cubicBezTo>
                      <a:pt x="39" y="72"/>
                      <a:pt x="33" y="75"/>
                      <a:pt x="25" y="75"/>
                    </a:cubicBezTo>
                    <a:cubicBezTo>
                      <a:pt x="17" y="75"/>
                      <a:pt x="11" y="72"/>
                      <a:pt x="7" y="65"/>
                    </a:cubicBezTo>
                    <a:cubicBezTo>
                      <a:pt x="2" y="58"/>
                      <a:pt x="0" y="49"/>
                      <a:pt x="0" y="37"/>
                    </a:cubicBezTo>
                    <a:cubicBezTo>
                      <a:pt x="0" y="26"/>
                      <a:pt x="2" y="17"/>
                      <a:pt x="7" y="10"/>
                    </a:cubicBezTo>
                    <a:cubicBezTo>
                      <a:pt x="11" y="3"/>
                      <a:pt x="18" y="0"/>
                      <a:pt x="25" y="0"/>
                    </a:cubicBezTo>
                    <a:cubicBezTo>
                      <a:pt x="33" y="0"/>
                      <a:pt x="39" y="3"/>
                      <a:pt x="44" y="10"/>
                    </a:cubicBezTo>
                    <a:cubicBezTo>
                      <a:pt x="49" y="17"/>
                      <a:pt x="51" y="26"/>
                      <a:pt x="51" y="37"/>
                    </a:cubicBezTo>
                    <a:close/>
                    <a:moveTo>
                      <a:pt x="37" y="37"/>
                    </a:moveTo>
                    <a:cubicBezTo>
                      <a:pt x="37" y="30"/>
                      <a:pt x="36" y="24"/>
                      <a:pt x="34" y="19"/>
                    </a:cubicBezTo>
                    <a:cubicBezTo>
                      <a:pt x="32" y="14"/>
                      <a:pt x="29" y="12"/>
                      <a:pt x="25" y="12"/>
                    </a:cubicBezTo>
                    <a:cubicBezTo>
                      <a:pt x="22" y="12"/>
                      <a:pt x="19" y="14"/>
                      <a:pt x="17" y="19"/>
                    </a:cubicBezTo>
                    <a:cubicBezTo>
                      <a:pt x="15" y="24"/>
                      <a:pt x="13" y="30"/>
                      <a:pt x="13" y="37"/>
                    </a:cubicBezTo>
                    <a:cubicBezTo>
                      <a:pt x="13" y="45"/>
                      <a:pt x="15" y="51"/>
                      <a:pt x="17" y="56"/>
                    </a:cubicBezTo>
                    <a:cubicBezTo>
                      <a:pt x="19" y="60"/>
                      <a:pt x="22" y="63"/>
                      <a:pt x="25" y="63"/>
                    </a:cubicBezTo>
                    <a:cubicBezTo>
                      <a:pt x="29" y="63"/>
                      <a:pt x="32" y="61"/>
                      <a:pt x="34" y="56"/>
                    </a:cubicBezTo>
                    <a:cubicBezTo>
                      <a:pt x="36" y="51"/>
                      <a:pt x="37" y="45"/>
                      <a:pt x="37"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5" name="Freeform 165"/>
              <p:cNvSpPr>
                <a:spLocks noEditPoints="1"/>
              </p:cNvSpPr>
              <p:nvPr/>
            </p:nvSpPr>
            <p:spPr bwMode="auto">
              <a:xfrm>
                <a:off x="2701231" y="3326629"/>
                <a:ext cx="62501" cy="89224"/>
              </a:xfrm>
              <a:custGeom>
                <a:avLst/>
                <a:gdLst/>
                <a:ahLst/>
                <a:cxnLst>
                  <a:cxn ang="0">
                    <a:pos x="52" y="37"/>
                  </a:cxn>
                  <a:cxn ang="0">
                    <a:pos x="45" y="65"/>
                  </a:cxn>
                  <a:cxn ang="0">
                    <a:pos x="26" y="75"/>
                  </a:cxn>
                  <a:cxn ang="0">
                    <a:pos x="7" y="65"/>
                  </a:cxn>
                  <a:cxn ang="0">
                    <a:pos x="0" y="37"/>
                  </a:cxn>
                  <a:cxn ang="0">
                    <a:pos x="7" y="10"/>
                  </a:cxn>
                  <a:cxn ang="0">
                    <a:pos x="26" y="0"/>
                  </a:cxn>
                  <a:cxn ang="0">
                    <a:pos x="45" y="10"/>
                  </a:cxn>
                  <a:cxn ang="0">
                    <a:pos x="52" y="37"/>
                  </a:cxn>
                  <a:cxn ang="0">
                    <a:pos x="38" y="37"/>
                  </a:cxn>
                  <a:cxn ang="0">
                    <a:pos x="35" y="19"/>
                  </a:cxn>
                  <a:cxn ang="0">
                    <a:pos x="26" y="12"/>
                  </a:cxn>
                  <a:cxn ang="0">
                    <a:pos x="17" y="19"/>
                  </a:cxn>
                  <a:cxn ang="0">
                    <a:pos x="14" y="37"/>
                  </a:cxn>
                  <a:cxn ang="0">
                    <a:pos x="17" y="56"/>
                  </a:cxn>
                  <a:cxn ang="0">
                    <a:pos x="26" y="63"/>
                  </a:cxn>
                  <a:cxn ang="0">
                    <a:pos x="35" y="56"/>
                  </a:cxn>
                  <a:cxn ang="0">
                    <a:pos x="38" y="37"/>
                  </a:cxn>
                </a:cxnLst>
                <a:rect l="0" t="0" r="r" b="b"/>
                <a:pathLst>
                  <a:path w="52" h="75">
                    <a:moveTo>
                      <a:pt x="52" y="37"/>
                    </a:moveTo>
                    <a:cubicBezTo>
                      <a:pt x="52" y="49"/>
                      <a:pt x="49" y="58"/>
                      <a:pt x="45" y="65"/>
                    </a:cubicBezTo>
                    <a:cubicBezTo>
                      <a:pt x="40" y="72"/>
                      <a:pt x="34" y="75"/>
                      <a:pt x="26" y="75"/>
                    </a:cubicBezTo>
                    <a:cubicBezTo>
                      <a:pt x="18" y="75"/>
                      <a:pt x="12" y="72"/>
                      <a:pt x="7" y="65"/>
                    </a:cubicBezTo>
                    <a:cubicBezTo>
                      <a:pt x="2" y="58"/>
                      <a:pt x="0" y="49"/>
                      <a:pt x="0" y="37"/>
                    </a:cubicBezTo>
                    <a:cubicBezTo>
                      <a:pt x="0" y="26"/>
                      <a:pt x="2" y="17"/>
                      <a:pt x="7" y="10"/>
                    </a:cubicBezTo>
                    <a:cubicBezTo>
                      <a:pt x="12" y="3"/>
                      <a:pt x="18" y="0"/>
                      <a:pt x="26" y="0"/>
                    </a:cubicBezTo>
                    <a:cubicBezTo>
                      <a:pt x="34" y="0"/>
                      <a:pt x="40" y="3"/>
                      <a:pt x="45" y="10"/>
                    </a:cubicBezTo>
                    <a:cubicBezTo>
                      <a:pt x="49" y="17"/>
                      <a:pt x="52" y="26"/>
                      <a:pt x="52" y="37"/>
                    </a:cubicBezTo>
                    <a:close/>
                    <a:moveTo>
                      <a:pt x="38" y="37"/>
                    </a:moveTo>
                    <a:cubicBezTo>
                      <a:pt x="38" y="30"/>
                      <a:pt x="37" y="24"/>
                      <a:pt x="35" y="19"/>
                    </a:cubicBezTo>
                    <a:cubicBezTo>
                      <a:pt x="32" y="14"/>
                      <a:pt x="29" y="12"/>
                      <a:pt x="26" y="12"/>
                    </a:cubicBezTo>
                    <a:cubicBezTo>
                      <a:pt x="22" y="12"/>
                      <a:pt x="19" y="14"/>
                      <a:pt x="17" y="19"/>
                    </a:cubicBezTo>
                    <a:cubicBezTo>
                      <a:pt x="15" y="24"/>
                      <a:pt x="14" y="30"/>
                      <a:pt x="14" y="37"/>
                    </a:cubicBezTo>
                    <a:cubicBezTo>
                      <a:pt x="14" y="45"/>
                      <a:pt x="15" y="51"/>
                      <a:pt x="17" y="56"/>
                    </a:cubicBezTo>
                    <a:cubicBezTo>
                      <a:pt x="19" y="60"/>
                      <a:pt x="22" y="63"/>
                      <a:pt x="26" y="63"/>
                    </a:cubicBezTo>
                    <a:cubicBezTo>
                      <a:pt x="29" y="63"/>
                      <a:pt x="32" y="61"/>
                      <a:pt x="35"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6" name="Freeform 166"/>
              <p:cNvSpPr>
                <a:spLocks/>
              </p:cNvSpPr>
              <p:nvPr/>
            </p:nvSpPr>
            <p:spPr bwMode="auto">
              <a:xfrm>
                <a:off x="2765294" y="3326629"/>
                <a:ext cx="32813" cy="89224"/>
              </a:xfrm>
              <a:custGeom>
                <a:avLst/>
                <a:gdLst/>
                <a:ahLst/>
                <a:cxnLst>
                  <a:cxn ang="0">
                    <a:pos x="21" y="57"/>
                  </a:cxn>
                  <a:cxn ang="0">
                    <a:pos x="11" y="57"/>
                  </a:cxn>
                  <a:cxn ang="0">
                    <a:pos x="11" y="10"/>
                  </a:cxn>
                  <a:cxn ang="0">
                    <a:pos x="0" y="10"/>
                  </a:cxn>
                  <a:cxn ang="0">
                    <a:pos x="5" y="0"/>
                  </a:cxn>
                  <a:cxn ang="0">
                    <a:pos x="21" y="0"/>
                  </a:cxn>
                  <a:cxn ang="0">
                    <a:pos x="21" y="57"/>
                  </a:cxn>
                </a:cxnLst>
                <a:rect l="0" t="0" r="r" b="b"/>
                <a:pathLst>
                  <a:path w="21" h="57">
                    <a:moveTo>
                      <a:pt x="21" y="57"/>
                    </a:moveTo>
                    <a:lnTo>
                      <a:pt x="11" y="57"/>
                    </a:lnTo>
                    <a:lnTo>
                      <a:pt x="11" y="10"/>
                    </a:lnTo>
                    <a:lnTo>
                      <a:pt x="0" y="10"/>
                    </a:lnTo>
                    <a:lnTo>
                      <a:pt x="5" y="0"/>
                    </a:lnTo>
                    <a:lnTo>
                      <a:pt x="21" y="0"/>
                    </a:lnTo>
                    <a:lnTo>
                      <a:pt x="21"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7" name="Freeform 167"/>
              <p:cNvSpPr>
                <a:spLocks/>
              </p:cNvSpPr>
              <p:nvPr/>
            </p:nvSpPr>
            <p:spPr bwMode="auto">
              <a:xfrm>
                <a:off x="2805920" y="3326629"/>
                <a:ext cx="32813" cy="89224"/>
              </a:xfrm>
              <a:custGeom>
                <a:avLst/>
                <a:gdLst/>
                <a:ahLst/>
                <a:cxnLst>
                  <a:cxn ang="0">
                    <a:pos x="21" y="57"/>
                  </a:cxn>
                  <a:cxn ang="0">
                    <a:pos x="10" y="57"/>
                  </a:cxn>
                  <a:cxn ang="0">
                    <a:pos x="10" y="10"/>
                  </a:cxn>
                  <a:cxn ang="0">
                    <a:pos x="0" y="10"/>
                  </a:cxn>
                  <a:cxn ang="0">
                    <a:pos x="5" y="0"/>
                  </a:cxn>
                  <a:cxn ang="0">
                    <a:pos x="21" y="0"/>
                  </a:cxn>
                  <a:cxn ang="0">
                    <a:pos x="21" y="57"/>
                  </a:cxn>
                </a:cxnLst>
                <a:rect l="0" t="0" r="r" b="b"/>
                <a:pathLst>
                  <a:path w="21" h="57">
                    <a:moveTo>
                      <a:pt x="21" y="57"/>
                    </a:moveTo>
                    <a:lnTo>
                      <a:pt x="10" y="57"/>
                    </a:lnTo>
                    <a:lnTo>
                      <a:pt x="10" y="10"/>
                    </a:lnTo>
                    <a:lnTo>
                      <a:pt x="0" y="10"/>
                    </a:lnTo>
                    <a:lnTo>
                      <a:pt x="5" y="0"/>
                    </a:lnTo>
                    <a:lnTo>
                      <a:pt x="21" y="0"/>
                    </a:lnTo>
                    <a:lnTo>
                      <a:pt x="21"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8" name="Freeform 168"/>
              <p:cNvSpPr>
                <a:spLocks noEditPoints="1"/>
              </p:cNvSpPr>
              <p:nvPr/>
            </p:nvSpPr>
            <p:spPr bwMode="auto">
              <a:xfrm>
                <a:off x="2852796" y="3326629"/>
                <a:ext cx="62501" cy="89224"/>
              </a:xfrm>
              <a:custGeom>
                <a:avLst/>
                <a:gdLst/>
                <a:ahLst/>
                <a:cxnLst>
                  <a:cxn ang="0">
                    <a:pos x="52" y="37"/>
                  </a:cxn>
                  <a:cxn ang="0">
                    <a:pos x="45" y="65"/>
                  </a:cxn>
                  <a:cxn ang="0">
                    <a:pos x="26" y="75"/>
                  </a:cxn>
                  <a:cxn ang="0">
                    <a:pos x="7" y="65"/>
                  </a:cxn>
                  <a:cxn ang="0">
                    <a:pos x="0" y="37"/>
                  </a:cxn>
                  <a:cxn ang="0">
                    <a:pos x="7" y="10"/>
                  </a:cxn>
                  <a:cxn ang="0">
                    <a:pos x="26" y="0"/>
                  </a:cxn>
                  <a:cxn ang="0">
                    <a:pos x="45" y="10"/>
                  </a:cxn>
                  <a:cxn ang="0">
                    <a:pos x="52" y="37"/>
                  </a:cxn>
                  <a:cxn ang="0">
                    <a:pos x="38" y="37"/>
                  </a:cxn>
                  <a:cxn ang="0">
                    <a:pos x="35" y="19"/>
                  </a:cxn>
                  <a:cxn ang="0">
                    <a:pos x="26" y="12"/>
                  </a:cxn>
                  <a:cxn ang="0">
                    <a:pos x="17" y="19"/>
                  </a:cxn>
                  <a:cxn ang="0">
                    <a:pos x="14" y="37"/>
                  </a:cxn>
                  <a:cxn ang="0">
                    <a:pos x="17" y="56"/>
                  </a:cxn>
                  <a:cxn ang="0">
                    <a:pos x="26" y="63"/>
                  </a:cxn>
                  <a:cxn ang="0">
                    <a:pos x="35" y="56"/>
                  </a:cxn>
                  <a:cxn ang="0">
                    <a:pos x="38" y="37"/>
                  </a:cxn>
                </a:cxnLst>
                <a:rect l="0" t="0" r="r" b="b"/>
                <a:pathLst>
                  <a:path w="52" h="75">
                    <a:moveTo>
                      <a:pt x="52" y="37"/>
                    </a:moveTo>
                    <a:cubicBezTo>
                      <a:pt x="52" y="49"/>
                      <a:pt x="50" y="58"/>
                      <a:pt x="45" y="65"/>
                    </a:cubicBezTo>
                    <a:cubicBezTo>
                      <a:pt x="40" y="72"/>
                      <a:pt x="34" y="75"/>
                      <a:pt x="26" y="75"/>
                    </a:cubicBezTo>
                    <a:cubicBezTo>
                      <a:pt x="18" y="75"/>
                      <a:pt x="12" y="72"/>
                      <a:pt x="7" y="65"/>
                    </a:cubicBezTo>
                    <a:cubicBezTo>
                      <a:pt x="3" y="58"/>
                      <a:pt x="0" y="49"/>
                      <a:pt x="0" y="37"/>
                    </a:cubicBezTo>
                    <a:cubicBezTo>
                      <a:pt x="0" y="26"/>
                      <a:pt x="3" y="17"/>
                      <a:pt x="7" y="10"/>
                    </a:cubicBezTo>
                    <a:cubicBezTo>
                      <a:pt x="12" y="3"/>
                      <a:pt x="18" y="0"/>
                      <a:pt x="26" y="0"/>
                    </a:cubicBezTo>
                    <a:cubicBezTo>
                      <a:pt x="34" y="0"/>
                      <a:pt x="40" y="3"/>
                      <a:pt x="45" y="10"/>
                    </a:cubicBezTo>
                    <a:cubicBezTo>
                      <a:pt x="50" y="17"/>
                      <a:pt x="52" y="26"/>
                      <a:pt x="52" y="37"/>
                    </a:cubicBezTo>
                    <a:close/>
                    <a:moveTo>
                      <a:pt x="38" y="37"/>
                    </a:moveTo>
                    <a:cubicBezTo>
                      <a:pt x="38" y="30"/>
                      <a:pt x="37" y="24"/>
                      <a:pt x="35" y="19"/>
                    </a:cubicBezTo>
                    <a:cubicBezTo>
                      <a:pt x="32" y="14"/>
                      <a:pt x="30" y="12"/>
                      <a:pt x="26" y="12"/>
                    </a:cubicBezTo>
                    <a:cubicBezTo>
                      <a:pt x="22" y="12"/>
                      <a:pt x="20" y="14"/>
                      <a:pt x="17" y="19"/>
                    </a:cubicBezTo>
                    <a:cubicBezTo>
                      <a:pt x="15" y="24"/>
                      <a:pt x="14" y="30"/>
                      <a:pt x="14" y="37"/>
                    </a:cubicBezTo>
                    <a:cubicBezTo>
                      <a:pt x="14" y="45"/>
                      <a:pt x="15" y="51"/>
                      <a:pt x="17" y="56"/>
                    </a:cubicBezTo>
                    <a:cubicBezTo>
                      <a:pt x="20" y="60"/>
                      <a:pt x="22" y="63"/>
                      <a:pt x="26" y="63"/>
                    </a:cubicBezTo>
                    <a:cubicBezTo>
                      <a:pt x="30" y="63"/>
                      <a:pt x="33" y="61"/>
                      <a:pt x="35"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9" name="Freeform 169"/>
              <p:cNvSpPr>
                <a:spLocks/>
              </p:cNvSpPr>
              <p:nvPr/>
            </p:nvSpPr>
            <p:spPr bwMode="auto">
              <a:xfrm>
                <a:off x="2916859" y="3326629"/>
                <a:ext cx="32813" cy="89224"/>
              </a:xfrm>
              <a:custGeom>
                <a:avLst/>
                <a:gdLst/>
                <a:ahLst/>
                <a:cxnLst>
                  <a:cxn ang="0">
                    <a:pos x="21" y="57"/>
                  </a:cxn>
                  <a:cxn ang="0">
                    <a:pos x="11" y="57"/>
                  </a:cxn>
                  <a:cxn ang="0">
                    <a:pos x="11" y="10"/>
                  </a:cxn>
                  <a:cxn ang="0">
                    <a:pos x="0" y="10"/>
                  </a:cxn>
                  <a:cxn ang="0">
                    <a:pos x="4" y="0"/>
                  </a:cxn>
                  <a:cxn ang="0">
                    <a:pos x="21" y="0"/>
                  </a:cxn>
                  <a:cxn ang="0">
                    <a:pos x="21" y="57"/>
                  </a:cxn>
                </a:cxnLst>
                <a:rect l="0" t="0" r="r" b="b"/>
                <a:pathLst>
                  <a:path w="21" h="57">
                    <a:moveTo>
                      <a:pt x="21" y="57"/>
                    </a:moveTo>
                    <a:lnTo>
                      <a:pt x="11" y="57"/>
                    </a:lnTo>
                    <a:lnTo>
                      <a:pt x="11" y="10"/>
                    </a:lnTo>
                    <a:lnTo>
                      <a:pt x="0" y="10"/>
                    </a:lnTo>
                    <a:lnTo>
                      <a:pt x="4" y="0"/>
                    </a:lnTo>
                    <a:lnTo>
                      <a:pt x="21" y="0"/>
                    </a:lnTo>
                    <a:lnTo>
                      <a:pt x="21"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0" name="Freeform 170"/>
              <p:cNvSpPr>
                <a:spLocks noEditPoints="1"/>
              </p:cNvSpPr>
              <p:nvPr/>
            </p:nvSpPr>
            <p:spPr bwMode="auto">
              <a:xfrm>
                <a:off x="2963735" y="3326629"/>
                <a:ext cx="62501" cy="89224"/>
              </a:xfrm>
              <a:custGeom>
                <a:avLst/>
                <a:gdLst/>
                <a:ahLst/>
                <a:cxnLst>
                  <a:cxn ang="0">
                    <a:pos x="52" y="37"/>
                  </a:cxn>
                  <a:cxn ang="0">
                    <a:pos x="45" y="65"/>
                  </a:cxn>
                  <a:cxn ang="0">
                    <a:pos x="26" y="75"/>
                  </a:cxn>
                  <a:cxn ang="0">
                    <a:pos x="7" y="65"/>
                  </a:cxn>
                  <a:cxn ang="0">
                    <a:pos x="0" y="37"/>
                  </a:cxn>
                  <a:cxn ang="0">
                    <a:pos x="7" y="10"/>
                  </a:cxn>
                  <a:cxn ang="0">
                    <a:pos x="26" y="0"/>
                  </a:cxn>
                  <a:cxn ang="0">
                    <a:pos x="45" y="10"/>
                  </a:cxn>
                  <a:cxn ang="0">
                    <a:pos x="52" y="37"/>
                  </a:cxn>
                  <a:cxn ang="0">
                    <a:pos x="38" y="37"/>
                  </a:cxn>
                  <a:cxn ang="0">
                    <a:pos x="35" y="19"/>
                  </a:cxn>
                  <a:cxn ang="0">
                    <a:pos x="26" y="12"/>
                  </a:cxn>
                  <a:cxn ang="0">
                    <a:pos x="18" y="19"/>
                  </a:cxn>
                  <a:cxn ang="0">
                    <a:pos x="14" y="37"/>
                  </a:cxn>
                  <a:cxn ang="0">
                    <a:pos x="18" y="56"/>
                  </a:cxn>
                  <a:cxn ang="0">
                    <a:pos x="26" y="63"/>
                  </a:cxn>
                  <a:cxn ang="0">
                    <a:pos x="35" y="56"/>
                  </a:cxn>
                  <a:cxn ang="0">
                    <a:pos x="38" y="37"/>
                  </a:cxn>
                </a:cxnLst>
                <a:rect l="0" t="0" r="r" b="b"/>
                <a:pathLst>
                  <a:path w="52" h="75">
                    <a:moveTo>
                      <a:pt x="52" y="37"/>
                    </a:moveTo>
                    <a:cubicBezTo>
                      <a:pt x="52" y="49"/>
                      <a:pt x="50" y="58"/>
                      <a:pt x="45" y="65"/>
                    </a:cubicBezTo>
                    <a:cubicBezTo>
                      <a:pt x="40" y="72"/>
                      <a:pt x="34" y="75"/>
                      <a:pt x="26" y="75"/>
                    </a:cubicBezTo>
                    <a:cubicBezTo>
                      <a:pt x="18" y="75"/>
                      <a:pt x="12" y="72"/>
                      <a:pt x="7" y="65"/>
                    </a:cubicBezTo>
                    <a:cubicBezTo>
                      <a:pt x="3" y="58"/>
                      <a:pt x="0" y="49"/>
                      <a:pt x="0" y="37"/>
                    </a:cubicBezTo>
                    <a:cubicBezTo>
                      <a:pt x="0" y="26"/>
                      <a:pt x="3" y="17"/>
                      <a:pt x="7" y="10"/>
                    </a:cubicBezTo>
                    <a:cubicBezTo>
                      <a:pt x="12" y="3"/>
                      <a:pt x="18" y="0"/>
                      <a:pt x="26" y="0"/>
                    </a:cubicBezTo>
                    <a:cubicBezTo>
                      <a:pt x="34" y="0"/>
                      <a:pt x="40" y="3"/>
                      <a:pt x="45" y="10"/>
                    </a:cubicBezTo>
                    <a:cubicBezTo>
                      <a:pt x="50" y="17"/>
                      <a:pt x="52" y="26"/>
                      <a:pt x="52" y="37"/>
                    </a:cubicBezTo>
                    <a:close/>
                    <a:moveTo>
                      <a:pt x="38" y="37"/>
                    </a:moveTo>
                    <a:cubicBezTo>
                      <a:pt x="38" y="30"/>
                      <a:pt x="37" y="24"/>
                      <a:pt x="35" y="19"/>
                    </a:cubicBezTo>
                    <a:cubicBezTo>
                      <a:pt x="33" y="14"/>
                      <a:pt x="30" y="12"/>
                      <a:pt x="26" y="12"/>
                    </a:cubicBezTo>
                    <a:cubicBezTo>
                      <a:pt x="23" y="12"/>
                      <a:pt x="20" y="14"/>
                      <a:pt x="18" y="19"/>
                    </a:cubicBezTo>
                    <a:cubicBezTo>
                      <a:pt x="15" y="24"/>
                      <a:pt x="14" y="30"/>
                      <a:pt x="14" y="37"/>
                    </a:cubicBezTo>
                    <a:cubicBezTo>
                      <a:pt x="14" y="45"/>
                      <a:pt x="15" y="51"/>
                      <a:pt x="18" y="56"/>
                    </a:cubicBezTo>
                    <a:cubicBezTo>
                      <a:pt x="20" y="60"/>
                      <a:pt x="23" y="63"/>
                      <a:pt x="26" y="63"/>
                    </a:cubicBezTo>
                    <a:cubicBezTo>
                      <a:pt x="30" y="63"/>
                      <a:pt x="33" y="61"/>
                      <a:pt x="35"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1" name="Freeform 171"/>
              <p:cNvSpPr>
                <a:spLocks/>
              </p:cNvSpPr>
              <p:nvPr/>
            </p:nvSpPr>
            <p:spPr bwMode="auto">
              <a:xfrm>
                <a:off x="3027799" y="3326629"/>
                <a:ext cx="32813" cy="89224"/>
              </a:xfrm>
              <a:custGeom>
                <a:avLst/>
                <a:gdLst/>
                <a:ahLst/>
                <a:cxnLst>
                  <a:cxn ang="0">
                    <a:pos x="21" y="57"/>
                  </a:cxn>
                  <a:cxn ang="0">
                    <a:pos x="10" y="57"/>
                  </a:cxn>
                  <a:cxn ang="0">
                    <a:pos x="10" y="10"/>
                  </a:cxn>
                  <a:cxn ang="0">
                    <a:pos x="0" y="10"/>
                  </a:cxn>
                  <a:cxn ang="0">
                    <a:pos x="4" y="0"/>
                  </a:cxn>
                  <a:cxn ang="0">
                    <a:pos x="21" y="0"/>
                  </a:cxn>
                  <a:cxn ang="0">
                    <a:pos x="21" y="57"/>
                  </a:cxn>
                </a:cxnLst>
                <a:rect l="0" t="0" r="r" b="b"/>
                <a:pathLst>
                  <a:path w="21" h="57">
                    <a:moveTo>
                      <a:pt x="21" y="57"/>
                    </a:moveTo>
                    <a:lnTo>
                      <a:pt x="10" y="57"/>
                    </a:lnTo>
                    <a:lnTo>
                      <a:pt x="10" y="10"/>
                    </a:lnTo>
                    <a:lnTo>
                      <a:pt x="0" y="10"/>
                    </a:lnTo>
                    <a:lnTo>
                      <a:pt x="4" y="0"/>
                    </a:lnTo>
                    <a:lnTo>
                      <a:pt x="21" y="0"/>
                    </a:lnTo>
                    <a:lnTo>
                      <a:pt x="21"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2" name="Freeform 172"/>
              <p:cNvSpPr>
                <a:spLocks noEditPoints="1"/>
              </p:cNvSpPr>
              <p:nvPr/>
            </p:nvSpPr>
            <p:spPr bwMode="auto">
              <a:xfrm>
                <a:off x="3074674" y="3326629"/>
                <a:ext cx="62501" cy="89224"/>
              </a:xfrm>
              <a:custGeom>
                <a:avLst/>
                <a:gdLst/>
                <a:ahLst/>
                <a:cxnLst>
                  <a:cxn ang="0">
                    <a:pos x="51" y="37"/>
                  </a:cxn>
                  <a:cxn ang="0">
                    <a:pos x="44" y="65"/>
                  </a:cxn>
                  <a:cxn ang="0">
                    <a:pos x="25" y="75"/>
                  </a:cxn>
                  <a:cxn ang="0">
                    <a:pos x="7" y="65"/>
                  </a:cxn>
                  <a:cxn ang="0">
                    <a:pos x="0" y="37"/>
                  </a:cxn>
                  <a:cxn ang="0">
                    <a:pos x="7" y="10"/>
                  </a:cxn>
                  <a:cxn ang="0">
                    <a:pos x="25" y="0"/>
                  </a:cxn>
                  <a:cxn ang="0">
                    <a:pos x="44" y="10"/>
                  </a:cxn>
                  <a:cxn ang="0">
                    <a:pos x="51" y="37"/>
                  </a:cxn>
                  <a:cxn ang="0">
                    <a:pos x="38" y="37"/>
                  </a:cxn>
                  <a:cxn ang="0">
                    <a:pos x="34" y="19"/>
                  </a:cxn>
                  <a:cxn ang="0">
                    <a:pos x="25" y="12"/>
                  </a:cxn>
                  <a:cxn ang="0">
                    <a:pos x="17" y="19"/>
                  </a:cxn>
                  <a:cxn ang="0">
                    <a:pos x="14" y="37"/>
                  </a:cxn>
                  <a:cxn ang="0">
                    <a:pos x="17" y="56"/>
                  </a:cxn>
                  <a:cxn ang="0">
                    <a:pos x="25" y="63"/>
                  </a:cxn>
                  <a:cxn ang="0">
                    <a:pos x="34" y="56"/>
                  </a:cxn>
                  <a:cxn ang="0">
                    <a:pos x="38" y="37"/>
                  </a:cxn>
                </a:cxnLst>
                <a:rect l="0" t="0" r="r" b="b"/>
                <a:pathLst>
                  <a:path w="51" h="75">
                    <a:moveTo>
                      <a:pt x="51" y="37"/>
                    </a:moveTo>
                    <a:cubicBezTo>
                      <a:pt x="51" y="49"/>
                      <a:pt x="49" y="58"/>
                      <a:pt x="44" y="65"/>
                    </a:cubicBezTo>
                    <a:cubicBezTo>
                      <a:pt x="40" y="72"/>
                      <a:pt x="33" y="75"/>
                      <a:pt x="25" y="75"/>
                    </a:cubicBezTo>
                    <a:cubicBezTo>
                      <a:pt x="18" y="75"/>
                      <a:pt x="11" y="72"/>
                      <a:pt x="7" y="65"/>
                    </a:cubicBezTo>
                    <a:cubicBezTo>
                      <a:pt x="2" y="58"/>
                      <a:pt x="0" y="49"/>
                      <a:pt x="0" y="37"/>
                    </a:cubicBezTo>
                    <a:cubicBezTo>
                      <a:pt x="0" y="26"/>
                      <a:pt x="2" y="17"/>
                      <a:pt x="7" y="10"/>
                    </a:cubicBezTo>
                    <a:cubicBezTo>
                      <a:pt x="11" y="3"/>
                      <a:pt x="18" y="0"/>
                      <a:pt x="25" y="0"/>
                    </a:cubicBezTo>
                    <a:cubicBezTo>
                      <a:pt x="33" y="0"/>
                      <a:pt x="40" y="3"/>
                      <a:pt x="44" y="10"/>
                    </a:cubicBezTo>
                    <a:cubicBezTo>
                      <a:pt x="49" y="17"/>
                      <a:pt x="51" y="26"/>
                      <a:pt x="51" y="37"/>
                    </a:cubicBezTo>
                    <a:close/>
                    <a:moveTo>
                      <a:pt x="38" y="37"/>
                    </a:moveTo>
                    <a:cubicBezTo>
                      <a:pt x="38" y="30"/>
                      <a:pt x="36" y="24"/>
                      <a:pt x="34" y="19"/>
                    </a:cubicBezTo>
                    <a:cubicBezTo>
                      <a:pt x="32" y="14"/>
                      <a:pt x="29" y="12"/>
                      <a:pt x="25" y="12"/>
                    </a:cubicBezTo>
                    <a:cubicBezTo>
                      <a:pt x="22" y="12"/>
                      <a:pt x="19" y="14"/>
                      <a:pt x="17" y="19"/>
                    </a:cubicBezTo>
                    <a:cubicBezTo>
                      <a:pt x="15" y="24"/>
                      <a:pt x="14" y="30"/>
                      <a:pt x="14" y="37"/>
                    </a:cubicBezTo>
                    <a:cubicBezTo>
                      <a:pt x="14" y="45"/>
                      <a:pt x="15" y="51"/>
                      <a:pt x="17" y="56"/>
                    </a:cubicBezTo>
                    <a:cubicBezTo>
                      <a:pt x="19" y="60"/>
                      <a:pt x="22" y="63"/>
                      <a:pt x="25" y="63"/>
                    </a:cubicBezTo>
                    <a:cubicBezTo>
                      <a:pt x="29" y="63"/>
                      <a:pt x="32" y="61"/>
                      <a:pt x="34" y="56"/>
                    </a:cubicBezTo>
                    <a:cubicBezTo>
                      <a:pt x="36"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3" name="Freeform 183"/>
              <p:cNvSpPr>
                <a:spLocks/>
              </p:cNvSpPr>
              <p:nvPr/>
            </p:nvSpPr>
            <p:spPr bwMode="auto">
              <a:xfrm>
                <a:off x="2354350" y="3465945"/>
                <a:ext cx="32813" cy="87659"/>
              </a:xfrm>
              <a:custGeom>
                <a:avLst/>
                <a:gdLst/>
                <a:ahLst/>
                <a:cxnLst>
                  <a:cxn ang="0">
                    <a:pos x="21" y="56"/>
                  </a:cxn>
                  <a:cxn ang="0">
                    <a:pos x="11" y="56"/>
                  </a:cxn>
                  <a:cxn ang="0">
                    <a:pos x="11" y="10"/>
                  </a:cxn>
                  <a:cxn ang="0">
                    <a:pos x="0" y="10"/>
                  </a:cxn>
                  <a:cxn ang="0">
                    <a:pos x="4" y="0"/>
                  </a:cxn>
                  <a:cxn ang="0">
                    <a:pos x="21" y="0"/>
                  </a:cxn>
                  <a:cxn ang="0">
                    <a:pos x="21" y="56"/>
                  </a:cxn>
                </a:cxnLst>
                <a:rect l="0" t="0" r="r" b="b"/>
                <a:pathLst>
                  <a:path w="21" h="56">
                    <a:moveTo>
                      <a:pt x="21" y="56"/>
                    </a:moveTo>
                    <a:lnTo>
                      <a:pt x="11" y="56"/>
                    </a:lnTo>
                    <a:lnTo>
                      <a:pt x="11"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4" name="Freeform 184"/>
              <p:cNvSpPr>
                <a:spLocks/>
              </p:cNvSpPr>
              <p:nvPr/>
            </p:nvSpPr>
            <p:spPr bwMode="auto">
              <a:xfrm>
                <a:off x="2394976" y="3465945"/>
                <a:ext cx="34376" cy="87659"/>
              </a:xfrm>
              <a:custGeom>
                <a:avLst/>
                <a:gdLst/>
                <a:ahLst/>
                <a:cxnLst>
                  <a:cxn ang="0">
                    <a:pos x="22" y="56"/>
                  </a:cxn>
                  <a:cxn ang="0">
                    <a:pos x="11" y="56"/>
                  </a:cxn>
                  <a:cxn ang="0">
                    <a:pos x="11" y="10"/>
                  </a:cxn>
                  <a:cxn ang="0">
                    <a:pos x="0" y="10"/>
                  </a:cxn>
                  <a:cxn ang="0">
                    <a:pos x="5" y="0"/>
                  </a:cxn>
                  <a:cxn ang="0">
                    <a:pos x="22" y="0"/>
                  </a:cxn>
                  <a:cxn ang="0">
                    <a:pos x="22" y="56"/>
                  </a:cxn>
                </a:cxnLst>
                <a:rect l="0" t="0" r="r" b="b"/>
                <a:pathLst>
                  <a:path w="22" h="56">
                    <a:moveTo>
                      <a:pt x="22" y="56"/>
                    </a:moveTo>
                    <a:lnTo>
                      <a:pt x="11" y="56"/>
                    </a:lnTo>
                    <a:lnTo>
                      <a:pt x="11" y="10"/>
                    </a:lnTo>
                    <a:lnTo>
                      <a:pt x="0" y="10"/>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5" name="Freeform 185"/>
              <p:cNvSpPr>
                <a:spLocks noEditPoints="1"/>
              </p:cNvSpPr>
              <p:nvPr/>
            </p:nvSpPr>
            <p:spPr bwMode="auto">
              <a:xfrm>
                <a:off x="2443414" y="3464379"/>
                <a:ext cx="60938" cy="90790"/>
              </a:xfrm>
              <a:custGeom>
                <a:avLst/>
                <a:gdLst/>
                <a:ahLst/>
                <a:cxnLst>
                  <a:cxn ang="0">
                    <a:pos x="51" y="38"/>
                  </a:cxn>
                  <a:cxn ang="0">
                    <a:pos x="44" y="65"/>
                  </a:cxn>
                  <a:cxn ang="0">
                    <a:pos x="25" y="75"/>
                  </a:cxn>
                  <a:cxn ang="0">
                    <a:pos x="7" y="65"/>
                  </a:cxn>
                  <a:cxn ang="0">
                    <a:pos x="0" y="38"/>
                  </a:cxn>
                  <a:cxn ang="0">
                    <a:pos x="7" y="10"/>
                  </a:cxn>
                  <a:cxn ang="0">
                    <a:pos x="25" y="0"/>
                  </a:cxn>
                  <a:cxn ang="0">
                    <a:pos x="44" y="10"/>
                  </a:cxn>
                  <a:cxn ang="0">
                    <a:pos x="51" y="38"/>
                  </a:cxn>
                  <a:cxn ang="0">
                    <a:pos x="37" y="37"/>
                  </a:cxn>
                  <a:cxn ang="0">
                    <a:pos x="34" y="19"/>
                  </a:cxn>
                  <a:cxn ang="0">
                    <a:pos x="25" y="12"/>
                  </a:cxn>
                  <a:cxn ang="0">
                    <a:pos x="17" y="19"/>
                  </a:cxn>
                  <a:cxn ang="0">
                    <a:pos x="13" y="38"/>
                  </a:cxn>
                  <a:cxn ang="0">
                    <a:pos x="17" y="56"/>
                  </a:cxn>
                  <a:cxn ang="0">
                    <a:pos x="25" y="63"/>
                  </a:cxn>
                  <a:cxn ang="0">
                    <a:pos x="34" y="56"/>
                  </a:cxn>
                  <a:cxn ang="0">
                    <a:pos x="37" y="37"/>
                  </a:cxn>
                </a:cxnLst>
                <a:rect l="0" t="0" r="r" b="b"/>
                <a:pathLst>
                  <a:path w="51" h="75">
                    <a:moveTo>
                      <a:pt x="51" y="38"/>
                    </a:moveTo>
                    <a:cubicBezTo>
                      <a:pt x="51" y="49"/>
                      <a:pt x="49" y="58"/>
                      <a:pt x="44" y="65"/>
                    </a:cubicBezTo>
                    <a:cubicBezTo>
                      <a:pt x="39" y="72"/>
                      <a:pt x="33" y="75"/>
                      <a:pt x="25" y="75"/>
                    </a:cubicBezTo>
                    <a:cubicBezTo>
                      <a:pt x="17" y="75"/>
                      <a:pt x="11" y="72"/>
                      <a:pt x="7" y="65"/>
                    </a:cubicBezTo>
                    <a:cubicBezTo>
                      <a:pt x="2" y="58"/>
                      <a:pt x="0" y="49"/>
                      <a:pt x="0" y="38"/>
                    </a:cubicBezTo>
                    <a:cubicBezTo>
                      <a:pt x="0" y="26"/>
                      <a:pt x="2" y="17"/>
                      <a:pt x="7" y="10"/>
                    </a:cubicBezTo>
                    <a:cubicBezTo>
                      <a:pt x="11" y="3"/>
                      <a:pt x="17" y="0"/>
                      <a:pt x="25" y="0"/>
                    </a:cubicBezTo>
                    <a:cubicBezTo>
                      <a:pt x="33" y="0"/>
                      <a:pt x="39" y="3"/>
                      <a:pt x="44" y="10"/>
                    </a:cubicBezTo>
                    <a:cubicBezTo>
                      <a:pt x="49" y="17"/>
                      <a:pt x="51" y="26"/>
                      <a:pt x="51" y="38"/>
                    </a:cubicBezTo>
                    <a:close/>
                    <a:moveTo>
                      <a:pt x="37" y="37"/>
                    </a:moveTo>
                    <a:cubicBezTo>
                      <a:pt x="37" y="30"/>
                      <a:pt x="36" y="24"/>
                      <a:pt x="34" y="19"/>
                    </a:cubicBezTo>
                    <a:cubicBezTo>
                      <a:pt x="32" y="14"/>
                      <a:pt x="29" y="12"/>
                      <a:pt x="25" y="12"/>
                    </a:cubicBezTo>
                    <a:cubicBezTo>
                      <a:pt x="22" y="12"/>
                      <a:pt x="19" y="15"/>
                      <a:pt x="17" y="19"/>
                    </a:cubicBezTo>
                    <a:cubicBezTo>
                      <a:pt x="14" y="24"/>
                      <a:pt x="13" y="30"/>
                      <a:pt x="13" y="38"/>
                    </a:cubicBezTo>
                    <a:cubicBezTo>
                      <a:pt x="13" y="45"/>
                      <a:pt x="14" y="51"/>
                      <a:pt x="17" y="56"/>
                    </a:cubicBezTo>
                    <a:cubicBezTo>
                      <a:pt x="19" y="61"/>
                      <a:pt x="22" y="63"/>
                      <a:pt x="25" y="63"/>
                    </a:cubicBezTo>
                    <a:cubicBezTo>
                      <a:pt x="29" y="63"/>
                      <a:pt x="32" y="61"/>
                      <a:pt x="34" y="56"/>
                    </a:cubicBezTo>
                    <a:cubicBezTo>
                      <a:pt x="36" y="51"/>
                      <a:pt x="37" y="45"/>
                      <a:pt x="37"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6" name="Freeform 186"/>
              <p:cNvSpPr>
                <a:spLocks noEditPoints="1"/>
              </p:cNvSpPr>
              <p:nvPr/>
            </p:nvSpPr>
            <p:spPr bwMode="auto">
              <a:xfrm>
                <a:off x="2509040" y="3464379"/>
                <a:ext cx="62501" cy="90790"/>
              </a:xfrm>
              <a:custGeom>
                <a:avLst/>
                <a:gdLst/>
                <a:ahLst/>
                <a:cxnLst>
                  <a:cxn ang="0">
                    <a:pos x="52" y="38"/>
                  </a:cxn>
                  <a:cxn ang="0">
                    <a:pos x="45" y="65"/>
                  </a:cxn>
                  <a:cxn ang="0">
                    <a:pos x="26" y="75"/>
                  </a:cxn>
                  <a:cxn ang="0">
                    <a:pos x="7" y="65"/>
                  </a:cxn>
                  <a:cxn ang="0">
                    <a:pos x="0" y="38"/>
                  </a:cxn>
                  <a:cxn ang="0">
                    <a:pos x="7" y="10"/>
                  </a:cxn>
                  <a:cxn ang="0">
                    <a:pos x="26" y="0"/>
                  </a:cxn>
                  <a:cxn ang="0">
                    <a:pos x="45" y="10"/>
                  </a:cxn>
                  <a:cxn ang="0">
                    <a:pos x="52" y="38"/>
                  </a:cxn>
                  <a:cxn ang="0">
                    <a:pos x="38" y="37"/>
                  </a:cxn>
                  <a:cxn ang="0">
                    <a:pos x="35" y="19"/>
                  </a:cxn>
                  <a:cxn ang="0">
                    <a:pos x="26" y="12"/>
                  </a:cxn>
                  <a:cxn ang="0">
                    <a:pos x="17" y="19"/>
                  </a:cxn>
                  <a:cxn ang="0">
                    <a:pos x="14" y="38"/>
                  </a:cxn>
                  <a:cxn ang="0">
                    <a:pos x="17" y="56"/>
                  </a:cxn>
                  <a:cxn ang="0">
                    <a:pos x="26" y="63"/>
                  </a:cxn>
                  <a:cxn ang="0">
                    <a:pos x="35" y="56"/>
                  </a:cxn>
                  <a:cxn ang="0">
                    <a:pos x="38" y="37"/>
                  </a:cxn>
                </a:cxnLst>
                <a:rect l="0" t="0" r="r" b="b"/>
                <a:pathLst>
                  <a:path w="52" h="75">
                    <a:moveTo>
                      <a:pt x="52" y="38"/>
                    </a:moveTo>
                    <a:cubicBezTo>
                      <a:pt x="52" y="49"/>
                      <a:pt x="49" y="58"/>
                      <a:pt x="45" y="65"/>
                    </a:cubicBezTo>
                    <a:cubicBezTo>
                      <a:pt x="40" y="72"/>
                      <a:pt x="34" y="75"/>
                      <a:pt x="26" y="75"/>
                    </a:cubicBezTo>
                    <a:cubicBezTo>
                      <a:pt x="18" y="75"/>
                      <a:pt x="12" y="72"/>
                      <a:pt x="7" y="65"/>
                    </a:cubicBezTo>
                    <a:cubicBezTo>
                      <a:pt x="2" y="58"/>
                      <a:pt x="0" y="49"/>
                      <a:pt x="0" y="38"/>
                    </a:cubicBezTo>
                    <a:cubicBezTo>
                      <a:pt x="0" y="26"/>
                      <a:pt x="2" y="17"/>
                      <a:pt x="7" y="10"/>
                    </a:cubicBezTo>
                    <a:cubicBezTo>
                      <a:pt x="12" y="3"/>
                      <a:pt x="18" y="0"/>
                      <a:pt x="26" y="0"/>
                    </a:cubicBezTo>
                    <a:cubicBezTo>
                      <a:pt x="34" y="0"/>
                      <a:pt x="40" y="3"/>
                      <a:pt x="45" y="10"/>
                    </a:cubicBezTo>
                    <a:cubicBezTo>
                      <a:pt x="49" y="17"/>
                      <a:pt x="52" y="26"/>
                      <a:pt x="52" y="38"/>
                    </a:cubicBezTo>
                    <a:close/>
                    <a:moveTo>
                      <a:pt x="38" y="37"/>
                    </a:moveTo>
                    <a:cubicBezTo>
                      <a:pt x="38" y="30"/>
                      <a:pt x="37" y="24"/>
                      <a:pt x="35" y="19"/>
                    </a:cubicBezTo>
                    <a:cubicBezTo>
                      <a:pt x="32" y="14"/>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5"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7" name="Freeform 187"/>
              <p:cNvSpPr>
                <a:spLocks/>
              </p:cNvSpPr>
              <p:nvPr/>
            </p:nvSpPr>
            <p:spPr bwMode="auto">
              <a:xfrm>
                <a:off x="2573104" y="3465945"/>
                <a:ext cx="32813" cy="87659"/>
              </a:xfrm>
              <a:custGeom>
                <a:avLst/>
                <a:gdLst/>
                <a:ahLst/>
                <a:cxnLst>
                  <a:cxn ang="0">
                    <a:pos x="21" y="56"/>
                  </a:cxn>
                  <a:cxn ang="0">
                    <a:pos x="11" y="56"/>
                  </a:cxn>
                  <a:cxn ang="0">
                    <a:pos x="11" y="10"/>
                  </a:cxn>
                  <a:cxn ang="0">
                    <a:pos x="0" y="10"/>
                  </a:cxn>
                  <a:cxn ang="0">
                    <a:pos x="4" y="0"/>
                  </a:cxn>
                  <a:cxn ang="0">
                    <a:pos x="21" y="0"/>
                  </a:cxn>
                  <a:cxn ang="0">
                    <a:pos x="21" y="56"/>
                  </a:cxn>
                </a:cxnLst>
                <a:rect l="0" t="0" r="r" b="b"/>
                <a:pathLst>
                  <a:path w="21" h="56">
                    <a:moveTo>
                      <a:pt x="21" y="56"/>
                    </a:moveTo>
                    <a:lnTo>
                      <a:pt x="11" y="56"/>
                    </a:lnTo>
                    <a:lnTo>
                      <a:pt x="11"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8" name="Freeform 188"/>
              <p:cNvSpPr>
                <a:spLocks/>
              </p:cNvSpPr>
              <p:nvPr/>
            </p:nvSpPr>
            <p:spPr bwMode="auto">
              <a:xfrm>
                <a:off x="2613729" y="3465945"/>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9" name="Freeform 189"/>
              <p:cNvSpPr>
                <a:spLocks/>
              </p:cNvSpPr>
              <p:nvPr/>
            </p:nvSpPr>
            <p:spPr bwMode="auto">
              <a:xfrm>
                <a:off x="2654355" y="3465945"/>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0" name="Freeform 190"/>
              <p:cNvSpPr>
                <a:spLocks noEditPoints="1"/>
              </p:cNvSpPr>
              <p:nvPr/>
            </p:nvSpPr>
            <p:spPr bwMode="auto">
              <a:xfrm>
                <a:off x="2701231" y="3464379"/>
                <a:ext cx="62501" cy="90790"/>
              </a:xfrm>
              <a:custGeom>
                <a:avLst/>
                <a:gdLst/>
                <a:ahLst/>
                <a:cxnLst>
                  <a:cxn ang="0">
                    <a:pos x="52" y="38"/>
                  </a:cxn>
                  <a:cxn ang="0">
                    <a:pos x="45" y="65"/>
                  </a:cxn>
                  <a:cxn ang="0">
                    <a:pos x="26" y="75"/>
                  </a:cxn>
                  <a:cxn ang="0">
                    <a:pos x="7" y="65"/>
                  </a:cxn>
                  <a:cxn ang="0">
                    <a:pos x="0" y="38"/>
                  </a:cxn>
                  <a:cxn ang="0">
                    <a:pos x="7" y="10"/>
                  </a:cxn>
                  <a:cxn ang="0">
                    <a:pos x="26" y="0"/>
                  </a:cxn>
                  <a:cxn ang="0">
                    <a:pos x="45" y="10"/>
                  </a:cxn>
                  <a:cxn ang="0">
                    <a:pos x="52" y="38"/>
                  </a:cxn>
                  <a:cxn ang="0">
                    <a:pos x="38" y="37"/>
                  </a:cxn>
                  <a:cxn ang="0">
                    <a:pos x="35" y="19"/>
                  </a:cxn>
                  <a:cxn ang="0">
                    <a:pos x="26" y="12"/>
                  </a:cxn>
                  <a:cxn ang="0">
                    <a:pos x="17" y="19"/>
                  </a:cxn>
                  <a:cxn ang="0">
                    <a:pos x="14" y="38"/>
                  </a:cxn>
                  <a:cxn ang="0">
                    <a:pos x="17" y="56"/>
                  </a:cxn>
                  <a:cxn ang="0">
                    <a:pos x="26" y="63"/>
                  </a:cxn>
                  <a:cxn ang="0">
                    <a:pos x="35" y="56"/>
                  </a:cxn>
                  <a:cxn ang="0">
                    <a:pos x="38" y="37"/>
                  </a:cxn>
                </a:cxnLst>
                <a:rect l="0" t="0" r="r" b="b"/>
                <a:pathLst>
                  <a:path w="52" h="75">
                    <a:moveTo>
                      <a:pt x="52" y="38"/>
                    </a:moveTo>
                    <a:cubicBezTo>
                      <a:pt x="52" y="49"/>
                      <a:pt x="49" y="58"/>
                      <a:pt x="45" y="65"/>
                    </a:cubicBezTo>
                    <a:cubicBezTo>
                      <a:pt x="40" y="72"/>
                      <a:pt x="34" y="75"/>
                      <a:pt x="26" y="75"/>
                    </a:cubicBezTo>
                    <a:cubicBezTo>
                      <a:pt x="18" y="75"/>
                      <a:pt x="12" y="72"/>
                      <a:pt x="7" y="65"/>
                    </a:cubicBezTo>
                    <a:cubicBezTo>
                      <a:pt x="2" y="58"/>
                      <a:pt x="0" y="49"/>
                      <a:pt x="0" y="38"/>
                    </a:cubicBezTo>
                    <a:cubicBezTo>
                      <a:pt x="0" y="26"/>
                      <a:pt x="2" y="17"/>
                      <a:pt x="7" y="10"/>
                    </a:cubicBezTo>
                    <a:cubicBezTo>
                      <a:pt x="12" y="3"/>
                      <a:pt x="18" y="0"/>
                      <a:pt x="26" y="0"/>
                    </a:cubicBezTo>
                    <a:cubicBezTo>
                      <a:pt x="34" y="0"/>
                      <a:pt x="40" y="3"/>
                      <a:pt x="45" y="10"/>
                    </a:cubicBezTo>
                    <a:cubicBezTo>
                      <a:pt x="49" y="17"/>
                      <a:pt x="52" y="26"/>
                      <a:pt x="52" y="38"/>
                    </a:cubicBezTo>
                    <a:close/>
                    <a:moveTo>
                      <a:pt x="38" y="37"/>
                    </a:moveTo>
                    <a:cubicBezTo>
                      <a:pt x="38" y="30"/>
                      <a:pt x="37" y="24"/>
                      <a:pt x="35" y="19"/>
                    </a:cubicBezTo>
                    <a:cubicBezTo>
                      <a:pt x="32" y="14"/>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5"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1" name="Freeform 191"/>
              <p:cNvSpPr>
                <a:spLocks noEditPoints="1"/>
              </p:cNvSpPr>
              <p:nvPr/>
            </p:nvSpPr>
            <p:spPr bwMode="auto">
              <a:xfrm>
                <a:off x="2768419" y="3464379"/>
                <a:ext cx="60938" cy="90790"/>
              </a:xfrm>
              <a:custGeom>
                <a:avLst/>
                <a:gdLst/>
                <a:ahLst/>
                <a:cxnLst>
                  <a:cxn ang="0">
                    <a:pos x="51" y="38"/>
                  </a:cxn>
                  <a:cxn ang="0">
                    <a:pos x="44" y="65"/>
                  </a:cxn>
                  <a:cxn ang="0">
                    <a:pos x="25" y="75"/>
                  </a:cxn>
                  <a:cxn ang="0">
                    <a:pos x="7" y="65"/>
                  </a:cxn>
                  <a:cxn ang="0">
                    <a:pos x="0" y="38"/>
                  </a:cxn>
                  <a:cxn ang="0">
                    <a:pos x="7" y="10"/>
                  </a:cxn>
                  <a:cxn ang="0">
                    <a:pos x="25" y="0"/>
                  </a:cxn>
                  <a:cxn ang="0">
                    <a:pos x="44" y="10"/>
                  </a:cxn>
                  <a:cxn ang="0">
                    <a:pos x="51" y="38"/>
                  </a:cxn>
                  <a:cxn ang="0">
                    <a:pos x="37" y="37"/>
                  </a:cxn>
                  <a:cxn ang="0">
                    <a:pos x="34" y="19"/>
                  </a:cxn>
                  <a:cxn ang="0">
                    <a:pos x="25" y="12"/>
                  </a:cxn>
                  <a:cxn ang="0">
                    <a:pos x="17" y="19"/>
                  </a:cxn>
                  <a:cxn ang="0">
                    <a:pos x="13" y="38"/>
                  </a:cxn>
                  <a:cxn ang="0">
                    <a:pos x="17" y="56"/>
                  </a:cxn>
                  <a:cxn ang="0">
                    <a:pos x="25" y="63"/>
                  </a:cxn>
                  <a:cxn ang="0">
                    <a:pos x="34" y="56"/>
                  </a:cxn>
                  <a:cxn ang="0">
                    <a:pos x="37" y="37"/>
                  </a:cxn>
                </a:cxnLst>
                <a:rect l="0" t="0" r="r" b="b"/>
                <a:pathLst>
                  <a:path w="51" h="75">
                    <a:moveTo>
                      <a:pt x="51" y="38"/>
                    </a:moveTo>
                    <a:cubicBezTo>
                      <a:pt x="51" y="49"/>
                      <a:pt x="49" y="58"/>
                      <a:pt x="44" y="65"/>
                    </a:cubicBezTo>
                    <a:cubicBezTo>
                      <a:pt x="39" y="72"/>
                      <a:pt x="33" y="75"/>
                      <a:pt x="25" y="75"/>
                    </a:cubicBezTo>
                    <a:cubicBezTo>
                      <a:pt x="17" y="75"/>
                      <a:pt x="11" y="72"/>
                      <a:pt x="7" y="65"/>
                    </a:cubicBezTo>
                    <a:cubicBezTo>
                      <a:pt x="2" y="58"/>
                      <a:pt x="0" y="49"/>
                      <a:pt x="0" y="38"/>
                    </a:cubicBezTo>
                    <a:cubicBezTo>
                      <a:pt x="0" y="26"/>
                      <a:pt x="2" y="17"/>
                      <a:pt x="7" y="10"/>
                    </a:cubicBezTo>
                    <a:cubicBezTo>
                      <a:pt x="11" y="3"/>
                      <a:pt x="18" y="0"/>
                      <a:pt x="25" y="0"/>
                    </a:cubicBezTo>
                    <a:cubicBezTo>
                      <a:pt x="33" y="0"/>
                      <a:pt x="39" y="3"/>
                      <a:pt x="44" y="10"/>
                    </a:cubicBezTo>
                    <a:cubicBezTo>
                      <a:pt x="49" y="17"/>
                      <a:pt x="51" y="26"/>
                      <a:pt x="51" y="38"/>
                    </a:cubicBezTo>
                    <a:close/>
                    <a:moveTo>
                      <a:pt x="37" y="37"/>
                    </a:moveTo>
                    <a:cubicBezTo>
                      <a:pt x="37" y="30"/>
                      <a:pt x="36" y="24"/>
                      <a:pt x="34" y="19"/>
                    </a:cubicBezTo>
                    <a:cubicBezTo>
                      <a:pt x="32" y="14"/>
                      <a:pt x="29" y="12"/>
                      <a:pt x="25" y="12"/>
                    </a:cubicBezTo>
                    <a:cubicBezTo>
                      <a:pt x="22" y="12"/>
                      <a:pt x="19" y="15"/>
                      <a:pt x="17" y="19"/>
                    </a:cubicBezTo>
                    <a:cubicBezTo>
                      <a:pt x="15" y="24"/>
                      <a:pt x="13" y="30"/>
                      <a:pt x="13" y="38"/>
                    </a:cubicBezTo>
                    <a:cubicBezTo>
                      <a:pt x="13" y="45"/>
                      <a:pt x="15" y="51"/>
                      <a:pt x="17" y="56"/>
                    </a:cubicBezTo>
                    <a:cubicBezTo>
                      <a:pt x="19" y="61"/>
                      <a:pt x="22" y="63"/>
                      <a:pt x="25" y="63"/>
                    </a:cubicBezTo>
                    <a:cubicBezTo>
                      <a:pt x="29" y="63"/>
                      <a:pt x="32" y="61"/>
                      <a:pt x="34" y="56"/>
                    </a:cubicBezTo>
                    <a:cubicBezTo>
                      <a:pt x="36" y="51"/>
                      <a:pt x="37" y="45"/>
                      <a:pt x="37"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2" name="Freeform 192"/>
              <p:cNvSpPr>
                <a:spLocks/>
              </p:cNvSpPr>
              <p:nvPr/>
            </p:nvSpPr>
            <p:spPr bwMode="auto">
              <a:xfrm>
                <a:off x="2830920" y="3465945"/>
                <a:ext cx="34376" cy="87659"/>
              </a:xfrm>
              <a:custGeom>
                <a:avLst/>
                <a:gdLst/>
                <a:ahLst/>
                <a:cxnLst>
                  <a:cxn ang="0">
                    <a:pos x="22" y="56"/>
                  </a:cxn>
                  <a:cxn ang="0">
                    <a:pos x="11" y="56"/>
                  </a:cxn>
                  <a:cxn ang="0">
                    <a:pos x="11" y="10"/>
                  </a:cxn>
                  <a:cxn ang="0">
                    <a:pos x="0" y="10"/>
                  </a:cxn>
                  <a:cxn ang="0">
                    <a:pos x="5" y="0"/>
                  </a:cxn>
                  <a:cxn ang="0">
                    <a:pos x="22" y="0"/>
                  </a:cxn>
                  <a:cxn ang="0">
                    <a:pos x="22" y="56"/>
                  </a:cxn>
                </a:cxnLst>
                <a:rect l="0" t="0" r="r" b="b"/>
                <a:pathLst>
                  <a:path w="22" h="56">
                    <a:moveTo>
                      <a:pt x="22" y="56"/>
                    </a:moveTo>
                    <a:lnTo>
                      <a:pt x="11" y="56"/>
                    </a:lnTo>
                    <a:lnTo>
                      <a:pt x="11" y="10"/>
                    </a:lnTo>
                    <a:lnTo>
                      <a:pt x="0" y="10"/>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3" name="Freeform 193"/>
              <p:cNvSpPr>
                <a:spLocks/>
              </p:cNvSpPr>
              <p:nvPr/>
            </p:nvSpPr>
            <p:spPr bwMode="auto">
              <a:xfrm>
                <a:off x="2871546" y="3465945"/>
                <a:ext cx="34376" cy="87659"/>
              </a:xfrm>
              <a:custGeom>
                <a:avLst/>
                <a:gdLst/>
                <a:ahLst/>
                <a:cxnLst>
                  <a:cxn ang="0">
                    <a:pos x="22" y="56"/>
                  </a:cxn>
                  <a:cxn ang="0">
                    <a:pos x="11" y="56"/>
                  </a:cxn>
                  <a:cxn ang="0">
                    <a:pos x="11" y="10"/>
                  </a:cxn>
                  <a:cxn ang="0">
                    <a:pos x="0" y="10"/>
                  </a:cxn>
                  <a:cxn ang="0">
                    <a:pos x="5" y="0"/>
                  </a:cxn>
                  <a:cxn ang="0">
                    <a:pos x="22" y="0"/>
                  </a:cxn>
                  <a:cxn ang="0">
                    <a:pos x="22" y="56"/>
                  </a:cxn>
                </a:cxnLst>
                <a:rect l="0" t="0" r="r" b="b"/>
                <a:pathLst>
                  <a:path w="22" h="56">
                    <a:moveTo>
                      <a:pt x="22" y="56"/>
                    </a:moveTo>
                    <a:lnTo>
                      <a:pt x="11" y="56"/>
                    </a:lnTo>
                    <a:lnTo>
                      <a:pt x="11" y="10"/>
                    </a:lnTo>
                    <a:lnTo>
                      <a:pt x="0" y="10"/>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4" name="Freeform 194"/>
              <p:cNvSpPr>
                <a:spLocks noEditPoints="1"/>
              </p:cNvSpPr>
              <p:nvPr/>
            </p:nvSpPr>
            <p:spPr bwMode="auto">
              <a:xfrm>
                <a:off x="2919984" y="3464379"/>
                <a:ext cx="60938" cy="90790"/>
              </a:xfrm>
              <a:custGeom>
                <a:avLst/>
                <a:gdLst/>
                <a:ahLst/>
                <a:cxnLst>
                  <a:cxn ang="0">
                    <a:pos x="51" y="38"/>
                  </a:cxn>
                  <a:cxn ang="0">
                    <a:pos x="44" y="65"/>
                  </a:cxn>
                  <a:cxn ang="0">
                    <a:pos x="25" y="75"/>
                  </a:cxn>
                  <a:cxn ang="0">
                    <a:pos x="7" y="65"/>
                  </a:cxn>
                  <a:cxn ang="0">
                    <a:pos x="0" y="38"/>
                  </a:cxn>
                  <a:cxn ang="0">
                    <a:pos x="7" y="10"/>
                  </a:cxn>
                  <a:cxn ang="0">
                    <a:pos x="25" y="0"/>
                  </a:cxn>
                  <a:cxn ang="0">
                    <a:pos x="44" y="10"/>
                  </a:cxn>
                  <a:cxn ang="0">
                    <a:pos x="51" y="38"/>
                  </a:cxn>
                  <a:cxn ang="0">
                    <a:pos x="38" y="37"/>
                  </a:cxn>
                  <a:cxn ang="0">
                    <a:pos x="34" y="19"/>
                  </a:cxn>
                  <a:cxn ang="0">
                    <a:pos x="25" y="12"/>
                  </a:cxn>
                  <a:cxn ang="0">
                    <a:pos x="17" y="19"/>
                  </a:cxn>
                  <a:cxn ang="0">
                    <a:pos x="14" y="38"/>
                  </a:cxn>
                  <a:cxn ang="0">
                    <a:pos x="17" y="56"/>
                  </a:cxn>
                  <a:cxn ang="0">
                    <a:pos x="25" y="63"/>
                  </a:cxn>
                  <a:cxn ang="0">
                    <a:pos x="34" y="56"/>
                  </a:cxn>
                  <a:cxn ang="0">
                    <a:pos x="38" y="37"/>
                  </a:cxn>
                </a:cxnLst>
                <a:rect l="0" t="0" r="r" b="b"/>
                <a:pathLst>
                  <a:path w="51" h="75">
                    <a:moveTo>
                      <a:pt x="51" y="38"/>
                    </a:moveTo>
                    <a:cubicBezTo>
                      <a:pt x="51" y="49"/>
                      <a:pt x="49" y="58"/>
                      <a:pt x="44" y="65"/>
                    </a:cubicBezTo>
                    <a:cubicBezTo>
                      <a:pt x="40" y="72"/>
                      <a:pt x="33" y="75"/>
                      <a:pt x="25" y="75"/>
                    </a:cubicBezTo>
                    <a:cubicBezTo>
                      <a:pt x="18" y="75"/>
                      <a:pt x="11" y="72"/>
                      <a:pt x="7" y="65"/>
                    </a:cubicBezTo>
                    <a:cubicBezTo>
                      <a:pt x="2" y="58"/>
                      <a:pt x="0" y="49"/>
                      <a:pt x="0" y="38"/>
                    </a:cubicBezTo>
                    <a:cubicBezTo>
                      <a:pt x="0" y="26"/>
                      <a:pt x="2" y="17"/>
                      <a:pt x="7" y="10"/>
                    </a:cubicBezTo>
                    <a:cubicBezTo>
                      <a:pt x="11" y="3"/>
                      <a:pt x="18" y="0"/>
                      <a:pt x="25" y="0"/>
                    </a:cubicBezTo>
                    <a:cubicBezTo>
                      <a:pt x="33" y="0"/>
                      <a:pt x="40" y="3"/>
                      <a:pt x="44" y="10"/>
                    </a:cubicBezTo>
                    <a:cubicBezTo>
                      <a:pt x="49" y="17"/>
                      <a:pt x="51" y="26"/>
                      <a:pt x="51" y="38"/>
                    </a:cubicBezTo>
                    <a:close/>
                    <a:moveTo>
                      <a:pt x="38" y="37"/>
                    </a:moveTo>
                    <a:cubicBezTo>
                      <a:pt x="38" y="30"/>
                      <a:pt x="36" y="24"/>
                      <a:pt x="34" y="19"/>
                    </a:cubicBezTo>
                    <a:cubicBezTo>
                      <a:pt x="32" y="14"/>
                      <a:pt x="29" y="12"/>
                      <a:pt x="25" y="12"/>
                    </a:cubicBezTo>
                    <a:cubicBezTo>
                      <a:pt x="22" y="12"/>
                      <a:pt x="19" y="15"/>
                      <a:pt x="17" y="19"/>
                    </a:cubicBezTo>
                    <a:cubicBezTo>
                      <a:pt x="15" y="24"/>
                      <a:pt x="14" y="30"/>
                      <a:pt x="14" y="38"/>
                    </a:cubicBezTo>
                    <a:cubicBezTo>
                      <a:pt x="14" y="45"/>
                      <a:pt x="15" y="51"/>
                      <a:pt x="17" y="56"/>
                    </a:cubicBezTo>
                    <a:cubicBezTo>
                      <a:pt x="19" y="61"/>
                      <a:pt x="22" y="63"/>
                      <a:pt x="25" y="63"/>
                    </a:cubicBezTo>
                    <a:cubicBezTo>
                      <a:pt x="29" y="63"/>
                      <a:pt x="32" y="61"/>
                      <a:pt x="34" y="56"/>
                    </a:cubicBezTo>
                    <a:cubicBezTo>
                      <a:pt x="36"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5" name="Freeform 195"/>
              <p:cNvSpPr>
                <a:spLocks/>
              </p:cNvSpPr>
              <p:nvPr/>
            </p:nvSpPr>
            <p:spPr bwMode="auto">
              <a:xfrm>
                <a:off x="2984048" y="3465945"/>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6" name="Freeform 196"/>
              <p:cNvSpPr>
                <a:spLocks noEditPoints="1"/>
              </p:cNvSpPr>
              <p:nvPr/>
            </p:nvSpPr>
            <p:spPr bwMode="auto">
              <a:xfrm>
                <a:off x="3030924" y="3464379"/>
                <a:ext cx="62501" cy="90790"/>
              </a:xfrm>
              <a:custGeom>
                <a:avLst/>
                <a:gdLst/>
                <a:ahLst/>
                <a:cxnLst>
                  <a:cxn ang="0">
                    <a:pos x="52" y="38"/>
                  </a:cxn>
                  <a:cxn ang="0">
                    <a:pos x="45" y="65"/>
                  </a:cxn>
                  <a:cxn ang="0">
                    <a:pos x="26" y="75"/>
                  </a:cxn>
                  <a:cxn ang="0">
                    <a:pos x="7" y="65"/>
                  </a:cxn>
                  <a:cxn ang="0">
                    <a:pos x="0" y="38"/>
                  </a:cxn>
                  <a:cxn ang="0">
                    <a:pos x="7" y="10"/>
                  </a:cxn>
                  <a:cxn ang="0">
                    <a:pos x="26" y="0"/>
                  </a:cxn>
                  <a:cxn ang="0">
                    <a:pos x="45" y="10"/>
                  </a:cxn>
                  <a:cxn ang="0">
                    <a:pos x="52" y="38"/>
                  </a:cxn>
                  <a:cxn ang="0">
                    <a:pos x="38" y="37"/>
                  </a:cxn>
                  <a:cxn ang="0">
                    <a:pos x="34" y="19"/>
                  </a:cxn>
                  <a:cxn ang="0">
                    <a:pos x="26" y="12"/>
                  </a:cxn>
                  <a:cxn ang="0">
                    <a:pos x="17" y="19"/>
                  </a:cxn>
                  <a:cxn ang="0">
                    <a:pos x="14" y="38"/>
                  </a:cxn>
                  <a:cxn ang="0">
                    <a:pos x="17" y="56"/>
                  </a:cxn>
                  <a:cxn ang="0">
                    <a:pos x="26" y="63"/>
                  </a:cxn>
                  <a:cxn ang="0">
                    <a:pos x="34" y="56"/>
                  </a:cxn>
                  <a:cxn ang="0">
                    <a:pos x="38" y="37"/>
                  </a:cxn>
                </a:cxnLst>
                <a:rect l="0" t="0" r="r" b="b"/>
                <a:pathLst>
                  <a:path w="52" h="75">
                    <a:moveTo>
                      <a:pt x="52" y="38"/>
                    </a:moveTo>
                    <a:cubicBezTo>
                      <a:pt x="52" y="49"/>
                      <a:pt x="49" y="58"/>
                      <a:pt x="45" y="65"/>
                    </a:cubicBezTo>
                    <a:cubicBezTo>
                      <a:pt x="40" y="72"/>
                      <a:pt x="34" y="75"/>
                      <a:pt x="26" y="75"/>
                    </a:cubicBezTo>
                    <a:cubicBezTo>
                      <a:pt x="18" y="75"/>
                      <a:pt x="12" y="72"/>
                      <a:pt x="7" y="65"/>
                    </a:cubicBezTo>
                    <a:cubicBezTo>
                      <a:pt x="2" y="58"/>
                      <a:pt x="0" y="49"/>
                      <a:pt x="0" y="38"/>
                    </a:cubicBezTo>
                    <a:cubicBezTo>
                      <a:pt x="0" y="26"/>
                      <a:pt x="2" y="17"/>
                      <a:pt x="7" y="10"/>
                    </a:cubicBezTo>
                    <a:cubicBezTo>
                      <a:pt x="12" y="3"/>
                      <a:pt x="18" y="0"/>
                      <a:pt x="26" y="0"/>
                    </a:cubicBezTo>
                    <a:cubicBezTo>
                      <a:pt x="34" y="0"/>
                      <a:pt x="40" y="3"/>
                      <a:pt x="45" y="10"/>
                    </a:cubicBezTo>
                    <a:cubicBezTo>
                      <a:pt x="49" y="17"/>
                      <a:pt x="52" y="26"/>
                      <a:pt x="52" y="38"/>
                    </a:cubicBezTo>
                    <a:close/>
                    <a:moveTo>
                      <a:pt x="38" y="37"/>
                    </a:moveTo>
                    <a:cubicBezTo>
                      <a:pt x="38" y="30"/>
                      <a:pt x="37" y="24"/>
                      <a:pt x="34" y="19"/>
                    </a:cubicBezTo>
                    <a:cubicBezTo>
                      <a:pt x="32" y="14"/>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4"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7" name="Freeform 197"/>
              <p:cNvSpPr>
                <a:spLocks/>
              </p:cNvSpPr>
              <p:nvPr/>
            </p:nvSpPr>
            <p:spPr bwMode="auto">
              <a:xfrm>
                <a:off x="3094987" y="3465945"/>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8" name="Freeform 208"/>
              <p:cNvSpPr>
                <a:spLocks noEditPoints="1"/>
              </p:cNvSpPr>
              <p:nvPr/>
            </p:nvSpPr>
            <p:spPr bwMode="auto">
              <a:xfrm>
                <a:off x="2344975" y="3603694"/>
                <a:ext cx="62501" cy="90790"/>
              </a:xfrm>
              <a:custGeom>
                <a:avLst/>
                <a:gdLst/>
                <a:ahLst/>
                <a:cxnLst>
                  <a:cxn ang="0">
                    <a:pos x="52" y="38"/>
                  </a:cxn>
                  <a:cxn ang="0">
                    <a:pos x="44" y="65"/>
                  </a:cxn>
                  <a:cxn ang="0">
                    <a:pos x="26" y="76"/>
                  </a:cxn>
                  <a:cxn ang="0">
                    <a:pos x="7" y="65"/>
                  </a:cxn>
                  <a:cxn ang="0">
                    <a:pos x="0" y="38"/>
                  </a:cxn>
                  <a:cxn ang="0">
                    <a:pos x="7" y="10"/>
                  </a:cxn>
                  <a:cxn ang="0">
                    <a:pos x="26" y="0"/>
                  </a:cxn>
                  <a:cxn ang="0">
                    <a:pos x="44" y="10"/>
                  </a:cxn>
                  <a:cxn ang="0">
                    <a:pos x="52" y="38"/>
                  </a:cxn>
                  <a:cxn ang="0">
                    <a:pos x="38" y="38"/>
                  </a:cxn>
                  <a:cxn ang="0">
                    <a:pos x="34" y="19"/>
                  </a:cxn>
                  <a:cxn ang="0">
                    <a:pos x="26" y="12"/>
                  </a:cxn>
                  <a:cxn ang="0">
                    <a:pos x="17" y="19"/>
                  </a:cxn>
                  <a:cxn ang="0">
                    <a:pos x="14" y="38"/>
                  </a:cxn>
                  <a:cxn ang="0">
                    <a:pos x="17" y="56"/>
                  </a:cxn>
                  <a:cxn ang="0">
                    <a:pos x="26" y="63"/>
                  </a:cxn>
                  <a:cxn ang="0">
                    <a:pos x="34" y="56"/>
                  </a:cxn>
                  <a:cxn ang="0">
                    <a:pos x="38" y="38"/>
                  </a:cxn>
                </a:cxnLst>
                <a:rect l="0" t="0" r="r" b="b"/>
                <a:pathLst>
                  <a:path w="52" h="76">
                    <a:moveTo>
                      <a:pt x="52" y="38"/>
                    </a:moveTo>
                    <a:cubicBezTo>
                      <a:pt x="52" y="49"/>
                      <a:pt x="49" y="58"/>
                      <a:pt x="44" y="65"/>
                    </a:cubicBezTo>
                    <a:cubicBezTo>
                      <a:pt x="40" y="72"/>
                      <a:pt x="33" y="76"/>
                      <a:pt x="26" y="76"/>
                    </a:cubicBezTo>
                    <a:cubicBezTo>
                      <a:pt x="18" y="76"/>
                      <a:pt x="11" y="72"/>
                      <a:pt x="7" y="65"/>
                    </a:cubicBezTo>
                    <a:cubicBezTo>
                      <a:pt x="2" y="58"/>
                      <a:pt x="0" y="49"/>
                      <a:pt x="0" y="38"/>
                    </a:cubicBezTo>
                    <a:cubicBezTo>
                      <a:pt x="0" y="26"/>
                      <a:pt x="2" y="17"/>
                      <a:pt x="7" y="10"/>
                    </a:cubicBezTo>
                    <a:cubicBezTo>
                      <a:pt x="12" y="4"/>
                      <a:pt x="18" y="0"/>
                      <a:pt x="26" y="0"/>
                    </a:cubicBezTo>
                    <a:cubicBezTo>
                      <a:pt x="33" y="0"/>
                      <a:pt x="40" y="3"/>
                      <a:pt x="44" y="10"/>
                    </a:cubicBezTo>
                    <a:cubicBezTo>
                      <a:pt x="49" y="17"/>
                      <a:pt x="52" y="26"/>
                      <a:pt x="52" y="38"/>
                    </a:cubicBezTo>
                    <a:close/>
                    <a:moveTo>
                      <a:pt x="38" y="38"/>
                    </a:moveTo>
                    <a:cubicBezTo>
                      <a:pt x="38" y="30"/>
                      <a:pt x="37" y="24"/>
                      <a:pt x="34" y="19"/>
                    </a:cubicBezTo>
                    <a:cubicBezTo>
                      <a:pt x="32" y="15"/>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4" y="56"/>
                    </a:cubicBezTo>
                    <a:cubicBezTo>
                      <a:pt x="37" y="51"/>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9" name="Freeform 209"/>
              <p:cNvSpPr>
                <a:spLocks/>
              </p:cNvSpPr>
              <p:nvPr/>
            </p:nvSpPr>
            <p:spPr bwMode="auto">
              <a:xfrm>
                <a:off x="2407476" y="3605260"/>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0" name="Freeform 210"/>
              <p:cNvSpPr>
                <a:spLocks/>
              </p:cNvSpPr>
              <p:nvPr/>
            </p:nvSpPr>
            <p:spPr bwMode="auto">
              <a:xfrm>
                <a:off x="2449664" y="3605260"/>
                <a:ext cx="31250" cy="87659"/>
              </a:xfrm>
              <a:custGeom>
                <a:avLst/>
                <a:gdLst/>
                <a:ahLst/>
                <a:cxnLst>
                  <a:cxn ang="0">
                    <a:pos x="20" y="56"/>
                  </a:cxn>
                  <a:cxn ang="0">
                    <a:pos x="10" y="56"/>
                  </a:cxn>
                  <a:cxn ang="0">
                    <a:pos x="10" y="9"/>
                  </a:cxn>
                  <a:cxn ang="0">
                    <a:pos x="0" y="9"/>
                  </a:cxn>
                  <a:cxn ang="0">
                    <a:pos x="3" y="0"/>
                  </a:cxn>
                  <a:cxn ang="0">
                    <a:pos x="20" y="0"/>
                  </a:cxn>
                  <a:cxn ang="0">
                    <a:pos x="20" y="56"/>
                  </a:cxn>
                </a:cxnLst>
                <a:rect l="0" t="0" r="r" b="b"/>
                <a:pathLst>
                  <a:path w="20" h="56">
                    <a:moveTo>
                      <a:pt x="20" y="56"/>
                    </a:moveTo>
                    <a:lnTo>
                      <a:pt x="10" y="56"/>
                    </a:lnTo>
                    <a:lnTo>
                      <a:pt x="10" y="9"/>
                    </a:lnTo>
                    <a:lnTo>
                      <a:pt x="0" y="9"/>
                    </a:lnTo>
                    <a:lnTo>
                      <a:pt x="3" y="0"/>
                    </a:lnTo>
                    <a:lnTo>
                      <a:pt x="20" y="0"/>
                    </a:lnTo>
                    <a:lnTo>
                      <a:pt x="20"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1" name="Freeform 211"/>
              <p:cNvSpPr>
                <a:spLocks/>
              </p:cNvSpPr>
              <p:nvPr/>
            </p:nvSpPr>
            <p:spPr bwMode="auto">
              <a:xfrm>
                <a:off x="2488727" y="3605260"/>
                <a:ext cx="34376" cy="87659"/>
              </a:xfrm>
              <a:custGeom>
                <a:avLst/>
                <a:gdLst/>
                <a:ahLst/>
                <a:cxnLst>
                  <a:cxn ang="0">
                    <a:pos x="22" y="56"/>
                  </a:cxn>
                  <a:cxn ang="0">
                    <a:pos x="11" y="56"/>
                  </a:cxn>
                  <a:cxn ang="0">
                    <a:pos x="11" y="9"/>
                  </a:cxn>
                  <a:cxn ang="0">
                    <a:pos x="0" y="9"/>
                  </a:cxn>
                  <a:cxn ang="0">
                    <a:pos x="5" y="0"/>
                  </a:cxn>
                  <a:cxn ang="0">
                    <a:pos x="22" y="0"/>
                  </a:cxn>
                  <a:cxn ang="0">
                    <a:pos x="22" y="56"/>
                  </a:cxn>
                </a:cxnLst>
                <a:rect l="0" t="0" r="r" b="b"/>
                <a:pathLst>
                  <a:path w="22" h="56">
                    <a:moveTo>
                      <a:pt x="22" y="56"/>
                    </a:moveTo>
                    <a:lnTo>
                      <a:pt x="11" y="56"/>
                    </a:lnTo>
                    <a:lnTo>
                      <a:pt x="11" y="9"/>
                    </a:lnTo>
                    <a:lnTo>
                      <a:pt x="0" y="9"/>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2" name="Freeform 212"/>
              <p:cNvSpPr>
                <a:spLocks noEditPoints="1"/>
              </p:cNvSpPr>
              <p:nvPr/>
            </p:nvSpPr>
            <p:spPr bwMode="auto">
              <a:xfrm>
                <a:off x="2537166" y="3603694"/>
                <a:ext cx="62501" cy="90790"/>
              </a:xfrm>
              <a:custGeom>
                <a:avLst/>
                <a:gdLst/>
                <a:ahLst/>
                <a:cxnLst>
                  <a:cxn ang="0">
                    <a:pos x="52" y="38"/>
                  </a:cxn>
                  <a:cxn ang="0">
                    <a:pos x="44" y="65"/>
                  </a:cxn>
                  <a:cxn ang="0">
                    <a:pos x="26" y="76"/>
                  </a:cxn>
                  <a:cxn ang="0">
                    <a:pos x="7" y="65"/>
                  </a:cxn>
                  <a:cxn ang="0">
                    <a:pos x="0" y="38"/>
                  </a:cxn>
                  <a:cxn ang="0">
                    <a:pos x="7" y="10"/>
                  </a:cxn>
                  <a:cxn ang="0">
                    <a:pos x="26" y="0"/>
                  </a:cxn>
                  <a:cxn ang="0">
                    <a:pos x="44" y="10"/>
                  </a:cxn>
                  <a:cxn ang="0">
                    <a:pos x="52" y="38"/>
                  </a:cxn>
                  <a:cxn ang="0">
                    <a:pos x="38" y="38"/>
                  </a:cxn>
                  <a:cxn ang="0">
                    <a:pos x="34" y="19"/>
                  </a:cxn>
                  <a:cxn ang="0">
                    <a:pos x="26" y="12"/>
                  </a:cxn>
                  <a:cxn ang="0">
                    <a:pos x="17" y="19"/>
                  </a:cxn>
                  <a:cxn ang="0">
                    <a:pos x="14" y="38"/>
                  </a:cxn>
                  <a:cxn ang="0">
                    <a:pos x="17" y="56"/>
                  </a:cxn>
                  <a:cxn ang="0">
                    <a:pos x="26" y="63"/>
                  </a:cxn>
                  <a:cxn ang="0">
                    <a:pos x="34" y="56"/>
                  </a:cxn>
                  <a:cxn ang="0">
                    <a:pos x="38" y="38"/>
                  </a:cxn>
                </a:cxnLst>
                <a:rect l="0" t="0" r="r" b="b"/>
                <a:pathLst>
                  <a:path w="52" h="76">
                    <a:moveTo>
                      <a:pt x="52" y="38"/>
                    </a:moveTo>
                    <a:cubicBezTo>
                      <a:pt x="52" y="49"/>
                      <a:pt x="49" y="58"/>
                      <a:pt x="44" y="65"/>
                    </a:cubicBezTo>
                    <a:cubicBezTo>
                      <a:pt x="40" y="72"/>
                      <a:pt x="33" y="76"/>
                      <a:pt x="26" y="76"/>
                    </a:cubicBezTo>
                    <a:cubicBezTo>
                      <a:pt x="18" y="76"/>
                      <a:pt x="12" y="72"/>
                      <a:pt x="7" y="65"/>
                    </a:cubicBezTo>
                    <a:cubicBezTo>
                      <a:pt x="2" y="58"/>
                      <a:pt x="0" y="49"/>
                      <a:pt x="0" y="38"/>
                    </a:cubicBezTo>
                    <a:cubicBezTo>
                      <a:pt x="0" y="26"/>
                      <a:pt x="2" y="17"/>
                      <a:pt x="7" y="10"/>
                    </a:cubicBezTo>
                    <a:cubicBezTo>
                      <a:pt x="12" y="4"/>
                      <a:pt x="18" y="0"/>
                      <a:pt x="26" y="0"/>
                    </a:cubicBezTo>
                    <a:cubicBezTo>
                      <a:pt x="33" y="0"/>
                      <a:pt x="40" y="3"/>
                      <a:pt x="44" y="10"/>
                    </a:cubicBezTo>
                    <a:cubicBezTo>
                      <a:pt x="49" y="17"/>
                      <a:pt x="52" y="26"/>
                      <a:pt x="52" y="38"/>
                    </a:cubicBezTo>
                    <a:close/>
                    <a:moveTo>
                      <a:pt x="38" y="38"/>
                    </a:moveTo>
                    <a:cubicBezTo>
                      <a:pt x="38" y="30"/>
                      <a:pt x="37" y="24"/>
                      <a:pt x="34" y="19"/>
                    </a:cubicBezTo>
                    <a:cubicBezTo>
                      <a:pt x="32" y="15"/>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4" y="56"/>
                    </a:cubicBezTo>
                    <a:cubicBezTo>
                      <a:pt x="37" y="51"/>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3" name="Freeform 213"/>
              <p:cNvSpPr>
                <a:spLocks noEditPoints="1"/>
              </p:cNvSpPr>
              <p:nvPr/>
            </p:nvSpPr>
            <p:spPr bwMode="auto">
              <a:xfrm>
                <a:off x="2602792" y="3603694"/>
                <a:ext cx="62501" cy="90790"/>
              </a:xfrm>
              <a:custGeom>
                <a:avLst/>
                <a:gdLst/>
                <a:ahLst/>
                <a:cxnLst>
                  <a:cxn ang="0">
                    <a:pos x="52" y="38"/>
                  </a:cxn>
                  <a:cxn ang="0">
                    <a:pos x="45" y="65"/>
                  </a:cxn>
                  <a:cxn ang="0">
                    <a:pos x="26" y="76"/>
                  </a:cxn>
                  <a:cxn ang="0">
                    <a:pos x="7" y="65"/>
                  </a:cxn>
                  <a:cxn ang="0">
                    <a:pos x="0" y="38"/>
                  </a:cxn>
                  <a:cxn ang="0">
                    <a:pos x="7" y="10"/>
                  </a:cxn>
                  <a:cxn ang="0">
                    <a:pos x="26" y="0"/>
                  </a:cxn>
                  <a:cxn ang="0">
                    <a:pos x="45" y="10"/>
                  </a:cxn>
                  <a:cxn ang="0">
                    <a:pos x="52" y="38"/>
                  </a:cxn>
                  <a:cxn ang="0">
                    <a:pos x="38" y="38"/>
                  </a:cxn>
                  <a:cxn ang="0">
                    <a:pos x="35" y="19"/>
                  </a:cxn>
                  <a:cxn ang="0">
                    <a:pos x="26" y="12"/>
                  </a:cxn>
                  <a:cxn ang="0">
                    <a:pos x="17" y="19"/>
                  </a:cxn>
                  <a:cxn ang="0">
                    <a:pos x="14" y="38"/>
                  </a:cxn>
                  <a:cxn ang="0">
                    <a:pos x="18" y="56"/>
                  </a:cxn>
                  <a:cxn ang="0">
                    <a:pos x="26" y="63"/>
                  </a:cxn>
                  <a:cxn ang="0">
                    <a:pos x="35" y="56"/>
                  </a:cxn>
                  <a:cxn ang="0">
                    <a:pos x="38" y="38"/>
                  </a:cxn>
                </a:cxnLst>
                <a:rect l="0" t="0" r="r" b="b"/>
                <a:pathLst>
                  <a:path w="52" h="76">
                    <a:moveTo>
                      <a:pt x="52" y="38"/>
                    </a:moveTo>
                    <a:cubicBezTo>
                      <a:pt x="52" y="49"/>
                      <a:pt x="50" y="58"/>
                      <a:pt x="45" y="65"/>
                    </a:cubicBezTo>
                    <a:cubicBezTo>
                      <a:pt x="40" y="72"/>
                      <a:pt x="34" y="76"/>
                      <a:pt x="26" y="76"/>
                    </a:cubicBezTo>
                    <a:cubicBezTo>
                      <a:pt x="18" y="76"/>
                      <a:pt x="12" y="72"/>
                      <a:pt x="7" y="65"/>
                    </a:cubicBezTo>
                    <a:cubicBezTo>
                      <a:pt x="3" y="58"/>
                      <a:pt x="0" y="49"/>
                      <a:pt x="0" y="38"/>
                    </a:cubicBezTo>
                    <a:cubicBezTo>
                      <a:pt x="0" y="26"/>
                      <a:pt x="3" y="17"/>
                      <a:pt x="7" y="10"/>
                    </a:cubicBezTo>
                    <a:cubicBezTo>
                      <a:pt x="12" y="4"/>
                      <a:pt x="18" y="0"/>
                      <a:pt x="26" y="0"/>
                    </a:cubicBezTo>
                    <a:cubicBezTo>
                      <a:pt x="34" y="0"/>
                      <a:pt x="40" y="3"/>
                      <a:pt x="45" y="10"/>
                    </a:cubicBezTo>
                    <a:cubicBezTo>
                      <a:pt x="50" y="17"/>
                      <a:pt x="52" y="26"/>
                      <a:pt x="52" y="38"/>
                    </a:cubicBezTo>
                    <a:close/>
                    <a:moveTo>
                      <a:pt x="38" y="38"/>
                    </a:moveTo>
                    <a:cubicBezTo>
                      <a:pt x="38" y="30"/>
                      <a:pt x="37" y="24"/>
                      <a:pt x="35" y="19"/>
                    </a:cubicBezTo>
                    <a:cubicBezTo>
                      <a:pt x="33" y="15"/>
                      <a:pt x="30" y="12"/>
                      <a:pt x="26" y="12"/>
                    </a:cubicBezTo>
                    <a:cubicBezTo>
                      <a:pt x="23" y="12"/>
                      <a:pt x="20" y="15"/>
                      <a:pt x="17" y="19"/>
                    </a:cubicBezTo>
                    <a:cubicBezTo>
                      <a:pt x="15" y="24"/>
                      <a:pt x="14" y="30"/>
                      <a:pt x="14" y="38"/>
                    </a:cubicBezTo>
                    <a:cubicBezTo>
                      <a:pt x="14" y="45"/>
                      <a:pt x="15" y="51"/>
                      <a:pt x="18" y="56"/>
                    </a:cubicBezTo>
                    <a:cubicBezTo>
                      <a:pt x="20" y="61"/>
                      <a:pt x="23" y="63"/>
                      <a:pt x="26" y="63"/>
                    </a:cubicBezTo>
                    <a:cubicBezTo>
                      <a:pt x="30" y="63"/>
                      <a:pt x="33" y="61"/>
                      <a:pt x="35" y="56"/>
                    </a:cubicBezTo>
                    <a:cubicBezTo>
                      <a:pt x="37" y="51"/>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4" name="Freeform 214"/>
              <p:cNvSpPr>
                <a:spLocks/>
              </p:cNvSpPr>
              <p:nvPr/>
            </p:nvSpPr>
            <p:spPr bwMode="auto">
              <a:xfrm>
                <a:off x="2666855" y="3605260"/>
                <a:ext cx="32813" cy="87659"/>
              </a:xfrm>
              <a:custGeom>
                <a:avLst/>
                <a:gdLst/>
                <a:ahLst/>
                <a:cxnLst>
                  <a:cxn ang="0">
                    <a:pos x="21" y="56"/>
                  </a:cxn>
                  <a:cxn ang="0">
                    <a:pos x="11" y="56"/>
                  </a:cxn>
                  <a:cxn ang="0">
                    <a:pos x="11" y="9"/>
                  </a:cxn>
                  <a:cxn ang="0">
                    <a:pos x="0" y="9"/>
                  </a:cxn>
                  <a:cxn ang="0">
                    <a:pos x="4" y="0"/>
                  </a:cxn>
                  <a:cxn ang="0">
                    <a:pos x="21" y="0"/>
                  </a:cxn>
                  <a:cxn ang="0">
                    <a:pos x="21" y="56"/>
                  </a:cxn>
                </a:cxnLst>
                <a:rect l="0" t="0" r="r" b="b"/>
                <a:pathLst>
                  <a:path w="21" h="56">
                    <a:moveTo>
                      <a:pt x="21" y="56"/>
                    </a:moveTo>
                    <a:lnTo>
                      <a:pt x="11" y="56"/>
                    </a:lnTo>
                    <a:lnTo>
                      <a:pt x="11"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5" name="Freeform 215"/>
              <p:cNvSpPr>
                <a:spLocks/>
              </p:cNvSpPr>
              <p:nvPr/>
            </p:nvSpPr>
            <p:spPr bwMode="auto">
              <a:xfrm>
                <a:off x="2707481" y="3605260"/>
                <a:ext cx="34376" cy="87659"/>
              </a:xfrm>
              <a:custGeom>
                <a:avLst/>
                <a:gdLst/>
                <a:ahLst/>
                <a:cxnLst>
                  <a:cxn ang="0">
                    <a:pos x="22" y="56"/>
                  </a:cxn>
                  <a:cxn ang="0">
                    <a:pos x="11" y="56"/>
                  </a:cxn>
                  <a:cxn ang="0">
                    <a:pos x="11" y="9"/>
                  </a:cxn>
                  <a:cxn ang="0">
                    <a:pos x="0" y="9"/>
                  </a:cxn>
                  <a:cxn ang="0">
                    <a:pos x="5" y="0"/>
                  </a:cxn>
                  <a:cxn ang="0">
                    <a:pos x="22" y="0"/>
                  </a:cxn>
                  <a:cxn ang="0">
                    <a:pos x="22" y="56"/>
                  </a:cxn>
                </a:cxnLst>
                <a:rect l="0" t="0" r="r" b="b"/>
                <a:pathLst>
                  <a:path w="22" h="56">
                    <a:moveTo>
                      <a:pt x="22" y="56"/>
                    </a:moveTo>
                    <a:lnTo>
                      <a:pt x="11" y="56"/>
                    </a:lnTo>
                    <a:lnTo>
                      <a:pt x="11" y="9"/>
                    </a:lnTo>
                    <a:lnTo>
                      <a:pt x="0" y="9"/>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6" name="Freeform 216"/>
              <p:cNvSpPr>
                <a:spLocks noEditPoints="1"/>
              </p:cNvSpPr>
              <p:nvPr/>
            </p:nvSpPr>
            <p:spPr bwMode="auto">
              <a:xfrm>
                <a:off x="2755919" y="3603694"/>
                <a:ext cx="60938" cy="90790"/>
              </a:xfrm>
              <a:custGeom>
                <a:avLst/>
                <a:gdLst/>
                <a:ahLst/>
                <a:cxnLst>
                  <a:cxn ang="0">
                    <a:pos x="51" y="38"/>
                  </a:cxn>
                  <a:cxn ang="0">
                    <a:pos x="44" y="65"/>
                  </a:cxn>
                  <a:cxn ang="0">
                    <a:pos x="25" y="76"/>
                  </a:cxn>
                  <a:cxn ang="0">
                    <a:pos x="7" y="65"/>
                  </a:cxn>
                  <a:cxn ang="0">
                    <a:pos x="0" y="38"/>
                  </a:cxn>
                  <a:cxn ang="0">
                    <a:pos x="7" y="10"/>
                  </a:cxn>
                  <a:cxn ang="0">
                    <a:pos x="25" y="0"/>
                  </a:cxn>
                  <a:cxn ang="0">
                    <a:pos x="44" y="10"/>
                  </a:cxn>
                  <a:cxn ang="0">
                    <a:pos x="51" y="38"/>
                  </a:cxn>
                  <a:cxn ang="0">
                    <a:pos x="37" y="38"/>
                  </a:cxn>
                  <a:cxn ang="0">
                    <a:pos x="34" y="19"/>
                  </a:cxn>
                  <a:cxn ang="0">
                    <a:pos x="25" y="12"/>
                  </a:cxn>
                  <a:cxn ang="0">
                    <a:pos x="17" y="19"/>
                  </a:cxn>
                  <a:cxn ang="0">
                    <a:pos x="13" y="38"/>
                  </a:cxn>
                  <a:cxn ang="0">
                    <a:pos x="17" y="56"/>
                  </a:cxn>
                  <a:cxn ang="0">
                    <a:pos x="25" y="63"/>
                  </a:cxn>
                  <a:cxn ang="0">
                    <a:pos x="34" y="56"/>
                  </a:cxn>
                  <a:cxn ang="0">
                    <a:pos x="37" y="38"/>
                  </a:cxn>
                </a:cxnLst>
                <a:rect l="0" t="0" r="r" b="b"/>
                <a:pathLst>
                  <a:path w="51" h="76">
                    <a:moveTo>
                      <a:pt x="51" y="38"/>
                    </a:moveTo>
                    <a:cubicBezTo>
                      <a:pt x="51" y="49"/>
                      <a:pt x="49" y="58"/>
                      <a:pt x="44" y="65"/>
                    </a:cubicBezTo>
                    <a:cubicBezTo>
                      <a:pt x="39" y="72"/>
                      <a:pt x="33" y="76"/>
                      <a:pt x="25" y="76"/>
                    </a:cubicBezTo>
                    <a:cubicBezTo>
                      <a:pt x="17" y="76"/>
                      <a:pt x="11" y="72"/>
                      <a:pt x="7" y="65"/>
                    </a:cubicBezTo>
                    <a:cubicBezTo>
                      <a:pt x="2" y="58"/>
                      <a:pt x="0" y="49"/>
                      <a:pt x="0" y="38"/>
                    </a:cubicBezTo>
                    <a:cubicBezTo>
                      <a:pt x="0" y="26"/>
                      <a:pt x="2" y="17"/>
                      <a:pt x="7" y="10"/>
                    </a:cubicBezTo>
                    <a:cubicBezTo>
                      <a:pt x="11" y="4"/>
                      <a:pt x="17" y="0"/>
                      <a:pt x="25" y="0"/>
                    </a:cubicBezTo>
                    <a:cubicBezTo>
                      <a:pt x="33" y="0"/>
                      <a:pt x="39" y="3"/>
                      <a:pt x="44" y="10"/>
                    </a:cubicBezTo>
                    <a:cubicBezTo>
                      <a:pt x="49" y="17"/>
                      <a:pt x="51" y="26"/>
                      <a:pt x="51" y="38"/>
                    </a:cubicBezTo>
                    <a:close/>
                    <a:moveTo>
                      <a:pt x="37" y="38"/>
                    </a:moveTo>
                    <a:cubicBezTo>
                      <a:pt x="37" y="30"/>
                      <a:pt x="36" y="24"/>
                      <a:pt x="34" y="19"/>
                    </a:cubicBezTo>
                    <a:cubicBezTo>
                      <a:pt x="32" y="15"/>
                      <a:pt x="29" y="12"/>
                      <a:pt x="25" y="12"/>
                    </a:cubicBezTo>
                    <a:cubicBezTo>
                      <a:pt x="22" y="12"/>
                      <a:pt x="19" y="15"/>
                      <a:pt x="17" y="19"/>
                    </a:cubicBezTo>
                    <a:cubicBezTo>
                      <a:pt x="14" y="24"/>
                      <a:pt x="13" y="30"/>
                      <a:pt x="13" y="38"/>
                    </a:cubicBezTo>
                    <a:cubicBezTo>
                      <a:pt x="13" y="45"/>
                      <a:pt x="14" y="51"/>
                      <a:pt x="17" y="56"/>
                    </a:cubicBezTo>
                    <a:cubicBezTo>
                      <a:pt x="19" y="61"/>
                      <a:pt x="22" y="63"/>
                      <a:pt x="25" y="63"/>
                    </a:cubicBezTo>
                    <a:cubicBezTo>
                      <a:pt x="29" y="63"/>
                      <a:pt x="32" y="61"/>
                      <a:pt x="34" y="56"/>
                    </a:cubicBezTo>
                    <a:cubicBezTo>
                      <a:pt x="36" y="51"/>
                      <a:pt x="37" y="45"/>
                      <a:pt x="37"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7" name="Freeform 217"/>
              <p:cNvSpPr>
                <a:spLocks/>
              </p:cNvSpPr>
              <p:nvPr/>
            </p:nvSpPr>
            <p:spPr bwMode="auto">
              <a:xfrm>
                <a:off x="2818420" y="3605260"/>
                <a:ext cx="32813" cy="87659"/>
              </a:xfrm>
              <a:custGeom>
                <a:avLst/>
                <a:gdLst/>
                <a:ahLst/>
                <a:cxnLst>
                  <a:cxn ang="0">
                    <a:pos x="21" y="56"/>
                  </a:cxn>
                  <a:cxn ang="0">
                    <a:pos x="11" y="56"/>
                  </a:cxn>
                  <a:cxn ang="0">
                    <a:pos x="11" y="9"/>
                  </a:cxn>
                  <a:cxn ang="0">
                    <a:pos x="0" y="9"/>
                  </a:cxn>
                  <a:cxn ang="0">
                    <a:pos x="4" y="0"/>
                  </a:cxn>
                  <a:cxn ang="0">
                    <a:pos x="21" y="0"/>
                  </a:cxn>
                  <a:cxn ang="0">
                    <a:pos x="21" y="56"/>
                  </a:cxn>
                </a:cxnLst>
                <a:rect l="0" t="0" r="r" b="b"/>
                <a:pathLst>
                  <a:path w="21" h="56">
                    <a:moveTo>
                      <a:pt x="21" y="56"/>
                    </a:moveTo>
                    <a:lnTo>
                      <a:pt x="11" y="56"/>
                    </a:lnTo>
                    <a:lnTo>
                      <a:pt x="11"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8" name="Freeform 218"/>
              <p:cNvSpPr>
                <a:spLocks noEditPoints="1"/>
              </p:cNvSpPr>
              <p:nvPr/>
            </p:nvSpPr>
            <p:spPr bwMode="auto">
              <a:xfrm>
                <a:off x="2866858" y="3603694"/>
                <a:ext cx="60938" cy="90790"/>
              </a:xfrm>
              <a:custGeom>
                <a:avLst/>
                <a:gdLst/>
                <a:ahLst/>
                <a:cxnLst>
                  <a:cxn ang="0">
                    <a:pos x="51" y="38"/>
                  </a:cxn>
                  <a:cxn ang="0">
                    <a:pos x="44" y="65"/>
                  </a:cxn>
                  <a:cxn ang="0">
                    <a:pos x="26" y="76"/>
                  </a:cxn>
                  <a:cxn ang="0">
                    <a:pos x="7" y="65"/>
                  </a:cxn>
                  <a:cxn ang="0">
                    <a:pos x="0" y="38"/>
                  </a:cxn>
                  <a:cxn ang="0">
                    <a:pos x="7" y="10"/>
                  </a:cxn>
                  <a:cxn ang="0">
                    <a:pos x="26" y="0"/>
                  </a:cxn>
                  <a:cxn ang="0">
                    <a:pos x="44" y="10"/>
                  </a:cxn>
                  <a:cxn ang="0">
                    <a:pos x="51" y="38"/>
                  </a:cxn>
                  <a:cxn ang="0">
                    <a:pos x="38" y="38"/>
                  </a:cxn>
                  <a:cxn ang="0">
                    <a:pos x="34" y="19"/>
                  </a:cxn>
                  <a:cxn ang="0">
                    <a:pos x="26" y="12"/>
                  </a:cxn>
                  <a:cxn ang="0">
                    <a:pos x="17" y="19"/>
                  </a:cxn>
                  <a:cxn ang="0">
                    <a:pos x="14" y="38"/>
                  </a:cxn>
                  <a:cxn ang="0">
                    <a:pos x="17" y="56"/>
                  </a:cxn>
                  <a:cxn ang="0">
                    <a:pos x="26" y="63"/>
                  </a:cxn>
                  <a:cxn ang="0">
                    <a:pos x="34" y="56"/>
                  </a:cxn>
                  <a:cxn ang="0">
                    <a:pos x="38" y="38"/>
                  </a:cxn>
                </a:cxnLst>
                <a:rect l="0" t="0" r="r" b="b"/>
                <a:pathLst>
                  <a:path w="51" h="76">
                    <a:moveTo>
                      <a:pt x="51" y="38"/>
                    </a:moveTo>
                    <a:cubicBezTo>
                      <a:pt x="51" y="49"/>
                      <a:pt x="49" y="58"/>
                      <a:pt x="44" y="65"/>
                    </a:cubicBezTo>
                    <a:cubicBezTo>
                      <a:pt x="40" y="72"/>
                      <a:pt x="33" y="76"/>
                      <a:pt x="26" y="76"/>
                    </a:cubicBezTo>
                    <a:cubicBezTo>
                      <a:pt x="18" y="76"/>
                      <a:pt x="11" y="72"/>
                      <a:pt x="7" y="65"/>
                    </a:cubicBezTo>
                    <a:cubicBezTo>
                      <a:pt x="2" y="58"/>
                      <a:pt x="0" y="49"/>
                      <a:pt x="0" y="38"/>
                    </a:cubicBezTo>
                    <a:cubicBezTo>
                      <a:pt x="0" y="26"/>
                      <a:pt x="2" y="17"/>
                      <a:pt x="7" y="10"/>
                    </a:cubicBezTo>
                    <a:cubicBezTo>
                      <a:pt x="11" y="4"/>
                      <a:pt x="18" y="0"/>
                      <a:pt x="26" y="0"/>
                    </a:cubicBezTo>
                    <a:cubicBezTo>
                      <a:pt x="33" y="0"/>
                      <a:pt x="40" y="3"/>
                      <a:pt x="44" y="10"/>
                    </a:cubicBezTo>
                    <a:cubicBezTo>
                      <a:pt x="49" y="17"/>
                      <a:pt x="51" y="26"/>
                      <a:pt x="51" y="38"/>
                    </a:cubicBezTo>
                    <a:close/>
                    <a:moveTo>
                      <a:pt x="38" y="38"/>
                    </a:moveTo>
                    <a:cubicBezTo>
                      <a:pt x="38" y="30"/>
                      <a:pt x="36" y="24"/>
                      <a:pt x="34" y="19"/>
                    </a:cubicBezTo>
                    <a:cubicBezTo>
                      <a:pt x="32" y="15"/>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4" y="56"/>
                    </a:cubicBezTo>
                    <a:cubicBezTo>
                      <a:pt x="36" y="51"/>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9" name="Freeform 219"/>
              <p:cNvSpPr>
                <a:spLocks/>
              </p:cNvSpPr>
              <p:nvPr/>
            </p:nvSpPr>
            <p:spPr bwMode="auto">
              <a:xfrm>
                <a:off x="2929359" y="3605260"/>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0" name="Freeform 220"/>
              <p:cNvSpPr>
                <a:spLocks noEditPoints="1"/>
              </p:cNvSpPr>
              <p:nvPr/>
            </p:nvSpPr>
            <p:spPr bwMode="auto">
              <a:xfrm>
                <a:off x="2976235" y="3603694"/>
                <a:ext cx="62501" cy="90790"/>
              </a:xfrm>
              <a:custGeom>
                <a:avLst/>
                <a:gdLst/>
                <a:ahLst/>
                <a:cxnLst>
                  <a:cxn ang="0">
                    <a:pos x="52" y="38"/>
                  </a:cxn>
                  <a:cxn ang="0">
                    <a:pos x="45" y="65"/>
                  </a:cxn>
                  <a:cxn ang="0">
                    <a:pos x="26" y="76"/>
                  </a:cxn>
                  <a:cxn ang="0">
                    <a:pos x="7" y="65"/>
                  </a:cxn>
                  <a:cxn ang="0">
                    <a:pos x="0" y="38"/>
                  </a:cxn>
                  <a:cxn ang="0">
                    <a:pos x="7" y="10"/>
                  </a:cxn>
                  <a:cxn ang="0">
                    <a:pos x="26" y="0"/>
                  </a:cxn>
                  <a:cxn ang="0">
                    <a:pos x="45" y="10"/>
                  </a:cxn>
                  <a:cxn ang="0">
                    <a:pos x="52" y="38"/>
                  </a:cxn>
                  <a:cxn ang="0">
                    <a:pos x="38" y="38"/>
                  </a:cxn>
                  <a:cxn ang="0">
                    <a:pos x="34" y="19"/>
                  </a:cxn>
                  <a:cxn ang="0">
                    <a:pos x="26" y="12"/>
                  </a:cxn>
                  <a:cxn ang="0">
                    <a:pos x="17" y="19"/>
                  </a:cxn>
                  <a:cxn ang="0">
                    <a:pos x="14" y="38"/>
                  </a:cxn>
                  <a:cxn ang="0">
                    <a:pos x="17" y="56"/>
                  </a:cxn>
                  <a:cxn ang="0">
                    <a:pos x="26" y="63"/>
                  </a:cxn>
                  <a:cxn ang="0">
                    <a:pos x="35" y="56"/>
                  </a:cxn>
                  <a:cxn ang="0">
                    <a:pos x="38" y="38"/>
                  </a:cxn>
                </a:cxnLst>
                <a:rect l="0" t="0" r="r" b="b"/>
                <a:pathLst>
                  <a:path w="52" h="76">
                    <a:moveTo>
                      <a:pt x="52" y="38"/>
                    </a:moveTo>
                    <a:cubicBezTo>
                      <a:pt x="52" y="49"/>
                      <a:pt x="49" y="58"/>
                      <a:pt x="45" y="65"/>
                    </a:cubicBezTo>
                    <a:cubicBezTo>
                      <a:pt x="40" y="72"/>
                      <a:pt x="34" y="76"/>
                      <a:pt x="26" y="76"/>
                    </a:cubicBezTo>
                    <a:cubicBezTo>
                      <a:pt x="18" y="76"/>
                      <a:pt x="12" y="72"/>
                      <a:pt x="7" y="65"/>
                    </a:cubicBezTo>
                    <a:cubicBezTo>
                      <a:pt x="2" y="58"/>
                      <a:pt x="0" y="49"/>
                      <a:pt x="0" y="38"/>
                    </a:cubicBezTo>
                    <a:cubicBezTo>
                      <a:pt x="0" y="26"/>
                      <a:pt x="2" y="17"/>
                      <a:pt x="7" y="10"/>
                    </a:cubicBezTo>
                    <a:cubicBezTo>
                      <a:pt x="12" y="4"/>
                      <a:pt x="18" y="0"/>
                      <a:pt x="26" y="0"/>
                    </a:cubicBezTo>
                    <a:cubicBezTo>
                      <a:pt x="34" y="0"/>
                      <a:pt x="40" y="3"/>
                      <a:pt x="45" y="10"/>
                    </a:cubicBezTo>
                    <a:cubicBezTo>
                      <a:pt x="49" y="17"/>
                      <a:pt x="52" y="26"/>
                      <a:pt x="52" y="38"/>
                    </a:cubicBezTo>
                    <a:close/>
                    <a:moveTo>
                      <a:pt x="38" y="38"/>
                    </a:moveTo>
                    <a:cubicBezTo>
                      <a:pt x="38" y="30"/>
                      <a:pt x="37" y="24"/>
                      <a:pt x="34" y="19"/>
                    </a:cubicBezTo>
                    <a:cubicBezTo>
                      <a:pt x="32" y="15"/>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5" y="56"/>
                    </a:cubicBezTo>
                    <a:cubicBezTo>
                      <a:pt x="37" y="51"/>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1" name="Freeform 221"/>
              <p:cNvSpPr>
                <a:spLocks/>
              </p:cNvSpPr>
              <p:nvPr/>
            </p:nvSpPr>
            <p:spPr bwMode="auto">
              <a:xfrm>
                <a:off x="3040299" y="3605260"/>
                <a:ext cx="32813" cy="87659"/>
              </a:xfrm>
              <a:custGeom>
                <a:avLst/>
                <a:gdLst/>
                <a:ahLst/>
                <a:cxnLst>
                  <a:cxn ang="0">
                    <a:pos x="21" y="56"/>
                  </a:cxn>
                  <a:cxn ang="0">
                    <a:pos x="11" y="56"/>
                  </a:cxn>
                  <a:cxn ang="0">
                    <a:pos x="11" y="9"/>
                  </a:cxn>
                  <a:cxn ang="0">
                    <a:pos x="0" y="9"/>
                  </a:cxn>
                  <a:cxn ang="0">
                    <a:pos x="5" y="0"/>
                  </a:cxn>
                  <a:cxn ang="0">
                    <a:pos x="21" y="0"/>
                  </a:cxn>
                  <a:cxn ang="0">
                    <a:pos x="21" y="56"/>
                  </a:cxn>
                </a:cxnLst>
                <a:rect l="0" t="0" r="r" b="b"/>
                <a:pathLst>
                  <a:path w="21" h="56">
                    <a:moveTo>
                      <a:pt x="21" y="56"/>
                    </a:moveTo>
                    <a:lnTo>
                      <a:pt x="11" y="56"/>
                    </a:lnTo>
                    <a:lnTo>
                      <a:pt x="11" y="9"/>
                    </a:lnTo>
                    <a:lnTo>
                      <a:pt x="0" y="9"/>
                    </a:lnTo>
                    <a:lnTo>
                      <a:pt x="5"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2" name="Freeform 222"/>
              <p:cNvSpPr>
                <a:spLocks/>
              </p:cNvSpPr>
              <p:nvPr/>
            </p:nvSpPr>
            <p:spPr bwMode="auto">
              <a:xfrm>
                <a:off x="3080924" y="3605260"/>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3" name="Freeform 223"/>
              <p:cNvSpPr>
                <a:spLocks/>
              </p:cNvSpPr>
              <p:nvPr/>
            </p:nvSpPr>
            <p:spPr bwMode="auto">
              <a:xfrm>
                <a:off x="3121550" y="3605260"/>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4" name="Freeform 234"/>
              <p:cNvSpPr>
                <a:spLocks noEditPoints="1"/>
              </p:cNvSpPr>
              <p:nvPr/>
            </p:nvSpPr>
            <p:spPr bwMode="auto">
              <a:xfrm>
                <a:off x="2360600" y="3741444"/>
                <a:ext cx="62501" cy="92355"/>
              </a:xfrm>
              <a:custGeom>
                <a:avLst/>
                <a:gdLst/>
                <a:ahLst/>
                <a:cxnLst>
                  <a:cxn ang="0">
                    <a:pos x="51" y="38"/>
                  </a:cxn>
                  <a:cxn ang="0">
                    <a:pos x="44" y="65"/>
                  </a:cxn>
                  <a:cxn ang="0">
                    <a:pos x="26" y="76"/>
                  </a:cxn>
                  <a:cxn ang="0">
                    <a:pos x="7" y="65"/>
                  </a:cxn>
                  <a:cxn ang="0">
                    <a:pos x="0" y="38"/>
                  </a:cxn>
                  <a:cxn ang="0">
                    <a:pos x="7" y="11"/>
                  </a:cxn>
                  <a:cxn ang="0">
                    <a:pos x="26" y="0"/>
                  </a:cxn>
                  <a:cxn ang="0">
                    <a:pos x="44" y="10"/>
                  </a:cxn>
                  <a:cxn ang="0">
                    <a:pos x="51" y="38"/>
                  </a:cxn>
                  <a:cxn ang="0">
                    <a:pos x="38" y="38"/>
                  </a:cxn>
                  <a:cxn ang="0">
                    <a:pos x="34" y="20"/>
                  </a:cxn>
                  <a:cxn ang="0">
                    <a:pos x="26" y="13"/>
                  </a:cxn>
                  <a:cxn ang="0">
                    <a:pos x="17" y="20"/>
                  </a:cxn>
                  <a:cxn ang="0">
                    <a:pos x="14" y="38"/>
                  </a:cxn>
                  <a:cxn ang="0">
                    <a:pos x="17" y="56"/>
                  </a:cxn>
                  <a:cxn ang="0">
                    <a:pos x="26" y="63"/>
                  </a:cxn>
                  <a:cxn ang="0">
                    <a:pos x="34" y="56"/>
                  </a:cxn>
                  <a:cxn ang="0">
                    <a:pos x="38" y="38"/>
                  </a:cxn>
                </a:cxnLst>
                <a:rect l="0" t="0" r="r" b="b"/>
                <a:pathLst>
                  <a:path w="51" h="76">
                    <a:moveTo>
                      <a:pt x="51" y="38"/>
                    </a:moveTo>
                    <a:cubicBezTo>
                      <a:pt x="51" y="49"/>
                      <a:pt x="49" y="58"/>
                      <a:pt x="44" y="65"/>
                    </a:cubicBezTo>
                    <a:cubicBezTo>
                      <a:pt x="40" y="72"/>
                      <a:pt x="33" y="76"/>
                      <a:pt x="26" y="76"/>
                    </a:cubicBezTo>
                    <a:cubicBezTo>
                      <a:pt x="18" y="76"/>
                      <a:pt x="11" y="72"/>
                      <a:pt x="7" y="65"/>
                    </a:cubicBezTo>
                    <a:cubicBezTo>
                      <a:pt x="2" y="59"/>
                      <a:pt x="0" y="49"/>
                      <a:pt x="0" y="38"/>
                    </a:cubicBezTo>
                    <a:cubicBezTo>
                      <a:pt x="0" y="27"/>
                      <a:pt x="2" y="17"/>
                      <a:pt x="7" y="11"/>
                    </a:cubicBezTo>
                    <a:cubicBezTo>
                      <a:pt x="11" y="4"/>
                      <a:pt x="18" y="0"/>
                      <a:pt x="26" y="0"/>
                    </a:cubicBezTo>
                    <a:cubicBezTo>
                      <a:pt x="33" y="0"/>
                      <a:pt x="40" y="4"/>
                      <a:pt x="44" y="10"/>
                    </a:cubicBezTo>
                    <a:cubicBezTo>
                      <a:pt x="49" y="17"/>
                      <a:pt x="51" y="26"/>
                      <a:pt x="51" y="38"/>
                    </a:cubicBezTo>
                    <a:close/>
                    <a:moveTo>
                      <a:pt x="38" y="38"/>
                    </a:moveTo>
                    <a:cubicBezTo>
                      <a:pt x="38" y="30"/>
                      <a:pt x="36" y="24"/>
                      <a:pt x="34" y="20"/>
                    </a:cubicBezTo>
                    <a:cubicBezTo>
                      <a:pt x="32" y="15"/>
                      <a:pt x="29" y="13"/>
                      <a:pt x="26" y="13"/>
                    </a:cubicBezTo>
                    <a:cubicBezTo>
                      <a:pt x="22" y="13"/>
                      <a:pt x="19" y="15"/>
                      <a:pt x="17" y="20"/>
                    </a:cubicBezTo>
                    <a:cubicBezTo>
                      <a:pt x="15" y="24"/>
                      <a:pt x="14" y="30"/>
                      <a:pt x="14" y="38"/>
                    </a:cubicBezTo>
                    <a:cubicBezTo>
                      <a:pt x="14" y="45"/>
                      <a:pt x="15" y="52"/>
                      <a:pt x="17" y="56"/>
                    </a:cubicBezTo>
                    <a:cubicBezTo>
                      <a:pt x="19" y="61"/>
                      <a:pt x="22" y="63"/>
                      <a:pt x="26" y="63"/>
                    </a:cubicBezTo>
                    <a:cubicBezTo>
                      <a:pt x="29" y="63"/>
                      <a:pt x="32" y="61"/>
                      <a:pt x="34" y="56"/>
                    </a:cubicBezTo>
                    <a:cubicBezTo>
                      <a:pt x="36" y="52"/>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5" name="Freeform 235"/>
              <p:cNvSpPr>
                <a:spLocks/>
              </p:cNvSpPr>
              <p:nvPr/>
            </p:nvSpPr>
            <p:spPr bwMode="auto">
              <a:xfrm>
                <a:off x="2424664" y="3744575"/>
                <a:ext cx="32813" cy="86094"/>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6" name="Freeform 236"/>
              <p:cNvSpPr>
                <a:spLocks noEditPoints="1"/>
              </p:cNvSpPr>
              <p:nvPr/>
            </p:nvSpPr>
            <p:spPr bwMode="auto">
              <a:xfrm>
                <a:off x="2471540" y="3741444"/>
                <a:ext cx="62501" cy="92355"/>
              </a:xfrm>
              <a:custGeom>
                <a:avLst/>
                <a:gdLst/>
                <a:ahLst/>
                <a:cxnLst>
                  <a:cxn ang="0">
                    <a:pos x="52" y="38"/>
                  </a:cxn>
                  <a:cxn ang="0">
                    <a:pos x="45" y="65"/>
                  </a:cxn>
                  <a:cxn ang="0">
                    <a:pos x="26" y="76"/>
                  </a:cxn>
                  <a:cxn ang="0">
                    <a:pos x="7" y="65"/>
                  </a:cxn>
                  <a:cxn ang="0">
                    <a:pos x="0" y="38"/>
                  </a:cxn>
                  <a:cxn ang="0">
                    <a:pos x="7" y="11"/>
                  </a:cxn>
                  <a:cxn ang="0">
                    <a:pos x="26" y="0"/>
                  </a:cxn>
                  <a:cxn ang="0">
                    <a:pos x="45" y="10"/>
                  </a:cxn>
                  <a:cxn ang="0">
                    <a:pos x="52" y="38"/>
                  </a:cxn>
                  <a:cxn ang="0">
                    <a:pos x="38" y="38"/>
                  </a:cxn>
                  <a:cxn ang="0">
                    <a:pos x="34" y="20"/>
                  </a:cxn>
                  <a:cxn ang="0">
                    <a:pos x="26" y="13"/>
                  </a:cxn>
                  <a:cxn ang="0">
                    <a:pos x="17" y="20"/>
                  </a:cxn>
                  <a:cxn ang="0">
                    <a:pos x="14" y="38"/>
                  </a:cxn>
                  <a:cxn ang="0">
                    <a:pos x="17" y="56"/>
                  </a:cxn>
                  <a:cxn ang="0">
                    <a:pos x="26" y="63"/>
                  </a:cxn>
                  <a:cxn ang="0">
                    <a:pos x="35" y="56"/>
                  </a:cxn>
                  <a:cxn ang="0">
                    <a:pos x="38" y="38"/>
                  </a:cxn>
                </a:cxnLst>
                <a:rect l="0" t="0" r="r" b="b"/>
                <a:pathLst>
                  <a:path w="52" h="76">
                    <a:moveTo>
                      <a:pt x="52" y="38"/>
                    </a:moveTo>
                    <a:cubicBezTo>
                      <a:pt x="52" y="49"/>
                      <a:pt x="49" y="58"/>
                      <a:pt x="45" y="65"/>
                    </a:cubicBezTo>
                    <a:cubicBezTo>
                      <a:pt x="40" y="72"/>
                      <a:pt x="34" y="76"/>
                      <a:pt x="26" y="76"/>
                    </a:cubicBezTo>
                    <a:cubicBezTo>
                      <a:pt x="18" y="76"/>
                      <a:pt x="12" y="72"/>
                      <a:pt x="7" y="65"/>
                    </a:cubicBezTo>
                    <a:cubicBezTo>
                      <a:pt x="2" y="59"/>
                      <a:pt x="0" y="49"/>
                      <a:pt x="0" y="38"/>
                    </a:cubicBezTo>
                    <a:cubicBezTo>
                      <a:pt x="0" y="27"/>
                      <a:pt x="2" y="17"/>
                      <a:pt x="7" y="11"/>
                    </a:cubicBezTo>
                    <a:cubicBezTo>
                      <a:pt x="12" y="4"/>
                      <a:pt x="18" y="0"/>
                      <a:pt x="26" y="0"/>
                    </a:cubicBezTo>
                    <a:cubicBezTo>
                      <a:pt x="34" y="0"/>
                      <a:pt x="40" y="4"/>
                      <a:pt x="45" y="10"/>
                    </a:cubicBezTo>
                    <a:cubicBezTo>
                      <a:pt x="49" y="17"/>
                      <a:pt x="52" y="26"/>
                      <a:pt x="52" y="38"/>
                    </a:cubicBezTo>
                    <a:close/>
                    <a:moveTo>
                      <a:pt x="38" y="38"/>
                    </a:moveTo>
                    <a:cubicBezTo>
                      <a:pt x="38" y="30"/>
                      <a:pt x="37" y="24"/>
                      <a:pt x="34" y="20"/>
                    </a:cubicBezTo>
                    <a:cubicBezTo>
                      <a:pt x="32" y="15"/>
                      <a:pt x="29" y="13"/>
                      <a:pt x="26" y="13"/>
                    </a:cubicBezTo>
                    <a:cubicBezTo>
                      <a:pt x="22" y="13"/>
                      <a:pt x="19" y="15"/>
                      <a:pt x="17" y="20"/>
                    </a:cubicBezTo>
                    <a:cubicBezTo>
                      <a:pt x="15" y="24"/>
                      <a:pt x="14" y="30"/>
                      <a:pt x="14" y="38"/>
                    </a:cubicBezTo>
                    <a:cubicBezTo>
                      <a:pt x="14" y="45"/>
                      <a:pt x="15" y="52"/>
                      <a:pt x="17" y="56"/>
                    </a:cubicBezTo>
                    <a:cubicBezTo>
                      <a:pt x="19" y="61"/>
                      <a:pt x="22" y="63"/>
                      <a:pt x="26" y="63"/>
                    </a:cubicBezTo>
                    <a:cubicBezTo>
                      <a:pt x="29" y="63"/>
                      <a:pt x="32" y="61"/>
                      <a:pt x="35" y="56"/>
                    </a:cubicBezTo>
                    <a:cubicBezTo>
                      <a:pt x="37" y="52"/>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7" name="Freeform 237"/>
              <p:cNvSpPr>
                <a:spLocks/>
              </p:cNvSpPr>
              <p:nvPr/>
            </p:nvSpPr>
            <p:spPr bwMode="auto">
              <a:xfrm>
                <a:off x="2535603" y="3744575"/>
                <a:ext cx="32813" cy="86094"/>
              </a:xfrm>
              <a:custGeom>
                <a:avLst/>
                <a:gdLst/>
                <a:ahLst/>
                <a:cxnLst>
                  <a:cxn ang="0">
                    <a:pos x="21" y="55"/>
                  </a:cxn>
                  <a:cxn ang="0">
                    <a:pos x="11" y="55"/>
                  </a:cxn>
                  <a:cxn ang="0">
                    <a:pos x="11" y="9"/>
                  </a:cxn>
                  <a:cxn ang="0">
                    <a:pos x="0" y="9"/>
                  </a:cxn>
                  <a:cxn ang="0">
                    <a:pos x="5" y="0"/>
                  </a:cxn>
                  <a:cxn ang="0">
                    <a:pos x="21" y="0"/>
                  </a:cxn>
                  <a:cxn ang="0">
                    <a:pos x="21" y="55"/>
                  </a:cxn>
                </a:cxnLst>
                <a:rect l="0" t="0" r="r" b="b"/>
                <a:pathLst>
                  <a:path w="21" h="55">
                    <a:moveTo>
                      <a:pt x="21" y="55"/>
                    </a:moveTo>
                    <a:lnTo>
                      <a:pt x="11" y="55"/>
                    </a:lnTo>
                    <a:lnTo>
                      <a:pt x="11" y="9"/>
                    </a:lnTo>
                    <a:lnTo>
                      <a:pt x="0" y="9"/>
                    </a:lnTo>
                    <a:lnTo>
                      <a:pt x="5" y="0"/>
                    </a:lnTo>
                    <a:lnTo>
                      <a:pt x="21" y="0"/>
                    </a:lnTo>
                    <a:lnTo>
                      <a:pt x="21"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8" name="Freeform 238"/>
              <p:cNvSpPr>
                <a:spLocks/>
              </p:cNvSpPr>
              <p:nvPr/>
            </p:nvSpPr>
            <p:spPr bwMode="auto">
              <a:xfrm>
                <a:off x="2576229" y="3744575"/>
                <a:ext cx="32813" cy="86094"/>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9" name="Freeform 239"/>
              <p:cNvSpPr>
                <a:spLocks/>
              </p:cNvSpPr>
              <p:nvPr/>
            </p:nvSpPr>
            <p:spPr bwMode="auto">
              <a:xfrm>
                <a:off x="2616855" y="3744575"/>
                <a:ext cx="32813" cy="86094"/>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0" name="Freeform 240"/>
              <p:cNvSpPr>
                <a:spLocks/>
              </p:cNvSpPr>
              <p:nvPr/>
            </p:nvSpPr>
            <p:spPr bwMode="auto">
              <a:xfrm>
                <a:off x="2657480" y="3744575"/>
                <a:ext cx="32813" cy="86094"/>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1" name="Freeform 241"/>
              <p:cNvSpPr>
                <a:spLocks noEditPoints="1"/>
              </p:cNvSpPr>
              <p:nvPr/>
            </p:nvSpPr>
            <p:spPr bwMode="auto">
              <a:xfrm>
                <a:off x="2704356" y="3741444"/>
                <a:ext cx="62501" cy="92355"/>
              </a:xfrm>
              <a:custGeom>
                <a:avLst/>
                <a:gdLst/>
                <a:ahLst/>
                <a:cxnLst>
                  <a:cxn ang="0">
                    <a:pos x="52" y="38"/>
                  </a:cxn>
                  <a:cxn ang="0">
                    <a:pos x="44" y="65"/>
                  </a:cxn>
                  <a:cxn ang="0">
                    <a:pos x="26" y="76"/>
                  </a:cxn>
                  <a:cxn ang="0">
                    <a:pos x="7" y="65"/>
                  </a:cxn>
                  <a:cxn ang="0">
                    <a:pos x="0" y="38"/>
                  </a:cxn>
                  <a:cxn ang="0">
                    <a:pos x="7" y="11"/>
                  </a:cxn>
                  <a:cxn ang="0">
                    <a:pos x="26" y="0"/>
                  </a:cxn>
                  <a:cxn ang="0">
                    <a:pos x="45" y="10"/>
                  </a:cxn>
                  <a:cxn ang="0">
                    <a:pos x="52" y="38"/>
                  </a:cxn>
                  <a:cxn ang="0">
                    <a:pos x="38" y="38"/>
                  </a:cxn>
                  <a:cxn ang="0">
                    <a:pos x="34" y="20"/>
                  </a:cxn>
                  <a:cxn ang="0">
                    <a:pos x="26" y="13"/>
                  </a:cxn>
                  <a:cxn ang="0">
                    <a:pos x="17" y="20"/>
                  </a:cxn>
                  <a:cxn ang="0">
                    <a:pos x="14" y="38"/>
                  </a:cxn>
                  <a:cxn ang="0">
                    <a:pos x="17" y="56"/>
                  </a:cxn>
                  <a:cxn ang="0">
                    <a:pos x="26" y="63"/>
                  </a:cxn>
                  <a:cxn ang="0">
                    <a:pos x="34" y="56"/>
                  </a:cxn>
                  <a:cxn ang="0">
                    <a:pos x="38" y="38"/>
                  </a:cxn>
                </a:cxnLst>
                <a:rect l="0" t="0" r="r" b="b"/>
                <a:pathLst>
                  <a:path w="52" h="76">
                    <a:moveTo>
                      <a:pt x="52" y="38"/>
                    </a:moveTo>
                    <a:cubicBezTo>
                      <a:pt x="52" y="49"/>
                      <a:pt x="49" y="58"/>
                      <a:pt x="44" y="65"/>
                    </a:cubicBezTo>
                    <a:cubicBezTo>
                      <a:pt x="40" y="72"/>
                      <a:pt x="33" y="76"/>
                      <a:pt x="26" y="76"/>
                    </a:cubicBezTo>
                    <a:cubicBezTo>
                      <a:pt x="18" y="76"/>
                      <a:pt x="12" y="72"/>
                      <a:pt x="7" y="65"/>
                    </a:cubicBezTo>
                    <a:cubicBezTo>
                      <a:pt x="2" y="59"/>
                      <a:pt x="0" y="49"/>
                      <a:pt x="0" y="38"/>
                    </a:cubicBezTo>
                    <a:cubicBezTo>
                      <a:pt x="0" y="27"/>
                      <a:pt x="2" y="17"/>
                      <a:pt x="7" y="11"/>
                    </a:cubicBezTo>
                    <a:cubicBezTo>
                      <a:pt x="12" y="4"/>
                      <a:pt x="18" y="0"/>
                      <a:pt x="26" y="0"/>
                    </a:cubicBezTo>
                    <a:cubicBezTo>
                      <a:pt x="34" y="0"/>
                      <a:pt x="40" y="4"/>
                      <a:pt x="45" y="10"/>
                    </a:cubicBezTo>
                    <a:cubicBezTo>
                      <a:pt x="49" y="17"/>
                      <a:pt x="52" y="26"/>
                      <a:pt x="52" y="38"/>
                    </a:cubicBezTo>
                    <a:close/>
                    <a:moveTo>
                      <a:pt x="38" y="38"/>
                    </a:moveTo>
                    <a:cubicBezTo>
                      <a:pt x="38" y="30"/>
                      <a:pt x="37" y="24"/>
                      <a:pt x="34" y="20"/>
                    </a:cubicBezTo>
                    <a:cubicBezTo>
                      <a:pt x="32" y="15"/>
                      <a:pt x="29" y="13"/>
                      <a:pt x="26" y="13"/>
                    </a:cubicBezTo>
                    <a:cubicBezTo>
                      <a:pt x="22" y="13"/>
                      <a:pt x="19" y="15"/>
                      <a:pt x="17" y="20"/>
                    </a:cubicBezTo>
                    <a:cubicBezTo>
                      <a:pt x="15" y="24"/>
                      <a:pt x="14" y="30"/>
                      <a:pt x="14" y="38"/>
                    </a:cubicBezTo>
                    <a:cubicBezTo>
                      <a:pt x="14" y="45"/>
                      <a:pt x="15" y="52"/>
                      <a:pt x="17" y="56"/>
                    </a:cubicBezTo>
                    <a:cubicBezTo>
                      <a:pt x="19" y="61"/>
                      <a:pt x="22" y="63"/>
                      <a:pt x="26" y="63"/>
                    </a:cubicBezTo>
                    <a:cubicBezTo>
                      <a:pt x="29" y="63"/>
                      <a:pt x="32" y="61"/>
                      <a:pt x="34" y="56"/>
                    </a:cubicBezTo>
                    <a:cubicBezTo>
                      <a:pt x="37" y="52"/>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2" name="Freeform 242"/>
              <p:cNvSpPr>
                <a:spLocks noEditPoints="1"/>
              </p:cNvSpPr>
              <p:nvPr/>
            </p:nvSpPr>
            <p:spPr bwMode="auto">
              <a:xfrm>
                <a:off x="2771544" y="3741444"/>
                <a:ext cx="62501" cy="92355"/>
              </a:xfrm>
              <a:custGeom>
                <a:avLst/>
                <a:gdLst/>
                <a:ahLst/>
                <a:cxnLst>
                  <a:cxn ang="0">
                    <a:pos x="52" y="38"/>
                  </a:cxn>
                  <a:cxn ang="0">
                    <a:pos x="45" y="65"/>
                  </a:cxn>
                  <a:cxn ang="0">
                    <a:pos x="26" y="76"/>
                  </a:cxn>
                  <a:cxn ang="0">
                    <a:pos x="7" y="65"/>
                  </a:cxn>
                  <a:cxn ang="0">
                    <a:pos x="0" y="38"/>
                  </a:cxn>
                  <a:cxn ang="0">
                    <a:pos x="7" y="11"/>
                  </a:cxn>
                  <a:cxn ang="0">
                    <a:pos x="26" y="0"/>
                  </a:cxn>
                  <a:cxn ang="0">
                    <a:pos x="45" y="10"/>
                  </a:cxn>
                  <a:cxn ang="0">
                    <a:pos x="52" y="38"/>
                  </a:cxn>
                  <a:cxn ang="0">
                    <a:pos x="38" y="38"/>
                  </a:cxn>
                  <a:cxn ang="0">
                    <a:pos x="35" y="20"/>
                  </a:cxn>
                  <a:cxn ang="0">
                    <a:pos x="26" y="13"/>
                  </a:cxn>
                  <a:cxn ang="0">
                    <a:pos x="18" y="20"/>
                  </a:cxn>
                  <a:cxn ang="0">
                    <a:pos x="14" y="38"/>
                  </a:cxn>
                  <a:cxn ang="0">
                    <a:pos x="18" y="56"/>
                  </a:cxn>
                  <a:cxn ang="0">
                    <a:pos x="26" y="63"/>
                  </a:cxn>
                  <a:cxn ang="0">
                    <a:pos x="35" y="56"/>
                  </a:cxn>
                  <a:cxn ang="0">
                    <a:pos x="38" y="38"/>
                  </a:cxn>
                </a:cxnLst>
                <a:rect l="0" t="0" r="r" b="b"/>
                <a:pathLst>
                  <a:path w="52" h="76">
                    <a:moveTo>
                      <a:pt x="52" y="38"/>
                    </a:moveTo>
                    <a:cubicBezTo>
                      <a:pt x="52" y="49"/>
                      <a:pt x="50" y="58"/>
                      <a:pt x="45" y="65"/>
                    </a:cubicBezTo>
                    <a:cubicBezTo>
                      <a:pt x="40" y="72"/>
                      <a:pt x="34" y="76"/>
                      <a:pt x="26" y="76"/>
                    </a:cubicBezTo>
                    <a:cubicBezTo>
                      <a:pt x="18" y="76"/>
                      <a:pt x="12" y="72"/>
                      <a:pt x="7" y="65"/>
                    </a:cubicBezTo>
                    <a:cubicBezTo>
                      <a:pt x="3" y="59"/>
                      <a:pt x="0" y="49"/>
                      <a:pt x="0" y="38"/>
                    </a:cubicBezTo>
                    <a:cubicBezTo>
                      <a:pt x="0" y="27"/>
                      <a:pt x="3" y="17"/>
                      <a:pt x="7" y="11"/>
                    </a:cubicBezTo>
                    <a:cubicBezTo>
                      <a:pt x="12" y="4"/>
                      <a:pt x="18" y="0"/>
                      <a:pt x="26" y="0"/>
                    </a:cubicBezTo>
                    <a:cubicBezTo>
                      <a:pt x="34" y="0"/>
                      <a:pt x="40" y="4"/>
                      <a:pt x="45" y="10"/>
                    </a:cubicBezTo>
                    <a:cubicBezTo>
                      <a:pt x="50" y="17"/>
                      <a:pt x="52" y="26"/>
                      <a:pt x="52" y="38"/>
                    </a:cubicBezTo>
                    <a:close/>
                    <a:moveTo>
                      <a:pt x="38" y="38"/>
                    </a:moveTo>
                    <a:cubicBezTo>
                      <a:pt x="38" y="30"/>
                      <a:pt x="37" y="24"/>
                      <a:pt x="35" y="20"/>
                    </a:cubicBezTo>
                    <a:cubicBezTo>
                      <a:pt x="33" y="15"/>
                      <a:pt x="30" y="13"/>
                      <a:pt x="26" y="13"/>
                    </a:cubicBezTo>
                    <a:cubicBezTo>
                      <a:pt x="23" y="13"/>
                      <a:pt x="20" y="15"/>
                      <a:pt x="18" y="20"/>
                    </a:cubicBezTo>
                    <a:cubicBezTo>
                      <a:pt x="15" y="24"/>
                      <a:pt x="14" y="30"/>
                      <a:pt x="14" y="38"/>
                    </a:cubicBezTo>
                    <a:cubicBezTo>
                      <a:pt x="14" y="45"/>
                      <a:pt x="15" y="52"/>
                      <a:pt x="18" y="56"/>
                    </a:cubicBezTo>
                    <a:cubicBezTo>
                      <a:pt x="20" y="61"/>
                      <a:pt x="23" y="63"/>
                      <a:pt x="26" y="63"/>
                    </a:cubicBezTo>
                    <a:cubicBezTo>
                      <a:pt x="30" y="63"/>
                      <a:pt x="33" y="61"/>
                      <a:pt x="35" y="56"/>
                    </a:cubicBezTo>
                    <a:cubicBezTo>
                      <a:pt x="37" y="52"/>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3" name="Freeform 243"/>
              <p:cNvSpPr>
                <a:spLocks/>
              </p:cNvSpPr>
              <p:nvPr/>
            </p:nvSpPr>
            <p:spPr bwMode="auto">
              <a:xfrm>
                <a:off x="2835608" y="3744575"/>
                <a:ext cx="32813" cy="86094"/>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4" name="Freeform 244"/>
              <p:cNvSpPr>
                <a:spLocks noEditPoints="1"/>
              </p:cNvSpPr>
              <p:nvPr/>
            </p:nvSpPr>
            <p:spPr bwMode="auto">
              <a:xfrm>
                <a:off x="2882484" y="3741444"/>
                <a:ext cx="62501" cy="92355"/>
              </a:xfrm>
              <a:custGeom>
                <a:avLst/>
                <a:gdLst/>
                <a:ahLst/>
                <a:cxnLst>
                  <a:cxn ang="0">
                    <a:pos x="51" y="38"/>
                  </a:cxn>
                  <a:cxn ang="0">
                    <a:pos x="44" y="65"/>
                  </a:cxn>
                  <a:cxn ang="0">
                    <a:pos x="25" y="76"/>
                  </a:cxn>
                  <a:cxn ang="0">
                    <a:pos x="7" y="65"/>
                  </a:cxn>
                  <a:cxn ang="0">
                    <a:pos x="0" y="38"/>
                  </a:cxn>
                  <a:cxn ang="0">
                    <a:pos x="7" y="11"/>
                  </a:cxn>
                  <a:cxn ang="0">
                    <a:pos x="25" y="0"/>
                  </a:cxn>
                  <a:cxn ang="0">
                    <a:pos x="44" y="10"/>
                  </a:cxn>
                  <a:cxn ang="0">
                    <a:pos x="51" y="38"/>
                  </a:cxn>
                  <a:cxn ang="0">
                    <a:pos x="38" y="38"/>
                  </a:cxn>
                  <a:cxn ang="0">
                    <a:pos x="34" y="20"/>
                  </a:cxn>
                  <a:cxn ang="0">
                    <a:pos x="25" y="13"/>
                  </a:cxn>
                  <a:cxn ang="0">
                    <a:pos x="17" y="20"/>
                  </a:cxn>
                  <a:cxn ang="0">
                    <a:pos x="14" y="38"/>
                  </a:cxn>
                  <a:cxn ang="0">
                    <a:pos x="17" y="56"/>
                  </a:cxn>
                  <a:cxn ang="0">
                    <a:pos x="25" y="63"/>
                  </a:cxn>
                  <a:cxn ang="0">
                    <a:pos x="34" y="56"/>
                  </a:cxn>
                  <a:cxn ang="0">
                    <a:pos x="38" y="38"/>
                  </a:cxn>
                </a:cxnLst>
                <a:rect l="0" t="0" r="r" b="b"/>
                <a:pathLst>
                  <a:path w="51" h="76">
                    <a:moveTo>
                      <a:pt x="51" y="38"/>
                    </a:moveTo>
                    <a:cubicBezTo>
                      <a:pt x="51" y="49"/>
                      <a:pt x="49" y="58"/>
                      <a:pt x="44" y="65"/>
                    </a:cubicBezTo>
                    <a:cubicBezTo>
                      <a:pt x="40" y="72"/>
                      <a:pt x="33" y="76"/>
                      <a:pt x="25" y="76"/>
                    </a:cubicBezTo>
                    <a:cubicBezTo>
                      <a:pt x="18" y="76"/>
                      <a:pt x="11" y="72"/>
                      <a:pt x="7" y="65"/>
                    </a:cubicBezTo>
                    <a:cubicBezTo>
                      <a:pt x="2" y="59"/>
                      <a:pt x="0" y="49"/>
                      <a:pt x="0" y="38"/>
                    </a:cubicBezTo>
                    <a:cubicBezTo>
                      <a:pt x="0" y="27"/>
                      <a:pt x="2" y="17"/>
                      <a:pt x="7" y="11"/>
                    </a:cubicBezTo>
                    <a:cubicBezTo>
                      <a:pt x="11" y="4"/>
                      <a:pt x="18" y="0"/>
                      <a:pt x="25" y="0"/>
                    </a:cubicBezTo>
                    <a:cubicBezTo>
                      <a:pt x="33" y="0"/>
                      <a:pt x="40" y="4"/>
                      <a:pt x="44" y="10"/>
                    </a:cubicBezTo>
                    <a:cubicBezTo>
                      <a:pt x="49" y="17"/>
                      <a:pt x="51" y="26"/>
                      <a:pt x="51" y="38"/>
                    </a:cubicBezTo>
                    <a:close/>
                    <a:moveTo>
                      <a:pt x="38" y="38"/>
                    </a:moveTo>
                    <a:cubicBezTo>
                      <a:pt x="38" y="30"/>
                      <a:pt x="36" y="24"/>
                      <a:pt x="34" y="20"/>
                    </a:cubicBezTo>
                    <a:cubicBezTo>
                      <a:pt x="32" y="15"/>
                      <a:pt x="29" y="13"/>
                      <a:pt x="25" y="13"/>
                    </a:cubicBezTo>
                    <a:cubicBezTo>
                      <a:pt x="22" y="13"/>
                      <a:pt x="19" y="15"/>
                      <a:pt x="17" y="20"/>
                    </a:cubicBezTo>
                    <a:cubicBezTo>
                      <a:pt x="15" y="24"/>
                      <a:pt x="14" y="30"/>
                      <a:pt x="14" y="38"/>
                    </a:cubicBezTo>
                    <a:cubicBezTo>
                      <a:pt x="14" y="45"/>
                      <a:pt x="15" y="52"/>
                      <a:pt x="17" y="56"/>
                    </a:cubicBezTo>
                    <a:cubicBezTo>
                      <a:pt x="19" y="61"/>
                      <a:pt x="22" y="63"/>
                      <a:pt x="25" y="63"/>
                    </a:cubicBezTo>
                    <a:cubicBezTo>
                      <a:pt x="29" y="63"/>
                      <a:pt x="32" y="61"/>
                      <a:pt x="34" y="56"/>
                    </a:cubicBezTo>
                    <a:cubicBezTo>
                      <a:pt x="36" y="52"/>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5" name="Freeform 245"/>
              <p:cNvSpPr>
                <a:spLocks/>
              </p:cNvSpPr>
              <p:nvPr/>
            </p:nvSpPr>
            <p:spPr bwMode="auto">
              <a:xfrm>
                <a:off x="2944985" y="3744575"/>
                <a:ext cx="34376" cy="86094"/>
              </a:xfrm>
              <a:custGeom>
                <a:avLst/>
                <a:gdLst/>
                <a:ahLst/>
                <a:cxnLst>
                  <a:cxn ang="0">
                    <a:pos x="22" y="55"/>
                  </a:cxn>
                  <a:cxn ang="0">
                    <a:pos x="11" y="55"/>
                  </a:cxn>
                  <a:cxn ang="0">
                    <a:pos x="11" y="9"/>
                  </a:cxn>
                  <a:cxn ang="0">
                    <a:pos x="0" y="9"/>
                  </a:cxn>
                  <a:cxn ang="0">
                    <a:pos x="5" y="0"/>
                  </a:cxn>
                  <a:cxn ang="0">
                    <a:pos x="22" y="0"/>
                  </a:cxn>
                  <a:cxn ang="0">
                    <a:pos x="22" y="55"/>
                  </a:cxn>
                </a:cxnLst>
                <a:rect l="0" t="0" r="r" b="b"/>
                <a:pathLst>
                  <a:path w="22" h="55">
                    <a:moveTo>
                      <a:pt x="22" y="55"/>
                    </a:moveTo>
                    <a:lnTo>
                      <a:pt x="11" y="55"/>
                    </a:lnTo>
                    <a:lnTo>
                      <a:pt x="11" y="9"/>
                    </a:lnTo>
                    <a:lnTo>
                      <a:pt x="0" y="9"/>
                    </a:lnTo>
                    <a:lnTo>
                      <a:pt x="5" y="0"/>
                    </a:lnTo>
                    <a:lnTo>
                      <a:pt x="22" y="0"/>
                    </a:lnTo>
                    <a:lnTo>
                      <a:pt x="22"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6" name="Freeform 246"/>
              <p:cNvSpPr>
                <a:spLocks noEditPoints="1"/>
              </p:cNvSpPr>
              <p:nvPr/>
            </p:nvSpPr>
            <p:spPr bwMode="auto">
              <a:xfrm>
                <a:off x="2993423" y="3741444"/>
                <a:ext cx="62501" cy="92355"/>
              </a:xfrm>
              <a:custGeom>
                <a:avLst/>
                <a:gdLst/>
                <a:ahLst/>
                <a:cxnLst>
                  <a:cxn ang="0">
                    <a:pos x="52" y="38"/>
                  </a:cxn>
                  <a:cxn ang="0">
                    <a:pos x="44" y="65"/>
                  </a:cxn>
                  <a:cxn ang="0">
                    <a:pos x="26" y="76"/>
                  </a:cxn>
                  <a:cxn ang="0">
                    <a:pos x="7" y="65"/>
                  </a:cxn>
                  <a:cxn ang="0">
                    <a:pos x="0" y="38"/>
                  </a:cxn>
                  <a:cxn ang="0">
                    <a:pos x="7" y="11"/>
                  </a:cxn>
                  <a:cxn ang="0">
                    <a:pos x="26" y="0"/>
                  </a:cxn>
                  <a:cxn ang="0">
                    <a:pos x="45" y="10"/>
                  </a:cxn>
                  <a:cxn ang="0">
                    <a:pos x="52" y="38"/>
                  </a:cxn>
                  <a:cxn ang="0">
                    <a:pos x="38" y="38"/>
                  </a:cxn>
                  <a:cxn ang="0">
                    <a:pos x="34" y="20"/>
                  </a:cxn>
                  <a:cxn ang="0">
                    <a:pos x="26" y="13"/>
                  </a:cxn>
                  <a:cxn ang="0">
                    <a:pos x="17" y="20"/>
                  </a:cxn>
                  <a:cxn ang="0">
                    <a:pos x="14" y="38"/>
                  </a:cxn>
                  <a:cxn ang="0">
                    <a:pos x="17" y="56"/>
                  </a:cxn>
                  <a:cxn ang="0">
                    <a:pos x="26" y="63"/>
                  </a:cxn>
                  <a:cxn ang="0">
                    <a:pos x="34" y="56"/>
                  </a:cxn>
                  <a:cxn ang="0">
                    <a:pos x="38" y="38"/>
                  </a:cxn>
                </a:cxnLst>
                <a:rect l="0" t="0" r="r" b="b"/>
                <a:pathLst>
                  <a:path w="52" h="76">
                    <a:moveTo>
                      <a:pt x="52" y="38"/>
                    </a:moveTo>
                    <a:cubicBezTo>
                      <a:pt x="52" y="49"/>
                      <a:pt x="49" y="58"/>
                      <a:pt x="44" y="65"/>
                    </a:cubicBezTo>
                    <a:cubicBezTo>
                      <a:pt x="40" y="72"/>
                      <a:pt x="33" y="76"/>
                      <a:pt x="26" y="76"/>
                    </a:cubicBezTo>
                    <a:cubicBezTo>
                      <a:pt x="18" y="76"/>
                      <a:pt x="12" y="72"/>
                      <a:pt x="7" y="65"/>
                    </a:cubicBezTo>
                    <a:cubicBezTo>
                      <a:pt x="2" y="59"/>
                      <a:pt x="0" y="49"/>
                      <a:pt x="0" y="38"/>
                    </a:cubicBezTo>
                    <a:cubicBezTo>
                      <a:pt x="0" y="27"/>
                      <a:pt x="2" y="17"/>
                      <a:pt x="7" y="11"/>
                    </a:cubicBezTo>
                    <a:cubicBezTo>
                      <a:pt x="12" y="4"/>
                      <a:pt x="18" y="0"/>
                      <a:pt x="26" y="0"/>
                    </a:cubicBezTo>
                    <a:cubicBezTo>
                      <a:pt x="34" y="0"/>
                      <a:pt x="40" y="4"/>
                      <a:pt x="45" y="10"/>
                    </a:cubicBezTo>
                    <a:cubicBezTo>
                      <a:pt x="49" y="17"/>
                      <a:pt x="52" y="26"/>
                      <a:pt x="52" y="38"/>
                    </a:cubicBezTo>
                    <a:close/>
                    <a:moveTo>
                      <a:pt x="38" y="38"/>
                    </a:moveTo>
                    <a:cubicBezTo>
                      <a:pt x="38" y="30"/>
                      <a:pt x="37" y="24"/>
                      <a:pt x="34" y="20"/>
                    </a:cubicBezTo>
                    <a:cubicBezTo>
                      <a:pt x="32" y="15"/>
                      <a:pt x="29" y="13"/>
                      <a:pt x="26" y="13"/>
                    </a:cubicBezTo>
                    <a:cubicBezTo>
                      <a:pt x="22" y="13"/>
                      <a:pt x="19" y="15"/>
                      <a:pt x="17" y="20"/>
                    </a:cubicBezTo>
                    <a:cubicBezTo>
                      <a:pt x="15" y="24"/>
                      <a:pt x="14" y="30"/>
                      <a:pt x="14" y="38"/>
                    </a:cubicBezTo>
                    <a:cubicBezTo>
                      <a:pt x="14" y="45"/>
                      <a:pt x="15" y="52"/>
                      <a:pt x="17" y="56"/>
                    </a:cubicBezTo>
                    <a:cubicBezTo>
                      <a:pt x="19" y="61"/>
                      <a:pt x="22" y="63"/>
                      <a:pt x="26" y="63"/>
                    </a:cubicBezTo>
                    <a:cubicBezTo>
                      <a:pt x="29" y="63"/>
                      <a:pt x="32" y="61"/>
                      <a:pt x="34" y="56"/>
                    </a:cubicBezTo>
                    <a:cubicBezTo>
                      <a:pt x="37" y="52"/>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7" name="Freeform 247"/>
              <p:cNvSpPr>
                <a:spLocks/>
              </p:cNvSpPr>
              <p:nvPr/>
            </p:nvSpPr>
            <p:spPr bwMode="auto">
              <a:xfrm>
                <a:off x="3057486" y="3744575"/>
                <a:ext cx="32813" cy="86094"/>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8" name="Freeform 248"/>
              <p:cNvSpPr>
                <a:spLocks/>
              </p:cNvSpPr>
              <p:nvPr/>
            </p:nvSpPr>
            <p:spPr bwMode="auto">
              <a:xfrm>
                <a:off x="3098112" y="3744575"/>
                <a:ext cx="32813" cy="86094"/>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9" name="Freeform 259"/>
              <p:cNvSpPr>
                <a:spLocks/>
              </p:cNvSpPr>
              <p:nvPr/>
            </p:nvSpPr>
            <p:spPr bwMode="auto">
              <a:xfrm>
                <a:off x="2366851" y="3882325"/>
                <a:ext cx="32813" cy="87659"/>
              </a:xfrm>
              <a:custGeom>
                <a:avLst/>
                <a:gdLst/>
                <a:ahLst/>
                <a:cxnLst>
                  <a:cxn ang="0">
                    <a:pos x="21" y="56"/>
                  </a:cxn>
                  <a:cxn ang="0">
                    <a:pos x="10" y="56"/>
                  </a:cxn>
                  <a:cxn ang="0">
                    <a:pos x="10" y="9"/>
                  </a:cxn>
                  <a:cxn ang="0">
                    <a:pos x="0" y="9"/>
                  </a:cxn>
                  <a:cxn ang="0">
                    <a:pos x="5" y="0"/>
                  </a:cxn>
                  <a:cxn ang="0">
                    <a:pos x="21" y="0"/>
                  </a:cxn>
                  <a:cxn ang="0">
                    <a:pos x="21" y="56"/>
                  </a:cxn>
                </a:cxnLst>
                <a:rect l="0" t="0" r="r" b="b"/>
                <a:pathLst>
                  <a:path w="21" h="56">
                    <a:moveTo>
                      <a:pt x="21" y="56"/>
                    </a:moveTo>
                    <a:lnTo>
                      <a:pt x="10" y="56"/>
                    </a:lnTo>
                    <a:lnTo>
                      <a:pt x="10" y="9"/>
                    </a:lnTo>
                    <a:lnTo>
                      <a:pt x="0" y="9"/>
                    </a:lnTo>
                    <a:lnTo>
                      <a:pt x="5"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0" name="Freeform 260"/>
              <p:cNvSpPr>
                <a:spLocks/>
              </p:cNvSpPr>
              <p:nvPr/>
            </p:nvSpPr>
            <p:spPr bwMode="auto">
              <a:xfrm>
                <a:off x="2407476" y="3882325"/>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1" name="Freeform 261"/>
              <p:cNvSpPr>
                <a:spLocks/>
              </p:cNvSpPr>
              <p:nvPr/>
            </p:nvSpPr>
            <p:spPr bwMode="auto">
              <a:xfrm>
                <a:off x="2449664" y="3882325"/>
                <a:ext cx="31250" cy="87659"/>
              </a:xfrm>
              <a:custGeom>
                <a:avLst/>
                <a:gdLst/>
                <a:ahLst/>
                <a:cxnLst>
                  <a:cxn ang="0">
                    <a:pos x="20" y="56"/>
                  </a:cxn>
                  <a:cxn ang="0">
                    <a:pos x="10" y="56"/>
                  </a:cxn>
                  <a:cxn ang="0">
                    <a:pos x="10" y="9"/>
                  </a:cxn>
                  <a:cxn ang="0">
                    <a:pos x="0" y="9"/>
                  </a:cxn>
                  <a:cxn ang="0">
                    <a:pos x="3" y="0"/>
                  </a:cxn>
                  <a:cxn ang="0">
                    <a:pos x="20" y="0"/>
                  </a:cxn>
                  <a:cxn ang="0">
                    <a:pos x="20" y="56"/>
                  </a:cxn>
                </a:cxnLst>
                <a:rect l="0" t="0" r="r" b="b"/>
                <a:pathLst>
                  <a:path w="20" h="56">
                    <a:moveTo>
                      <a:pt x="20" y="56"/>
                    </a:moveTo>
                    <a:lnTo>
                      <a:pt x="10" y="56"/>
                    </a:lnTo>
                    <a:lnTo>
                      <a:pt x="10" y="9"/>
                    </a:lnTo>
                    <a:lnTo>
                      <a:pt x="0" y="9"/>
                    </a:lnTo>
                    <a:lnTo>
                      <a:pt x="3" y="0"/>
                    </a:lnTo>
                    <a:lnTo>
                      <a:pt x="20" y="0"/>
                    </a:lnTo>
                    <a:lnTo>
                      <a:pt x="20"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2" name="Freeform 262"/>
              <p:cNvSpPr>
                <a:spLocks noEditPoints="1"/>
              </p:cNvSpPr>
              <p:nvPr/>
            </p:nvSpPr>
            <p:spPr bwMode="auto">
              <a:xfrm>
                <a:off x="2496540" y="3880759"/>
                <a:ext cx="62501" cy="90790"/>
              </a:xfrm>
              <a:custGeom>
                <a:avLst/>
                <a:gdLst/>
                <a:ahLst/>
                <a:cxnLst>
                  <a:cxn ang="0">
                    <a:pos x="52" y="38"/>
                  </a:cxn>
                  <a:cxn ang="0">
                    <a:pos x="45" y="66"/>
                  </a:cxn>
                  <a:cxn ang="0">
                    <a:pos x="26" y="76"/>
                  </a:cxn>
                  <a:cxn ang="0">
                    <a:pos x="7" y="66"/>
                  </a:cxn>
                  <a:cxn ang="0">
                    <a:pos x="0" y="38"/>
                  </a:cxn>
                  <a:cxn ang="0">
                    <a:pos x="7" y="11"/>
                  </a:cxn>
                  <a:cxn ang="0">
                    <a:pos x="26" y="0"/>
                  </a:cxn>
                  <a:cxn ang="0">
                    <a:pos x="45" y="11"/>
                  </a:cxn>
                  <a:cxn ang="0">
                    <a:pos x="52" y="38"/>
                  </a:cxn>
                  <a:cxn ang="0">
                    <a:pos x="38" y="38"/>
                  </a:cxn>
                  <a:cxn ang="0">
                    <a:pos x="34" y="20"/>
                  </a:cxn>
                  <a:cxn ang="0">
                    <a:pos x="26" y="13"/>
                  </a:cxn>
                  <a:cxn ang="0">
                    <a:pos x="17" y="20"/>
                  </a:cxn>
                  <a:cxn ang="0">
                    <a:pos x="14" y="38"/>
                  </a:cxn>
                  <a:cxn ang="0">
                    <a:pos x="17" y="57"/>
                  </a:cxn>
                  <a:cxn ang="0">
                    <a:pos x="26" y="64"/>
                  </a:cxn>
                  <a:cxn ang="0">
                    <a:pos x="34" y="57"/>
                  </a:cxn>
                  <a:cxn ang="0">
                    <a:pos x="38" y="38"/>
                  </a:cxn>
                </a:cxnLst>
                <a:rect l="0" t="0" r="r" b="b"/>
                <a:pathLst>
                  <a:path w="52" h="76">
                    <a:moveTo>
                      <a:pt x="52" y="38"/>
                    </a:moveTo>
                    <a:cubicBezTo>
                      <a:pt x="52" y="49"/>
                      <a:pt x="49" y="59"/>
                      <a:pt x="45" y="66"/>
                    </a:cubicBezTo>
                    <a:cubicBezTo>
                      <a:pt x="40" y="72"/>
                      <a:pt x="34" y="76"/>
                      <a:pt x="26" y="76"/>
                    </a:cubicBezTo>
                    <a:cubicBezTo>
                      <a:pt x="18" y="76"/>
                      <a:pt x="12" y="73"/>
                      <a:pt x="7" y="66"/>
                    </a:cubicBezTo>
                    <a:cubicBezTo>
                      <a:pt x="2" y="59"/>
                      <a:pt x="0" y="50"/>
                      <a:pt x="0" y="38"/>
                    </a:cubicBezTo>
                    <a:cubicBezTo>
                      <a:pt x="0" y="27"/>
                      <a:pt x="2" y="18"/>
                      <a:pt x="7" y="11"/>
                    </a:cubicBezTo>
                    <a:cubicBezTo>
                      <a:pt x="12" y="4"/>
                      <a:pt x="18" y="0"/>
                      <a:pt x="26" y="0"/>
                    </a:cubicBezTo>
                    <a:cubicBezTo>
                      <a:pt x="34" y="0"/>
                      <a:pt x="40" y="4"/>
                      <a:pt x="45" y="11"/>
                    </a:cubicBezTo>
                    <a:cubicBezTo>
                      <a:pt x="49" y="18"/>
                      <a:pt x="52" y="27"/>
                      <a:pt x="52" y="38"/>
                    </a:cubicBezTo>
                    <a:close/>
                    <a:moveTo>
                      <a:pt x="38" y="38"/>
                    </a:moveTo>
                    <a:cubicBezTo>
                      <a:pt x="38" y="31"/>
                      <a:pt x="37" y="24"/>
                      <a:pt x="34" y="20"/>
                    </a:cubicBezTo>
                    <a:cubicBezTo>
                      <a:pt x="32" y="15"/>
                      <a:pt x="29" y="13"/>
                      <a:pt x="26" y="13"/>
                    </a:cubicBezTo>
                    <a:cubicBezTo>
                      <a:pt x="22" y="13"/>
                      <a:pt x="19" y="15"/>
                      <a:pt x="17" y="20"/>
                    </a:cubicBezTo>
                    <a:cubicBezTo>
                      <a:pt x="15" y="25"/>
                      <a:pt x="14" y="31"/>
                      <a:pt x="14" y="38"/>
                    </a:cubicBezTo>
                    <a:cubicBezTo>
                      <a:pt x="14" y="46"/>
                      <a:pt x="15" y="52"/>
                      <a:pt x="17" y="57"/>
                    </a:cubicBezTo>
                    <a:cubicBezTo>
                      <a:pt x="19" y="61"/>
                      <a:pt x="22" y="64"/>
                      <a:pt x="26" y="64"/>
                    </a:cubicBezTo>
                    <a:cubicBezTo>
                      <a:pt x="29" y="64"/>
                      <a:pt x="32" y="61"/>
                      <a:pt x="34" y="57"/>
                    </a:cubicBezTo>
                    <a:cubicBezTo>
                      <a:pt x="37" y="52"/>
                      <a:pt x="38" y="46"/>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3" name="Freeform 263"/>
              <p:cNvSpPr>
                <a:spLocks noEditPoints="1"/>
              </p:cNvSpPr>
              <p:nvPr/>
            </p:nvSpPr>
            <p:spPr bwMode="auto">
              <a:xfrm>
                <a:off x="2562166" y="3880759"/>
                <a:ext cx="62501" cy="90790"/>
              </a:xfrm>
              <a:custGeom>
                <a:avLst/>
                <a:gdLst/>
                <a:ahLst/>
                <a:cxnLst>
                  <a:cxn ang="0">
                    <a:pos x="52" y="38"/>
                  </a:cxn>
                  <a:cxn ang="0">
                    <a:pos x="45" y="66"/>
                  </a:cxn>
                  <a:cxn ang="0">
                    <a:pos x="26" y="76"/>
                  </a:cxn>
                  <a:cxn ang="0">
                    <a:pos x="7" y="66"/>
                  </a:cxn>
                  <a:cxn ang="0">
                    <a:pos x="0" y="38"/>
                  </a:cxn>
                  <a:cxn ang="0">
                    <a:pos x="7" y="11"/>
                  </a:cxn>
                  <a:cxn ang="0">
                    <a:pos x="26" y="0"/>
                  </a:cxn>
                  <a:cxn ang="0">
                    <a:pos x="45" y="11"/>
                  </a:cxn>
                  <a:cxn ang="0">
                    <a:pos x="52" y="38"/>
                  </a:cxn>
                  <a:cxn ang="0">
                    <a:pos x="38" y="38"/>
                  </a:cxn>
                  <a:cxn ang="0">
                    <a:pos x="35" y="20"/>
                  </a:cxn>
                  <a:cxn ang="0">
                    <a:pos x="26" y="13"/>
                  </a:cxn>
                  <a:cxn ang="0">
                    <a:pos x="18" y="20"/>
                  </a:cxn>
                  <a:cxn ang="0">
                    <a:pos x="14" y="38"/>
                  </a:cxn>
                  <a:cxn ang="0">
                    <a:pos x="18" y="57"/>
                  </a:cxn>
                  <a:cxn ang="0">
                    <a:pos x="26" y="64"/>
                  </a:cxn>
                  <a:cxn ang="0">
                    <a:pos x="35" y="57"/>
                  </a:cxn>
                  <a:cxn ang="0">
                    <a:pos x="38" y="38"/>
                  </a:cxn>
                </a:cxnLst>
                <a:rect l="0" t="0" r="r" b="b"/>
                <a:pathLst>
                  <a:path w="52" h="76">
                    <a:moveTo>
                      <a:pt x="52" y="38"/>
                    </a:moveTo>
                    <a:cubicBezTo>
                      <a:pt x="52" y="49"/>
                      <a:pt x="50" y="59"/>
                      <a:pt x="45" y="66"/>
                    </a:cubicBezTo>
                    <a:cubicBezTo>
                      <a:pt x="40" y="72"/>
                      <a:pt x="34" y="76"/>
                      <a:pt x="26" y="76"/>
                    </a:cubicBezTo>
                    <a:cubicBezTo>
                      <a:pt x="18" y="76"/>
                      <a:pt x="12" y="73"/>
                      <a:pt x="7" y="66"/>
                    </a:cubicBezTo>
                    <a:cubicBezTo>
                      <a:pt x="3" y="59"/>
                      <a:pt x="0" y="50"/>
                      <a:pt x="0" y="38"/>
                    </a:cubicBezTo>
                    <a:cubicBezTo>
                      <a:pt x="0" y="27"/>
                      <a:pt x="3" y="18"/>
                      <a:pt x="7" y="11"/>
                    </a:cubicBezTo>
                    <a:cubicBezTo>
                      <a:pt x="12" y="4"/>
                      <a:pt x="18" y="0"/>
                      <a:pt x="26" y="0"/>
                    </a:cubicBezTo>
                    <a:cubicBezTo>
                      <a:pt x="34" y="0"/>
                      <a:pt x="40" y="4"/>
                      <a:pt x="45" y="11"/>
                    </a:cubicBezTo>
                    <a:cubicBezTo>
                      <a:pt x="50" y="18"/>
                      <a:pt x="52" y="27"/>
                      <a:pt x="52" y="38"/>
                    </a:cubicBezTo>
                    <a:close/>
                    <a:moveTo>
                      <a:pt x="38" y="38"/>
                    </a:moveTo>
                    <a:cubicBezTo>
                      <a:pt x="38" y="31"/>
                      <a:pt x="37" y="24"/>
                      <a:pt x="35" y="20"/>
                    </a:cubicBezTo>
                    <a:cubicBezTo>
                      <a:pt x="33" y="15"/>
                      <a:pt x="30" y="13"/>
                      <a:pt x="26" y="13"/>
                    </a:cubicBezTo>
                    <a:cubicBezTo>
                      <a:pt x="23" y="13"/>
                      <a:pt x="20" y="15"/>
                      <a:pt x="18" y="20"/>
                    </a:cubicBezTo>
                    <a:cubicBezTo>
                      <a:pt x="15" y="25"/>
                      <a:pt x="14" y="31"/>
                      <a:pt x="14" y="38"/>
                    </a:cubicBezTo>
                    <a:cubicBezTo>
                      <a:pt x="14" y="46"/>
                      <a:pt x="15" y="52"/>
                      <a:pt x="18" y="57"/>
                    </a:cubicBezTo>
                    <a:cubicBezTo>
                      <a:pt x="20" y="61"/>
                      <a:pt x="23" y="64"/>
                      <a:pt x="26" y="64"/>
                    </a:cubicBezTo>
                    <a:cubicBezTo>
                      <a:pt x="30" y="64"/>
                      <a:pt x="33" y="61"/>
                      <a:pt x="35" y="57"/>
                    </a:cubicBezTo>
                    <a:cubicBezTo>
                      <a:pt x="37" y="52"/>
                      <a:pt x="38" y="46"/>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4" name="Freeform 264"/>
              <p:cNvSpPr>
                <a:spLocks/>
              </p:cNvSpPr>
              <p:nvPr/>
            </p:nvSpPr>
            <p:spPr bwMode="auto">
              <a:xfrm>
                <a:off x="2626230" y="3882325"/>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5" name="Freeform 265"/>
              <p:cNvSpPr>
                <a:spLocks noEditPoints="1"/>
              </p:cNvSpPr>
              <p:nvPr/>
            </p:nvSpPr>
            <p:spPr bwMode="auto">
              <a:xfrm>
                <a:off x="2673105" y="3880759"/>
                <a:ext cx="62501" cy="90790"/>
              </a:xfrm>
              <a:custGeom>
                <a:avLst/>
                <a:gdLst/>
                <a:ahLst/>
                <a:cxnLst>
                  <a:cxn ang="0">
                    <a:pos x="51" y="38"/>
                  </a:cxn>
                  <a:cxn ang="0">
                    <a:pos x="44" y="66"/>
                  </a:cxn>
                  <a:cxn ang="0">
                    <a:pos x="25" y="76"/>
                  </a:cxn>
                  <a:cxn ang="0">
                    <a:pos x="7" y="66"/>
                  </a:cxn>
                  <a:cxn ang="0">
                    <a:pos x="0" y="38"/>
                  </a:cxn>
                  <a:cxn ang="0">
                    <a:pos x="7" y="11"/>
                  </a:cxn>
                  <a:cxn ang="0">
                    <a:pos x="25" y="0"/>
                  </a:cxn>
                  <a:cxn ang="0">
                    <a:pos x="44" y="11"/>
                  </a:cxn>
                  <a:cxn ang="0">
                    <a:pos x="51" y="38"/>
                  </a:cxn>
                  <a:cxn ang="0">
                    <a:pos x="38" y="38"/>
                  </a:cxn>
                  <a:cxn ang="0">
                    <a:pos x="34" y="20"/>
                  </a:cxn>
                  <a:cxn ang="0">
                    <a:pos x="25" y="13"/>
                  </a:cxn>
                  <a:cxn ang="0">
                    <a:pos x="17" y="20"/>
                  </a:cxn>
                  <a:cxn ang="0">
                    <a:pos x="14" y="38"/>
                  </a:cxn>
                  <a:cxn ang="0">
                    <a:pos x="17" y="57"/>
                  </a:cxn>
                  <a:cxn ang="0">
                    <a:pos x="25" y="64"/>
                  </a:cxn>
                  <a:cxn ang="0">
                    <a:pos x="34" y="57"/>
                  </a:cxn>
                  <a:cxn ang="0">
                    <a:pos x="38" y="38"/>
                  </a:cxn>
                </a:cxnLst>
                <a:rect l="0" t="0" r="r" b="b"/>
                <a:pathLst>
                  <a:path w="51" h="76">
                    <a:moveTo>
                      <a:pt x="51" y="38"/>
                    </a:moveTo>
                    <a:cubicBezTo>
                      <a:pt x="51" y="49"/>
                      <a:pt x="49" y="59"/>
                      <a:pt x="44" y="66"/>
                    </a:cubicBezTo>
                    <a:cubicBezTo>
                      <a:pt x="40" y="72"/>
                      <a:pt x="33" y="76"/>
                      <a:pt x="25" y="76"/>
                    </a:cubicBezTo>
                    <a:cubicBezTo>
                      <a:pt x="18" y="76"/>
                      <a:pt x="11" y="73"/>
                      <a:pt x="7" y="66"/>
                    </a:cubicBezTo>
                    <a:cubicBezTo>
                      <a:pt x="2" y="59"/>
                      <a:pt x="0" y="50"/>
                      <a:pt x="0" y="38"/>
                    </a:cubicBezTo>
                    <a:cubicBezTo>
                      <a:pt x="0" y="27"/>
                      <a:pt x="2" y="18"/>
                      <a:pt x="7" y="11"/>
                    </a:cubicBezTo>
                    <a:cubicBezTo>
                      <a:pt x="11" y="4"/>
                      <a:pt x="18" y="0"/>
                      <a:pt x="25" y="0"/>
                    </a:cubicBezTo>
                    <a:cubicBezTo>
                      <a:pt x="33" y="0"/>
                      <a:pt x="40" y="4"/>
                      <a:pt x="44" y="11"/>
                    </a:cubicBezTo>
                    <a:cubicBezTo>
                      <a:pt x="49" y="18"/>
                      <a:pt x="51" y="27"/>
                      <a:pt x="51" y="38"/>
                    </a:cubicBezTo>
                    <a:close/>
                    <a:moveTo>
                      <a:pt x="38" y="38"/>
                    </a:moveTo>
                    <a:cubicBezTo>
                      <a:pt x="38" y="31"/>
                      <a:pt x="36" y="24"/>
                      <a:pt x="34" y="20"/>
                    </a:cubicBezTo>
                    <a:cubicBezTo>
                      <a:pt x="32" y="15"/>
                      <a:pt x="29" y="13"/>
                      <a:pt x="25" y="13"/>
                    </a:cubicBezTo>
                    <a:cubicBezTo>
                      <a:pt x="22" y="13"/>
                      <a:pt x="19" y="15"/>
                      <a:pt x="17" y="20"/>
                    </a:cubicBezTo>
                    <a:cubicBezTo>
                      <a:pt x="15" y="25"/>
                      <a:pt x="14" y="31"/>
                      <a:pt x="14" y="38"/>
                    </a:cubicBezTo>
                    <a:cubicBezTo>
                      <a:pt x="14" y="46"/>
                      <a:pt x="15" y="52"/>
                      <a:pt x="17" y="57"/>
                    </a:cubicBezTo>
                    <a:cubicBezTo>
                      <a:pt x="19" y="61"/>
                      <a:pt x="22" y="64"/>
                      <a:pt x="25" y="64"/>
                    </a:cubicBezTo>
                    <a:cubicBezTo>
                      <a:pt x="29" y="64"/>
                      <a:pt x="32" y="61"/>
                      <a:pt x="34" y="57"/>
                    </a:cubicBezTo>
                    <a:cubicBezTo>
                      <a:pt x="36" y="52"/>
                      <a:pt x="38" y="46"/>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6" name="Freeform 266"/>
              <p:cNvSpPr>
                <a:spLocks/>
              </p:cNvSpPr>
              <p:nvPr/>
            </p:nvSpPr>
            <p:spPr bwMode="auto">
              <a:xfrm>
                <a:off x="2737169" y="3882325"/>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7" name="Freeform 267"/>
              <p:cNvSpPr>
                <a:spLocks noEditPoints="1"/>
              </p:cNvSpPr>
              <p:nvPr/>
            </p:nvSpPr>
            <p:spPr bwMode="auto">
              <a:xfrm>
                <a:off x="2784045" y="3880759"/>
                <a:ext cx="62501" cy="90790"/>
              </a:xfrm>
              <a:custGeom>
                <a:avLst/>
                <a:gdLst/>
                <a:ahLst/>
                <a:cxnLst>
                  <a:cxn ang="0">
                    <a:pos x="52" y="38"/>
                  </a:cxn>
                  <a:cxn ang="0">
                    <a:pos x="45" y="66"/>
                  </a:cxn>
                  <a:cxn ang="0">
                    <a:pos x="26" y="76"/>
                  </a:cxn>
                  <a:cxn ang="0">
                    <a:pos x="7" y="66"/>
                  </a:cxn>
                  <a:cxn ang="0">
                    <a:pos x="0" y="38"/>
                  </a:cxn>
                  <a:cxn ang="0">
                    <a:pos x="7" y="11"/>
                  </a:cxn>
                  <a:cxn ang="0">
                    <a:pos x="26" y="0"/>
                  </a:cxn>
                  <a:cxn ang="0">
                    <a:pos x="45" y="11"/>
                  </a:cxn>
                  <a:cxn ang="0">
                    <a:pos x="52" y="38"/>
                  </a:cxn>
                  <a:cxn ang="0">
                    <a:pos x="38" y="38"/>
                  </a:cxn>
                  <a:cxn ang="0">
                    <a:pos x="34" y="20"/>
                  </a:cxn>
                  <a:cxn ang="0">
                    <a:pos x="26" y="13"/>
                  </a:cxn>
                  <a:cxn ang="0">
                    <a:pos x="17" y="20"/>
                  </a:cxn>
                  <a:cxn ang="0">
                    <a:pos x="14" y="38"/>
                  </a:cxn>
                  <a:cxn ang="0">
                    <a:pos x="17" y="57"/>
                  </a:cxn>
                  <a:cxn ang="0">
                    <a:pos x="26" y="64"/>
                  </a:cxn>
                  <a:cxn ang="0">
                    <a:pos x="34" y="57"/>
                  </a:cxn>
                  <a:cxn ang="0">
                    <a:pos x="38" y="38"/>
                  </a:cxn>
                </a:cxnLst>
                <a:rect l="0" t="0" r="r" b="b"/>
                <a:pathLst>
                  <a:path w="52" h="76">
                    <a:moveTo>
                      <a:pt x="52" y="38"/>
                    </a:moveTo>
                    <a:cubicBezTo>
                      <a:pt x="52" y="49"/>
                      <a:pt x="49" y="59"/>
                      <a:pt x="45" y="66"/>
                    </a:cubicBezTo>
                    <a:cubicBezTo>
                      <a:pt x="40" y="72"/>
                      <a:pt x="34" y="76"/>
                      <a:pt x="26" y="76"/>
                    </a:cubicBezTo>
                    <a:cubicBezTo>
                      <a:pt x="18" y="76"/>
                      <a:pt x="12" y="73"/>
                      <a:pt x="7" y="66"/>
                    </a:cubicBezTo>
                    <a:cubicBezTo>
                      <a:pt x="2" y="59"/>
                      <a:pt x="0" y="50"/>
                      <a:pt x="0" y="38"/>
                    </a:cubicBezTo>
                    <a:cubicBezTo>
                      <a:pt x="0" y="27"/>
                      <a:pt x="2" y="18"/>
                      <a:pt x="7" y="11"/>
                    </a:cubicBezTo>
                    <a:cubicBezTo>
                      <a:pt x="12" y="4"/>
                      <a:pt x="18" y="0"/>
                      <a:pt x="26" y="0"/>
                    </a:cubicBezTo>
                    <a:cubicBezTo>
                      <a:pt x="34" y="0"/>
                      <a:pt x="40" y="4"/>
                      <a:pt x="45" y="11"/>
                    </a:cubicBezTo>
                    <a:cubicBezTo>
                      <a:pt x="49" y="18"/>
                      <a:pt x="52" y="27"/>
                      <a:pt x="52" y="38"/>
                    </a:cubicBezTo>
                    <a:close/>
                    <a:moveTo>
                      <a:pt x="38" y="38"/>
                    </a:moveTo>
                    <a:cubicBezTo>
                      <a:pt x="38" y="31"/>
                      <a:pt x="37" y="24"/>
                      <a:pt x="34" y="20"/>
                    </a:cubicBezTo>
                    <a:cubicBezTo>
                      <a:pt x="32" y="15"/>
                      <a:pt x="29" y="13"/>
                      <a:pt x="26" y="13"/>
                    </a:cubicBezTo>
                    <a:cubicBezTo>
                      <a:pt x="22" y="13"/>
                      <a:pt x="19" y="15"/>
                      <a:pt x="17" y="20"/>
                    </a:cubicBezTo>
                    <a:cubicBezTo>
                      <a:pt x="15" y="25"/>
                      <a:pt x="14" y="31"/>
                      <a:pt x="14" y="38"/>
                    </a:cubicBezTo>
                    <a:cubicBezTo>
                      <a:pt x="14" y="46"/>
                      <a:pt x="15" y="52"/>
                      <a:pt x="17" y="57"/>
                    </a:cubicBezTo>
                    <a:cubicBezTo>
                      <a:pt x="19" y="61"/>
                      <a:pt x="22" y="64"/>
                      <a:pt x="26" y="64"/>
                    </a:cubicBezTo>
                    <a:cubicBezTo>
                      <a:pt x="29" y="64"/>
                      <a:pt x="32" y="61"/>
                      <a:pt x="34" y="57"/>
                    </a:cubicBezTo>
                    <a:cubicBezTo>
                      <a:pt x="37" y="52"/>
                      <a:pt x="38" y="46"/>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8" name="Freeform 268"/>
              <p:cNvSpPr>
                <a:spLocks/>
              </p:cNvSpPr>
              <p:nvPr/>
            </p:nvSpPr>
            <p:spPr bwMode="auto">
              <a:xfrm>
                <a:off x="2848108" y="3882325"/>
                <a:ext cx="32813" cy="87659"/>
              </a:xfrm>
              <a:custGeom>
                <a:avLst/>
                <a:gdLst/>
                <a:ahLst/>
                <a:cxnLst>
                  <a:cxn ang="0">
                    <a:pos x="21" y="56"/>
                  </a:cxn>
                  <a:cxn ang="0">
                    <a:pos x="11" y="56"/>
                  </a:cxn>
                  <a:cxn ang="0">
                    <a:pos x="11" y="9"/>
                  </a:cxn>
                  <a:cxn ang="0">
                    <a:pos x="0" y="9"/>
                  </a:cxn>
                  <a:cxn ang="0">
                    <a:pos x="5" y="0"/>
                  </a:cxn>
                  <a:cxn ang="0">
                    <a:pos x="21" y="0"/>
                  </a:cxn>
                  <a:cxn ang="0">
                    <a:pos x="21" y="56"/>
                  </a:cxn>
                </a:cxnLst>
                <a:rect l="0" t="0" r="r" b="b"/>
                <a:pathLst>
                  <a:path w="21" h="56">
                    <a:moveTo>
                      <a:pt x="21" y="56"/>
                    </a:moveTo>
                    <a:lnTo>
                      <a:pt x="11" y="56"/>
                    </a:lnTo>
                    <a:lnTo>
                      <a:pt x="11" y="9"/>
                    </a:lnTo>
                    <a:lnTo>
                      <a:pt x="0" y="9"/>
                    </a:lnTo>
                    <a:lnTo>
                      <a:pt x="5"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9" name="Freeform 269"/>
              <p:cNvSpPr>
                <a:spLocks/>
              </p:cNvSpPr>
              <p:nvPr/>
            </p:nvSpPr>
            <p:spPr bwMode="auto">
              <a:xfrm>
                <a:off x="2888734" y="3882325"/>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0" name="Freeform 270"/>
              <p:cNvSpPr>
                <a:spLocks noEditPoints="1"/>
              </p:cNvSpPr>
              <p:nvPr/>
            </p:nvSpPr>
            <p:spPr bwMode="auto">
              <a:xfrm>
                <a:off x="2935610" y="3880759"/>
                <a:ext cx="62501" cy="90790"/>
              </a:xfrm>
              <a:custGeom>
                <a:avLst/>
                <a:gdLst/>
                <a:ahLst/>
                <a:cxnLst>
                  <a:cxn ang="0">
                    <a:pos x="52" y="38"/>
                  </a:cxn>
                  <a:cxn ang="0">
                    <a:pos x="45" y="66"/>
                  </a:cxn>
                  <a:cxn ang="0">
                    <a:pos x="26" y="76"/>
                  </a:cxn>
                  <a:cxn ang="0">
                    <a:pos x="7" y="66"/>
                  </a:cxn>
                  <a:cxn ang="0">
                    <a:pos x="0" y="38"/>
                  </a:cxn>
                  <a:cxn ang="0">
                    <a:pos x="7" y="11"/>
                  </a:cxn>
                  <a:cxn ang="0">
                    <a:pos x="26" y="0"/>
                  </a:cxn>
                  <a:cxn ang="0">
                    <a:pos x="45" y="11"/>
                  </a:cxn>
                  <a:cxn ang="0">
                    <a:pos x="52" y="38"/>
                  </a:cxn>
                  <a:cxn ang="0">
                    <a:pos x="38" y="38"/>
                  </a:cxn>
                  <a:cxn ang="0">
                    <a:pos x="35" y="20"/>
                  </a:cxn>
                  <a:cxn ang="0">
                    <a:pos x="26" y="13"/>
                  </a:cxn>
                  <a:cxn ang="0">
                    <a:pos x="17" y="20"/>
                  </a:cxn>
                  <a:cxn ang="0">
                    <a:pos x="14" y="38"/>
                  </a:cxn>
                  <a:cxn ang="0">
                    <a:pos x="17" y="57"/>
                  </a:cxn>
                  <a:cxn ang="0">
                    <a:pos x="26" y="64"/>
                  </a:cxn>
                  <a:cxn ang="0">
                    <a:pos x="35" y="57"/>
                  </a:cxn>
                  <a:cxn ang="0">
                    <a:pos x="38" y="38"/>
                  </a:cxn>
                </a:cxnLst>
                <a:rect l="0" t="0" r="r" b="b"/>
                <a:pathLst>
                  <a:path w="52" h="76">
                    <a:moveTo>
                      <a:pt x="52" y="38"/>
                    </a:moveTo>
                    <a:cubicBezTo>
                      <a:pt x="52" y="49"/>
                      <a:pt x="49" y="59"/>
                      <a:pt x="45" y="66"/>
                    </a:cubicBezTo>
                    <a:cubicBezTo>
                      <a:pt x="40" y="72"/>
                      <a:pt x="34" y="76"/>
                      <a:pt x="26" y="76"/>
                    </a:cubicBezTo>
                    <a:cubicBezTo>
                      <a:pt x="18" y="76"/>
                      <a:pt x="12" y="73"/>
                      <a:pt x="7" y="66"/>
                    </a:cubicBezTo>
                    <a:cubicBezTo>
                      <a:pt x="2" y="59"/>
                      <a:pt x="0" y="50"/>
                      <a:pt x="0" y="38"/>
                    </a:cubicBezTo>
                    <a:cubicBezTo>
                      <a:pt x="0" y="27"/>
                      <a:pt x="2" y="18"/>
                      <a:pt x="7" y="11"/>
                    </a:cubicBezTo>
                    <a:cubicBezTo>
                      <a:pt x="12" y="4"/>
                      <a:pt x="18" y="0"/>
                      <a:pt x="26" y="0"/>
                    </a:cubicBezTo>
                    <a:cubicBezTo>
                      <a:pt x="34" y="0"/>
                      <a:pt x="40" y="4"/>
                      <a:pt x="45" y="11"/>
                    </a:cubicBezTo>
                    <a:cubicBezTo>
                      <a:pt x="49" y="18"/>
                      <a:pt x="52" y="27"/>
                      <a:pt x="52" y="38"/>
                    </a:cubicBezTo>
                    <a:close/>
                    <a:moveTo>
                      <a:pt x="38" y="38"/>
                    </a:moveTo>
                    <a:cubicBezTo>
                      <a:pt x="38" y="31"/>
                      <a:pt x="37" y="24"/>
                      <a:pt x="35" y="20"/>
                    </a:cubicBezTo>
                    <a:cubicBezTo>
                      <a:pt x="32" y="15"/>
                      <a:pt x="29" y="13"/>
                      <a:pt x="26" y="13"/>
                    </a:cubicBezTo>
                    <a:cubicBezTo>
                      <a:pt x="22" y="13"/>
                      <a:pt x="19" y="15"/>
                      <a:pt x="17" y="20"/>
                    </a:cubicBezTo>
                    <a:cubicBezTo>
                      <a:pt x="15" y="25"/>
                      <a:pt x="14" y="31"/>
                      <a:pt x="14" y="38"/>
                    </a:cubicBezTo>
                    <a:cubicBezTo>
                      <a:pt x="14" y="46"/>
                      <a:pt x="15" y="52"/>
                      <a:pt x="17" y="57"/>
                    </a:cubicBezTo>
                    <a:cubicBezTo>
                      <a:pt x="19" y="61"/>
                      <a:pt x="22" y="64"/>
                      <a:pt x="26" y="64"/>
                    </a:cubicBezTo>
                    <a:cubicBezTo>
                      <a:pt x="29" y="64"/>
                      <a:pt x="32" y="61"/>
                      <a:pt x="35" y="57"/>
                    </a:cubicBezTo>
                    <a:cubicBezTo>
                      <a:pt x="37" y="52"/>
                      <a:pt x="38" y="46"/>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1" name="Freeform 271"/>
              <p:cNvSpPr>
                <a:spLocks noEditPoints="1"/>
              </p:cNvSpPr>
              <p:nvPr/>
            </p:nvSpPr>
            <p:spPr bwMode="auto">
              <a:xfrm>
                <a:off x="3002798" y="3880759"/>
                <a:ext cx="62501" cy="90790"/>
              </a:xfrm>
              <a:custGeom>
                <a:avLst/>
                <a:gdLst/>
                <a:ahLst/>
                <a:cxnLst>
                  <a:cxn ang="0">
                    <a:pos x="51" y="38"/>
                  </a:cxn>
                  <a:cxn ang="0">
                    <a:pos x="44" y="66"/>
                  </a:cxn>
                  <a:cxn ang="0">
                    <a:pos x="25" y="76"/>
                  </a:cxn>
                  <a:cxn ang="0">
                    <a:pos x="7" y="66"/>
                  </a:cxn>
                  <a:cxn ang="0">
                    <a:pos x="0" y="38"/>
                  </a:cxn>
                  <a:cxn ang="0">
                    <a:pos x="7" y="11"/>
                  </a:cxn>
                  <a:cxn ang="0">
                    <a:pos x="25" y="0"/>
                  </a:cxn>
                  <a:cxn ang="0">
                    <a:pos x="44" y="11"/>
                  </a:cxn>
                  <a:cxn ang="0">
                    <a:pos x="51" y="38"/>
                  </a:cxn>
                  <a:cxn ang="0">
                    <a:pos x="37" y="38"/>
                  </a:cxn>
                  <a:cxn ang="0">
                    <a:pos x="34" y="20"/>
                  </a:cxn>
                  <a:cxn ang="0">
                    <a:pos x="25" y="13"/>
                  </a:cxn>
                  <a:cxn ang="0">
                    <a:pos x="17" y="20"/>
                  </a:cxn>
                  <a:cxn ang="0">
                    <a:pos x="13" y="38"/>
                  </a:cxn>
                  <a:cxn ang="0">
                    <a:pos x="17" y="57"/>
                  </a:cxn>
                  <a:cxn ang="0">
                    <a:pos x="25" y="64"/>
                  </a:cxn>
                  <a:cxn ang="0">
                    <a:pos x="34" y="57"/>
                  </a:cxn>
                  <a:cxn ang="0">
                    <a:pos x="37" y="38"/>
                  </a:cxn>
                </a:cxnLst>
                <a:rect l="0" t="0" r="r" b="b"/>
                <a:pathLst>
                  <a:path w="51" h="76">
                    <a:moveTo>
                      <a:pt x="51" y="38"/>
                    </a:moveTo>
                    <a:cubicBezTo>
                      <a:pt x="51" y="49"/>
                      <a:pt x="49" y="59"/>
                      <a:pt x="44" y="66"/>
                    </a:cubicBezTo>
                    <a:cubicBezTo>
                      <a:pt x="39" y="72"/>
                      <a:pt x="33" y="76"/>
                      <a:pt x="25" y="76"/>
                    </a:cubicBezTo>
                    <a:cubicBezTo>
                      <a:pt x="18" y="76"/>
                      <a:pt x="11" y="73"/>
                      <a:pt x="7" y="66"/>
                    </a:cubicBezTo>
                    <a:cubicBezTo>
                      <a:pt x="2" y="59"/>
                      <a:pt x="0" y="50"/>
                      <a:pt x="0" y="38"/>
                    </a:cubicBezTo>
                    <a:cubicBezTo>
                      <a:pt x="0" y="27"/>
                      <a:pt x="2" y="18"/>
                      <a:pt x="7" y="11"/>
                    </a:cubicBezTo>
                    <a:cubicBezTo>
                      <a:pt x="11" y="4"/>
                      <a:pt x="18" y="0"/>
                      <a:pt x="25" y="0"/>
                    </a:cubicBezTo>
                    <a:cubicBezTo>
                      <a:pt x="33" y="0"/>
                      <a:pt x="40" y="4"/>
                      <a:pt x="44" y="11"/>
                    </a:cubicBezTo>
                    <a:cubicBezTo>
                      <a:pt x="49" y="18"/>
                      <a:pt x="51" y="27"/>
                      <a:pt x="51" y="38"/>
                    </a:cubicBezTo>
                    <a:close/>
                    <a:moveTo>
                      <a:pt x="37" y="38"/>
                    </a:moveTo>
                    <a:cubicBezTo>
                      <a:pt x="37" y="31"/>
                      <a:pt x="36" y="24"/>
                      <a:pt x="34" y="20"/>
                    </a:cubicBezTo>
                    <a:cubicBezTo>
                      <a:pt x="32" y="15"/>
                      <a:pt x="29" y="13"/>
                      <a:pt x="25" y="13"/>
                    </a:cubicBezTo>
                    <a:cubicBezTo>
                      <a:pt x="22" y="13"/>
                      <a:pt x="19" y="15"/>
                      <a:pt x="17" y="20"/>
                    </a:cubicBezTo>
                    <a:cubicBezTo>
                      <a:pt x="15" y="25"/>
                      <a:pt x="13" y="31"/>
                      <a:pt x="13" y="38"/>
                    </a:cubicBezTo>
                    <a:cubicBezTo>
                      <a:pt x="13" y="46"/>
                      <a:pt x="15" y="52"/>
                      <a:pt x="17" y="57"/>
                    </a:cubicBezTo>
                    <a:cubicBezTo>
                      <a:pt x="19" y="61"/>
                      <a:pt x="22" y="64"/>
                      <a:pt x="25" y="64"/>
                    </a:cubicBezTo>
                    <a:cubicBezTo>
                      <a:pt x="29" y="64"/>
                      <a:pt x="32" y="61"/>
                      <a:pt x="34" y="57"/>
                    </a:cubicBezTo>
                    <a:cubicBezTo>
                      <a:pt x="36" y="52"/>
                      <a:pt x="37" y="46"/>
                      <a:pt x="37"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2" name="Freeform 272"/>
              <p:cNvSpPr>
                <a:spLocks/>
              </p:cNvSpPr>
              <p:nvPr/>
            </p:nvSpPr>
            <p:spPr bwMode="auto">
              <a:xfrm>
                <a:off x="3065299" y="3882325"/>
                <a:ext cx="34376" cy="87659"/>
              </a:xfrm>
              <a:custGeom>
                <a:avLst/>
                <a:gdLst/>
                <a:ahLst/>
                <a:cxnLst>
                  <a:cxn ang="0">
                    <a:pos x="22" y="56"/>
                  </a:cxn>
                  <a:cxn ang="0">
                    <a:pos x="11" y="56"/>
                  </a:cxn>
                  <a:cxn ang="0">
                    <a:pos x="11" y="9"/>
                  </a:cxn>
                  <a:cxn ang="0">
                    <a:pos x="0" y="9"/>
                  </a:cxn>
                  <a:cxn ang="0">
                    <a:pos x="5" y="0"/>
                  </a:cxn>
                  <a:cxn ang="0">
                    <a:pos x="22" y="0"/>
                  </a:cxn>
                  <a:cxn ang="0">
                    <a:pos x="22" y="56"/>
                  </a:cxn>
                </a:cxnLst>
                <a:rect l="0" t="0" r="r" b="b"/>
                <a:pathLst>
                  <a:path w="22" h="56">
                    <a:moveTo>
                      <a:pt x="22" y="56"/>
                    </a:moveTo>
                    <a:lnTo>
                      <a:pt x="11" y="56"/>
                    </a:lnTo>
                    <a:lnTo>
                      <a:pt x="11" y="9"/>
                    </a:lnTo>
                    <a:lnTo>
                      <a:pt x="0" y="9"/>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3" name="Freeform 273"/>
              <p:cNvSpPr>
                <a:spLocks/>
              </p:cNvSpPr>
              <p:nvPr/>
            </p:nvSpPr>
            <p:spPr bwMode="auto">
              <a:xfrm>
                <a:off x="3105925" y="3882325"/>
                <a:ext cx="34376" cy="87659"/>
              </a:xfrm>
              <a:custGeom>
                <a:avLst/>
                <a:gdLst/>
                <a:ahLst/>
                <a:cxnLst>
                  <a:cxn ang="0">
                    <a:pos x="22" y="56"/>
                  </a:cxn>
                  <a:cxn ang="0">
                    <a:pos x="11" y="56"/>
                  </a:cxn>
                  <a:cxn ang="0">
                    <a:pos x="11" y="9"/>
                  </a:cxn>
                  <a:cxn ang="0">
                    <a:pos x="0" y="9"/>
                  </a:cxn>
                  <a:cxn ang="0">
                    <a:pos x="5" y="0"/>
                  </a:cxn>
                  <a:cxn ang="0">
                    <a:pos x="22" y="0"/>
                  </a:cxn>
                  <a:cxn ang="0">
                    <a:pos x="22" y="56"/>
                  </a:cxn>
                </a:cxnLst>
                <a:rect l="0" t="0" r="r" b="b"/>
                <a:pathLst>
                  <a:path w="22" h="56">
                    <a:moveTo>
                      <a:pt x="22" y="56"/>
                    </a:moveTo>
                    <a:lnTo>
                      <a:pt x="11" y="56"/>
                    </a:lnTo>
                    <a:lnTo>
                      <a:pt x="11" y="9"/>
                    </a:lnTo>
                    <a:lnTo>
                      <a:pt x="0" y="9"/>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5" name="Freeform 284"/>
              <p:cNvSpPr>
                <a:spLocks/>
              </p:cNvSpPr>
              <p:nvPr/>
            </p:nvSpPr>
            <p:spPr bwMode="auto">
              <a:xfrm>
                <a:off x="2384038" y="402164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6" name="Freeform 285"/>
              <p:cNvSpPr>
                <a:spLocks/>
              </p:cNvSpPr>
              <p:nvPr/>
            </p:nvSpPr>
            <p:spPr bwMode="auto">
              <a:xfrm>
                <a:off x="2424664" y="402164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7" name="Freeform 286"/>
              <p:cNvSpPr>
                <a:spLocks/>
              </p:cNvSpPr>
              <p:nvPr/>
            </p:nvSpPr>
            <p:spPr bwMode="auto">
              <a:xfrm>
                <a:off x="2465290" y="402164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8" name="Freeform 287"/>
              <p:cNvSpPr>
                <a:spLocks/>
              </p:cNvSpPr>
              <p:nvPr/>
            </p:nvSpPr>
            <p:spPr bwMode="auto">
              <a:xfrm>
                <a:off x="2505915" y="4021640"/>
                <a:ext cx="32813" cy="87659"/>
              </a:xfrm>
              <a:custGeom>
                <a:avLst/>
                <a:gdLst/>
                <a:ahLst/>
                <a:cxnLst>
                  <a:cxn ang="0">
                    <a:pos x="21" y="56"/>
                  </a:cxn>
                  <a:cxn ang="0">
                    <a:pos x="11" y="56"/>
                  </a:cxn>
                  <a:cxn ang="0">
                    <a:pos x="11" y="10"/>
                  </a:cxn>
                  <a:cxn ang="0">
                    <a:pos x="0" y="10"/>
                  </a:cxn>
                  <a:cxn ang="0">
                    <a:pos x="4" y="0"/>
                  </a:cxn>
                  <a:cxn ang="0">
                    <a:pos x="21" y="0"/>
                  </a:cxn>
                  <a:cxn ang="0">
                    <a:pos x="21" y="56"/>
                  </a:cxn>
                </a:cxnLst>
                <a:rect l="0" t="0" r="r" b="b"/>
                <a:pathLst>
                  <a:path w="21" h="56">
                    <a:moveTo>
                      <a:pt x="21" y="56"/>
                    </a:moveTo>
                    <a:lnTo>
                      <a:pt x="11" y="56"/>
                    </a:lnTo>
                    <a:lnTo>
                      <a:pt x="11"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9" name="Freeform 288"/>
              <p:cNvSpPr>
                <a:spLocks noEditPoints="1"/>
              </p:cNvSpPr>
              <p:nvPr/>
            </p:nvSpPr>
            <p:spPr bwMode="auto">
              <a:xfrm>
                <a:off x="2554354" y="4020075"/>
                <a:ext cx="60938" cy="90790"/>
              </a:xfrm>
              <a:custGeom>
                <a:avLst/>
                <a:gdLst/>
                <a:ahLst/>
                <a:cxnLst>
                  <a:cxn ang="0">
                    <a:pos x="51" y="37"/>
                  </a:cxn>
                  <a:cxn ang="0">
                    <a:pos x="44" y="65"/>
                  </a:cxn>
                  <a:cxn ang="0">
                    <a:pos x="26" y="75"/>
                  </a:cxn>
                  <a:cxn ang="0">
                    <a:pos x="7" y="65"/>
                  </a:cxn>
                  <a:cxn ang="0">
                    <a:pos x="0" y="37"/>
                  </a:cxn>
                  <a:cxn ang="0">
                    <a:pos x="7" y="10"/>
                  </a:cxn>
                  <a:cxn ang="0">
                    <a:pos x="26" y="0"/>
                  </a:cxn>
                  <a:cxn ang="0">
                    <a:pos x="44" y="10"/>
                  </a:cxn>
                  <a:cxn ang="0">
                    <a:pos x="51" y="37"/>
                  </a:cxn>
                  <a:cxn ang="0">
                    <a:pos x="38" y="37"/>
                  </a:cxn>
                  <a:cxn ang="0">
                    <a:pos x="34" y="19"/>
                  </a:cxn>
                  <a:cxn ang="0">
                    <a:pos x="26" y="12"/>
                  </a:cxn>
                  <a:cxn ang="0">
                    <a:pos x="17" y="19"/>
                  </a:cxn>
                  <a:cxn ang="0">
                    <a:pos x="14" y="37"/>
                  </a:cxn>
                  <a:cxn ang="0">
                    <a:pos x="17" y="56"/>
                  </a:cxn>
                  <a:cxn ang="0">
                    <a:pos x="26" y="63"/>
                  </a:cxn>
                  <a:cxn ang="0">
                    <a:pos x="34" y="56"/>
                  </a:cxn>
                  <a:cxn ang="0">
                    <a:pos x="38" y="37"/>
                  </a:cxn>
                </a:cxnLst>
                <a:rect l="0" t="0" r="r" b="b"/>
                <a:pathLst>
                  <a:path w="51" h="75">
                    <a:moveTo>
                      <a:pt x="51" y="37"/>
                    </a:moveTo>
                    <a:cubicBezTo>
                      <a:pt x="51" y="49"/>
                      <a:pt x="49" y="58"/>
                      <a:pt x="44" y="65"/>
                    </a:cubicBezTo>
                    <a:cubicBezTo>
                      <a:pt x="40" y="72"/>
                      <a:pt x="33" y="75"/>
                      <a:pt x="26" y="75"/>
                    </a:cubicBezTo>
                    <a:cubicBezTo>
                      <a:pt x="18" y="75"/>
                      <a:pt x="11" y="72"/>
                      <a:pt x="7" y="65"/>
                    </a:cubicBezTo>
                    <a:cubicBezTo>
                      <a:pt x="2" y="58"/>
                      <a:pt x="0" y="49"/>
                      <a:pt x="0" y="37"/>
                    </a:cubicBezTo>
                    <a:cubicBezTo>
                      <a:pt x="0" y="26"/>
                      <a:pt x="2" y="17"/>
                      <a:pt x="7" y="10"/>
                    </a:cubicBezTo>
                    <a:cubicBezTo>
                      <a:pt x="11" y="3"/>
                      <a:pt x="18" y="0"/>
                      <a:pt x="26" y="0"/>
                    </a:cubicBezTo>
                    <a:cubicBezTo>
                      <a:pt x="33" y="0"/>
                      <a:pt x="40" y="3"/>
                      <a:pt x="44" y="10"/>
                    </a:cubicBezTo>
                    <a:cubicBezTo>
                      <a:pt x="49" y="17"/>
                      <a:pt x="51" y="26"/>
                      <a:pt x="51" y="37"/>
                    </a:cubicBezTo>
                    <a:close/>
                    <a:moveTo>
                      <a:pt x="38" y="37"/>
                    </a:moveTo>
                    <a:cubicBezTo>
                      <a:pt x="38" y="30"/>
                      <a:pt x="37" y="24"/>
                      <a:pt x="34" y="19"/>
                    </a:cubicBezTo>
                    <a:cubicBezTo>
                      <a:pt x="32" y="14"/>
                      <a:pt x="29" y="12"/>
                      <a:pt x="26" y="12"/>
                    </a:cubicBezTo>
                    <a:cubicBezTo>
                      <a:pt x="22" y="12"/>
                      <a:pt x="19" y="14"/>
                      <a:pt x="17" y="19"/>
                    </a:cubicBezTo>
                    <a:cubicBezTo>
                      <a:pt x="15" y="24"/>
                      <a:pt x="14" y="30"/>
                      <a:pt x="14" y="37"/>
                    </a:cubicBezTo>
                    <a:cubicBezTo>
                      <a:pt x="14" y="45"/>
                      <a:pt x="15" y="51"/>
                      <a:pt x="17" y="56"/>
                    </a:cubicBezTo>
                    <a:cubicBezTo>
                      <a:pt x="19" y="60"/>
                      <a:pt x="22" y="63"/>
                      <a:pt x="26" y="63"/>
                    </a:cubicBezTo>
                    <a:cubicBezTo>
                      <a:pt x="29" y="63"/>
                      <a:pt x="32" y="61"/>
                      <a:pt x="34"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0" name="Freeform 289"/>
              <p:cNvSpPr>
                <a:spLocks noEditPoints="1"/>
              </p:cNvSpPr>
              <p:nvPr/>
            </p:nvSpPr>
            <p:spPr bwMode="auto">
              <a:xfrm>
                <a:off x="2619980" y="4020075"/>
                <a:ext cx="62501" cy="90790"/>
              </a:xfrm>
              <a:custGeom>
                <a:avLst/>
                <a:gdLst/>
                <a:ahLst/>
                <a:cxnLst>
                  <a:cxn ang="0">
                    <a:pos x="52" y="37"/>
                  </a:cxn>
                  <a:cxn ang="0">
                    <a:pos x="45" y="65"/>
                  </a:cxn>
                  <a:cxn ang="0">
                    <a:pos x="26" y="75"/>
                  </a:cxn>
                  <a:cxn ang="0">
                    <a:pos x="7" y="65"/>
                  </a:cxn>
                  <a:cxn ang="0">
                    <a:pos x="0" y="37"/>
                  </a:cxn>
                  <a:cxn ang="0">
                    <a:pos x="7" y="10"/>
                  </a:cxn>
                  <a:cxn ang="0">
                    <a:pos x="26" y="0"/>
                  </a:cxn>
                  <a:cxn ang="0">
                    <a:pos x="45" y="10"/>
                  </a:cxn>
                  <a:cxn ang="0">
                    <a:pos x="52" y="37"/>
                  </a:cxn>
                  <a:cxn ang="0">
                    <a:pos x="38" y="37"/>
                  </a:cxn>
                  <a:cxn ang="0">
                    <a:pos x="35" y="19"/>
                  </a:cxn>
                  <a:cxn ang="0">
                    <a:pos x="26" y="12"/>
                  </a:cxn>
                  <a:cxn ang="0">
                    <a:pos x="17" y="19"/>
                  </a:cxn>
                  <a:cxn ang="0">
                    <a:pos x="14" y="37"/>
                  </a:cxn>
                  <a:cxn ang="0">
                    <a:pos x="17" y="56"/>
                  </a:cxn>
                  <a:cxn ang="0">
                    <a:pos x="26" y="63"/>
                  </a:cxn>
                  <a:cxn ang="0">
                    <a:pos x="35" y="56"/>
                  </a:cxn>
                  <a:cxn ang="0">
                    <a:pos x="38" y="37"/>
                  </a:cxn>
                </a:cxnLst>
                <a:rect l="0" t="0" r="r" b="b"/>
                <a:pathLst>
                  <a:path w="52" h="75">
                    <a:moveTo>
                      <a:pt x="52" y="37"/>
                    </a:moveTo>
                    <a:cubicBezTo>
                      <a:pt x="52" y="49"/>
                      <a:pt x="50" y="58"/>
                      <a:pt x="45" y="65"/>
                    </a:cubicBezTo>
                    <a:cubicBezTo>
                      <a:pt x="40" y="72"/>
                      <a:pt x="34" y="75"/>
                      <a:pt x="26" y="75"/>
                    </a:cubicBezTo>
                    <a:cubicBezTo>
                      <a:pt x="18" y="75"/>
                      <a:pt x="12" y="72"/>
                      <a:pt x="7" y="65"/>
                    </a:cubicBezTo>
                    <a:cubicBezTo>
                      <a:pt x="3" y="58"/>
                      <a:pt x="0" y="49"/>
                      <a:pt x="0" y="37"/>
                    </a:cubicBezTo>
                    <a:cubicBezTo>
                      <a:pt x="0" y="26"/>
                      <a:pt x="3" y="17"/>
                      <a:pt x="7" y="10"/>
                    </a:cubicBezTo>
                    <a:cubicBezTo>
                      <a:pt x="12" y="3"/>
                      <a:pt x="18" y="0"/>
                      <a:pt x="26" y="0"/>
                    </a:cubicBezTo>
                    <a:cubicBezTo>
                      <a:pt x="34" y="0"/>
                      <a:pt x="40" y="3"/>
                      <a:pt x="45" y="10"/>
                    </a:cubicBezTo>
                    <a:cubicBezTo>
                      <a:pt x="50" y="17"/>
                      <a:pt x="52" y="26"/>
                      <a:pt x="52" y="37"/>
                    </a:cubicBezTo>
                    <a:close/>
                    <a:moveTo>
                      <a:pt x="38" y="37"/>
                    </a:moveTo>
                    <a:cubicBezTo>
                      <a:pt x="38" y="30"/>
                      <a:pt x="37" y="24"/>
                      <a:pt x="35" y="19"/>
                    </a:cubicBezTo>
                    <a:cubicBezTo>
                      <a:pt x="33" y="14"/>
                      <a:pt x="30" y="12"/>
                      <a:pt x="26" y="12"/>
                    </a:cubicBezTo>
                    <a:cubicBezTo>
                      <a:pt x="22" y="12"/>
                      <a:pt x="20" y="14"/>
                      <a:pt x="17" y="19"/>
                    </a:cubicBezTo>
                    <a:cubicBezTo>
                      <a:pt x="15" y="24"/>
                      <a:pt x="14" y="30"/>
                      <a:pt x="14" y="37"/>
                    </a:cubicBezTo>
                    <a:cubicBezTo>
                      <a:pt x="14" y="45"/>
                      <a:pt x="15" y="51"/>
                      <a:pt x="17" y="56"/>
                    </a:cubicBezTo>
                    <a:cubicBezTo>
                      <a:pt x="20" y="60"/>
                      <a:pt x="23" y="63"/>
                      <a:pt x="26" y="63"/>
                    </a:cubicBezTo>
                    <a:cubicBezTo>
                      <a:pt x="30" y="63"/>
                      <a:pt x="33" y="61"/>
                      <a:pt x="35"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1" name="Freeform 290"/>
              <p:cNvSpPr>
                <a:spLocks/>
              </p:cNvSpPr>
              <p:nvPr/>
            </p:nvSpPr>
            <p:spPr bwMode="auto">
              <a:xfrm>
                <a:off x="2684043" y="402164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2" name="Freeform 291"/>
              <p:cNvSpPr>
                <a:spLocks noEditPoints="1"/>
              </p:cNvSpPr>
              <p:nvPr/>
            </p:nvSpPr>
            <p:spPr bwMode="auto">
              <a:xfrm>
                <a:off x="2730919" y="4020075"/>
                <a:ext cx="62501" cy="90790"/>
              </a:xfrm>
              <a:custGeom>
                <a:avLst/>
                <a:gdLst/>
                <a:ahLst/>
                <a:cxnLst>
                  <a:cxn ang="0">
                    <a:pos x="51" y="37"/>
                  </a:cxn>
                  <a:cxn ang="0">
                    <a:pos x="44" y="65"/>
                  </a:cxn>
                  <a:cxn ang="0">
                    <a:pos x="25" y="75"/>
                  </a:cxn>
                  <a:cxn ang="0">
                    <a:pos x="7" y="65"/>
                  </a:cxn>
                  <a:cxn ang="0">
                    <a:pos x="0" y="37"/>
                  </a:cxn>
                  <a:cxn ang="0">
                    <a:pos x="7" y="10"/>
                  </a:cxn>
                  <a:cxn ang="0">
                    <a:pos x="25" y="0"/>
                  </a:cxn>
                  <a:cxn ang="0">
                    <a:pos x="44" y="10"/>
                  </a:cxn>
                  <a:cxn ang="0">
                    <a:pos x="51" y="37"/>
                  </a:cxn>
                  <a:cxn ang="0">
                    <a:pos x="37" y="37"/>
                  </a:cxn>
                  <a:cxn ang="0">
                    <a:pos x="34" y="19"/>
                  </a:cxn>
                  <a:cxn ang="0">
                    <a:pos x="25" y="12"/>
                  </a:cxn>
                  <a:cxn ang="0">
                    <a:pos x="17" y="19"/>
                  </a:cxn>
                  <a:cxn ang="0">
                    <a:pos x="13" y="37"/>
                  </a:cxn>
                  <a:cxn ang="0">
                    <a:pos x="17" y="56"/>
                  </a:cxn>
                  <a:cxn ang="0">
                    <a:pos x="25" y="63"/>
                  </a:cxn>
                  <a:cxn ang="0">
                    <a:pos x="34" y="56"/>
                  </a:cxn>
                  <a:cxn ang="0">
                    <a:pos x="37" y="37"/>
                  </a:cxn>
                </a:cxnLst>
                <a:rect l="0" t="0" r="r" b="b"/>
                <a:pathLst>
                  <a:path w="51" h="75">
                    <a:moveTo>
                      <a:pt x="51" y="37"/>
                    </a:moveTo>
                    <a:cubicBezTo>
                      <a:pt x="51" y="49"/>
                      <a:pt x="49" y="58"/>
                      <a:pt x="44" y="65"/>
                    </a:cubicBezTo>
                    <a:cubicBezTo>
                      <a:pt x="39" y="72"/>
                      <a:pt x="33" y="75"/>
                      <a:pt x="25" y="75"/>
                    </a:cubicBezTo>
                    <a:cubicBezTo>
                      <a:pt x="17" y="75"/>
                      <a:pt x="11" y="72"/>
                      <a:pt x="7" y="65"/>
                    </a:cubicBezTo>
                    <a:cubicBezTo>
                      <a:pt x="2" y="58"/>
                      <a:pt x="0" y="49"/>
                      <a:pt x="0" y="37"/>
                    </a:cubicBezTo>
                    <a:cubicBezTo>
                      <a:pt x="0" y="26"/>
                      <a:pt x="2" y="17"/>
                      <a:pt x="7" y="10"/>
                    </a:cubicBezTo>
                    <a:cubicBezTo>
                      <a:pt x="11" y="3"/>
                      <a:pt x="17" y="0"/>
                      <a:pt x="25" y="0"/>
                    </a:cubicBezTo>
                    <a:cubicBezTo>
                      <a:pt x="33" y="0"/>
                      <a:pt x="39" y="3"/>
                      <a:pt x="44" y="10"/>
                    </a:cubicBezTo>
                    <a:cubicBezTo>
                      <a:pt x="49" y="17"/>
                      <a:pt x="51" y="26"/>
                      <a:pt x="51" y="37"/>
                    </a:cubicBezTo>
                    <a:close/>
                    <a:moveTo>
                      <a:pt x="37" y="37"/>
                    </a:moveTo>
                    <a:cubicBezTo>
                      <a:pt x="37" y="30"/>
                      <a:pt x="36" y="24"/>
                      <a:pt x="34" y="19"/>
                    </a:cubicBezTo>
                    <a:cubicBezTo>
                      <a:pt x="32" y="14"/>
                      <a:pt x="29" y="12"/>
                      <a:pt x="25" y="12"/>
                    </a:cubicBezTo>
                    <a:cubicBezTo>
                      <a:pt x="22" y="12"/>
                      <a:pt x="19" y="14"/>
                      <a:pt x="17" y="19"/>
                    </a:cubicBezTo>
                    <a:cubicBezTo>
                      <a:pt x="14" y="24"/>
                      <a:pt x="13" y="30"/>
                      <a:pt x="13" y="37"/>
                    </a:cubicBezTo>
                    <a:cubicBezTo>
                      <a:pt x="13" y="45"/>
                      <a:pt x="14" y="51"/>
                      <a:pt x="17" y="56"/>
                    </a:cubicBezTo>
                    <a:cubicBezTo>
                      <a:pt x="19" y="60"/>
                      <a:pt x="22" y="63"/>
                      <a:pt x="25" y="63"/>
                    </a:cubicBezTo>
                    <a:cubicBezTo>
                      <a:pt x="29" y="63"/>
                      <a:pt x="32" y="61"/>
                      <a:pt x="34" y="56"/>
                    </a:cubicBezTo>
                    <a:cubicBezTo>
                      <a:pt x="36" y="51"/>
                      <a:pt x="37" y="45"/>
                      <a:pt x="37"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3" name="Freeform 292"/>
              <p:cNvSpPr>
                <a:spLocks/>
              </p:cNvSpPr>
              <p:nvPr/>
            </p:nvSpPr>
            <p:spPr bwMode="auto">
              <a:xfrm>
                <a:off x="2793420" y="4021640"/>
                <a:ext cx="34376" cy="87659"/>
              </a:xfrm>
              <a:custGeom>
                <a:avLst/>
                <a:gdLst/>
                <a:ahLst/>
                <a:cxnLst>
                  <a:cxn ang="0">
                    <a:pos x="22" y="56"/>
                  </a:cxn>
                  <a:cxn ang="0">
                    <a:pos x="11" y="56"/>
                  </a:cxn>
                  <a:cxn ang="0">
                    <a:pos x="11" y="10"/>
                  </a:cxn>
                  <a:cxn ang="0">
                    <a:pos x="0" y="10"/>
                  </a:cxn>
                  <a:cxn ang="0">
                    <a:pos x="5" y="0"/>
                  </a:cxn>
                  <a:cxn ang="0">
                    <a:pos x="22" y="0"/>
                  </a:cxn>
                  <a:cxn ang="0">
                    <a:pos x="22" y="56"/>
                  </a:cxn>
                </a:cxnLst>
                <a:rect l="0" t="0" r="r" b="b"/>
                <a:pathLst>
                  <a:path w="22" h="56">
                    <a:moveTo>
                      <a:pt x="22" y="56"/>
                    </a:moveTo>
                    <a:lnTo>
                      <a:pt x="11" y="56"/>
                    </a:lnTo>
                    <a:lnTo>
                      <a:pt x="11" y="10"/>
                    </a:lnTo>
                    <a:lnTo>
                      <a:pt x="0" y="10"/>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4" name="Freeform 293"/>
              <p:cNvSpPr>
                <a:spLocks/>
              </p:cNvSpPr>
              <p:nvPr/>
            </p:nvSpPr>
            <p:spPr bwMode="auto">
              <a:xfrm>
                <a:off x="2835608" y="402164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5" name="Freeform 294"/>
              <p:cNvSpPr>
                <a:spLocks noEditPoints="1"/>
              </p:cNvSpPr>
              <p:nvPr/>
            </p:nvSpPr>
            <p:spPr bwMode="auto">
              <a:xfrm>
                <a:off x="2882484" y="4020075"/>
                <a:ext cx="62501" cy="90790"/>
              </a:xfrm>
              <a:custGeom>
                <a:avLst/>
                <a:gdLst/>
                <a:ahLst/>
                <a:cxnLst>
                  <a:cxn ang="0">
                    <a:pos x="51" y="37"/>
                  </a:cxn>
                  <a:cxn ang="0">
                    <a:pos x="44" y="65"/>
                  </a:cxn>
                  <a:cxn ang="0">
                    <a:pos x="25" y="75"/>
                  </a:cxn>
                  <a:cxn ang="0">
                    <a:pos x="7" y="65"/>
                  </a:cxn>
                  <a:cxn ang="0">
                    <a:pos x="0" y="37"/>
                  </a:cxn>
                  <a:cxn ang="0">
                    <a:pos x="7" y="10"/>
                  </a:cxn>
                  <a:cxn ang="0">
                    <a:pos x="25" y="0"/>
                  </a:cxn>
                  <a:cxn ang="0">
                    <a:pos x="44" y="10"/>
                  </a:cxn>
                  <a:cxn ang="0">
                    <a:pos x="51" y="37"/>
                  </a:cxn>
                  <a:cxn ang="0">
                    <a:pos x="38" y="37"/>
                  </a:cxn>
                  <a:cxn ang="0">
                    <a:pos x="34" y="19"/>
                  </a:cxn>
                  <a:cxn ang="0">
                    <a:pos x="25" y="12"/>
                  </a:cxn>
                  <a:cxn ang="0">
                    <a:pos x="17" y="19"/>
                  </a:cxn>
                  <a:cxn ang="0">
                    <a:pos x="14" y="37"/>
                  </a:cxn>
                  <a:cxn ang="0">
                    <a:pos x="17" y="56"/>
                  </a:cxn>
                  <a:cxn ang="0">
                    <a:pos x="25" y="63"/>
                  </a:cxn>
                  <a:cxn ang="0">
                    <a:pos x="34" y="56"/>
                  </a:cxn>
                  <a:cxn ang="0">
                    <a:pos x="38" y="37"/>
                  </a:cxn>
                </a:cxnLst>
                <a:rect l="0" t="0" r="r" b="b"/>
                <a:pathLst>
                  <a:path w="51" h="75">
                    <a:moveTo>
                      <a:pt x="51" y="37"/>
                    </a:moveTo>
                    <a:cubicBezTo>
                      <a:pt x="51" y="49"/>
                      <a:pt x="49" y="58"/>
                      <a:pt x="44" y="65"/>
                    </a:cubicBezTo>
                    <a:cubicBezTo>
                      <a:pt x="40" y="72"/>
                      <a:pt x="33" y="75"/>
                      <a:pt x="25" y="75"/>
                    </a:cubicBezTo>
                    <a:cubicBezTo>
                      <a:pt x="18" y="75"/>
                      <a:pt x="11" y="72"/>
                      <a:pt x="7" y="65"/>
                    </a:cubicBezTo>
                    <a:cubicBezTo>
                      <a:pt x="2" y="58"/>
                      <a:pt x="0" y="49"/>
                      <a:pt x="0" y="37"/>
                    </a:cubicBezTo>
                    <a:cubicBezTo>
                      <a:pt x="0" y="26"/>
                      <a:pt x="2" y="17"/>
                      <a:pt x="7" y="10"/>
                    </a:cubicBezTo>
                    <a:cubicBezTo>
                      <a:pt x="11" y="3"/>
                      <a:pt x="18" y="0"/>
                      <a:pt x="25" y="0"/>
                    </a:cubicBezTo>
                    <a:cubicBezTo>
                      <a:pt x="33" y="0"/>
                      <a:pt x="40" y="3"/>
                      <a:pt x="44" y="10"/>
                    </a:cubicBezTo>
                    <a:cubicBezTo>
                      <a:pt x="49" y="17"/>
                      <a:pt x="51" y="26"/>
                      <a:pt x="51" y="37"/>
                    </a:cubicBezTo>
                    <a:close/>
                    <a:moveTo>
                      <a:pt x="38" y="37"/>
                    </a:moveTo>
                    <a:cubicBezTo>
                      <a:pt x="38" y="30"/>
                      <a:pt x="36" y="24"/>
                      <a:pt x="34" y="19"/>
                    </a:cubicBezTo>
                    <a:cubicBezTo>
                      <a:pt x="32" y="14"/>
                      <a:pt x="29" y="12"/>
                      <a:pt x="25" y="12"/>
                    </a:cubicBezTo>
                    <a:cubicBezTo>
                      <a:pt x="22" y="12"/>
                      <a:pt x="19" y="14"/>
                      <a:pt x="17" y="19"/>
                    </a:cubicBezTo>
                    <a:cubicBezTo>
                      <a:pt x="15" y="24"/>
                      <a:pt x="14" y="30"/>
                      <a:pt x="14" y="37"/>
                    </a:cubicBezTo>
                    <a:cubicBezTo>
                      <a:pt x="14" y="45"/>
                      <a:pt x="15" y="51"/>
                      <a:pt x="17" y="56"/>
                    </a:cubicBezTo>
                    <a:cubicBezTo>
                      <a:pt x="19" y="60"/>
                      <a:pt x="22" y="63"/>
                      <a:pt x="25" y="63"/>
                    </a:cubicBezTo>
                    <a:cubicBezTo>
                      <a:pt x="29" y="63"/>
                      <a:pt x="32" y="61"/>
                      <a:pt x="34" y="56"/>
                    </a:cubicBezTo>
                    <a:cubicBezTo>
                      <a:pt x="36"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6" name="Freeform 295"/>
              <p:cNvSpPr>
                <a:spLocks/>
              </p:cNvSpPr>
              <p:nvPr/>
            </p:nvSpPr>
            <p:spPr bwMode="auto">
              <a:xfrm>
                <a:off x="2944985" y="4021640"/>
                <a:ext cx="34376" cy="87659"/>
              </a:xfrm>
              <a:custGeom>
                <a:avLst/>
                <a:gdLst/>
                <a:ahLst/>
                <a:cxnLst>
                  <a:cxn ang="0">
                    <a:pos x="22" y="56"/>
                  </a:cxn>
                  <a:cxn ang="0">
                    <a:pos x="11" y="56"/>
                  </a:cxn>
                  <a:cxn ang="0">
                    <a:pos x="11" y="10"/>
                  </a:cxn>
                  <a:cxn ang="0">
                    <a:pos x="0" y="10"/>
                  </a:cxn>
                  <a:cxn ang="0">
                    <a:pos x="5" y="0"/>
                  </a:cxn>
                  <a:cxn ang="0">
                    <a:pos x="22" y="0"/>
                  </a:cxn>
                  <a:cxn ang="0">
                    <a:pos x="22" y="56"/>
                  </a:cxn>
                </a:cxnLst>
                <a:rect l="0" t="0" r="r" b="b"/>
                <a:pathLst>
                  <a:path w="22" h="56">
                    <a:moveTo>
                      <a:pt x="22" y="56"/>
                    </a:moveTo>
                    <a:lnTo>
                      <a:pt x="11" y="56"/>
                    </a:lnTo>
                    <a:lnTo>
                      <a:pt x="11" y="10"/>
                    </a:lnTo>
                    <a:lnTo>
                      <a:pt x="0" y="10"/>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7" name="Freeform 296"/>
              <p:cNvSpPr>
                <a:spLocks noEditPoints="1"/>
              </p:cNvSpPr>
              <p:nvPr/>
            </p:nvSpPr>
            <p:spPr bwMode="auto">
              <a:xfrm>
                <a:off x="2993423" y="4020075"/>
                <a:ext cx="62501" cy="90790"/>
              </a:xfrm>
              <a:custGeom>
                <a:avLst/>
                <a:gdLst/>
                <a:ahLst/>
                <a:cxnLst>
                  <a:cxn ang="0">
                    <a:pos x="52" y="37"/>
                  </a:cxn>
                  <a:cxn ang="0">
                    <a:pos x="44" y="65"/>
                  </a:cxn>
                  <a:cxn ang="0">
                    <a:pos x="26" y="75"/>
                  </a:cxn>
                  <a:cxn ang="0">
                    <a:pos x="7" y="65"/>
                  </a:cxn>
                  <a:cxn ang="0">
                    <a:pos x="0" y="37"/>
                  </a:cxn>
                  <a:cxn ang="0">
                    <a:pos x="7" y="10"/>
                  </a:cxn>
                  <a:cxn ang="0">
                    <a:pos x="26" y="0"/>
                  </a:cxn>
                  <a:cxn ang="0">
                    <a:pos x="45" y="10"/>
                  </a:cxn>
                  <a:cxn ang="0">
                    <a:pos x="52" y="37"/>
                  </a:cxn>
                  <a:cxn ang="0">
                    <a:pos x="38" y="37"/>
                  </a:cxn>
                  <a:cxn ang="0">
                    <a:pos x="34" y="19"/>
                  </a:cxn>
                  <a:cxn ang="0">
                    <a:pos x="26" y="12"/>
                  </a:cxn>
                  <a:cxn ang="0">
                    <a:pos x="17" y="19"/>
                  </a:cxn>
                  <a:cxn ang="0">
                    <a:pos x="14" y="37"/>
                  </a:cxn>
                  <a:cxn ang="0">
                    <a:pos x="17" y="56"/>
                  </a:cxn>
                  <a:cxn ang="0">
                    <a:pos x="26" y="63"/>
                  </a:cxn>
                  <a:cxn ang="0">
                    <a:pos x="34" y="56"/>
                  </a:cxn>
                  <a:cxn ang="0">
                    <a:pos x="38" y="37"/>
                  </a:cxn>
                </a:cxnLst>
                <a:rect l="0" t="0" r="r" b="b"/>
                <a:pathLst>
                  <a:path w="52" h="75">
                    <a:moveTo>
                      <a:pt x="52" y="37"/>
                    </a:moveTo>
                    <a:cubicBezTo>
                      <a:pt x="52" y="49"/>
                      <a:pt x="49" y="58"/>
                      <a:pt x="44" y="65"/>
                    </a:cubicBezTo>
                    <a:cubicBezTo>
                      <a:pt x="40" y="72"/>
                      <a:pt x="33" y="75"/>
                      <a:pt x="26" y="75"/>
                    </a:cubicBezTo>
                    <a:cubicBezTo>
                      <a:pt x="18" y="75"/>
                      <a:pt x="12" y="72"/>
                      <a:pt x="7" y="65"/>
                    </a:cubicBezTo>
                    <a:cubicBezTo>
                      <a:pt x="2" y="58"/>
                      <a:pt x="0" y="49"/>
                      <a:pt x="0" y="37"/>
                    </a:cubicBezTo>
                    <a:cubicBezTo>
                      <a:pt x="0" y="26"/>
                      <a:pt x="2" y="17"/>
                      <a:pt x="7" y="10"/>
                    </a:cubicBezTo>
                    <a:cubicBezTo>
                      <a:pt x="12" y="3"/>
                      <a:pt x="18" y="0"/>
                      <a:pt x="26" y="0"/>
                    </a:cubicBezTo>
                    <a:cubicBezTo>
                      <a:pt x="34" y="0"/>
                      <a:pt x="40" y="3"/>
                      <a:pt x="45" y="10"/>
                    </a:cubicBezTo>
                    <a:cubicBezTo>
                      <a:pt x="49" y="17"/>
                      <a:pt x="52" y="26"/>
                      <a:pt x="52" y="37"/>
                    </a:cubicBezTo>
                    <a:close/>
                    <a:moveTo>
                      <a:pt x="38" y="37"/>
                    </a:moveTo>
                    <a:cubicBezTo>
                      <a:pt x="38" y="30"/>
                      <a:pt x="37" y="24"/>
                      <a:pt x="34" y="19"/>
                    </a:cubicBezTo>
                    <a:cubicBezTo>
                      <a:pt x="32" y="14"/>
                      <a:pt x="29" y="12"/>
                      <a:pt x="26" y="12"/>
                    </a:cubicBezTo>
                    <a:cubicBezTo>
                      <a:pt x="22" y="12"/>
                      <a:pt x="19" y="14"/>
                      <a:pt x="17" y="19"/>
                    </a:cubicBezTo>
                    <a:cubicBezTo>
                      <a:pt x="15" y="24"/>
                      <a:pt x="14" y="30"/>
                      <a:pt x="14" y="37"/>
                    </a:cubicBezTo>
                    <a:cubicBezTo>
                      <a:pt x="14" y="45"/>
                      <a:pt x="15" y="51"/>
                      <a:pt x="17" y="56"/>
                    </a:cubicBezTo>
                    <a:cubicBezTo>
                      <a:pt x="19" y="60"/>
                      <a:pt x="22" y="63"/>
                      <a:pt x="26" y="63"/>
                    </a:cubicBezTo>
                    <a:cubicBezTo>
                      <a:pt x="29" y="63"/>
                      <a:pt x="32" y="61"/>
                      <a:pt x="34"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8" name="Freeform 297"/>
              <p:cNvSpPr>
                <a:spLocks/>
              </p:cNvSpPr>
              <p:nvPr/>
            </p:nvSpPr>
            <p:spPr bwMode="auto">
              <a:xfrm>
                <a:off x="3057486" y="402164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9" name="Freeform 298"/>
              <p:cNvSpPr>
                <a:spLocks/>
              </p:cNvSpPr>
              <p:nvPr/>
            </p:nvSpPr>
            <p:spPr bwMode="auto">
              <a:xfrm>
                <a:off x="3098112" y="402164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1" name="Freeform 310"/>
              <p:cNvSpPr>
                <a:spLocks/>
              </p:cNvSpPr>
              <p:nvPr/>
            </p:nvSpPr>
            <p:spPr bwMode="auto">
              <a:xfrm>
                <a:off x="2424664" y="415939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2" name="Freeform 311"/>
              <p:cNvSpPr>
                <a:spLocks noEditPoints="1"/>
              </p:cNvSpPr>
              <p:nvPr/>
            </p:nvSpPr>
            <p:spPr bwMode="auto">
              <a:xfrm>
                <a:off x="2471540" y="4159390"/>
                <a:ext cx="62501" cy="89224"/>
              </a:xfrm>
              <a:custGeom>
                <a:avLst/>
                <a:gdLst/>
                <a:ahLst/>
                <a:cxnLst>
                  <a:cxn ang="0">
                    <a:pos x="52" y="38"/>
                  </a:cxn>
                  <a:cxn ang="0">
                    <a:pos x="45" y="65"/>
                  </a:cxn>
                  <a:cxn ang="0">
                    <a:pos x="26" y="75"/>
                  </a:cxn>
                  <a:cxn ang="0">
                    <a:pos x="7" y="65"/>
                  </a:cxn>
                  <a:cxn ang="0">
                    <a:pos x="0" y="38"/>
                  </a:cxn>
                  <a:cxn ang="0">
                    <a:pos x="7" y="10"/>
                  </a:cxn>
                  <a:cxn ang="0">
                    <a:pos x="26" y="0"/>
                  </a:cxn>
                  <a:cxn ang="0">
                    <a:pos x="45" y="10"/>
                  </a:cxn>
                  <a:cxn ang="0">
                    <a:pos x="52" y="38"/>
                  </a:cxn>
                  <a:cxn ang="0">
                    <a:pos x="38" y="37"/>
                  </a:cxn>
                  <a:cxn ang="0">
                    <a:pos x="34" y="19"/>
                  </a:cxn>
                  <a:cxn ang="0">
                    <a:pos x="26" y="12"/>
                  </a:cxn>
                  <a:cxn ang="0">
                    <a:pos x="17" y="19"/>
                  </a:cxn>
                  <a:cxn ang="0">
                    <a:pos x="14" y="38"/>
                  </a:cxn>
                  <a:cxn ang="0">
                    <a:pos x="17" y="56"/>
                  </a:cxn>
                  <a:cxn ang="0">
                    <a:pos x="26" y="63"/>
                  </a:cxn>
                  <a:cxn ang="0">
                    <a:pos x="35" y="56"/>
                  </a:cxn>
                  <a:cxn ang="0">
                    <a:pos x="38" y="37"/>
                  </a:cxn>
                </a:cxnLst>
                <a:rect l="0" t="0" r="r" b="b"/>
                <a:pathLst>
                  <a:path w="52" h="75">
                    <a:moveTo>
                      <a:pt x="52" y="38"/>
                    </a:moveTo>
                    <a:cubicBezTo>
                      <a:pt x="52" y="49"/>
                      <a:pt x="49" y="58"/>
                      <a:pt x="45" y="65"/>
                    </a:cubicBezTo>
                    <a:cubicBezTo>
                      <a:pt x="40" y="72"/>
                      <a:pt x="34" y="75"/>
                      <a:pt x="26" y="75"/>
                    </a:cubicBezTo>
                    <a:cubicBezTo>
                      <a:pt x="18" y="75"/>
                      <a:pt x="12" y="72"/>
                      <a:pt x="7" y="65"/>
                    </a:cubicBezTo>
                    <a:cubicBezTo>
                      <a:pt x="2" y="58"/>
                      <a:pt x="0" y="49"/>
                      <a:pt x="0" y="38"/>
                    </a:cubicBezTo>
                    <a:cubicBezTo>
                      <a:pt x="0" y="26"/>
                      <a:pt x="2" y="17"/>
                      <a:pt x="7" y="10"/>
                    </a:cubicBezTo>
                    <a:cubicBezTo>
                      <a:pt x="12" y="3"/>
                      <a:pt x="18" y="0"/>
                      <a:pt x="26" y="0"/>
                    </a:cubicBezTo>
                    <a:cubicBezTo>
                      <a:pt x="34" y="0"/>
                      <a:pt x="40" y="3"/>
                      <a:pt x="45" y="10"/>
                    </a:cubicBezTo>
                    <a:cubicBezTo>
                      <a:pt x="49" y="17"/>
                      <a:pt x="52" y="26"/>
                      <a:pt x="52" y="38"/>
                    </a:cubicBezTo>
                    <a:close/>
                    <a:moveTo>
                      <a:pt x="38" y="37"/>
                    </a:moveTo>
                    <a:cubicBezTo>
                      <a:pt x="38" y="30"/>
                      <a:pt x="37" y="24"/>
                      <a:pt x="34" y="19"/>
                    </a:cubicBezTo>
                    <a:cubicBezTo>
                      <a:pt x="32" y="14"/>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5"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3" name="Freeform 312"/>
              <p:cNvSpPr>
                <a:spLocks/>
              </p:cNvSpPr>
              <p:nvPr/>
            </p:nvSpPr>
            <p:spPr bwMode="auto">
              <a:xfrm>
                <a:off x="2535603" y="4159390"/>
                <a:ext cx="32813" cy="87659"/>
              </a:xfrm>
              <a:custGeom>
                <a:avLst/>
                <a:gdLst/>
                <a:ahLst/>
                <a:cxnLst>
                  <a:cxn ang="0">
                    <a:pos x="21" y="56"/>
                  </a:cxn>
                  <a:cxn ang="0">
                    <a:pos x="11" y="56"/>
                  </a:cxn>
                  <a:cxn ang="0">
                    <a:pos x="11" y="10"/>
                  </a:cxn>
                  <a:cxn ang="0">
                    <a:pos x="0" y="10"/>
                  </a:cxn>
                  <a:cxn ang="0">
                    <a:pos x="5" y="0"/>
                  </a:cxn>
                  <a:cxn ang="0">
                    <a:pos x="21" y="0"/>
                  </a:cxn>
                  <a:cxn ang="0">
                    <a:pos x="21" y="56"/>
                  </a:cxn>
                </a:cxnLst>
                <a:rect l="0" t="0" r="r" b="b"/>
                <a:pathLst>
                  <a:path w="21" h="56">
                    <a:moveTo>
                      <a:pt x="21" y="56"/>
                    </a:moveTo>
                    <a:lnTo>
                      <a:pt x="11" y="56"/>
                    </a:lnTo>
                    <a:lnTo>
                      <a:pt x="11" y="10"/>
                    </a:lnTo>
                    <a:lnTo>
                      <a:pt x="0" y="10"/>
                    </a:lnTo>
                    <a:lnTo>
                      <a:pt x="5"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4" name="Freeform 313"/>
              <p:cNvSpPr>
                <a:spLocks/>
              </p:cNvSpPr>
              <p:nvPr/>
            </p:nvSpPr>
            <p:spPr bwMode="auto">
              <a:xfrm>
                <a:off x="2576229" y="415939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5" name="Freeform 314"/>
              <p:cNvSpPr>
                <a:spLocks/>
              </p:cNvSpPr>
              <p:nvPr/>
            </p:nvSpPr>
            <p:spPr bwMode="auto">
              <a:xfrm>
                <a:off x="2616855" y="415939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6" name="Freeform 315"/>
              <p:cNvSpPr>
                <a:spLocks/>
              </p:cNvSpPr>
              <p:nvPr/>
            </p:nvSpPr>
            <p:spPr bwMode="auto">
              <a:xfrm>
                <a:off x="2657480" y="415939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7" name="Freeform 316"/>
              <p:cNvSpPr>
                <a:spLocks noEditPoints="1"/>
              </p:cNvSpPr>
              <p:nvPr/>
            </p:nvSpPr>
            <p:spPr bwMode="auto">
              <a:xfrm>
                <a:off x="2704356" y="4159390"/>
                <a:ext cx="62501" cy="89224"/>
              </a:xfrm>
              <a:custGeom>
                <a:avLst/>
                <a:gdLst/>
                <a:ahLst/>
                <a:cxnLst>
                  <a:cxn ang="0">
                    <a:pos x="52" y="38"/>
                  </a:cxn>
                  <a:cxn ang="0">
                    <a:pos x="44" y="65"/>
                  </a:cxn>
                  <a:cxn ang="0">
                    <a:pos x="26" y="75"/>
                  </a:cxn>
                  <a:cxn ang="0">
                    <a:pos x="7" y="65"/>
                  </a:cxn>
                  <a:cxn ang="0">
                    <a:pos x="0" y="38"/>
                  </a:cxn>
                  <a:cxn ang="0">
                    <a:pos x="7" y="10"/>
                  </a:cxn>
                  <a:cxn ang="0">
                    <a:pos x="26" y="0"/>
                  </a:cxn>
                  <a:cxn ang="0">
                    <a:pos x="45" y="10"/>
                  </a:cxn>
                  <a:cxn ang="0">
                    <a:pos x="52" y="38"/>
                  </a:cxn>
                  <a:cxn ang="0">
                    <a:pos x="38" y="37"/>
                  </a:cxn>
                  <a:cxn ang="0">
                    <a:pos x="34" y="19"/>
                  </a:cxn>
                  <a:cxn ang="0">
                    <a:pos x="26" y="12"/>
                  </a:cxn>
                  <a:cxn ang="0">
                    <a:pos x="17" y="19"/>
                  </a:cxn>
                  <a:cxn ang="0">
                    <a:pos x="14" y="38"/>
                  </a:cxn>
                  <a:cxn ang="0">
                    <a:pos x="17" y="56"/>
                  </a:cxn>
                  <a:cxn ang="0">
                    <a:pos x="26" y="63"/>
                  </a:cxn>
                  <a:cxn ang="0">
                    <a:pos x="34" y="56"/>
                  </a:cxn>
                  <a:cxn ang="0">
                    <a:pos x="38" y="37"/>
                  </a:cxn>
                </a:cxnLst>
                <a:rect l="0" t="0" r="r" b="b"/>
                <a:pathLst>
                  <a:path w="52" h="75">
                    <a:moveTo>
                      <a:pt x="52" y="38"/>
                    </a:moveTo>
                    <a:cubicBezTo>
                      <a:pt x="52" y="49"/>
                      <a:pt x="49" y="58"/>
                      <a:pt x="44" y="65"/>
                    </a:cubicBezTo>
                    <a:cubicBezTo>
                      <a:pt x="40" y="72"/>
                      <a:pt x="33" y="75"/>
                      <a:pt x="26" y="75"/>
                    </a:cubicBezTo>
                    <a:cubicBezTo>
                      <a:pt x="18" y="75"/>
                      <a:pt x="12" y="72"/>
                      <a:pt x="7" y="65"/>
                    </a:cubicBezTo>
                    <a:cubicBezTo>
                      <a:pt x="2" y="58"/>
                      <a:pt x="0" y="49"/>
                      <a:pt x="0" y="38"/>
                    </a:cubicBezTo>
                    <a:cubicBezTo>
                      <a:pt x="0" y="26"/>
                      <a:pt x="2" y="17"/>
                      <a:pt x="7" y="10"/>
                    </a:cubicBezTo>
                    <a:cubicBezTo>
                      <a:pt x="12" y="3"/>
                      <a:pt x="18" y="0"/>
                      <a:pt x="26" y="0"/>
                    </a:cubicBezTo>
                    <a:cubicBezTo>
                      <a:pt x="34" y="0"/>
                      <a:pt x="40" y="3"/>
                      <a:pt x="45" y="10"/>
                    </a:cubicBezTo>
                    <a:cubicBezTo>
                      <a:pt x="49" y="17"/>
                      <a:pt x="52" y="26"/>
                      <a:pt x="52" y="38"/>
                    </a:cubicBezTo>
                    <a:close/>
                    <a:moveTo>
                      <a:pt x="38" y="37"/>
                    </a:moveTo>
                    <a:cubicBezTo>
                      <a:pt x="38" y="30"/>
                      <a:pt x="37" y="24"/>
                      <a:pt x="34" y="19"/>
                    </a:cubicBezTo>
                    <a:cubicBezTo>
                      <a:pt x="32" y="14"/>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4"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8" name="Freeform 317"/>
              <p:cNvSpPr>
                <a:spLocks noEditPoints="1"/>
              </p:cNvSpPr>
              <p:nvPr/>
            </p:nvSpPr>
            <p:spPr bwMode="auto">
              <a:xfrm>
                <a:off x="2771544" y="4159390"/>
                <a:ext cx="62501" cy="89224"/>
              </a:xfrm>
              <a:custGeom>
                <a:avLst/>
                <a:gdLst/>
                <a:ahLst/>
                <a:cxnLst>
                  <a:cxn ang="0">
                    <a:pos x="52" y="38"/>
                  </a:cxn>
                  <a:cxn ang="0">
                    <a:pos x="45" y="65"/>
                  </a:cxn>
                  <a:cxn ang="0">
                    <a:pos x="26" y="75"/>
                  </a:cxn>
                  <a:cxn ang="0">
                    <a:pos x="7" y="65"/>
                  </a:cxn>
                  <a:cxn ang="0">
                    <a:pos x="0" y="38"/>
                  </a:cxn>
                  <a:cxn ang="0">
                    <a:pos x="7" y="10"/>
                  </a:cxn>
                  <a:cxn ang="0">
                    <a:pos x="26" y="0"/>
                  </a:cxn>
                  <a:cxn ang="0">
                    <a:pos x="45" y="10"/>
                  </a:cxn>
                  <a:cxn ang="0">
                    <a:pos x="52" y="38"/>
                  </a:cxn>
                  <a:cxn ang="0">
                    <a:pos x="38" y="37"/>
                  </a:cxn>
                  <a:cxn ang="0">
                    <a:pos x="35" y="19"/>
                  </a:cxn>
                  <a:cxn ang="0">
                    <a:pos x="26" y="12"/>
                  </a:cxn>
                  <a:cxn ang="0">
                    <a:pos x="18" y="19"/>
                  </a:cxn>
                  <a:cxn ang="0">
                    <a:pos x="14" y="38"/>
                  </a:cxn>
                  <a:cxn ang="0">
                    <a:pos x="18" y="56"/>
                  </a:cxn>
                  <a:cxn ang="0">
                    <a:pos x="26" y="63"/>
                  </a:cxn>
                  <a:cxn ang="0">
                    <a:pos x="35" y="56"/>
                  </a:cxn>
                  <a:cxn ang="0">
                    <a:pos x="38" y="37"/>
                  </a:cxn>
                </a:cxnLst>
                <a:rect l="0" t="0" r="r" b="b"/>
                <a:pathLst>
                  <a:path w="52" h="75">
                    <a:moveTo>
                      <a:pt x="52" y="38"/>
                    </a:moveTo>
                    <a:cubicBezTo>
                      <a:pt x="52" y="49"/>
                      <a:pt x="50" y="58"/>
                      <a:pt x="45" y="65"/>
                    </a:cubicBezTo>
                    <a:cubicBezTo>
                      <a:pt x="40" y="72"/>
                      <a:pt x="34" y="75"/>
                      <a:pt x="26" y="75"/>
                    </a:cubicBezTo>
                    <a:cubicBezTo>
                      <a:pt x="18" y="75"/>
                      <a:pt x="12" y="72"/>
                      <a:pt x="7" y="65"/>
                    </a:cubicBezTo>
                    <a:cubicBezTo>
                      <a:pt x="3" y="58"/>
                      <a:pt x="0" y="49"/>
                      <a:pt x="0" y="38"/>
                    </a:cubicBezTo>
                    <a:cubicBezTo>
                      <a:pt x="0" y="26"/>
                      <a:pt x="3" y="17"/>
                      <a:pt x="7" y="10"/>
                    </a:cubicBezTo>
                    <a:cubicBezTo>
                      <a:pt x="12" y="3"/>
                      <a:pt x="18" y="0"/>
                      <a:pt x="26" y="0"/>
                    </a:cubicBezTo>
                    <a:cubicBezTo>
                      <a:pt x="34" y="0"/>
                      <a:pt x="40" y="3"/>
                      <a:pt x="45" y="10"/>
                    </a:cubicBezTo>
                    <a:cubicBezTo>
                      <a:pt x="50" y="17"/>
                      <a:pt x="52" y="26"/>
                      <a:pt x="52" y="38"/>
                    </a:cubicBezTo>
                    <a:close/>
                    <a:moveTo>
                      <a:pt x="38" y="37"/>
                    </a:moveTo>
                    <a:cubicBezTo>
                      <a:pt x="38" y="30"/>
                      <a:pt x="37" y="24"/>
                      <a:pt x="35" y="19"/>
                    </a:cubicBezTo>
                    <a:cubicBezTo>
                      <a:pt x="33" y="14"/>
                      <a:pt x="30" y="12"/>
                      <a:pt x="26" y="12"/>
                    </a:cubicBezTo>
                    <a:cubicBezTo>
                      <a:pt x="23" y="12"/>
                      <a:pt x="20" y="15"/>
                      <a:pt x="18" y="19"/>
                    </a:cubicBezTo>
                    <a:cubicBezTo>
                      <a:pt x="15" y="24"/>
                      <a:pt x="14" y="30"/>
                      <a:pt x="14" y="38"/>
                    </a:cubicBezTo>
                    <a:cubicBezTo>
                      <a:pt x="14" y="45"/>
                      <a:pt x="15" y="51"/>
                      <a:pt x="18" y="56"/>
                    </a:cubicBezTo>
                    <a:cubicBezTo>
                      <a:pt x="20" y="61"/>
                      <a:pt x="23" y="63"/>
                      <a:pt x="26" y="63"/>
                    </a:cubicBezTo>
                    <a:cubicBezTo>
                      <a:pt x="30" y="63"/>
                      <a:pt x="33" y="61"/>
                      <a:pt x="35"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9" name="Freeform 318"/>
              <p:cNvSpPr>
                <a:spLocks/>
              </p:cNvSpPr>
              <p:nvPr/>
            </p:nvSpPr>
            <p:spPr bwMode="auto">
              <a:xfrm>
                <a:off x="2835608" y="415939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400" name="Freeform 319"/>
              <p:cNvSpPr>
                <a:spLocks noEditPoints="1"/>
              </p:cNvSpPr>
              <p:nvPr/>
            </p:nvSpPr>
            <p:spPr bwMode="auto">
              <a:xfrm>
                <a:off x="2882484" y="4159390"/>
                <a:ext cx="62501" cy="89224"/>
              </a:xfrm>
              <a:custGeom>
                <a:avLst/>
                <a:gdLst/>
                <a:ahLst/>
                <a:cxnLst>
                  <a:cxn ang="0">
                    <a:pos x="51" y="38"/>
                  </a:cxn>
                  <a:cxn ang="0">
                    <a:pos x="44" y="65"/>
                  </a:cxn>
                  <a:cxn ang="0">
                    <a:pos x="25" y="75"/>
                  </a:cxn>
                  <a:cxn ang="0">
                    <a:pos x="7" y="65"/>
                  </a:cxn>
                  <a:cxn ang="0">
                    <a:pos x="0" y="38"/>
                  </a:cxn>
                  <a:cxn ang="0">
                    <a:pos x="7" y="10"/>
                  </a:cxn>
                  <a:cxn ang="0">
                    <a:pos x="25" y="0"/>
                  </a:cxn>
                  <a:cxn ang="0">
                    <a:pos x="44" y="10"/>
                  </a:cxn>
                  <a:cxn ang="0">
                    <a:pos x="51" y="38"/>
                  </a:cxn>
                  <a:cxn ang="0">
                    <a:pos x="38" y="37"/>
                  </a:cxn>
                  <a:cxn ang="0">
                    <a:pos x="34" y="19"/>
                  </a:cxn>
                  <a:cxn ang="0">
                    <a:pos x="25" y="12"/>
                  </a:cxn>
                  <a:cxn ang="0">
                    <a:pos x="17" y="19"/>
                  </a:cxn>
                  <a:cxn ang="0">
                    <a:pos x="14" y="38"/>
                  </a:cxn>
                  <a:cxn ang="0">
                    <a:pos x="17" y="56"/>
                  </a:cxn>
                  <a:cxn ang="0">
                    <a:pos x="25" y="63"/>
                  </a:cxn>
                  <a:cxn ang="0">
                    <a:pos x="34" y="56"/>
                  </a:cxn>
                  <a:cxn ang="0">
                    <a:pos x="38" y="37"/>
                  </a:cxn>
                </a:cxnLst>
                <a:rect l="0" t="0" r="r" b="b"/>
                <a:pathLst>
                  <a:path w="51" h="75">
                    <a:moveTo>
                      <a:pt x="51" y="38"/>
                    </a:moveTo>
                    <a:cubicBezTo>
                      <a:pt x="51" y="49"/>
                      <a:pt x="49" y="58"/>
                      <a:pt x="44" y="65"/>
                    </a:cubicBezTo>
                    <a:cubicBezTo>
                      <a:pt x="40" y="72"/>
                      <a:pt x="33" y="75"/>
                      <a:pt x="25" y="75"/>
                    </a:cubicBezTo>
                    <a:cubicBezTo>
                      <a:pt x="18" y="75"/>
                      <a:pt x="11" y="72"/>
                      <a:pt x="7" y="65"/>
                    </a:cubicBezTo>
                    <a:cubicBezTo>
                      <a:pt x="2" y="58"/>
                      <a:pt x="0" y="49"/>
                      <a:pt x="0" y="38"/>
                    </a:cubicBezTo>
                    <a:cubicBezTo>
                      <a:pt x="0" y="26"/>
                      <a:pt x="2" y="17"/>
                      <a:pt x="7" y="10"/>
                    </a:cubicBezTo>
                    <a:cubicBezTo>
                      <a:pt x="11" y="3"/>
                      <a:pt x="18" y="0"/>
                      <a:pt x="25" y="0"/>
                    </a:cubicBezTo>
                    <a:cubicBezTo>
                      <a:pt x="33" y="0"/>
                      <a:pt x="40" y="3"/>
                      <a:pt x="44" y="10"/>
                    </a:cubicBezTo>
                    <a:cubicBezTo>
                      <a:pt x="49" y="17"/>
                      <a:pt x="51" y="26"/>
                      <a:pt x="51" y="38"/>
                    </a:cubicBezTo>
                    <a:close/>
                    <a:moveTo>
                      <a:pt x="38" y="37"/>
                    </a:moveTo>
                    <a:cubicBezTo>
                      <a:pt x="38" y="30"/>
                      <a:pt x="36" y="24"/>
                      <a:pt x="34" y="19"/>
                    </a:cubicBezTo>
                    <a:cubicBezTo>
                      <a:pt x="32" y="14"/>
                      <a:pt x="29" y="12"/>
                      <a:pt x="25" y="12"/>
                    </a:cubicBezTo>
                    <a:cubicBezTo>
                      <a:pt x="22" y="12"/>
                      <a:pt x="19" y="15"/>
                      <a:pt x="17" y="19"/>
                    </a:cubicBezTo>
                    <a:cubicBezTo>
                      <a:pt x="15" y="24"/>
                      <a:pt x="14" y="30"/>
                      <a:pt x="14" y="38"/>
                    </a:cubicBezTo>
                    <a:cubicBezTo>
                      <a:pt x="14" y="45"/>
                      <a:pt x="15" y="51"/>
                      <a:pt x="17" y="56"/>
                    </a:cubicBezTo>
                    <a:cubicBezTo>
                      <a:pt x="19" y="61"/>
                      <a:pt x="22" y="63"/>
                      <a:pt x="25" y="63"/>
                    </a:cubicBezTo>
                    <a:cubicBezTo>
                      <a:pt x="29" y="63"/>
                      <a:pt x="32" y="61"/>
                      <a:pt x="34" y="56"/>
                    </a:cubicBezTo>
                    <a:cubicBezTo>
                      <a:pt x="36"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401" name="Freeform 320"/>
              <p:cNvSpPr>
                <a:spLocks/>
              </p:cNvSpPr>
              <p:nvPr/>
            </p:nvSpPr>
            <p:spPr bwMode="auto">
              <a:xfrm>
                <a:off x="2944985" y="4159390"/>
                <a:ext cx="34376" cy="87659"/>
              </a:xfrm>
              <a:custGeom>
                <a:avLst/>
                <a:gdLst/>
                <a:ahLst/>
                <a:cxnLst>
                  <a:cxn ang="0">
                    <a:pos x="22" y="56"/>
                  </a:cxn>
                  <a:cxn ang="0">
                    <a:pos x="11" y="56"/>
                  </a:cxn>
                  <a:cxn ang="0">
                    <a:pos x="11" y="10"/>
                  </a:cxn>
                  <a:cxn ang="0">
                    <a:pos x="0" y="10"/>
                  </a:cxn>
                  <a:cxn ang="0">
                    <a:pos x="5" y="0"/>
                  </a:cxn>
                  <a:cxn ang="0">
                    <a:pos x="22" y="0"/>
                  </a:cxn>
                  <a:cxn ang="0">
                    <a:pos x="22" y="56"/>
                  </a:cxn>
                </a:cxnLst>
                <a:rect l="0" t="0" r="r" b="b"/>
                <a:pathLst>
                  <a:path w="22" h="56">
                    <a:moveTo>
                      <a:pt x="22" y="56"/>
                    </a:moveTo>
                    <a:lnTo>
                      <a:pt x="11" y="56"/>
                    </a:lnTo>
                    <a:lnTo>
                      <a:pt x="11" y="10"/>
                    </a:lnTo>
                    <a:lnTo>
                      <a:pt x="0" y="10"/>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402" name="Freeform 321"/>
              <p:cNvSpPr>
                <a:spLocks noEditPoints="1"/>
              </p:cNvSpPr>
              <p:nvPr/>
            </p:nvSpPr>
            <p:spPr bwMode="auto">
              <a:xfrm>
                <a:off x="2993423" y="4159390"/>
                <a:ext cx="62501" cy="89224"/>
              </a:xfrm>
              <a:custGeom>
                <a:avLst/>
                <a:gdLst/>
                <a:ahLst/>
                <a:cxnLst>
                  <a:cxn ang="0">
                    <a:pos x="52" y="38"/>
                  </a:cxn>
                  <a:cxn ang="0">
                    <a:pos x="44" y="65"/>
                  </a:cxn>
                  <a:cxn ang="0">
                    <a:pos x="26" y="75"/>
                  </a:cxn>
                  <a:cxn ang="0">
                    <a:pos x="7" y="65"/>
                  </a:cxn>
                  <a:cxn ang="0">
                    <a:pos x="0" y="38"/>
                  </a:cxn>
                  <a:cxn ang="0">
                    <a:pos x="7" y="10"/>
                  </a:cxn>
                  <a:cxn ang="0">
                    <a:pos x="26" y="0"/>
                  </a:cxn>
                  <a:cxn ang="0">
                    <a:pos x="45" y="10"/>
                  </a:cxn>
                  <a:cxn ang="0">
                    <a:pos x="52" y="38"/>
                  </a:cxn>
                  <a:cxn ang="0">
                    <a:pos x="38" y="37"/>
                  </a:cxn>
                  <a:cxn ang="0">
                    <a:pos x="34" y="19"/>
                  </a:cxn>
                  <a:cxn ang="0">
                    <a:pos x="26" y="12"/>
                  </a:cxn>
                  <a:cxn ang="0">
                    <a:pos x="17" y="19"/>
                  </a:cxn>
                  <a:cxn ang="0">
                    <a:pos x="14" y="38"/>
                  </a:cxn>
                  <a:cxn ang="0">
                    <a:pos x="17" y="56"/>
                  </a:cxn>
                  <a:cxn ang="0">
                    <a:pos x="26" y="63"/>
                  </a:cxn>
                  <a:cxn ang="0">
                    <a:pos x="34" y="56"/>
                  </a:cxn>
                  <a:cxn ang="0">
                    <a:pos x="38" y="37"/>
                  </a:cxn>
                </a:cxnLst>
                <a:rect l="0" t="0" r="r" b="b"/>
                <a:pathLst>
                  <a:path w="52" h="75">
                    <a:moveTo>
                      <a:pt x="52" y="38"/>
                    </a:moveTo>
                    <a:cubicBezTo>
                      <a:pt x="52" y="49"/>
                      <a:pt x="49" y="58"/>
                      <a:pt x="44" y="65"/>
                    </a:cubicBezTo>
                    <a:cubicBezTo>
                      <a:pt x="40" y="72"/>
                      <a:pt x="33" y="75"/>
                      <a:pt x="26" y="75"/>
                    </a:cubicBezTo>
                    <a:cubicBezTo>
                      <a:pt x="18" y="75"/>
                      <a:pt x="12" y="72"/>
                      <a:pt x="7" y="65"/>
                    </a:cubicBezTo>
                    <a:cubicBezTo>
                      <a:pt x="2" y="58"/>
                      <a:pt x="0" y="49"/>
                      <a:pt x="0" y="38"/>
                    </a:cubicBezTo>
                    <a:cubicBezTo>
                      <a:pt x="0" y="26"/>
                      <a:pt x="2" y="17"/>
                      <a:pt x="7" y="10"/>
                    </a:cubicBezTo>
                    <a:cubicBezTo>
                      <a:pt x="12" y="3"/>
                      <a:pt x="18" y="0"/>
                      <a:pt x="26" y="0"/>
                    </a:cubicBezTo>
                    <a:cubicBezTo>
                      <a:pt x="34" y="0"/>
                      <a:pt x="40" y="3"/>
                      <a:pt x="45" y="10"/>
                    </a:cubicBezTo>
                    <a:cubicBezTo>
                      <a:pt x="49" y="17"/>
                      <a:pt x="52" y="26"/>
                      <a:pt x="52" y="38"/>
                    </a:cubicBezTo>
                    <a:close/>
                    <a:moveTo>
                      <a:pt x="38" y="37"/>
                    </a:moveTo>
                    <a:cubicBezTo>
                      <a:pt x="38" y="30"/>
                      <a:pt x="37" y="24"/>
                      <a:pt x="34" y="19"/>
                    </a:cubicBezTo>
                    <a:cubicBezTo>
                      <a:pt x="32" y="14"/>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4"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403" name="Freeform 322"/>
              <p:cNvSpPr>
                <a:spLocks/>
              </p:cNvSpPr>
              <p:nvPr/>
            </p:nvSpPr>
            <p:spPr bwMode="auto">
              <a:xfrm>
                <a:off x="3057486" y="415939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404" name="Freeform 323"/>
              <p:cNvSpPr>
                <a:spLocks/>
              </p:cNvSpPr>
              <p:nvPr/>
            </p:nvSpPr>
            <p:spPr bwMode="auto">
              <a:xfrm>
                <a:off x="3098112" y="415939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grpSp>
        <p:sp>
          <p:nvSpPr>
            <p:cNvPr id="431" name="Right Arrow 430"/>
            <p:cNvSpPr/>
            <p:nvPr/>
          </p:nvSpPr>
          <p:spPr>
            <a:xfrm rot="5400000">
              <a:off x="4596424" y="2103395"/>
              <a:ext cx="1036557" cy="312517"/>
            </a:xfrm>
            <a:prstGeom prst="rightArrow">
              <a:avLst>
                <a:gd name="adj1" fmla="val 42593"/>
                <a:gd name="adj2" fmla="val 87037"/>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微软雅黑" pitchFamily="34" charset="-122"/>
                <a:ea typeface="微软雅黑" pitchFamily="34" charset="-122"/>
              </a:endParaRPr>
            </a:p>
          </p:txBody>
        </p:sp>
        <p:grpSp>
          <p:nvGrpSpPr>
            <p:cNvPr id="265" name="Group 264"/>
            <p:cNvGrpSpPr/>
            <p:nvPr/>
          </p:nvGrpSpPr>
          <p:grpSpPr>
            <a:xfrm>
              <a:off x="4592950" y="1949920"/>
              <a:ext cx="1043504" cy="321946"/>
              <a:chOff x="161386" y="1052961"/>
              <a:chExt cx="314542" cy="387627"/>
            </a:xfrm>
          </p:grpSpPr>
          <p:sp>
            <p:nvSpPr>
              <p:cNvPr id="266" name="Round Diagonal Corner Rectangle 265"/>
              <p:cNvSpPr/>
              <p:nvPr/>
            </p:nvSpPr>
            <p:spPr>
              <a:xfrm flipV="1">
                <a:off x="171035" y="1052961"/>
                <a:ext cx="291924" cy="387627"/>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00" dirty="0">
                  <a:latin typeface="微软雅黑" pitchFamily="34" charset="-122"/>
                  <a:ea typeface="微软雅黑" pitchFamily="34" charset="-122"/>
                </a:endParaRPr>
              </a:p>
            </p:txBody>
          </p:sp>
          <p:sp>
            <p:nvSpPr>
              <p:cNvPr id="267" name="Round Diagonal Corner Rectangle 266"/>
              <p:cNvSpPr/>
              <p:nvPr/>
            </p:nvSpPr>
            <p:spPr>
              <a:xfrm>
                <a:off x="161386" y="1052962"/>
                <a:ext cx="314542" cy="387626"/>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2300" dirty="0">
                    <a:latin typeface="微软雅黑" pitchFamily="34" charset="-122"/>
                    <a:ea typeface="微软雅黑" pitchFamily="34" charset="-122"/>
                  </a:rPr>
                  <a:t>发现</a:t>
                </a:r>
                <a:endParaRPr lang="en-US" sz="2300" dirty="0">
                  <a:latin typeface="微软雅黑" pitchFamily="34" charset="-122"/>
                  <a:ea typeface="微软雅黑" pitchFamily="34" charset="-122"/>
                </a:endParaRPr>
              </a:p>
            </p:txBody>
          </p:sp>
        </p:grpSp>
      </p:grpSp>
      <p:sp>
        <p:nvSpPr>
          <p:cNvPr id="3" name="Title 2"/>
          <p:cNvSpPr>
            <a:spLocks noGrp="1"/>
          </p:cNvSpPr>
          <p:nvPr>
            <p:ph type="title"/>
          </p:nvPr>
        </p:nvSpPr>
        <p:spPr>
          <a:xfrm>
            <a:off x="497909" y="351028"/>
            <a:ext cx="12513487" cy="612817"/>
          </a:xfrm>
        </p:spPr>
        <p:txBody>
          <a:bodyPr/>
          <a:lstStyle/>
          <a:p>
            <a:r>
              <a:rPr lang="zh-CN" altLang="en-US" dirty="0" smtClean="0">
                <a:solidFill>
                  <a:srgbClr val="C00000"/>
                </a:solidFill>
                <a:latin typeface="微软雅黑" pitchFamily="34" charset="-122"/>
                <a:ea typeface="微软雅黑" pitchFamily="34" charset="-122"/>
              </a:rPr>
              <a:t>如何应对新型的信息安全攻击</a:t>
            </a:r>
            <a:endParaRPr lang="en-US" b="0" dirty="0">
              <a:solidFill>
                <a:srgbClr val="C00000"/>
              </a:solidFill>
              <a:latin typeface="微软雅黑" pitchFamily="34" charset="-122"/>
              <a:ea typeface="微软雅黑" pitchFamily="34" charset="-122"/>
            </a:endParaRPr>
          </a:p>
        </p:txBody>
      </p:sp>
      <p:grpSp>
        <p:nvGrpSpPr>
          <p:cNvPr id="239" name="Group 105"/>
          <p:cNvGrpSpPr>
            <a:grpSpLocks/>
          </p:cNvGrpSpPr>
          <p:nvPr/>
        </p:nvGrpSpPr>
        <p:grpSpPr bwMode="auto">
          <a:xfrm>
            <a:off x="5470361" y="7480640"/>
            <a:ext cx="725602" cy="997507"/>
            <a:chOff x="7162800" y="1447800"/>
            <a:chExt cx="877888" cy="1328738"/>
          </a:xfrm>
          <a:solidFill>
            <a:schemeClr val="accent5"/>
          </a:solidFill>
        </p:grpSpPr>
        <p:sp>
          <p:nvSpPr>
            <p:cNvPr id="243" name="Freeform 191"/>
            <p:cNvSpPr>
              <a:spLocks/>
            </p:cNvSpPr>
            <p:nvPr/>
          </p:nvSpPr>
          <p:spPr bwMode="auto">
            <a:xfrm>
              <a:off x="7208838" y="1981200"/>
              <a:ext cx="488950" cy="500062"/>
            </a:xfrm>
            <a:custGeom>
              <a:avLst/>
              <a:gdLst>
                <a:gd name="T0" fmla="*/ 22742 w 43"/>
                <a:gd name="T1" fmla="*/ 465967 h 44"/>
                <a:gd name="T2" fmla="*/ 22742 w 43"/>
                <a:gd name="T3" fmla="*/ 431872 h 44"/>
                <a:gd name="T4" fmla="*/ 22742 w 43"/>
                <a:gd name="T5" fmla="*/ 431872 h 44"/>
                <a:gd name="T6" fmla="*/ 45484 w 43"/>
                <a:gd name="T7" fmla="*/ 431872 h 44"/>
                <a:gd name="T8" fmla="*/ 45484 w 43"/>
                <a:gd name="T9" fmla="*/ 431872 h 44"/>
                <a:gd name="T10" fmla="*/ 159193 w 43"/>
                <a:gd name="T11" fmla="*/ 454602 h 44"/>
                <a:gd name="T12" fmla="*/ 159193 w 43"/>
                <a:gd name="T13" fmla="*/ 454602 h 44"/>
                <a:gd name="T14" fmla="*/ 261531 w 43"/>
                <a:gd name="T15" fmla="*/ 443237 h 44"/>
                <a:gd name="T16" fmla="*/ 261531 w 43"/>
                <a:gd name="T17" fmla="*/ 443237 h 44"/>
                <a:gd name="T18" fmla="*/ 386612 w 43"/>
                <a:gd name="T19" fmla="*/ 329586 h 44"/>
                <a:gd name="T20" fmla="*/ 386612 w 43"/>
                <a:gd name="T21" fmla="*/ 329586 h 44"/>
                <a:gd name="T22" fmla="*/ 443466 w 43"/>
                <a:gd name="T23" fmla="*/ 204571 h 44"/>
                <a:gd name="T24" fmla="*/ 443466 w 43"/>
                <a:gd name="T25" fmla="*/ 204571 h 44"/>
                <a:gd name="T26" fmla="*/ 443466 w 43"/>
                <a:gd name="T27" fmla="*/ 181841 h 44"/>
                <a:gd name="T28" fmla="*/ 443466 w 43"/>
                <a:gd name="T29" fmla="*/ 181841 h 44"/>
                <a:gd name="T30" fmla="*/ 420724 w 43"/>
                <a:gd name="T31" fmla="*/ 90920 h 44"/>
                <a:gd name="T32" fmla="*/ 420724 w 43"/>
                <a:gd name="T33" fmla="*/ 90920 h 44"/>
                <a:gd name="T34" fmla="*/ 363870 w 43"/>
                <a:gd name="T35" fmla="*/ 45460 h 44"/>
                <a:gd name="T36" fmla="*/ 363870 w 43"/>
                <a:gd name="T37" fmla="*/ 45460 h 44"/>
                <a:gd name="T38" fmla="*/ 341128 w 43"/>
                <a:gd name="T39" fmla="*/ 56825 h 44"/>
                <a:gd name="T40" fmla="*/ 341128 w 43"/>
                <a:gd name="T41" fmla="*/ 56825 h 44"/>
                <a:gd name="T42" fmla="*/ 159193 w 43"/>
                <a:gd name="T43" fmla="*/ 215936 h 44"/>
                <a:gd name="T44" fmla="*/ 159193 w 43"/>
                <a:gd name="T45" fmla="*/ 215936 h 44"/>
                <a:gd name="T46" fmla="*/ 45484 w 43"/>
                <a:gd name="T47" fmla="*/ 397777 h 44"/>
                <a:gd name="T48" fmla="*/ 45484 w 43"/>
                <a:gd name="T49" fmla="*/ 397777 h 44"/>
                <a:gd name="T50" fmla="*/ 45484 w 43"/>
                <a:gd name="T51" fmla="*/ 397777 h 44"/>
                <a:gd name="T52" fmla="*/ 11371 w 43"/>
                <a:gd name="T53" fmla="*/ 397777 h 44"/>
                <a:gd name="T54" fmla="*/ 11371 w 43"/>
                <a:gd name="T55" fmla="*/ 397777 h 44"/>
                <a:gd name="T56" fmla="*/ 11371 w 43"/>
                <a:gd name="T57" fmla="*/ 363682 h 44"/>
                <a:gd name="T58" fmla="*/ 11371 w 43"/>
                <a:gd name="T59" fmla="*/ 363682 h 44"/>
                <a:gd name="T60" fmla="*/ 125080 w 43"/>
                <a:gd name="T61" fmla="*/ 193206 h 44"/>
                <a:gd name="T62" fmla="*/ 125080 w 43"/>
                <a:gd name="T63" fmla="*/ 193206 h 44"/>
                <a:gd name="T64" fmla="*/ 318386 w 43"/>
                <a:gd name="T65" fmla="*/ 11365 h 44"/>
                <a:gd name="T66" fmla="*/ 318386 w 43"/>
                <a:gd name="T67" fmla="*/ 11365 h 44"/>
                <a:gd name="T68" fmla="*/ 363870 w 43"/>
                <a:gd name="T69" fmla="*/ 0 h 44"/>
                <a:gd name="T70" fmla="*/ 363870 w 43"/>
                <a:gd name="T71" fmla="*/ 0 h 44"/>
                <a:gd name="T72" fmla="*/ 466208 w 43"/>
                <a:gd name="T73" fmla="*/ 68190 h 44"/>
                <a:gd name="T74" fmla="*/ 466208 w 43"/>
                <a:gd name="T75" fmla="*/ 68190 h 44"/>
                <a:gd name="T76" fmla="*/ 488950 w 43"/>
                <a:gd name="T77" fmla="*/ 181841 h 44"/>
                <a:gd name="T78" fmla="*/ 488950 w 43"/>
                <a:gd name="T79" fmla="*/ 181841 h 44"/>
                <a:gd name="T80" fmla="*/ 488950 w 43"/>
                <a:gd name="T81" fmla="*/ 204571 h 44"/>
                <a:gd name="T82" fmla="*/ 488950 w 43"/>
                <a:gd name="T83" fmla="*/ 204571 h 44"/>
                <a:gd name="T84" fmla="*/ 420724 w 43"/>
                <a:gd name="T85" fmla="*/ 363682 h 44"/>
                <a:gd name="T86" fmla="*/ 420724 w 43"/>
                <a:gd name="T87" fmla="*/ 363682 h 44"/>
                <a:gd name="T88" fmla="*/ 284273 w 43"/>
                <a:gd name="T89" fmla="*/ 477332 h 44"/>
                <a:gd name="T90" fmla="*/ 284273 w 43"/>
                <a:gd name="T91" fmla="*/ 477332 h 44"/>
                <a:gd name="T92" fmla="*/ 159193 w 43"/>
                <a:gd name="T93" fmla="*/ 500062 h 44"/>
                <a:gd name="T94" fmla="*/ 159193 w 43"/>
                <a:gd name="T95" fmla="*/ 500062 h 44"/>
                <a:gd name="T96" fmla="*/ 22742 w 43"/>
                <a:gd name="T97" fmla="*/ 465967 h 4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44"/>
                <a:gd name="T149" fmla="*/ 43 w 43"/>
                <a:gd name="T150" fmla="*/ 44 h 4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44">
                  <a:moveTo>
                    <a:pt x="2" y="41"/>
                  </a:moveTo>
                  <a:cubicBezTo>
                    <a:pt x="1" y="40"/>
                    <a:pt x="1" y="39"/>
                    <a:pt x="2" y="38"/>
                  </a:cubicBezTo>
                  <a:cubicBezTo>
                    <a:pt x="2" y="38"/>
                    <a:pt x="2" y="38"/>
                    <a:pt x="2" y="38"/>
                  </a:cubicBezTo>
                  <a:cubicBezTo>
                    <a:pt x="2" y="37"/>
                    <a:pt x="4" y="37"/>
                    <a:pt x="4" y="38"/>
                  </a:cubicBezTo>
                  <a:cubicBezTo>
                    <a:pt x="4" y="38"/>
                    <a:pt x="4" y="38"/>
                    <a:pt x="4" y="38"/>
                  </a:cubicBezTo>
                  <a:cubicBezTo>
                    <a:pt x="6" y="39"/>
                    <a:pt x="10" y="40"/>
                    <a:pt x="14" y="40"/>
                  </a:cubicBezTo>
                  <a:cubicBezTo>
                    <a:pt x="14" y="40"/>
                    <a:pt x="14" y="40"/>
                    <a:pt x="14" y="40"/>
                  </a:cubicBezTo>
                  <a:cubicBezTo>
                    <a:pt x="17" y="40"/>
                    <a:pt x="21" y="39"/>
                    <a:pt x="23" y="39"/>
                  </a:cubicBezTo>
                  <a:cubicBezTo>
                    <a:pt x="23" y="39"/>
                    <a:pt x="23" y="39"/>
                    <a:pt x="23" y="39"/>
                  </a:cubicBezTo>
                  <a:cubicBezTo>
                    <a:pt x="27" y="37"/>
                    <a:pt x="31" y="34"/>
                    <a:pt x="34" y="29"/>
                  </a:cubicBezTo>
                  <a:cubicBezTo>
                    <a:pt x="34" y="29"/>
                    <a:pt x="34" y="29"/>
                    <a:pt x="34" y="29"/>
                  </a:cubicBezTo>
                  <a:cubicBezTo>
                    <a:pt x="37" y="25"/>
                    <a:pt x="39" y="21"/>
                    <a:pt x="39" y="18"/>
                  </a:cubicBezTo>
                  <a:cubicBezTo>
                    <a:pt x="39" y="18"/>
                    <a:pt x="39" y="18"/>
                    <a:pt x="39" y="18"/>
                  </a:cubicBezTo>
                  <a:cubicBezTo>
                    <a:pt x="39" y="17"/>
                    <a:pt x="39" y="17"/>
                    <a:pt x="39" y="16"/>
                  </a:cubicBezTo>
                  <a:cubicBezTo>
                    <a:pt x="39" y="16"/>
                    <a:pt x="39" y="16"/>
                    <a:pt x="39" y="16"/>
                  </a:cubicBezTo>
                  <a:cubicBezTo>
                    <a:pt x="39" y="14"/>
                    <a:pt x="39" y="10"/>
                    <a:pt x="37" y="8"/>
                  </a:cubicBezTo>
                  <a:cubicBezTo>
                    <a:pt x="37" y="8"/>
                    <a:pt x="37" y="8"/>
                    <a:pt x="37" y="8"/>
                  </a:cubicBezTo>
                  <a:cubicBezTo>
                    <a:pt x="36" y="6"/>
                    <a:pt x="35" y="4"/>
                    <a:pt x="32" y="4"/>
                  </a:cubicBezTo>
                  <a:cubicBezTo>
                    <a:pt x="32" y="4"/>
                    <a:pt x="32" y="4"/>
                    <a:pt x="32" y="4"/>
                  </a:cubicBezTo>
                  <a:cubicBezTo>
                    <a:pt x="31" y="4"/>
                    <a:pt x="31" y="4"/>
                    <a:pt x="30" y="5"/>
                  </a:cubicBezTo>
                  <a:cubicBezTo>
                    <a:pt x="30" y="5"/>
                    <a:pt x="30" y="5"/>
                    <a:pt x="30" y="5"/>
                  </a:cubicBezTo>
                  <a:cubicBezTo>
                    <a:pt x="25" y="6"/>
                    <a:pt x="19" y="13"/>
                    <a:pt x="14" y="19"/>
                  </a:cubicBezTo>
                  <a:cubicBezTo>
                    <a:pt x="14" y="19"/>
                    <a:pt x="14" y="19"/>
                    <a:pt x="14" y="19"/>
                  </a:cubicBezTo>
                  <a:cubicBezTo>
                    <a:pt x="9" y="26"/>
                    <a:pt x="5" y="33"/>
                    <a:pt x="4" y="35"/>
                  </a:cubicBezTo>
                  <a:cubicBezTo>
                    <a:pt x="4" y="35"/>
                    <a:pt x="4" y="35"/>
                    <a:pt x="4" y="35"/>
                  </a:cubicBezTo>
                  <a:cubicBezTo>
                    <a:pt x="4" y="35"/>
                    <a:pt x="4" y="35"/>
                    <a:pt x="4" y="35"/>
                  </a:cubicBezTo>
                  <a:cubicBezTo>
                    <a:pt x="3" y="36"/>
                    <a:pt x="2" y="36"/>
                    <a:pt x="1" y="35"/>
                  </a:cubicBezTo>
                  <a:cubicBezTo>
                    <a:pt x="1" y="35"/>
                    <a:pt x="1" y="35"/>
                    <a:pt x="1" y="35"/>
                  </a:cubicBezTo>
                  <a:cubicBezTo>
                    <a:pt x="0" y="34"/>
                    <a:pt x="0" y="33"/>
                    <a:pt x="1" y="32"/>
                  </a:cubicBezTo>
                  <a:cubicBezTo>
                    <a:pt x="1" y="32"/>
                    <a:pt x="1" y="32"/>
                    <a:pt x="1" y="32"/>
                  </a:cubicBezTo>
                  <a:cubicBezTo>
                    <a:pt x="2" y="31"/>
                    <a:pt x="6" y="24"/>
                    <a:pt x="11" y="17"/>
                  </a:cubicBezTo>
                  <a:cubicBezTo>
                    <a:pt x="11" y="17"/>
                    <a:pt x="11" y="17"/>
                    <a:pt x="11" y="17"/>
                  </a:cubicBezTo>
                  <a:cubicBezTo>
                    <a:pt x="16" y="10"/>
                    <a:pt x="22" y="3"/>
                    <a:pt x="28" y="1"/>
                  </a:cubicBezTo>
                  <a:cubicBezTo>
                    <a:pt x="28" y="1"/>
                    <a:pt x="28" y="1"/>
                    <a:pt x="28" y="1"/>
                  </a:cubicBezTo>
                  <a:cubicBezTo>
                    <a:pt x="30" y="1"/>
                    <a:pt x="31" y="0"/>
                    <a:pt x="32" y="0"/>
                  </a:cubicBezTo>
                  <a:cubicBezTo>
                    <a:pt x="32" y="0"/>
                    <a:pt x="32" y="0"/>
                    <a:pt x="32" y="0"/>
                  </a:cubicBezTo>
                  <a:cubicBezTo>
                    <a:pt x="36" y="0"/>
                    <a:pt x="39" y="3"/>
                    <a:pt x="41" y="6"/>
                  </a:cubicBezTo>
                  <a:cubicBezTo>
                    <a:pt x="41" y="6"/>
                    <a:pt x="41" y="6"/>
                    <a:pt x="41" y="6"/>
                  </a:cubicBezTo>
                  <a:cubicBezTo>
                    <a:pt x="43" y="9"/>
                    <a:pt x="43" y="13"/>
                    <a:pt x="43" y="16"/>
                  </a:cubicBezTo>
                  <a:cubicBezTo>
                    <a:pt x="43" y="16"/>
                    <a:pt x="43" y="16"/>
                    <a:pt x="43" y="16"/>
                  </a:cubicBezTo>
                  <a:cubicBezTo>
                    <a:pt x="43" y="17"/>
                    <a:pt x="43" y="18"/>
                    <a:pt x="43" y="18"/>
                  </a:cubicBezTo>
                  <a:cubicBezTo>
                    <a:pt x="43" y="18"/>
                    <a:pt x="43" y="18"/>
                    <a:pt x="43" y="18"/>
                  </a:cubicBezTo>
                  <a:cubicBezTo>
                    <a:pt x="43" y="22"/>
                    <a:pt x="41" y="27"/>
                    <a:pt x="37" y="32"/>
                  </a:cubicBezTo>
                  <a:cubicBezTo>
                    <a:pt x="37" y="32"/>
                    <a:pt x="37" y="32"/>
                    <a:pt x="37" y="32"/>
                  </a:cubicBezTo>
                  <a:cubicBezTo>
                    <a:pt x="34" y="36"/>
                    <a:pt x="29" y="40"/>
                    <a:pt x="25" y="42"/>
                  </a:cubicBezTo>
                  <a:cubicBezTo>
                    <a:pt x="25" y="42"/>
                    <a:pt x="25" y="42"/>
                    <a:pt x="25" y="42"/>
                  </a:cubicBezTo>
                  <a:cubicBezTo>
                    <a:pt x="22" y="43"/>
                    <a:pt x="18" y="44"/>
                    <a:pt x="14" y="44"/>
                  </a:cubicBezTo>
                  <a:cubicBezTo>
                    <a:pt x="14" y="44"/>
                    <a:pt x="14" y="44"/>
                    <a:pt x="14" y="44"/>
                  </a:cubicBezTo>
                  <a:cubicBezTo>
                    <a:pt x="10" y="44"/>
                    <a:pt x="5" y="43"/>
                    <a:pt x="2" y="41"/>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44" name="Freeform 192"/>
            <p:cNvSpPr>
              <a:spLocks/>
            </p:cNvSpPr>
            <p:nvPr/>
          </p:nvSpPr>
          <p:spPr bwMode="auto">
            <a:xfrm>
              <a:off x="7310438" y="2084387"/>
              <a:ext cx="307975" cy="306387"/>
            </a:xfrm>
            <a:custGeom>
              <a:avLst/>
              <a:gdLst>
                <a:gd name="T0" fmla="*/ 22813 w 27"/>
                <a:gd name="T1" fmla="*/ 306387 h 27"/>
                <a:gd name="T2" fmla="*/ 0 w 27"/>
                <a:gd name="T3" fmla="*/ 283692 h 27"/>
                <a:gd name="T4" fmla="*/ 0 w 27"/>
                <a:gd name="T5" fmla="*/ 283692 h 27"/>
                <a:gd name="T6" fmla="*/ 34219 w 27"/>
                <a:gd name="T7" fmla="*/ 260996 h 27"/>
                <a:gd name="T8" fmla="*/ 34219 w 27"/>
                <a:gd name="T9" fmla="*/ 260996 h 27"/>
                <a:gd name="T10" fmla="*/ 57032 w 27"/>
                <a:gd name="T11" fmla="*/ 260996 h 27"/>
                <a:gd name="T12" fmla="*/ 57032 w 27"/>
                <a:gd name="T13" fmla="*/ 260996 h 27"/>
                <a:gd name="T14" fmla="*/ 171097 w 27"/>
                <a:gd name="T15" fmla="*/ 238301 h 27"/>
                <a:gd name="T16" fmla="*/ 171097 w 27"/>
                <a:gd name="T17" fmla="*/ 238301 h 27"/>
                <a:gd name="T18" fmla="*/ 262349 w 27"/>
                <a:gd name="T19" fmla="*/ 124824 h 27"/>
                <a:gd name="T20" fmla="*/ 262349 w 27"/>
                <a:gd name="T21" fmla="*/ 124824 h 27"/>
                <a:gd name="T22" fmla="*/ 262349 w 27"/>
                <a:gd name="T23" fmla="*/ 102129 h 27"/>
                <a:gd name="T24" fmla="*/ 262349 w 27"/>
                <a:gd name="T25" fmla="*/ 102129 h 27"/>
                <a:gd name="T26" fmla="*/ 250943 w 27"/>
                <a:gd name="T27" fmla="*/ 56738 h 27"/>
                <a:gd name="T28" fmla="*/ 250943 w 27"/>
                <a:gd name="T29" fmla="*/ 56738 h 27"/>
                <a:gd name="T30" fmla="*/ 228130 w 27"/>
                <a:gd name="T31" fmla="*/ 45391 h 27"/>
                <a:gd name="T32" fmla="*/ 228130 w 27"/>
                <a:gd name="T33" fmla="*/ 45391 h 27"/>
                <a:gd name="T34" fmla="*/ 228130 w 27"/>
                <a:gd name="T35" fmla="*/ 45391 h 27"/>
                <a:gd name="T36" fmla="*/ 228130 w 27"/>
                <a:gd name="T37" fmla="*/ 45391 h 27"/>
                <a:gd name="T38" fmla="*/ 148284 w 27"/>
                <a:gd name="T39" fmla="*/ 113477 h 27"/>
                <a:gd name="T40" fmla="*/ 148284 w 27"/>
                <a:gd name="T41" fmla="*/ 113477 h 27"/>
                <a:gd name="T42" fmla="*/ 102658 w 27"/>
                <a:gd name="T43" fmla="*/ 192910 h 27"/>
                <a:gd name="T44" fmla="*/ 102658 w 27"/>
                <a:gd name="T45" fmla="*/ 192910 h 27"/>
                <a:gd name="T46" fmla="*/ 68439 w 27"/>
                <a:gd name="T47" fmla="*/ 192910 h 27"/>
                <a:gd name="T48" fmla="*/ 68439 w 27"/>
                <a:gd name="T49" fmla="*/ 192910 h 27"/>
                <a:gd name="T50" fmla="*/ 57032 w 27"/>
                <a:gd name="T51" fmla="*/ 158867 h 27"/>
                <a:gd name="T52" fmla="*/ 57032 w 27"/>
                <a:gd name="T53" fmla="*/ 158867 h 27"/>
                <a:gd name="T54" fmla="*/ 114065 w 27"/>
                <a:gd name="T55" fmla="*/ 79434 h 27"/>
                <a:gd name="T56" fmla="*/ 114065 w 27"/>
                <a:gd name="T57" fmla="*/ 79434 h 27"/>
                <a:gd name="T58" fmla="*/ 216723 w 27"/>
                <a:gd name="T59" fmla="*/ 0 h 27"/>
                <a:gd name="T60" fmla="*/ 216723 w 27"/>
                <a:gd name="T61" fmla="*/ 0 h 27"/>
                <a:gd name="T62" fmla="*/ 228130 w 27"/>
                <a:gd name="T63" fmla="*/ 0 h 27"/>
                <a:gd name="T64" fmla="*/ 228130 w 27"/>
                <a:gd name="T65" fmla="*/ 0 h 27"/>
                <a:gd name="T66" fmla="*/ 285162 w 27"/>
                <a:gd name="T67" fmla="*/ 34043 h 27"/>
                <a:gd name="T68" fmla="*/ 285162 w 27"/>
                <a:gd name="T69" fmla="*/ 34043 h 27"/>
                <a:gd name="T70" fmla="*/ 307975 w 27"/>
                <a:gd name="T71" fmla="*/ 102129 h 27"/>
                <a:gd name="T72" fmla="*/ 307975 w 27"/>
                <a:gd name="T73" fmla="*/ 102129 h 27"/>
                <a:gd name="T74" fmla="*/ 307975 w 27"/>
                <a:gd name="T75" fmla="*/ 136172 h 27"/>
                <a:gd name="T76" fmla="*/ 307975 w 27"/>
                <a:gd name="T77" fmla="*/ 136172 h 27"/>
                <a:gd name="T78" fmla="*/ 182504 w 27"/>
                <a:gd name="T79" fmla="*/ 283692 h 27"/>
                <a:gd name="T80" fmla="*/ 182504 w 27"/>
                <a:gd name="T81" fmla="*/ 283692 h 27"/>
                <a:gd name="T82" fmla="*/ 57032 w 27"/>
                <a:gd name="T83" fmla="*/ 306387 h 27"/>
                <a:gd name="T84" fmla="*/ 57032 w 27"/>
                <a:gd name="T85" fmla="*/ 306387 h 27"/>
                <a:gd name="T86" fmla="*/ 22813 w 27"/>
                <a:gd name="T87" fmla="*/ 306387 h 2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7"/>
                <a:gd name="T133" fmla="*/ 0 h 27"/>
                <a:gd name="T134" fmla="*/ 27 w 27"/>
                <a:gd name="T135" fmla="*/ 27 h 2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7" h="27">
                  <a:moveTo>
                    <a:pt x="2" y="27"/>
                  </a:moveTo>
                  <a:cubicBezTo>
                    <a:pt x="1" y="27"/>
                    <a:pt x="0" y="26"/>
                    <a:pt x="0" y="25"/>
                  </a:cubicBezTo>
                  <a:cubicBezTo>
                    <a:pt x="0" y="25"/>
                    <a:pt x="0" y="25"/>
                    <a:pt x="0" y="25"/>
                  </a:cubicBezTo>
                  <a:cubicBezTo>
                    <a:pt x="0" y="24"/>
                    <a:pt x="1" y="23"/>
                    <a:pt x="3" y="23"/>
                  </a:cubicBezTo>
                  <a:cubicBezTo>
                    <a:pt x="3" y="23"/>
                    <a:pt x="3" y="23"/>
                    <a:pt x="3" y="23"/>
                  </a:cubicBezTo>
                  <a:cubicBezTo>
                    <a:pt x="3" y="23"/>
                    <a:pt x="4" y="23"/>
                    <a:pt x="5" y="23"/>
                  </a:cubicBezTo>
                  <a:cubicBezTo>
                    <a:pt x="5" y="23"/>
                    <a:pt x="5" y="23"/>
                    <a:pt x="5" y="23"/>
                  </a:cubicBezTo>
                  <a:cubicBezTo>
                    <a:pt x="8" y="23"/>
                    <a:pt x="11" y="23"/>
                    <a:pt x="15" y="21"/>
                  </a:cubicBezTo>
                  <a:cubicBezTo>
                    <a:pt x="15" y="21"/>
                    <a:pt x="15" y="21"/>
                    <a:pt x="15" y="21"/>
                  </a:cubicBezTo>
                  <a:cubicBezTo>
                    <a:pt x="18" y="20"/>
                    <a:pt x="22" y="14"/>
                    <a:pt x="23" y="11"/>
                  </a:cubicBezTo>
                  <a:cubicBezTo>
                    <a:pt x="23" y="11"/>
                    <a:pt x="23" y="11"/>
                    <a:pt x="23" y="11"/>
                  </a:cubicBezTo>
                  <a:cubicBezTo>
                    <a:pt x="23" y="10"/>
                    <a:pt x="23" y="10"/>
                    <a:pt x="23" y="9"/>
                  </a:cubicBezTo>
                  <a:cubicBezTo>
                    <a:pt x="23" y="9"/>
                    <a:pt x="23" y="9"/>
                    <a:pt x="23" y="9"/>
                  </a:cubicBezTo>
                  <a:cubicBezTo>
                    <a:pt x="23" y="8"/>
                    <a:pt x="22" y="6"/>
                    <a:pt x="22" y="5"/>
                  </a:cubicBezTo>
                  <a:cubicBezTo>
                    <a:pt x="22" y="5"/>
                    <a:pt x="22" y="5"/>
                    <a:pt x="22" y="5"/>
                  </a:cubicBezTo>
                  <a:cubicBezTo>
                    <a:pt x="21" y="4"/>
                    <a:pt x="21" y="4"/>
                    <a:pt x="20" y="4"/>
                  </a:cubicBezTo>
                  <a:cubicBezTo>
                    <a:pt x="20" y="4"/>
                    <a:pt x="20" y="4"/>
                    <a:pt x="20" y="4"/>
                  </a:cubicBezTo>
                  <a:cubicBezTo>
                    <a:pt x="20" y="4"/>
                    <a:pt x="20" y="4"/>
                    <a:pt x="20" y="4"/>
                  </a:cubicBezTo>
                  <a:cubicBezTo>
                    <a:pt x="20" y="4"/>
                    <a:pt x="20" y="4"/>
                    <a:pt x="20" y="4"/>
                  </a:cubicBezTo>
                  <a:cubicBezTo>
                    <a:pt x="18" y="4"/>
                    <a:pt x="16" y="7"/>
                    <a:pt x="13" y="10"/>
                  </a:cubicBezTo>
                  <a:cubicBezTo>
                    <a:pt x="13" y="10"/>
                    <a:pt x="13" y="10"/>
                    <a:pt x="13" y="10"/>
                  </a:cubicBezTo>
                  <a:cubicBezTo>
                    <a:pt x="11" y="13"/>
                    <a:pt x="9" y="16"/>
                    <a:pt x="9" y="17"/>
                  </a:cubicBezTo>
                  <a:cubicBezTo>
                    <a:pt x="9" y="17"/>
                    <a:pt x="9" y="17"/>
                    <a:pt x="9" y="17"/>
                  </a:cubicBezTo>
                  <a:cubicBezTo>
                    <a:pt x="8" y="17"/>
                    <a:pt x="7" y="18"/>
                    <a:pt x="6" y="17"/>
                  </a:cubicBezTo>
                  <a:cubicBezTo>
                    <a:pt x="6" y="17"/>
                    <a:pt x="6" y="17"/>
                    <a:pt x="6" y="17"/>
                  </a:cubicBezTo>
                  <a:cubicBezTo>
                    <a:pt x="5" y="16"/>
                    <a:pt x="5" y="15"/>
                    <a:pt x="5" y="14"/>
                  </a:cubicBezTo>
                  <a:cubicBezTo>
                    <a:pt x="5" y="14"/>
                    <a:pt x="5" y="14"/>
                    <a:pt x="5" y="14"/>
                  </a:cubicBezTo>
                  <a:cubicBezTo>
                    <a:pt x="6" y="14"/>
                    <a:pt x="8" y="10"/>
                    <a:pt x="10" y="7"/>
                  </a:cubicBezTo>
                  <a:cubicBezTo>
                    <a:pt x="10" y="7"/>
                    <a:pt x="10" y="7"/>
                    <a:pt x="10" y="7"/>
                  </a:cubicBezTo>
                  <a:cubicBezTo>
                    <a:pt x="13" y="4"/>
                    <a:pt x="15" y="1"/>
                    <a:pt x="19" y="0"/>
                  </a:cubicBezTo>
                  <a:cubicBezTo>
                    <a:pt x="19" y="0"/>
                    <a:pt x="19" y="0"/>
                    <a:pt x="19" y="0"/>
                  </a:cubicBezTo>
                  <a:cubicBezTo>
                    <a:pt x="19" y="0"/>
                    <a:pt x="20" y="0"/>
                    <a:pt x="20" y="0"/>
                  </a:cubicBezTo>
                  <a:cubicBezTo>
                    <a:pt x="20" y="0"/>
                    <a:pt x="20" y="0"/>
                    <a:pt x="20" y="0"/>
                  </a:cubicBezTo>
                  <a:cubicBezTo>
                    <a:pt x="23" y="0"/>
                    <a:pt x="24" y="2"/>
                    <a:pt x="25" y="3"/>
                  </a:cubicBezTo>
                  <a:cubicBezTo>
                    <a:pt x="25" y="3"/>
                    <a:pt x="25" y="3"/>
                    <a:pt x="25" y="3"/>
                  </a:cubicBezTo>
                  <a:cubicBezTo>
                    <a:pt x="26" y="5"/>
                    <a:pt x="27" y="7"/>
                    <a:pt x="27" y="9"/>
                  </a:cubicBezTo>
                  <a:cubicBezTo>
                    <a:pt x="27" y="9"/>
                    <a:pt x="27" y="9"/>
                    <a:pt x="27" y="9"/>
                  </a:cubicBezTo>
                  <a:cubicBezTo>
                    <a:pt x="27" y="10"/>
                    <a:pt x="27" y="11"/>
                    <a:pt x="27" y="12"/>
                  </a:cubicBezTo>
                  <a:cubicBezTo>
                    <a:pt x="27" y="12"/>
                    <a:pt x="27" y="12"/>
                    <a:pt x="27" y="12"/>
                  </a:cubicBezTo>
                  <a:cubicBezTo>
                    <a:pt x="26" y="16"/>
                    <a:pt x="22" y="22"/>
                    <a:pt x="16" y="25"/>
                  </a:cubicBezTo>
                  <a:cubicBezTo>
                    <a:pt x="16" y="25"/>
                    <a:pt x="16" y="25"/>
                    <a:pt x="16" y="25"/>
                  </a:cubicBezTo>
                  <a:cubicBezTo>
                    <a:pt x="12" y="27"/>
                    <a:pt x="8" y="27"/>
                    <a:pt x="5" y="27"/>
                  </a:cubicBezTo>
                  <a:cubicBezTo>
                    <a:pt x="5" y="27"/>
                    <a:pt x="5" y="27"/>
                    <a:pt x="5" y="27"/>
                  </a:cubicBezTo>
                  <a:cubicBezTo>
                    <a:pt x="4" y="27"/>
                    <a:pt x="3" y="27"/>
                    <a:pt x="2" y="27"/>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45" name="Freeform 193"/>
            <p:cNvSpPr>
              <a:spLocks/>
            </p:cNvSpPr>
            <p:nvPr/>
          </p:nvSpPr>
          <p:spPr bwMode="auto">
            <a:xfrm>
              <a:off x="7435850" y="2185988"/>
              <a:ext cx="103188" cy="114300"/>
            </a:xfrm>
            <a:custGeom>
              <a:avLst/>
              <a:gdLst>
                <a:gd name="T0" fmla="*/ 11465 w 9"/>
                <a:gd name="T1" fmla="*/ 114300 h 10"/>
                <a:gd name="T2" fmla="*/ 11465 w 9"/>
                <a:gd name="T3" fmla="*/ 80010 h 10"/>
                <a:gd name="T4" fmla="*/ 11465 w 9"/>
                <a:gd name="T5" fmla="*/ 80010 h 10"/>
                <a:gd name="T6" fmla="*/ 45861 w 9"/>
                <a:gd name="T7" fmla="*/ 45720 h 10"/>
                <a:gd name="T8" fmla="*/ 45861 w 9"/>
                <a:gd name="T9" fmla="*/ 45720 h 10"/>
                <a:gd name="T10" fmla="*/ 57327 w 9"/>
                <a:gd name="T11" fmla="*/ 11430 h 10"/>
                <a:gd name="T12" fmla="*/ 57327 w 9"/>
                <a:gd name="T13" fmla="*/ 11430 h 10"/>
                <a:gd name="T14" fmla="*/ 91723 w 9"/>
                <a:gd name="T15" fmla="*/ 0 h 10"/>
                <a:gd name="T16" fmla="*/ 91723 w 9"/>
                <a:gd name="T17" fmla="*/ 0 h 10"/>
                <a:gd name="T18" fmla="*/ 103188 w 9"/>
                <a:gd name="T19" fmla="*/ 34290 h 10"/>
                <a:gd name="T20" fmla="*/ 103188 w 9"/>
                <a:gd name="T21" fmla="*/ 34290 h 10"/>
                <a:gd name="T22" fmla="*/ 80257 w 9"/>
                <a:gd name="T23" fmla="*/ 80010 h 10"/>
                <a:gd name="T24" fmla="*/ 80257 w 9"/>
                <a:gd name="T25" fmla="*/ 80010 h 10"/>
                <a:gd name="T26" fmla="*/ 45861 w 9"/>
                <a:gd name="T27" fmla="*/ 102870 h 10"/>
                <a:gd name="T28" fmla="*/ 45861 w 9"/>
                <a:gd name="T29" fmla="*/ 102870 h 10"/>
                <a:gd name="T30" fmla="*/ 45861 w 9"/>
                <a:gd name="T31" fmla="*/ 102870 h 10"/>
                <a:gd name="T32" fmla="*/ 22931 w 9"/>
                <a:gd name="T33" fmla="*/ 114300 h 10"/>
                <a:gd name="T34" fmla="*/ 22931 w 9"/>
                <a:gd name="T35" fmla="*/ 114300 h 10"/>
                <a:gd name="T36" fmla="*/ 11465 w 9"/>
                <a:gd name="T37" fmla="*/ 114300 h 1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
                <a:gd name="T58" fmla="*/ 0 h 10"/>
                <a:gd name="T59" fmla="*/ 9 w 9"/>
                <a:gd name="T60" fmla="*/ 10 h 1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 h="10">
                  <a:moveTo>
                    <a:pt x="1" y="10"/>
                  </a:moveTo>
                  <a:cubicBezTo>
                    <a:pt x="0" y="9"/>
                    <a:pt x="0" y="8"/>
                    <a:pt x="1" y="7"/>
                  </a:cubicBezTo>
                  <a:cubicBezTo>
                    <a:pt x="1" y="7"/>
                    <a:pt x="1" y="7"/>
                    <a:pt x="1" y="7"/>
                  </a:cubicBezTo>
                  <a:cubicBezTo>
                    <a:pt x="2" y="5"/>
                    <a:pt x="3" y="5"/>
                    <a:pt x="4" y="4"/>
                  </a:cubicBezTo>
                  <a:cubicBezTo>
                    <a:pt x="4" y="4"/>
                    <a:pt x="4" y="4"/>
                    <a:pt x="4" y="4"/>
                  </a:cubicBezTo>
                  <a:cubicBezTo>
                    <a:pt x="4" y="4"/>
                    <a:pt x="5" y="3"/>
                    <a:pt x="5" y="1"/>
                  </a:cubicBezTo>
                  <a:cubicBezTo>
                    <a:pt x="5" y="1"/>
                    <a:pt x="5" y="1"/>
                    <a:pt x="5" y="1"/>
                  </a:cubicBezTo>
                  <a:cubicBezTo>
                    <a:pt x="6" y="0"/>
                    <a:pt x="7" y="0"/>
                    <a:pt x="8" y="0"/>
                  </a:cubicBezTo>
                  <a:cubicBezTo>
                    <a:pt x="8" y="0"/>
                    <a:pt x="8" y="0"/>
                    <a:pt x="8" y="0"/>
                  </a:cubicBezTo>
                  <a:cubicBezTo>
                    <a:pt x="9" y="0"/>
                    <a:pt x="9" y="1"/>
                    <a:pt x="9" y="3"/>
                  </a:cubicBezTo>
                  <a:cubicBezTo>
                    <a:pt x="9" y="3"/>
                    <a:pt x="9" y="3"/>
                    <a:pt x="9" y="3"/>
                  </a:cubicBezTo>
                  <a:cubicBezTo>
                    <a:pt x="8" y="5"/>
                    <a:pt x="8" y="6"/>
                    <a:pt x="7" y="7"/>
                  </a:cubicBezTo>
                  <a:cubicBezTo>
                    <a:pt x="7" y="7"/>
                    <a:pt x="7" y="7"/>
                    <a:pt x="7" y="7"/>
                  </a:cubicBezTo>
                  <a:cubicBezTo>
                    <a:pt x="6" y="8"/>
                    <a:pt x="5" y="8"/>
                    <a:pt x="4" y="9"/>
                  </a:cubicBezTo>
                  <a:cubicBezTo>
                    <a:pt x="4" y="9"/>
                    <a:pt x="4" y="9"/>
                    <a:pt x="4" y="9"/>
                  </a:cubicBezTo>
                  <a:cubicBezTo>
                    <a:pt x="4" y="9"/>
                    <a:pt x="4" y="9"/>
                    <a:pt x="4" y="9"/>
                  </a:cubicBezTo>
                  <a:cubicBezTo>
                    <a:pt x="3" y="10"/>
                    <a:pt x="3" y="10"/>
                    <a:pt x="2" y="10"/>
                  </a:cubicBezTo>
                  <a:cubicBezTo>
                    <a:pt x="2" y="10"/>
                    <a:pt x="2" y="10"/>
                    <a:pt x="2" y="10"/>
                  </a:cubicBezTo>
                  <a:cubicBezTo>
                    <a:pt x="2" y="10"/>
                    <a:pt x="1" y="10"/>
                    <a:pt x="1" y="10"/>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46" name="Freeform 194"/>
            <p:cNvSpPr>
              <a:spLocks/>
            </p:cNvSpPr>
            <p:nvPr/>
          </p:nvSpPr>
          <p:spPr bwMode="auto">
            <a:xfrm>
              <a:off x="7277100" y="2117726"/>
              <a:ext cx="717550" cy="465137"/>
            </a:xfrm>
            <a:custGeom>
              <a:avLst/>
              <a:gdLst>
                <a:gd name="T0" fmla="*/ 0 w 63"/>
                <a:gd name="T1" fmla="*/ 442447 h 41"/>
                <a:gd name="T2" fmla="*/ 22779 w 63"/>
                <a:gd name="T3" fmla="*/ 419758 h 41"/>
                <a:gd name="T4" fmla="*/ 22779 w 63"/>
                <a:gd name="T5" fmla="*/ 419758 h 41"/>
                <a:gd name="T6" fmla="*/ 364470 w 63"/>
                <a:gd name="T7" fmla="*/ 260931 h 41"/>
                <a:gd name="T8" fmla="*/ 364470 w 63"/>
                <a:gd name="T9" fmla="*/ 260931 h 41"/>
                <a:gd name="T10" fmla="*/ 444198 w 63"/>
                <a:gd name="T11" fmla="*/ 45379 h 41"/>
                <a:gd name="T12" fmla="*/ 444198 w 63"/>
                <a:gd name="T13" fmla="*/ 45379 h 41"/>
                <a:gd name="T14" fmla="*/ 444198 w 63"/>
                <a:gd name="T15" fmla="*/ 22690 h 41"/>
                <a:gd name="T16" fmla="*/ 444198 w 63"/>
                <a:gd name="T17" fmla="*/ 22690 h 41"/>
                <a:gd name="T18" fmla="*/ 466977 w 63"/>
                <a:gd name="T19" fmla="*/ 0 h 41"/>
                <a:gd name="T20" fmla="*/ 466977 w 63"/>
                <a:gd name="T21" fmla="*/ 0 h 41"/>
                <a:gd name="T22" fmla="*/ 489756 w 63"/>
                <a:gd name="T23" fmla="*/ 11345 h 41"/>
                <a:gd name="T24" fmla="*/ 489756 w 63"/>
                <a:gd name="T25" fmla="*/ 11345 h 41"/>
                <a:gd name="T26" fmla="*/ 489756 w 63"/>
                <a:gd name="T27" fmla="*/ 22690 h 41"/>
                <a:gd name="T28" fmla="*/ 489756 w 63"/>
                <a:gd name="T29" fmla="*/ 22690 h 41"/>
                <a:gd name="T30" fmla="*/ 501146 w 63"/>
                <a:gd name="T31" fmla="*/ 34034 h 41"/>
                <a:gd name="T32" fmla="*/ 501146 w 63"/>
                <a:gd name="T33" fmla="*/ 34034 h 41"/>
                <a:gd name="T34" fmla="*/ 535315 w 63"/>
                <a:gd name="T35" fmla="*/ 102103 h 41"/>
                <a:gd name="T36" fmla="*/ 535315 w 63"/>
                <a:gd name="T37" fmla="*/ 102103 h 41"/>
                <a:gd name="T38" fmla="*/ 694771 w 63"/>
                <a:gd name="T39" fmla="*/ 272275 h 41"/>
                <a:gd name="T40" fmla="*/ 694771 w 63"/>
                <a:gd name="T41" fmla="*/ 272275 h 41"/>
                <a:gd name="T42" fmla="*/ 706160 w 63"/>
                <a:gd name="T43" fmla="*/ 294965 h 41"/>
                <a:gd name="T44" fmla="*/ 706160 w 63"/>
                <a:gd name="T45" fmla="*/ 294965 h 41"/>
                <a:gd name="T46" fmla="*/ 671991 w 63"/>
                <a:gd name="T47" fmla="*/ 306310 h 41"/>
                <a:gd name="T48" fmla="*/ 671991 w 63"/>
                <a:gd name="T49" fmla="*/ 306310 h 41"/>
                <a:gd name="T50" fmla="*/ 478367 w 63"/>
                <a:gd name="T51" fmla="*/ 113448 h 41"/>
                <a:gd name="T52" fmla="*/ 478367 w 63"/>
                <a:gd name="T53" fmla="*/ 113448 h 41"/>
                <a:gd name="T54" fmla="*/ 398639 w 63"/>
                <a:gd name="T55" fmla="*/ 283620 h 41"/>
                <a:gd name="T56" fmla="*/ 398639 w 63"/>
                <a:gd name="T57" fmla="*/ 283620 h 41"/>
                <a:gd name="T58" fmla="*/ 22779 w 63"/>
                <a:gd name="T59" fmla="*/ 465137 h 41"/>
                <a:gd name="T60" fmla="*/ 22779 w 63"/>
                <a:gd name="T61" fmla="*/ 465137 h 41"/>
                <a:gd name="T62" fmla="*/ 22779 w 63"/>
                <a:gd name="T63" fmla="*/ 465137 h 41"/>
                <a:gd name="T64" fmla="*/ 22779 w 63"/>
                <a:gd name="T65" fmla="*/ 465137 h 41"/>
                <a:gd name="T66" fmla="*/ 0 w 63"/>
                <a:gd name="T67" fmla="*/ 442447 h 4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3"/>
                <a:gd name="T103" fmla="*/ 0 h 41"/>
                <a:gd name="T104" fmla="*/ 63 w 63"/>
                <a:gd name="T105" fmla="*/ 41 h 4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3" h="41">
                  <a:moveTo>
                    <a:pt x="0" y="39"/>
                  </a:moveTo>
                  <a:cubicBezTo>
                    <a:pt x="0" y="38"/>
                    <a:pt x="1" y="37"/>
                    <a:pt x="2" y="37"/>
                  </a:cubicBezTo>
                  <a:cubicBezTo>
                    <a:pt x="2" y="37"/>
                    <a:pt x="2" y="37"/>
                    <a:pt x="2" y="37"/>
                  </a:cubicBezTo>
                  <a:cubicBezTo>
                    <a:pt x="18" y="35"/>
                    <a:pt x="27" y="29"/>
                    <a:pt x="32" y="23"/>
                  </a:cubicBezTo>
                  <a:cubicBezTo>
                    <a:pt x="32" y="23"/>
                    <a:pt x="32" y="23"/>
                    <a:pt x="32" y="23"/>
                  </a:cubicBezTo>
                  <a:cubicBezTo>
                    <a:pt x="38" y="16"/>
                    <a:pt x="39" y="8"/>
                    <a:pt x="39" y="4"/>
                  </a:cubicBezTo>
                  <a:cubicBezTo>
                    <a:pt x="39" y="4"/>
                    <a:pt x="39" y="4"/>
                    <a:pt x="39" y="4"/>
                  </a:cubicBezTo>
                  <a:cubicBezTo>
                    <a:pt x="39" y="3"/>
                    <a:pt x="39" y="2"/>
                    <a:pt x="39" y="2"/>
                  </a:cubicBezTo>
                  <a:cubicBezTo>
                    <a:pt x="39" y="2"/>
                    <a:pt x="39" y="2"/>
                    <a:pt x="39" y="2"/>
                  </a:cubicBezTo>
                  <a:cubicBezTo>
                    <a:pt x="39" y="1"/>
                    <a:pt x="40" y="0"/>
                    <a:pt x="41" y="0"/>
                  </a:cubicBezTo>
                  <a:cubicBezTo>
                    <a:pt x="41" y="0"/>
                    <a:pt x="41" y="0"/>
                    <a:pt x="41" y="0"/>
                  </a:cubicBezTo>
                  <a:cubicBezTo>
                    <a:pt x="42" y="0"/>
                    <a:pt x="43" y="0"/>
                    <a:pt x="43" y="1"/>
                  </a:cubicBezTo>
                  <a:cubicBezTo>
                    <a:pt x="43" y="1"/>
                    <a:pt x="43" y="1"/>
                    <a:pt x="43" y="1"/>
                  </a:cubicBezTo>
                  <a:cubicBezTo>
                    <a:pt x="43" y="1"/>
                    <a:pt x="43" y="1"/>
                    <a:pt x="43" y="2"/>
                  </a:cubicBezTo>
                  <a:cubicBezTo>
                    <a:pt x="43" y="2"/>
                    <a:pt x="43" y="2"/>
                    <a:pt x="43" y="2"/>
                  </a:cubicBezTo>
                  <a:cubicBezTo>
                    <a:pt x="43" y="2"/>
                    <a:pt x="43" y="3"/>
                    <a:pt x="44" y="3"/>
                  </a:cubicBezTo>
                  <a:cubicBezTo>
                    <a:pt x="44" y="3"/>
                    <a:pt x="44" y="3"/>
                    <a:pt x="44" y="3"/>
                  </a:cubicBezTo>
                  <a:cubicBezTo>
                    <a:pt x="44" y="5"/>
                    <a:pt x="45" y="7"/>
                    <a:pt x="47" y="9"/>
                  </a:cubicBezTo>
                  <a:cubicBezTo>
                    <a:pt x="47" y="9"/>
                    <a:pt x="47" y="9"/>
                    <a:pt x="47" y="9"/>
                  </a:cubicBezTo>
                  <a:cubicBezTo>
                    <a:pt x="50" y="14"/>
                    <a:pt x="54" y="19"/>
                    <a:pt x="61" y="24"/>
                  </a:cubicBezTo>
                  <a:cubicBezTo>
                    <a:pt x="61" y="24"/>
                    <a:pt x="61" y="24"/>
                    <a:pt x="61" y="24"/>
                  </a:cubicBezTo>
                  <a:cubicBezTo>
                    <a:pt x="62" y="24"/>
                    <a:pt x="63" y="25"/>
                    <a:pt x="62" y="26"/>
                  </a:cubicBezTo>
                  <a:cubicBezTo>
                    <a:pt x="62" y="26"/>
                    <a:pt x="62" y="26"/>
                    <a:pt x="62" y="26"/>
                  </a:cubicBezTo>
                  <a:cubicBezTo>
                    <a:pt x="61" y="27"/>
                    <a:pt x="60" y="27"/>
                    <a:pt x="59" y="27"/>
                  </a:cubicBezTo>
                  <a:cubicBezTo>
                    <a:pt x="59" y="27"/>
                    <a:pt x="59" y="27"/>
                    <a:pt x="59" y="27"/>
                  </a:cubicBezTo>
                  <a:cubicBezTo>
                    <a:pt x="51" y="22"/>
                    <a:pt x="45" y="15"/>
                    <a:pt x="42" y="10"/>
                  </a:cubicBezTo>
                  <a:cubicBezTo>
                    <a:pt x="42" y="10"/>
                    <a:pt x="42" y="10"/>
                    <a:pt x="42" y="10"/>
                  </a:cubicBezTo>
                  <a:cubicBezTo>
                    <a:pt x="41" y="14"/>
                    <a:pt x="39" y="20"/>
                    <a:pt x="35" y="25"/>
                  </a:cubicBezTo>
                  <a:cubicBezTo>
                    <a:pt x="35" y="25"/>
                    <a:pt x="35" y="25"/>
                    <a:pt x="35" y="25"/>
                  </a:cubicBezTo>
                  <a:cubicBezTo>
                    <a:pt x="29" y="33"/>
                    <a:pt x="19" y="39"/>
                    <a:pt x="2" y="41"/>
                  </a:cubicBezTo>
                  <a:cubicBezTo>
                    <a:pt x="2" y="41"/>
                    <a:pt x="2" y="41"/>
                    <a:pt x="2" y="41"/>
                  </a:cubicBezTo>
                  <a:cubicBezTo>
                    <a:pt x="2" y="41"/>
                    <a:pt x="2" y="41"/>
                    <a:pt x="2" y="41"/>
                  </a:cubicBezTo>
                  <a:cubicBezTo>
                    <a:pt x="2" y="41"/>
                    <a:pt x="2" y="41"/>
                    <a:pt x="2" y="41"/>
                  </a:cubicBezTo>
                  <a:cubicBezTo>
                    <a:pt x="1" y="41"/>
                    <a:pt x="0" y="40"/>
                    <a:pt x="0" y="39"/>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47" name="Freeform 195"/>
            <p:cNvSpPr>
              <a:spLocks/>
            </p:cNvSpPr>
            <p:nvPr/>
          </p:nvSpPr>
          <p:spPr bwMode="auto">
            <a:xfrm>
              <a:off x="7413625" y="2617788"/>
              <a:ext cx="387350" cy="112712"/>
            </a:xfrm>
            <a:custGeom>
              <a:avLst/>
              <a:gdLst>
                <a:gd name="T0" fmla="*/ 0 w 34"/>
                <a:gd name="T1" fmla="*/ 101441 h 10"/>
                <a:gd name="T2" fmla="*/ 11393 w 34"/>
                <a:gd name="T3" fmla="*/ 78898 h 10"/>
                <a:gd name="T4" fmla="*/ 11393 w 34"/>
                <a:gd name="T5" fmla="*/ 78898 h 10"/>
                <a:gd name="T6" fmla="*/ 227853 w 34"/>
                <a:gd name="T7" fmla="*/ 0 h 10"/>
                <a:gd name="T8" fmla="*/ 227853 w 34"/>
                <a:gd name="T9" fmla="*/ 0 h 10"/>
                <a:gd name="T10" fmla="*/ 364565 w 34"/>
                <a:gd name="T11" fmla="*/ 33814 h 10"/>
                <a:gd name="T12" fmla="*/ 364565 w 34"/>
                <a:gd name="T13" fmla="*/ 33814 h 10"/>
                <a:gd name="T14" fmla="*/ 375957 w 34"/>
                <a:gd name="T15" fmla="*/ 67627 h 10"/>
                <a:gd name="T16" fmla="*/ 375957 w 34"/>
                <a:gd name="T17" fmla="*/ 67627 h 10"/>
                <a:gd name="T18" fmla="*/ 341779 w 34"/>
                <a:gd name="T19" fmla="*/ 78898 h 10"/>
                <a:gd name="T20" fmla="*/ 341779 w 34"/>
                <a:gd name="T21" fmla="*/ 78898 h 10"/>
                <a:gd name="T22" fmla="*/ 227853 w 34"/>
                <a:gd name="T23" fmla="*/ 45085 h 10"/>
                <a:gd name="T24" fmla="*/ 227853 w 34"/>
                <a:gd name="T25" fmla="*/ 45085 h 10"/>
                <a:gd name="T26" fmla="*/ 34178 w 34"/>
                <a:gd name="T27" fmla="*/ 112712 h 10"/>
                <a:gd name="T28" fmla="*/ 34178 w 34"/>
                <a:gd name="T29" fmla="*/ 112712 h 10"/>
                <a:gd name="T30" fmla="*/ 22785 w 34"/>
                <a:gd name="T31" fmla="*/ 112712 h 10"/>
                <a:gd name="T32" fmla="*/ 22785 w 34"/>
                <a:gd name="T33" fmla="*/ 112712 h 10"/>
                <a:gd name="T34" fmla="*/ 0 w 34"/>
                <a:gd name="T35" fmla="*/ 101441 h 1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4"/>
                <a:gd name="T55" fmla="*/ 0 h 10"/>
                <a:gd name="T56" fmla="*/ 34 w 34"/>
                <a:gd name="T57" fmla="*/ 10 h 1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4" h="10">
                  <a:moveTo>
                    <a:pt x="0" y="9"/>
                  </a:moveTo>
                  <a:cubicBezTo>
                    <a:pt x="0" y="8"/>
                    <a:pt x="0" y="7"/>
                    <a:pt x="1" y="7"/>
                  </a:cubicBezTo>
                  <a:cubicBezTo>
                    <a:pt x="1" y="7"/>
                    <a:pt x="1" y="7"/>
                    <a:pt x="1" y="7"/>
                  </a:cubicBezTo>
                  <a:cubicBezTo>
                    <a:pt x="6" y="4"/>
                    <a:pt x="13" y="0"/>
                    <a:pt x="20" y="0"/>
                  </a:cubicBezTo>
                  <a:cubicBezTo>
                    <a:pt x="20" y="0"/>
                    <a:pt x="20" y="0"/>
                    <a:pt x="20" y="0"/>
                  </a:cubicBezTo>
                  <a:cubicBezTo>
                    <a:pt x="24" y="0"/>
                    <a:pt x="28" y="1"/>
                    <a:pt x="32" y="3"/>
                  </a:cubicBezTo>
                  <a:cubicBezTo>
                    <a:pt x="32" y="3"/>
                    <a:pt x="32" y="3"/>
                    <a:pt x="32" y="3"/>
                  </a:cubicBezTo>
                  <a:cubicBezTo>
                    <a:pt x="33" y="4"/>
                    <a:pt x="34" y="5"/>
                    <a:pt x="33" y="6"/>
                  </a:cubicBezTo>
                  <a:cubicBezTo>
                    <a:pt x="33" y="6"/>
                    <a:pt x="33" y="6"/>
                    <a:pt x="33" y="6"/>
                  </a:cubicBezTo>
                  <a:cubicBezTo>
                    <a:pt x="32" y="7"/>
                    <a:pt x="31" y="7"/>
                    <a:pt x="30" y="7"/>
                  </a:cubicBezTo>
                  <a:cubicBezTo>
                    <a:pt x="30" y="7"/>
                    <a:pt x="30" y="7"/>
                    <a:pt x="30" y="7"/>
                  </a:cubicBezTo>
                  <a:cubicBezTo>
                    <a:pt x="27" y="5"/>
                    <a:pt x="24" y="4"/>
                    <a:pt x="20" y="4"/>
                  </a:cubicBezTo>
                  <a:cubicBezTo>
                    <a:pt x="20" y="4"/>
                    <a:pt x="20" y="4"/>
                    <a:pt x="20" y="4"/>
                  </a:cubicBezTo>
                  <a:cubicBezTo>
                    <a:pt x="14" y="4"/>
                    <a:pt x="8" y="7"/>
                    <a:pt x="3" y="10"/>
                  </a:cubicBezTo>
                  <a:cubicBezTo>
                    <a:pt x="3" y="10"/>
                    <a:pt x="3" y="10"/>
                    <a:pt x="3" y="10"/>
                  </a:cubicBezTo>
                  <a:cubicBezTo>
                    <a:pt x="3" y="10"/>
                    <a:pt x="3" y="10"/>
                    <a:pt x="2" y="10"/>
                  </a:cubicBezTo>
                  <a:cubicBezTo>
                    <a:pt x="2" y="10"/>
                    <a:pt x="2" y="10"/>
                    <a:pt x="2" y="10"/>
                  </a:cubicBezTo>
                  <a:cubicBezTo>
                    <a:pt x="2" y="10"/>
                    <a:pt x="1" y="10"/>
                    <a:pt x="0" y="9"/>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48" name="Freeform 196"/>
            <p:cNvSpPr>
              <a:spLocks/>
            </p:cNvSpPr>
            <p:nvPr/>
          </p:nvSpPr>
          <p:spPr bwMode="auto">
            <a:xfrm>
              <a:off x="7675563" y="2527301"/>
              <a:ext cx="171450" cy="123825"/>
            </a:xfrm>
            <a:custGeom>
              <a:avLst/>
              <a:gdLst>
                <a:gd name="T0" fmla="*/ 137160 w 15"/>
                <a:gd name="T1" fmla="*/ 112568 h 11"/>
                <a:gd name="T2" fmla="*/ 68580 w 15"/>
                <a:gd name="T3" fmla="*/ 67541 h 11"/>
                <a:gd name="T4" fmla="*/ 68580 w 15"/>
                <a:gd name="T5" fmla="*/ 67541 h 11"/>
                <a:gd name="T6" fmla="*/ 22860 w 15"/>
                <a:gd name="T7" fmla="*/ 45027 h 11"/>
                <a:gd name="T8" fmla="*/ 22860 w 15"/>
                <a:gd name="T9" fmla="*/ 45027 h 11"/>
                <a:gd name="T10" fmla="*/ 11430 w 15"/>
                <a:gd name="T11" fmla="*/ 22514 h 11"/>
                <a:gd name="T12" fmla="*/ 11430 w 15"/>
                <a:gd name="T13" fmla="*/ 22514 h 11"/>
                <a:gd name="T14" fmla="*/ 34290 w 15"/>
                <a:gd name="T15" fmla="*/ 11257 h 11"/>
                <a:gd name="T16" fmla="*/ 34290 w 15"/>
                <a:gd name="T17" fmla="*/ 11257 h 11"/>
                <a:gd name="T18" fmla="*/ 91440 w 15"/>
                <a:gd name="T19" fmla="*/ 33770 h 11"/>
                <a:gd name="T20" fmla="*/ 91440 w 15"/>
                <a:gd name="T21" fmla="*/ 33770 h 11"/>
                <a:gd name="T22" fmla="*/ 171450 w 15"/>
                <a:gd name="T23" fmla="*/ 78798 h 11"/>
                <a:gd name="T24" fmla="*/ 171450 w 15"/>
                <a:gd name="T25" fmla="*/ 78798 h 11"/>
                <a:gd name="T26" fmla="*/ 160020 w 15"/>
                <a:gd name="T27" fmla="*/ 112568 h 11"/>
                <a:gd name="T28" fmla="*/ 160020 w 15"/>
                <a:gd name="T29" fmla="*/ 112568 h 11"/>
                <a:gd name="T30" fmla="*/ 148590 w 15"/>
                <a:gd name="T31" fmla="*/ 123825 h 11"/>
                <a:gd name="T32" fmla="*/ 148590 w 15"/>
                <a:gd name="T33" fmla="*/ 123825 h 11"/>
                <a:gd name="T34" fmla="*/ 137160 w 15"/>
                <a:gd name="T35" fmla="*/ 112568 h 1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5"/>
                <a:gd name="T55" fmla="*/ 0 h 11"/>
                <a:gd name="T56" fmla="*/ 15 w 15"/>
                <a:gd name="T57" fmla="*/ 11 h 1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5" h="11">
                  <a:moveTo>
                    <a:pt x="12" y="10"/>
                  </a:moveTo>
                  <a:cubicBezTo>
                    <a:pt x="11" y="9"/>
                    <a:pt x="8" y="7"/>
                    <a:pt x="6" y="6"/>
                  </a:cubicBezTo>
                  <a:cubicBezTo>
                    <a:pt x="6" y="6"/>
                    <a:pt x="6" y="6"/>
                    <a:pt x="6" y="6"/>
                  </a:cubicBezTo>
                  <a:cubicBezTo>
                    <a:pt x="4" y="5"/>
                    <a:pt x="2" y="4"/>
                    <a:pt x="2" y="4"/>
                  </a:cubicBezTo>
                  <a:cubicBezTo>
                    <a:pt x="2" y="4"/>
                    <a:pt x="2" y="4"/>
                    <a:pt x="2" y="4"/>
                  </a:cubicBezTo>
                  <a:cubicBezTo>
                    <a:pt x="1" y="4"/>
                    <a:pt x="0" y="3"/>
                    <a:pt x="1" y="2"/>
                  </a:cubicBezTo>
                  <a:cubicBezTo>
                    <a:pt x="1" y="2"/>
                    <a:pt x="1" y="2"/>
                    <a:pt x="1" y="2"/>
                  </a:cubicBezTo>
                  <a:cubicBezTo>
                    <a:pt x="1" y="1"/>
                    <a:pt x="2" y="0"/>
                    <a:pt x="3" y="1"/>
                  </a:cubicBezTo>
                  <a:cubicBezTo>
                    <a:pt x="3" y="1"/>
                    <a:pt x="3" y="1"/>
                    <a:pt x="3" y="1"/>
                  </a:cubicBezTo>
                  <a:cubicBezTo>
                    <a:pt x="3" y="1"/>
                    <a:pt x="5" y="1"/>
                    <a:pt x="8" y="3"/>
                  </a:cubicBezTo>
                  <a:cubicBezTo>
                    <a:pt x="8" y="3"/>
                    <a:pt x="8" y="3"/>
                    <a:pt x="8" y="3"/>
                  </a:cubicBezTo>
                  <a:cubicBezTo>
                    <a:pt x="10" y="4"/>
                    <a:pt x="13" y="5"/>
                    <a:pt x="15" y="7"/>
                  </a:cubicBezTo>
                  <a:cubicBezTo>
                    <a:pt x="15" y="7"/>
                    <a:pt x="15" y="7"/>
                    <a:pt x="15" y="7"/>
                  </a:cubicBezTo>
                  <a:cubicBezTo>
                    <a:pt x="15" y="8"/>
                    <a:pt x="15" y="10"/>
                    <a:pt x="14" y="10"/>
                  </a:cubicBezTo>
                  <a:cubicBezTo>
                    <a:pt x="14" y="10"/>
                    <a:pt x="14" y="10"/>
                    <a:pt x="14" y="10"/>
                  </a:cubicBezTo>
                  <a:cubicBezTo>
                    <a:pt x="14" y="11"/>
                    <a:pt x="14" y="11"/>
                    <a:pt x="13" y="11"/>
                  </a:cubicBezTo>
                  <a:cubicBezTo>
                    <a:pt x="13" y="11"/>
                    <a:pt x="13" y="11"/>
                    <a:pt x="13" y="11"/>
                  </a:cubicBezTo>
                  <a:cubicBezTo>
                    <a:pt x="13" y="11"/>
                    <a:pt x="12" y="10"/>
                    <a:pt x="12" y="10"/>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49" name="Freeform 197"/>
            <p:cNvSpPr>
              <a:spLocks/>
            </p:cNvSpPr>
            <p:nvPr/>
          </p:nvSpPr>
          <p:spPr bwMode="auto">
            <a:xfrm>
              <a:off x="7732713" y="2459038"/>
              <a:ext cx="171450" cy="123825"/>
            </a:xfrm>
            <a:custGeom>
              <a:avLst/>
              <a:gdLst>
                <a:gd name="T0" fmla="*/ 137160 w 15"/>
                <a:gd name="T1" fmla="*/ 123825 h 11"/>
                <a:gd name="T2" fmla="*/ 80010 w 15"/>
                <a:gd name="T3" fmla="*/ 67541 h 11"/>
                <a:gd name="T4" fmla="*/ 80010 w 15"/>
                <a:gd name="T5" fmla="*/ 67541 h 11"/>
                <a:gd name="T6" fmla="*/ 22860 w 15"/>
                <a:gd name="T7" fmla="*/ 45027 h 11"/>
                <a:gd name="T8" fmla="*/ 22860 w 15"/>
                <a:gd name="T9" fmla="*/ 45027 h 11"/>
                <a:gd name="T10" fmla="*/ 22860 w 15"/>
                <a:gd name="T11" fmla="*/ 45027 h 11"/>
                <a:gd name="T12" fmla="*/ 0 w 15"/>
                <a:gd name="T13" fmla="*/ 11257 h 11"/>
                <a:gd name="T14" fmla="*/ 0 w 15"/>
                <a:gd name="T15" fmla="*/ 11257 h 11"/>
                <a:gd name="T16" fmla="*/ 34290 w 15"/>
                <a:gd name="T17" fmla="*/ 0 h 11"/>
                <a:gd name="T18" fmla="*/ 34290 w 15"/>
                <a:gd name="T19" fmla="*/ 0 h 11"/>
                <a:gd name="T20" fmla="*/ 102870 w 15"/>
                <a:gd name="T21" fmla="*/ 33770 h 11"/>
                <a:gd name="T22" fmla="*/ 102870 w 15"/>
                <a:gd name="T23" fmla="*/ 33770 h 11"/>
                <a:gd name="T24" fmla="*/ 160020 w 15"/>
                <a:gd name="T25" fmla="*/ 90055 h 11"/>
                <a:gd name="T26" fmla="*/ 160020 w 15"/>
                <a:gd name="T27" fmla="*/ 90055 h 11"/>
                <a:gd name="T28" fmla="*/ 171450 w 15"/>
                <a:gd name="T29" fmla="*/ 112568 h 11"/>
                <a:gd name="T30" fmla="*/ 171450 w 15"/>
                <a:gd name="T31" fmla="*/ 112568 h 11"/>
                <a:gd name="T32" fmla="*/ 148590 w 15"/>
                <a:gd name="T33" fmla="*/ 123825 h 11"/>
                <a:gd name="T34" fmla="*/ 148590 w 15"/>
                <a:gd name="T35" fmla="*/ 123825 h 11"/>
                <a:gd name="T36" fmla="*/ 137160 w 15"/>
                <a:gd name="T37" fmla="*/ 123825 h 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
                <a:gd name="T58" fmla="*/ 0 h 11"/>
                <a:gd name="T59" fmla="*/ 15 w 15"/>
                <a:gd name="T60" fmla="*/ 11 h 1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 h="11">
                  <a:moveTo>
                    <a:pt x="12" y="11"/>
                  </a:moveTo>
                  <a:cubicBezTo>
                    <a:pt x="10" y="9"/>
                    <a:pt x="8" y="7"/>
                    <a:pt x="7" y="6"/>
                  </a:cubicBezTo>
                  <a:cubicBezTo>
                    <a:pt x="7" y="6"/>
                    <a:pt x="7" y="6"/>
                    <a:pt x="7" y="6"/>
                  </a:cubicBezTo>
                  <a:cubicBezTo>
                    <a:pt x="5" y="5"/>
                    <a:pt x="4" y="5"/>
                    <a:pt x="2" y="4"/>
                  </a:cubicBezTo>
                  <a:cubicBezTo>
                    <a:pt x="2" y="4"/>
                    <a:pt x="2" y="4"/>
                    <a:pt x="2" y="4"/>
                  </a:cubicBezTo>
                  <a:cubicBezTo>
                    <a:pt x="2" y="4"/>
                    <a:pt x="2" y="4"/>
                    <a:pt x="2" y="4"/>
                  </a:cubicBezTo>
                  <a:cubicBezTo>
                    <a:pt x="1" y="4"/>
                    <a:pt x="0" y="3"/>
                    <a:pt x="0" y="1"/>
                  </a:cubicBezTo>
                  <a:cubicBezTo>
                    <a:pt x="0" y="1"/>
                    <a:pt x="0" y="1"/>
                    <a:pt x="0" y="1"/>
                  </a:cubicBezTo>
                  <a:cubicBezTo>
                    <a:pt x="1" y="0"/>
                    <a:pt x="2" y="0"/>
                    <a:pt x="3" y="0"/>
                  </a:cubicBezTo>
                  <a:cubicBezTo>
                    <a:pt x="3" y="0"/>
                    <a:pt x="3" y="0"/>
                    <a:pt x="3" y="0"/>
                  </a:cubicBezTo>
                  <a:cubicBezTo>
                    <a:pt x="6" y="1"/>
                    <a:pt x="8" y="2"/>
                    <a:pt x="9" y="3"/>
                  </a:cubicBezTo>
                  <a:cubicBezTo>
                    <a:pt x="9" y="3"/>
                    <a:pt x="9" y="3"/>
                    <a:pt x="9" y="3"/>
                  </a:cubicBezTo>
                  <a:cubicBezTo>
                    <a:pt x="11" y="5"/>
                    <a:pt x="12" y="6"/>
                    <a:pt x="14" y="8"/>
                  </a:cubicBezTo>
                  <a:cubicBezTo>
                    <a:pt x="14" y="8"/>
                    <a:pt x="14" y="8"/>
                    <a:pt x="14" y="8"/>
                  </a:cubicBezTo>
                  <a:cubicBezTo>
                    <a:pt x="15" y="8"/>
                    <a:pt x="15" y="10"/>
                    <a:pt x="15" y="10"/>
                  </a:cubicBezTo>
                  <a:cubicBezTo>
                    <a:pt x="15" y="10"/>
                    <a:pt x="15" y="10"/>
                    <a:pt x="15" y="10"/>
                  </a:cubicBezTo>
                  <a:cubicBezTo>
                    <a:pt x="14" y="11"/>
                    <a:pt x="14" y="11"/>
                    <a:pt x="13" y="11"/>
                  </a:cubicBezTo>
                  <a:cubicBezTo>
                    <a:pt x="13" y="11"/>
                    <a:pt x="13" y="11"/>
                    <a:pt x="13" y="11"/>
                  </a:cubicBezTo>
                  <a:cubicBezTo>
                    <a:pt x="13" y="11"/>
                    <a:pt x="12" y="11"/>
                    <a:pt x="12" y="11"/>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50" name="Freeform 198"/>
            <p:cNvSpPr>
              <a:spLocks/>
            </p:cNvSpPr>
            <p:nvPr/>
          </p:nvSpPr>
          <p:spPr bwMode="auto">
            <a:xfrm>
              <a:off x="7585075" y="1912937"/>
              <a:ext cx="420688" cy="442912"/>
            </a:xfrm>
            <a:custGeom>
              <a:avLst/>
              <a:gdLst>
                <a:gd name="T0" fmla="*/ 386578 w 37"/>
                <a:gd name="T1" fmla="*/ 431555 h 39"/>
                <a:gd name="T2" fmla="*/ 204659 w 37"/>
                <a:gd name="T3" fmla="*/ 193064 h 39"/>
                <a:gd name="T4" fmla="*/ 204659 w 37"/>
                <a:gd name="T5" fmla="*/ 193064 h 39"/>
                <a:gd name="T6" fmla="*/ 147809 w 37"/>
                <a:gd name="T7" fmla="*/ 79497 h 39"/>
                <a:gd name="T8" fmla="*/ 147809 w 37"/>
                <a:gd name="T9" fmla="*/ 79497 h 39"/>
                <a:gd name="T10" fmla="*/ 34110 w 37"/>
                <a:gd name="T11" fmla="*/ 45427 h 39"/>
                <a:gd name="T12" fmla="*/ 34110 w 37"/>
                <a:gd name="T13" fmla="*/ 45427 h 39"/>
                <a:gd name="T14" fmla="*/ 22740 w 37"/>
                <a:gd name="T15" fmla="*/ 45427 h 39"/>
                <a:gd name="T16" fmla="*/ 22740 w 37"/>
                <a:gd name="T17" fmla="*/ 45427 h 39"/>
                <a:gd name="T18" fmla="*/ 0 w 37"/>
                <a:gd name="T19" fmla="*/ 22713 h 39"/>
                <a:gd name="T20" fmla="*/ 0 w 37"/>
                <a:gd name="T21" fmla="*/ 22713 h 39"/>
                <a:gd name="T22" fmla="*/ 22740 w 37"/>
                <a:gd name="T23" fmla="*/ 0 h 39"/>
                <a:gd name="T24" fmla="*/ 22740 w 37"/>
                <a:gd name="T25" fmla="*/ 0 h 39"/>
                <a:gd name="T26" fmla="*/ 34110 w 37"/>
                <a:gd name="T27" fmla="*/ 0 h 39"/>
                <a:gd name="T28" fmla="*/ 34110 w 37"/>
                <a:gd name="T29" fmla="*/ 0 h 39"/>
                <a:gd name="T30" fmla="*/ 181919 w 37"/>
                <a:gd name="T31" fmla="*/ 56784 h 39"/>
                <a:gd name="T32" fmla="*/ 181919 w 37"/>
                <a:gd name="T33" fmla="*/ 56784 h 39"/>
                <a:gd name="T34" fmla="*/ 250139 w 37"/>
                <a:gd name="T35" fmla="*/ 170351 h 39"/>
                <a:gd name="T36" fmla="*/ 250139 w 37"/>
                <a:gd name="T37" fmla="*/ 170351 h 39"/>
                <a:gd name="T38" fmla="*/ 409318 w 37"/>
                <a:gd name="T39" fmla="*/ 397485 h 39"/>
                <a:gd name="T40" fmla="*/ 409318 w 37"/>
                <a:gd name="T41" fmla="*/ 397485 h 39"/>
                <a:gd name="T42" fmla="*/ 409318 w 37"/>
                <a:gd name="T43" fmla="*/ 431555 h 39"/>
                <a:gd name="T44" fmla="*/ 409318 w 37"/>
                <a:gd name="T45" fmla="*/ 431555 h 39"/>
                <a:gd name="T46" fmla="*/ 397948 w 37"/>
                <a:gd name="T47" fmla="*/ 442912 h 39"/>
                <a:gd name="T48" fmla="*/ 397948 w 37"/>
                <a:gd name="T49" fmla="*/ 442912 h 39"/>
                <a:gd name="T50" fmla="*/ 386578 w 37"/>
                <a:gd name="T51" fmla="*/ 431555 h 3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7"/>
                <a:gd name="T79" fmla="*/ 0 h 39"/>
                <a:gd name="T80" fmla="*/ 37 w 37"/>
                <a:gd name="T81" fmla="*/ 39 h 3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7" h="39">
                  <a:moveTo>
                    <a:pt x="34" y="38"/>
                  </a:moveTo>
                  <a:cubicBezTo>
                    <a:pt x="26" y="32"/>
                    <a:pt x="23" y="26"/>
                    <a:pt x="18" y="17"/>
                  </a:cubicBezTo>
                  <a:cubicBezTo>
                    <a:pt x="18" y="17"/>
                    <a:pt x="18" y="17"/>
                    <a:pt x="18" y="17"/>
                  </a:cubicBezTo>
                  <a:cubicBezTo>
                    <a:pt x="16" y="13"/>
                    <a:pt x="15" y="10"/>
                    <a:pt x="13" y="7"/>
                  </a:cubicBezTo>
                  <a:cubicBezTo>
                    <a:pt x="13" y="7"/>
                    <a:pt x="13" y="7"/>
                    <a:pt x="13" y="7"/>
                  </a:cubicBezTo>
                  <a:cubicBezTo>
                    <a:pt x="11" y="5"/>
                    <a:pt x="8" y="4"/>
                    <a:pt x="3" y="4"/>
                  </a:cubicBezTo>
                  <a:cubicBezTo>
                    <a:pt x="3" y="4"/>
                    <a:pt x="3" y="4"/>
                    <a:pt x="3" y="4"/>
                  </a:cubicBezTo>
                  <a:cubicBezTo>
                    <a:pt x="3" y="4"/>
                    <a:pt x="2" y="4"/>
                    <a:pt x="2" y="4"/>
                  </a:cubicBezTo>
                  <a:cubicBezTo>
                    <a:pt x="2" y="4"/>
                    <a:pt x="2" y="4"/>
                    <a:pt x="2" y="4"/>
                  </a:cubicBezTo>
                  <a:cubicBezTo>
                    <a:pt x="1" y="4"/>
                    <a:pt x="0" y="3"/>
                    <a:pt x="0" y="2"/>
                  </a:cubicBezTo>
                  <a:cubicBezTo>
                    <a:pt x="0" y="2"/>
                    <a:pt x="0" y="2"/>
                    <a:pt x="0" y="2"/>
                  </a:cubicBezTo>
                  <a:cubicBezTo>
                    <a:pt x="0" y="1"/>
                    <a:pt x="1" y="0"/>
                    <a:pt x="2" y="0"/>
                  </a:cubicBezTo>
                  <a:cubicBezTo>
                    <a:pt x="2" y="0"/>
                    <a:pt x="2" y="0"/>
                    <a:pt x="2" y="0"/>
                  </a:cubicBezTo>
                  <a:cubicBezTo>
                    <a:pt x="2" y="0"/>
                    <a:pt x="3" y="0"/>
                    <a:pt x="3" y="0"/>
                  </a:cubicBezTo>
                  <a:cubicBezTo>
                    <a:pt x="3" y="0"/>
                    <a:pt x="3" y="0"/>
                    <a:pt x="3" y="0"/>
                  </a:cubicBezTo>
                  <a:cubicBezTo>
                    <a:pt x="9" y="0"/>
                    <a:pt x="13" y="2"/>
                    <a:pt x="16" y="5"/>
                  </a:cubicBezTo>
                  <a:cubicBezTo>
                    <a:pt x="16" y="5"/>
                    <a:pt x="16" y="5"/>
                    <a:pt x="16" y="5"/>
                  </a:cubicBezTo>
                  <a:cubicBezTo>
                    <a:pt x="18" y="8"/>
                    <a:pt x="20" y="12"/>
                    <a:pt x="22" y="15"/>
                  </a:cubicBezTo>
                  <a:cubicBezTo>
                    <a:pt x="22" y="15"/>
                    <a:pt x="22" y="15"/>
                    <a:pt x="22" y="15"/>
                  </a:cubicBezTo>
                  <a:cubicBezTo>
                    <a:pt x="26" y="24"/>
                    <a:pt x="29" y="30"/>
                    <a:pt x="36" y="35"/>
                  </a:cubicBezTo>
                  <a:cubicBezTo>
                    <a:pt x="36" y="35"/>
                    <a:pt x="36" y="35"/>
                    <a:pt x="36" y="35"/>
                  </a:cubicBezTo>
                  <a:cubicBezTo>
                    <a:pt x="37" y="36"/>
                    <a:pt x="37" y="37"/>
                    <a:pt x="36" y="38"/>
                  </a:cubicBezTo>
                  <a:cubicBezTo>
                    <a:pt x="36" y="38"/>
                    <a:pt x="36" y="38"/>
                    <a:pt x="36" y="38"/>
                  </a:cubicBezTo>
                  <a:cubicBezTo>
                    <a:pt x="36" y="38"/>
                    <a:pt x="35" y="39"/>
                    <a:pt x="35" y="39"/>
                  </a:cubicBezTo>
                  <a:cubicBezTo>
                    <a:pt x="35" y="39"/>
                    <a:pt x="35" y="39"/>
                    <a:pt x="35" y="39"/>
                  </a:cubicBezTo>
                  <a:cubicBezTo>
                    <a:pt x="34" y="39"/>
                    <a:pt x="34" y="38"/>
                    <a:pt x="34" y="38"/>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51" name="Freeform 199"/>
            <p:cNvSpPr>
              <a:spLocks/>
            </p:cNvSpPr>
            <p:nvPr/>
          </p:nvSpPr>
          <p:spPr bwMode="auto">
            <a:xfrm>
              <a:off x="7185025" y="1833562"/>
              <a:ext cx="844550" cy="442912"/>
            </a:xfrm>
            <a:custGeom>
              <a:avLst/>
              <a:gdLst>
                <a:gd name="T0" fmla="*/ 11413 w 74"/>
                <a:gd name="T1" fmla="*/ 442912 h 39"/>
                <a:gd name="T2" fmla="*/ 11413 w 74"/>
                <a:gd name="T3" fmla="*/ 408842 h 39"/>
                <a:gd name="T4" fmla="*/ 11413 w 74"/>
                <a:gd name="T5" fmla="*/ 408842 h 39"/>
                <a:gd name="T6" fmla="*/ 159780 w 74"/>
                <a:gd name="T7" fmla="*/ 204421 h 39"/>
                <a:gd name="T8" fmla="*/ 159780 w 74"/>
                <a:gd name="T9" fmla="*/ 204421 h 39"/>
                <a:gd name="T10" fmla="*/ 388037 w 74"/>
                <a:gd name="T11" fmla="*/ 11357 h 39"/>
                <a:gd name="T12" fmla="*/ 388037 w 74"/>
                <a:gd name="T13" fmla="*/ 11357 h 39"/>
                <a:gd name="T14" fmla="*/ 467926 w 74"/>
                <a:gd name="T15" fmla="*/ 0 h 39"/>
                <a:gd name="T16" fmla="*/ 467926 w 74"/>
                <a:gd name="T17" fmla="*/ 0 h 39"/>
                <a:gd name="T18" fmla="*/ 627706 w 74"/>
                <a:gd name="T19" fmla="*/ 68140 h 39"/>
                <a:gd name="T20" fmla="*/ 627706 w 74"/>
                <a:gd name="T21" fmla="*/ 68140 h 39"/>
                <a:gd name="T22" fmla="*/ 719009 w 74"/>
                <a:gd name="T23" fmla="*/ 227134 h 39"/>
                <a:gd name="T24" fmla="*/ 719009 w 74"/>
                <a:gd name="T25" fmla="*/ 227134 h 39"/>
                <a:gd name="T26" fmla="*/ 833137 w 74"/>
                <a:gd name="T27" fmla="*/ 386128 h 39"/>
                <a:gd name="T28" fmla="*/ 833137 w 74"/>
                <a:gd name="T29" fmla="*/ 386128 h 39"/>
                <a:gd name="T30" fmla="*/ 833137 w 74"/>
                <a:gd name="T31" fmla="*/ 408842 h 39"/>
                <a:gd name="T32" fmla="*/ 833137 w 74"/>
                <a:gd name="T33" fmla="*/ 408842 h 39"/>
                <a:gd name="T34" fmla="*/ 798899 w 74"/>
                <a:gd name="T35" fmla="*/ 420199 h 39"/>
                <a:gd name="T36" fmla="*/ 798899 w 74"/>
                <a:gd name="T37" fmla="*/ 420199 h 39"/>
                <a:gd name="T38" fmla="*/ 684770 w 74"/>
                <a:gd name="T39" fmla="*/ 249848 h 39"/>
                <a:gd name="T40" fmla="*/ 684770 w 74"/>
                <a:gd name="T41" fmla="*/ 249848 h 39"/>
                <a:gd name="T42" fmla="*/ 593467 w 74"/>
                <a:gd name="T43" fmla="*/ 102210 h 39"/>
                <a:gd name="T44" fmla="*/ 593467 w 74"/>
                <a:gd name="T45" fmla="*/ 102210 h 39"/>
                <a:gd name="T46" fmla="*/ 467926 w 74"/>
                <a:gd name="T47" fmla="*/ 45427 h 39"/>
                <a:gd name="T48" fmla="*/ 467926 w 74"/>
                <a:gd name="T49" fmla="*/ 45427 h 39"/>
                <a:gd name="T50" fmla="*/ 399449 w 74"/>
                <a:gd name="T51" fmla="*/ 45427 h 39"/>
                <a:gd name="T52" fmla="*/ 399449 w 74"/>
                <a:gd name="T53" fmla="*/ 45427 h 39"/>
                <a:gd name="T54" fmla="*/ 194018 w 74"/>
                <a:gd name="T55" fmla="*/ 227134 h 39"/>
                <a:gd name="T56" fmla="*/ 194018 w 74"/>
                <a:gd name="T57" fmla="*/ 227134 h 39"/>
                <a:gd name="T58" fmla="*/ 45651 w 74"/>
                <a:gd name="T59" fmla="*/ 431555 h 39"/>
                <a:gd name="T60" fmla="*/ 45651 w 74"/>
                <a:gd name="T61" fmla="*/ 431555 h 39"/>
                <a:gd name="T62" fmla="*/ 45651 w 74"/>
                <a:gd name="T63" fmla="*/ 431555 h 39"/>
                <a:gd name="T64" fmla="*/ 22826 w 74"/>
                <a:gd name="T65" fmla="*/ 442912 h 39"/>
                <a:gd name="T66" fmla="*/ 22826 w 74"/>
                <a:gd name="T67" fmla="*/ 442912 h 39"/>
                <a:gd name="T68" fmla="*/ 11413 w 74"/>
                <a:gd name="T69" fmla="*/ 442912 h 3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4"/>
                <a:gd name="T106" fmla="*/ 0 h 39"/>
                <a:gd name="T107" fmla="*/ 74 w 74"/>
                <a:gd name="T108" fmla="*/ 39 h 3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4" h="39">
                  <a:moveTo>
                    <a:pt x="1" y="39"/>
                  </a:moveTo>
                  <a:cubicBezTo>
                    <a:pt x="0" y="38"/>
                    <a:pt x="0" y="37"/>
                    <a:pt x="1" y="36"/>
                  </a:cubicBezTo>
                  <a:cubicBezTo>
                    <a:pt x="1" y="36"/>
                    <a:pt x="1" y="36"/>
                    <a:pt x="1" y="36"/>
                  </a:cubicBezTo>
                  <a:cubicBezTo>
                    <a:pt x="3" y="33"/>
                    <a:pt x="8" y="25"/>
                    <a:pt x="14" y="18"/>
                  </a:cubicBezTo>
                  <a:cubicBezTo>
                    <a:pt x="14" y="18"/>
                    <a:pt x="14" y="18"/>
                    <a:pt x="14" y="18"/>
                  </a:cubicBezTo>
                  <a:cubicBezTo>
                    <a:pt x="20" y="10"/>
                    <a:pt x="27" y="3"/>
                    <a:pt x="34" y="1"/>
                  </a:cubicBezTo>
                  <a:cubicBezTo>
                    <a:pt x="34" y="1"/>
                    <a:pt x="34" y="1"/>
                    <a:pt x="34" y="1"/>
                  </a:cubicBezTo>
                  <a:cubicBezTo>
                    <a:pt x="36" y="0"/>
                    <a:pt x="39" y="0"/>
                    <a:pt x="41" y="0"/>
                  </a:cubicBezTo>
                  <a:cubicBezTo>
                    <a:pt x="41" y="0"/>
                    <a:pt x="41" y="0"/>
                    <a:pt x="41" y="0"/>
                  </a:cubicBezTo>
                  <a:cubicBezTo>
                    <a:pt x="46" y="0"/>
                    <a:pt x="51" y="2"/>
                    <a:pt x="55" y="6"/>
                  </a:cubicBezTo>
                  <a:cubicBezTo>
                    <a:pt x="55" y="6"/>
                    <a:pt x="55" y="6"/>
                    <a:pt x="55" y="6"/>
                  </a:cubicBezTo>
                  <a:cubicBezTo>
                    <a:pt x="59" y="10"/>
                    <a:pt x="61" y="15"/>
                    <a:pt x="63" y="20"/>
                  </a:cubicBezTo>
                  <a:cubicBezTo>
                    <a:pt x="63" y="20"/>
                    <a:pt x="63" y="20"/>
                    <a:pt x="63" y="20"/>
                  </a:cubicBezTo>
                  <a:cubicBezTo>
                    <a:pt x="65" y="23"/>
                    <a:pt x="68" y="31"/>
                    <a:pt x="73" y="34"/>
                  </a:cubicBezTo>
                  <a:cubicBezTo>
                    <a:pt x="73" y="34"/>
                    <a:pt x="73" y="34"/>
                    <a:pt x="73" y="34"/>
                  </a:cubicBezTo>
                  <a:cubicBezTo>
                    <a:pt x="73" y="34"/>
                    <a:pt x="74" y="35"/>
                    <a:pt x="73" y="36"/>
                  </a:cubicBezTo>
                  <a:cubicBezTo>
                    <a:pt x="73" y="36"/>
                    <a:pt x="73" y="36"/>
                    <a:pt x="73" y="36"/>
                  </a:cubicBezTo>
                  <a:cubicBezTo>
                    <a:pt x="72" y="37"/>
                    <a:pt x="71" y="37"/>
                    <a:pt x="70" y="37"/>
                  </a:cubicBezTo>
                  <a:cubicBezTo>
                    <a:pt x="70" y="37"/>
                    <a:pt x="70" y="37"/>
                    <a:pt x="70" y="37"/>
                  </a:cubicBezTo>
                  <a:cubicBezTo>
                    <a:pt x="64" y="33"/>
                    <a:pt x="61" y="25"/>
                    <a:pt x="60" y="22"/>
                  </a:cubicBezTo>
                  <a:cubicBezTo>
                    <a:pt x="60" y="22"/>
                    <a:pt x="60" y="22"/>
                    <a:pt x="60" y="22"/>
                  </a:cubicBezTo>
                  <a:cubicBezTo>
                    <a:pt x="58" y="17"/>
                    <a:pt x="55" y="12"/>
                    <a:pt x="52" y="9"/>
                  </a:cubicBezTo>
                  <a:cubicBezTo>
                    <a:pt x="52" y="9"/>
                    <a:pt x="52" y="9"/>
                    <a:pt x="52" y="9"/>
                  </a:cubicBezTo>
                  <a:cubicBezTo>
                    <a:pt x="49" y="6"/>
                    <a:pt x="45" y="4"/>
                    <a:pt x="41" y="4"/>
                  </a:cubicBezTo>
                  <a:cubicBezTo>
                    <a:pt x="41" y="4"/>
                    <a:pt x="41" y="4"/>
                    <a:pt x="41" y="4"/>
                  </a:cubicBezTo>
                  <a:cubicBezTo>
                    <a:pt x="39" y="4"/>
                    <a:pt x="37" y="4"/>
                    <a:pt x="35" y="4"/>
                  </a:cubicBezTo>
                  <a:cubicBezTo>
                    <a:pt x="35" y="4"/>
                    <a:pt x="35" y="4"/>
                    <a:pt x="35" y="4"/>
                  </a:cubicBezTo>
                  <a:cubicBezTo>
                    <a:pt x="29" y="6"/>
                    <a:pt x="23" y="13"/>
                    <a:pt x="17" y="20"/>
                  </a:cubicBezTo>
                  <a:cubicBezTo>
                    <a:pt x="17" y="20"/>
                    <a:pt x="17" y="20"/>
                    <a:pt x="17" y="20"/>
                  </a:cubicBezTo>
                  <a:cubicBezTo>
                    <a:pt x="11" y="27"/>
                    <a:pt x="7" y="35"/>
                    <a:pt x="4" y="38"/>
                  </a:cubicBezTo>
                  <a:cubicBezTo>
                    <a:pt x="4" y="38"/>
                    <a:pt x="4" y="38"/>
                    <a:pt x="4" y="38"/>
                  </a:cubicBezTo>
                  <a:cubicBezTo>
                    <a:pt x="4" y="38"/>
                    <a:pt x="4" y="38"/>
                    <a:pt x="4" y="38"/>
                  </a:cubicBezTo>
                  <a:cubicBezTo>
                    <a:pt x="3" y="39"/>
                    <a:pt x="3" y="39"/>
                    <a:pt x="2" y="39"/>
                  </a:cubicBezTo>
                  <a:cubicBezTo>
                    <a:pt x="2" y="39"/>
                    <a:pt x="2" y="39"/>
                    <a:pt x="2" y="39"/>
                  </a:cubicBezTo>
                  <a:cubicBezTo>
                    <a:pt x="2" y="39"/>
                    <a:pt x="1" y="39"/>
                    <a:pt x="1" y="39"/>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52" name="Freeform 200"/>
            <p:cNvSpPr>
              <a:spLocks/>
            </p:cNvSpPr>
            <p:nvPr/>
          </p:nvSpPr>
          <p:spPr bwMode="auto">
            <a:xfrm>
              <a:off x="7334250" y="1447800"/>
              <a:ext cx="546100" cy="125412"/>
            </a:xfrm>
            <a:custGeom>
              <a:avLst/>
              <a:gdLst>
                <a:gd name="T0" fmla="*/ 511969 w 48"/>
                <a:gd name="T1" fmla="*/ 125412 h 11"/>
                <a:gd name="T2" fmla="*/ 261673 w 48"/>
                <a:gd name="T3" fmla="*/ 45604 h 11"/>
                <a:gd name="T4" fmla="*/ 261673 w 48"/>
                <a:gd name="T5" fmla="*/ 45604 h 11"/>
                <a:gd name="T6" fmla="*/ 261673 w 48"/>
                <a:gd name="T7" fmla="*/ 45604 h 11"/>
                <a:gd name="T8" fmla="*/ 261673 w 48"/>
                <a:gd name="T9" fmla="*/ 45604 h 11"/>
                <a:gd name="T10" fmla="*/ 34131 w 48"/>
                <a:gd name="T11" fmla="*/ 114011 h 11"/>
                <a:gd name="T12" fmla="*/ 34131 w 48"/>
                <a:gd name="T13" fmla="*/ 114011 h 11"/>
                <a:gd name="T14" fmla="*/ 34131 w 48"/>
                <a:gd name="T15" fmla="*/ 114011 h 11"/>
                <a:gd name="T16" fmla="*/ 0 w 48"/>
                <a:gd name="T17" fmla="*/ 102610 h 11"/>
                <a:gd name="T18" fmla="*/ 0 w 48"/>
                <a:gd name="T19" fmla="*/ 102610 h 11"/>
                <a:gd name="T20" fmla="*/ 11377 w 48"/>
                <a:gd name="T21" fmla="*/ 79808 h 11"/>
                <a:gd name="T22" fmla="*/ 11377 w 48"/>
                <a:gd name="T23" fmla="*/ 79808 h 11"/>
                <a:gd name="T24" fmla="*/ 261673 w 48"/>
                <a:gd name="T25" fmla="*/ 0 h 11"/>
                <a:gd name="T26" fmla="*/ 261673 w 48"/>
                <a:gd name="T27" fmla="*/ 0 h 11"/>
                <a:gd name="T28" fmla="*/ 261673 w 48"/>
                <a:gd name="T29" fmla="*/ 0 h 11"/>
                <a:gd name="T30" fmla="*/ 261673 w 48"/>
                <a:gd name="T31" fmla="*/ 0 h 11"/>
                <a:gd name="T32" fmla="*/ 534723 w 48"/>
                <a:gd name="T33" fmla="*/ 91209 h 11"/>
                <a:gd name="T34" fmla="*/ 534723 w 48"/>
                <a:gd name="T35" fmla="*/ 91209 h 11"/>
                <a:gd name="T36" fmla="*/ 546100 w 48"/>
                <a:gd name="T37" fmla="*/ 125412 h 11"/>
                <a:gd name="T38" fmla="*/ 546100 w 48"/>
                <a:gd name="T39" fmla="*/ 125412 h 11"/>
                <a:gd name="T40" fmla="*/ 523346 w 48"/>
                <a:gd name="T41" fmla="*/ 125412 h 11"/>
                <a:gd name="T42" fmla="*/ 523346 w 48"/>
                <a:gd name="T43" fmla="*/ 125412 h 11"/>
                <a:gd name="T44" fmla="*/ 511969 w 48"/>
                <a:gd name="T45" fmla="*/ 125412 h 1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8"/>
                <a:gd name="T70" fmla="*/ 0 h 11"/>
                <a:gd name="T71" fmla="*/ 48 w 48"/>
                <a:gd name="T72" fmla="*/ 11 h 1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8" h="11">
                  <a:moveTo>
                    <a:pt x="45" y="11"/>
                  </a:moveTo>
                  <a:cubicBezTo>
                    <a:pt x="36" y="5"/>
                    <a:pt x="29" y="4"/>
                    <a:pt x="23" y="4"/>
                  </a:cubicBezTo>
                  <a:cubicBezTo>
                    <a:pt x="23" y="4"/>
                    <a:pt x="23" y="4"/>
                    <a:pt x="23" y="4"/>
                  </a:cubicBezTo>
                  <a:cubicBezTo>
                    <a:pt x="23" y="4"/>
                    <a:pt x="23" y="4"/>
                    <a:pt x="23" y="4"/>
                  </a:cubicBezTo>
                  <a:cubicBezTo>
                    <a:pt x="23" y="4"/>
                    <a:pt x="23" y="4"/>
                    <a:pt x="23" y="4"/>
                  </a:cubicBezTo>
                  <a:cubicBezTo>
                    <a:pt x="14" y="4"/>
                    <a:pt x="9" y="7"/>
                    <a:pt x="3" y="10"/>
                  </a:cubicBezTo>
                  <a:cubicBezTo>
                    <a:pt x="3" y="10"/>
                    <a:pt x="3" y="10"/>
                    <a:pt x="3" y="10"/>
                  </a:cubicBezTo>
                  <a:cubicBezTo>
                    <a:pt x="3" y="10"/>
                    <a:pt x="3" y="10"/>
                    <a:pt x="3" y="10"/>
                  </a:cubicBezTo>
                  <a:cubicBezTo>
                    <a:pt x="2" y="11"/>
                    <a:pt x="1" y="10"/>
                    <a:pt x="0" y="9"/>
                  </a:cubicBezTo>
                  <a:cubicBezTo>
                    <a:pt x="0" y="9"/>
                    <a:pt x="0" y="9"/>
                    <a:pt x="0" y="9"/>
                  </a:cubicBezTo>
                  <a:cubicBezTo>
                    <a:pt x="0" y="8"/>
                    <a:pt x="0" y="7"/>
                    <a:pt x="1" y="7"/>
                  </a:cubicBezTo>
                  <a:cubicBezTo>
                    <a:pt x="1" y="7"/>
                    <a:pt x="1" y="7"/>
                    <a:pt x="1" y="7"/>
                  </a:cubicBezTo>
                  <a:cubicBezTo>
                    <a:pt x="7" y="4"/>
                    <a:pt x="13" y="0"/>
                    <a:pt x="23" y="0"/>
                  </a:cubicBezTo>
                  <a:cubicBezTo>
                    <a:pt x="23" y="0"/>
                    <a:pt x="23" y="0"/>
                    <a:pt x="23" y="0"/>
                  </a:cubicBezTo>
                  <a:cubicBezTo>
                    <a:pt x="23" y="0"/>
                    <a:pt x="23" y="0"/>
                    <a:pt x="23" y="0"/>
                  </a:cubicBezTo>
                  <a:cubicBezTo>
                    <a:pt x="23" y="0"/>
                    <a:pt x="23" y="0"/>
                    <a:pt x="23" y="0"/>
                  </a:cubicBezTo>
                  <a:cubicBezTo>
                    <a:pt x="30" y="0"/>
                    <a:pt x="38" y="1"/>
                    <a:pt x="47" y="8"/>
                  </a:cubicBezTo>
                  <a:cubicBezTo>
                    <a:pt x="47" y="8"/>
                    <a:pt x="47" y="8"/>
                    <a:pt x="47" y="8"/>
                  </a:cubicBezTo>
                  <a:cubicBezTo>
                    <a:pt x="48" y="9"/>
                    <a:pt x="48" y="10"/>
                    <a:pt x="48" y="11"/>
                  </a:cubicBezTo>
                  <a:cubicBezTo>
                    <a:pt x="48" y="11"/>
                    <a:pt x="48" y="11"/>
                    <a:pt x="48" y="11"/>
                  </a:cubicBezTo>
                  <a:cubicBezTo>
                    <a:pt x="47" y="11"/>
                    <a:pt x="47" y="11"/>
                    <a:pt x="46" y="11"/>
                  </a:cubicBezTo>
                  <a:cubicBezTo>
                    <a:pt x="46" y="11"/>
                    <a:pt x="46" y="11"/>
                    <a:pt x="46" y="11"/>
                  </a:cubicBezTo>
                  <a:cubicBezTo>
                    <a:pt x="46" y="11"/>
                    <a:pt x="45" y="11"/>
                    <a:pt x="45" y="11"/>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53" name="Freeform 201"/>
            <p:cNvSpPr>
              <a:spLocks/>
            </p:cNvSpPr>
            <p:nvPr/>
          </p:nvSpPr>
          <p:spPr bwMode="auto">
            <a:xfrm>
              <a:off x="7231063" y="1538287"/>
              <a:ext cx="719138" cy="238125"/>
            </a:xfrm>
            <a:custGeom>
              <a:avLst/>
              <a:gdLst>
                <a:gd name="T0" fmla="*/ 0 w 63"/>
                <a:gd name="T1" fmla="*/ 226786 h 21"/>
                <a:gd name="T2" fmla="*/ 11415 w 63"/>
                <a:gd name="T3" fmla="*/ 192768 h 21"/>
                <a:gd name="T4" fmla="*/ 11415 w 63"/>
                <a:gd name="T5" fmla="*/ 192768 h 21"/>
                <a:gd name="T6" fmla="*/ 296787 w 63"/>
                <a:gd name="T7" fmla="*/ 11339 h 21"/>
                <a:gd name="T8" fmla="*/ 296787 w 63"/>
                <a:gd name="T9" fmla="*/ 11339 h 21"/>
                <a:gd name="T10" fmla="*/ 388106 w 63"/>
                <a:gd name="T11" fmla="*/ 0 h 21"/>
                <a:gd name="T12" fmla="*/ 388106 w 63"/>
                <a:gd name="T13" fmla="*/ 0 h 21"/>
                <a:gd name="T14" fmla="*/ 570744 w 63"/>
                <a:gd name="T15" fmla="*/ 56696 h 21"/>
                <a:gd name="T16" fmla="*/ 570744 w 63"/>
                <a:gd name="T17" fmla="*/ 56696 h 21"/>
                <a:gd name="T18" fmla="*/ 707723 w 63"/>
                <a:gd name="T19" fmla="*/ 147411 h 21"/>
                <a:gd name="T20" fmla="*/ 707723 w 63"/>
                <a:gd name="T21" fmla="*/ 147411 h 21"/>
                <a:gd name="T22" fmla="*/ 707723 w 63"/>
                <a:gd name="T23" fmla="*/ 181429 h 21"/>
                <a:gd name="T24" fmla="*/ 707723 w 63"/>
                <a:gd name="T25" fmla="*/ 181429 h 21"/>
                <a:gd name="T26" fmla="*/ 673478 w 63"/>
                <a:gd name="T27" fmla="*/ 181429 h 21"/>
                <a:gd name="T28" fmla="*/ 673478 w 63"/>
                <a:gd name="T29" fmla="*/ 181429 h 21"/>
                <a:gd name="T30" fmla="*/ 547915 w 63"/>
                <a:gd name="T31" fmla="*/ 90714 h 21"/>
                <a:gd name="T32" fmla="*/ 547915 w 63"/>
                <a:gd name="T33" fmla="*/ 90714 h 21"/>
                <a:gd name="T34" fmla="*/ 388106 w 63"/>
                <a:gd name="T35" fmla="*/ 45357 h 21"/>
                <a:gd name="T36" fmla="*/ 388106 w 63"/>
                <a:gd name="T37" fmla="*/ 45357 h 21"/>
                <a:gd name="T38" fmla="*/ 308202 w 63"/>
                <a:gd name="T39" fmla="*/ 56696 h 21"/>
                <a:gd name="T40" fmla="*/ 308202 w 63"/>
                <a:gd name="T41" fmla="*/ 56696 h 21"/>
                <a:gd name="T42" fmla="*/ 34245 w 63"/>
                <a:gd name="T43" fmla="*/ 226786 h 21"/>
                <a:gd name="T44" fmla="*/ 34245 w 63"/>
                <a:gd name="T45" fmla="*/ 226786 h 21"/>
                <a:gd name="T46" fmla="*/ 34245 w 63"/>
                <a:gd name="T47" fmla="*/ 226786 h 21"/>
                <a:gd name="T48" fmla="*/ 22830 w 63"/>
                <a:gd name="T49" fmla="*/ 238125 h 21"/>
                <a:gd name="T50" fmla="*/ 22830 w 63"/>
                <a:gd name="T51" fmla="*/ 238125 h 21"/>
                <a:gd name="T52" fmla="*/ 0 w 63"/>
                <a:gd name="T53" fmla="*/ 226786 h 2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3"/>
                <a:gd name="T82" fmla="*/ 0 h 21"/>
                <a:gd name="T83" fmla="*/ 63 w 63"/>
                <a:gd name="T84" fmla="*/ 21 h 21"/>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3" h="21">
                  <a:moveTo>
                    <a:pt x="0" y="20"/>
                  </a:moveTo>
                  <a:cubicBezTo>
                    <a:pt x="0" y="19"/>
                    <a:pt x="0" y="18"/>
                    <a:pt x="1" y="17"/>
                  </a:cubicBezTo>
                  <a:cubicBezTo>
                    <a:pt x="1" y="17"/>
                    <a:pt x="1" y="17"/>
                    <a:pt x="1" y="17"/>
                  </a:cubicBezTo>
                  <a:cubicBezTo>
                    <a:pt x="6" y="13"/>
                    <a:pt x="16" y="4"/>
                    <a:pt x="26" y="1"/>
                  </a:cubicBezTo>
                  <a:cubicBezTo>
                    <a:pt x="26" y="1"/>
                    <a:pt x="26" y="1"/>
                    <a:pt x="26" y="1"/>
                  </a:cubicBezTo>
                  <a:cubicBezTo>
                    <a:pt x="29" y="0"/>
                    <a:pt x="32" y="0"/>
                    <a:pt x="34" y="0"/>
                  </a:cubicBezTo>
                  <a:cubicBezTo>
                    <a:pt x="34" y="0"/>
                    <a:pt x="34" y="0"/>
                    <a:pt x="34" y="0"/>
                  </a:cubicBezTo>
                  <a:cubicBezTo>
                    <a:pt x="41" y="0"/>
                    <a:pt x="46" y="2"/>
                    <a:pt x="50" y="5"/>
                  </a:cubicBezTo>
                  <a:cubicBezTo>
                    <a:pt x="50" y="5"/>
                    <a:pt x="50" y="5"/>
                    <a:pt x="50" y="5"/>
                  </a:cubicBezTo>
                  <a:cubicBezTo>
                    <a:pt x="55" y="7"/>
                    <a:pt x="59" y="10"/>
                    <a:pt x="62" y="13"/>
                  </a:cubicBezTo>
                  <a:cubicBezTo>
                    <a:pt x="62" y="13"/>
                    <a:pt x="62" y="13"/>
                    <a:pt x="62" y="13"/>
                  </a:cubicBezTo>
                  <a:cubicBezTo>
                    <a:pt x="63" y="14"/>
                    <a:pt x="63" y="15"/>
                    <a:pt x="62" y="16"/>
                  </a:cubicBezTo>
                  <a:cubicBezTo>
                    <a:pt x="62" y="16"/>
                    <a:pt x="62" y="16"/>
                    <a:pt x="62" y="16"/>
                  </a:cubicBezTo>
                  <a:cubicBezTo>
                    <a:pt x="61" y="17"/>
                    <a:pt x="60" y="17"/>
                    <a:pt x="59" y="16"/>
                  </a:cubicBezTo>
                  <a:cubicBezTo>
                    <a:pt x="59" y="16"/>
                    <a:pt x="59" y="16"/>
                    <a:pt x="59" y="16"/>
                  </a:cubicBezTo>
                  <a:cubicBezTo>
                    <a:pt x="56" y="13"/>
                    <a:pt x="53" y="11"/>
                    <a:pt x="48" y="8"/>
                  </a:cubicBezTo>
                  <a:cubicBezTo>
                    <a:pt x="48" y="8"/>
                    <a:pt x="48" y="8"/>
                    <a:pt x="48" y="8"/>
                  </a:cubicBezTo>
                  <a:cubicBezTo>
                    <a:pt x="45" y="6"/>
                    <a:pt x="40" y="4"/>
                    <a:pt x="34" y="4"/>
                  </a:cubicBezTo>
                  <a:cubicBezTo>
                    <a:pt x="34" y="4"/>
                    <a:pt x="34" y="4"/>
                    <a:pt x="34" y="4"/>
                  </a:cubicBezTo>
                  <a:cubicBezTo>
                    <a:pt x="32" y="4"/>
                    <a:pt x="29" y="4"/>
                    <a:pt x="27" y="5"/>
                  </a:cubicBezTo>
                  <a:cubicBezTo>
                    <a:pt x="27" y="5"/>
                    <a:pt x="27" y="5"/>
                    <a:pt x="27" y="5"/>
                  </a:cubicBezTo>
                  <a:cubicBezTo>
                    <a:pt x="18" y="8"/>
                    <a:pt x="9" y="16"/>
                    <a:pt x="3" y="20"/>
                  </a:cubicBezTo>
                  <a:cubicBezTo>
                    <a:pt x="3" y="20"/>
                    <a:pt x="3" y="20"/>
                    <a:pt x="3" y="20"/>
                  </a:cubicBezTo>
                  <a:cubicBezTo>
                    <a:pt x="3" y="20"/>
                    <a:pt x="3" y="20"/>
                    <a:pt x="3" y="20"/>
                  </a:cubicBezTo>
                  <a:cubicBezTo>
                    <a:pt x="3" y="21"/>
                    <a:pt x="2" y="21"/>
                    <a:pt x="2" y="21"/>
                  </a:cubicBezTo>
                  <a:cubicBezTo>
                    <a:pt x="2" y="21"/>
                    <a:pt x="2" y="21"/>
                    <a:pt x="2" y="21"/>
                  </a:cubicBezTo>
                  <a:cubicBezTo>
                    <a:pt x="1" y="21"/>
                    <a:pt x="1" y="21"/>
                    <a:pt x="0" y="20"/>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54" name="Freeform 202"/>
            <p:cNvSpPr>
              <a:spLocks/>
            </p:cNvSpPr>
            <p:nvPr/>
          </p:nvSpPr>
          <p:spPr bwMode="auto">
            <a:xfrm>
              <a:off x="7196138" y="1628775"/>
              <a:ext cx="809625" cy="341312"/>
            </a:xfrm>
            <a:custGeom>
              <a:avLst/>
              <a:gdLst>
                <a:gd name="T0" fmla="*/ 11403 w 71"/>
                <a:gd name="T1" fmla="*/ 329935 h 30"/>
                <a:gd name="T2" fmla="*/ 11403 w 71"/>
                <a:gd name="T3" fmla="*/ 307181 h 30"/>
                <a:gd name="T4" fmla="*/ 11403 w 71"/>
                <a:gd name="T5" fmla="*/ 307181 h 30"/>
                <a:gd name="T6" fmla="*/ 205257 w 71"/>
                <a:gd name="T7" fmla="*/ 102394 h 30"/>
                <a:gd name="T8" fmla="*/ 205257 w 71"/>
                <a:gd name="T9" fmla="*/ 102394 h 30"/>
                <a:gd name="T10" fmla="*/ 444724 w 71"/>
                <a:gd name="T11" fmla="*/ 0 h 30"/>
                <a:gd name="T12" fmla="*/ 444724 w 71"/>
                <a:gd name="T13" fmla="*/ 0 h 30"/>
                <a:gd name="T14" fmla="*/ 592965 w 71"/>
                <a:gd name="T15" fmla="*/ 45508 h 30"/>
                <a:gd name="T16" fmla="*/ 592965 w 71"/>
                <a:gd name="T17" fmla="*/ 45508 h 30"/>
                <a:gd name="T18" fmla="*/ 798222 w 71"/>
                <a:gd name="T19" fmla="*/ 238918 h 30"/>
                <a:gd name="T20" fmla="*/ 798222 w 71"/>
                <a:gd name="T21" fmla="*/ 238918 h 30"/>
                <a:gd name="T22" fmla="*/ 798222 w 71"/>
                <a:gd name="T23" fmla="*/ 273050 h 30"/>
                <a:gd name="T24" fmla="*/ 798222 w 71"/>
                <a:gd name="T25" fmla="*/ 273050 h 30"/>
                <a:gd name="T26" fmla="*/ 764012 w 71"/>
                <a:gd name="T27" fmla="*/ 273050 h 30"/>
                <a:gd name="T28" fmla="*/ 764012 w 71"/>
                <a:gd name="T29" fmla="*/ 273050 h 30"/>
                <a:gd name="T30" fmla="*/ 570158 w 71"/>
                <a:gd name="T31" fmla="*/ 79639 h 30"/>
                <a:gd name="T32" fmla="*/ 570158 w 71"/>
                <a:gd name="T33" fmla="*/ 79639 h 30"/>
                <a:gd name="T34" fmla="*/ 444724 w 71"/>
                <a:gd name="T35" fmla="*/ 45508 h 30"/>
                <a:gd name="T36" fmla="*/ 444724 w 71"/>
                <a:gd name="T37" fmla="*/ 45508 h 30"/>
                <a:gd name="T38" fmla="*/ 239467 w 71"/>
                <a:gd name="T39" fmla="*/ 136525 h 30"/>
                <a:gd name="T40" fmla="*/ 239467 w 71"/>
                <a:gd name="T41" fmla="*/ 136525 h 30"/>
                <a:gd name="T42" fmla="*/ 45613 w 71"/>
                <a:gd name="T43" fmla="*/ 329935 h 30"/>
                <a:gd name="T44" fmla="*/ 45613 w 71"/>
                <a:gd name="T45" fmla="*/ 329935 h 30"/>
                <a:gd name="T46" fmla="*/ 45613 w 71"/>
                <a:gd name="T47" fmla="*/ 329935 h 30"/>
                <a:gd name="T48" fmla="*/ 22806 w 71"/>
                <a:gd name="T49" fmla="*/ 341312 h 30"/>
                <a:gd name="T50" fmla="*/ 22806 w 71"/>
                <a:gd name="T51" fmla="*/ 341312 h 30"/>
                <a:gd name="T52" fmla="*/ 11403 w 71"/>
                <a:gd name="T53" fmla="*/ 329935 h 3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71"/>
                <a:gd name="T82" fmla="*/ 0 h 30"/>
                <a:gd name="T83" fmla="*/ 71 w 71"/>
                <a:gd name="T84" fmla="*/ 30 h 3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71" h="30">
                  <a:moveTo>
                    <a:pt x="1" y="29"/>
                  </a:moveTo>
                  <a:cubicBezTo>
                    <a:pt x="0" y="29"/>
                    <a:pt x="0" y="28"/>
                    <a:pt x="1" y="27"/>
                  </a:cubicBezTo>
                  <a:cubicBezTo>
                    <a:pt x="1" y="27"/>
                    <a:pt x="1" y="27"/>
                    <a:pt x="1" y="27"/>
                  </a:cubicBezTo>
                  <a:cubicBezTo>
                    <a:pt x="8" y="20"/>
                    <a:pt x="10" y="16"/>
                    <a:pt x="18" y="9"/>
                  </a:cubicBezTo>
                  <a:cubicBezTo>
                    <a:pt x="18" y="9"/>
                    <a:pt x="18" y="9"/>
                    <a:pt x="18" y="9"/>
                  </a:cubicBezTo>
                  <a:cubicBezTo>
                    <a:pt x="25" y="3"/>
                    <a:pt x="32" y="0"/>
                    <a:pt x="39" y="0"/>
                  </a:cubicBezTo>
                  <a:cubicBezTo>
                    <a:pt x="39" y="0"/>
                    <a:pt x="39" y="0"/>
                    <a:pt x="39" y="0"/>
                  </a:cubicBezTo>
                  <a:cubicBezTo>
                    <a:pt x="43" y="0"/>
                    <a:pt x="48" y="2"/>
                    <a:pt x="52" y="4"/>
                  </a:cubicBezTo>
                  <a:cubicBezTo>
                    <a:pt x="52" y="4"/>
                    <a:pt x="52" y="4"/>
                    <a:pt x="52" y="4"/>
                  </a:cubicBezTo>
                  <a:cubicBezTo>
                    <a:pt x="58" y="7"/>
                    <a:pt x="65" y="15"/>
                    <a:pt x="70" y="21"/>
                  </a:cubicBezTo>
                  <a:cubicBezTo>
                    <a:pt x="70" y="21"/>
                    <a:pt x="70" y="21"/>
                    <a:pt x="70" y="21"/>
                  </a:cubicBezTo>
                  <a:cubicBezTo>
                    <a:pt x="71" y="22"/>
                    <a:pt x="71" y="23"/>
                    <a:pt x="70" y="24"/>
                  </a:cubicBezTo>
                  <a:cubicBezTo>
                    <a:pt x="70" y="24"/>
                    <a:pt x="70" y="24"/>
                    <a:pt x="70" y="24"/>
                  </a:cubicBezTo>
                  <a:cubicBezTo>
                    <a:pt x="69" y="25"/>
                    <a:pt x="68" y="25"/>
                    <a:pt x="67" y="24"/>
                  </a:cubicBezTo>
                  <a:cubicBezTo>
                    <a:pt x="67" y="24"/>
                    <a:pt x="67" y="24"/>
                    <a:pt x="67" y="24"/>
                  </a:cubicBezTo>
                  <a:cubicBezTo>
                    <a:pt x="62" y="18"/>
                    <a:pt x="55" y="10"/>
                    <a:pt x="50" y="7"/>
                  </a:cubicBezTo>
                  <a:cubicBezTo>
                    <a:pt x="50" y="7"/>
                    <a:pt x="50" y="7"/>
                    <a:pt x="50" y="7"/>
                  </a:cubicBezTo>
                  <a:cubicBezTo>
                    <a:pt x="46" y="5"/>
                    <a:pt x="43" y="4"/>
                    <a:pt x="39" y="4"/>
                  </a:cubicBezTo>
                  <a:cubicBezTo>
                    <a:pt x="39" y="4"/>
                    <a:pt x="39" y="4"/>
                    <a:pt x="39" y="4"/>
                  </a:cubicBezTo>
                  <a:cubicBezTo>
                    <a:pt x="33" y="4"/>
                    <a:pt x="28" y="6"/>
                    <a:pt x="21" y="12"/>
                  </a:cubicBezTo>
                  <a:cubicBezTo>
                    <a:pt x="21" y="12"/>
                    <a:pt x="21" y="12"/>
                    <a:pt x="21" y="12"/>
                  </a:cubicBezTo>
                  <a:cubicBezTo>
                    <a:pt x="13" y="19"/>
                    <a:pt x="11" y="22"/>
                    <a:pt x="4" y="29"/>
                  </a:cubicBezTo>
                  <a:cubicBezTo>
                    <a:pt x="4" y="29"/>
                    <a:pt x="4" y="29"/>
                    <a:pt x="4" y="29"/>
                  </a:cubicBezTo>
                  <a:cubicBezTo>
                    <a:pt x="4" y="29"/>
                    <a:pt x="4" y="29"/>
                    <a:pt x="4" y="29"/>
                  </a:cubicBezTo>
                  <a:cubicBezTo>
                    <a:pt x="3" y="30"/>
                    <a:pt x="3" y="30"/>
                    <a:pt x="2" y="30"/>
                  </a:cubicBezTo>
                  <a:cubicBezTo>
                    <a:pt x="2" y="30"/>
                    <a:pt x="2" y="30"/>
                    <a:pt x="2" y="30"/>
                  </a:cubicBezTo>
                  <a:cubicBezTo>
                    <a:pt x="2" y="30"/>
                    <a:pt x="1" y="30"/>
                    <a:pt x="1" y="29"/>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55" name="Freeform 203"/>
            <p:cNvSpPr>
              <a:spLocks/>
            </p:cNvSpPr>
            <p:nvPr/>
          </p:nvSpPr>
          <p:spPr bwMode="auto">
            <a:xfrm>
              <a:off x="7162800" y="1731962"/>
              <a:ext cx="877888" cy="431800"/>
            </a:xfrm>
            <a:custGeom>
              <a:avLst/>
              <a:gdLst>
                <a:gd name="T0" fmla="*/ 832283 w 77"/>
                <a:gd name="T1" fmla="*/ 431800 h 38"/>
                <a:gd name="T2" fmla="*/ 718272 w 77"/>
                <a:gd name="T3" fmla="*/ 204537 h 38"/>
                <a:gd name="T4" fmla="*/ 718272 w 77"/>
                <a:gd name="T5" fmla="*/ 204537 h 38"/>
                <a:gd name="T6" fmla="*/ 501650 w 77"/>
                <a:gd name="T7" fmla="*/ 45453 h 38"/>
                <a:gd name="T8" fmla="*/ 501650 w 77"/>
                <a:gd name="T9" fmla="*/ 45453 h 38"/>
                <a:gd name="T10" fmla="*/ 342034 w 77"/>
                <a:gd name="T11" fmla="*/ 102268 h 38"/>
                <a:gd name="T12" fmla="*/ 342034 w 77"/>
                <a:gd name="T13" fmla="*/ 102268 h 38"/>
                <a:gd name="T14" fmla="*/ 45605 w 77"/>
                <a:gd name="T15" fmla="*/ 420437 h 38"/>
                <a:gd name="T16" fmla="*/ 45605 w 77"/>
                <a:gd name="T17" fmla="*/ 420437 h 38"/>
                <a:gd name="T18" fmla="*/ 11401 w 77"/>
                <a:gd name="T19" fmla="*/ 431800 h 38"/>
                <a:gd name="T20" fmla="*/ 11401 w 77"/>
                <a:gd name="T21" fmla="*/ 431800 h 38"/>
                <a:gd name="T22" fmla="*/ 11401 w 77"/>
                <a:gd name="T23" fmla="*/ 397711 h 38"/>
                <a:gd name="T24" fmla="*/ 11401 w 77"/>
                <a:gd name="T25" fmla="*/ 397711 h 38"/>
                <a:gd name="T26" fmla="*/ 319232 w 77"/>
                <a:gd name="T27" fmla="*/ 56816 h 38"/>
                <a:gd name="T28" fmla="*/ 319232 w 77"/>
                <a:gd name="T29" fmla="*/ 56816 h 38"/>
                <a:gd name="T30" fmla="*/ 501650 w 77"/>
                <a:gd name="T31" fmla="*/ 11363 h 38"/>
                <a:gd name="T32" fmla="*/ 501650 w 77"/>
                <a:gd name="T33" fmla="*/ 11363 h 38"/>
                <a:gd name="T34" fmla="*/ 752475 w 77"/>
                <a:gd name="T35" fmla="*/ 181811 h 38"/>
                <a:gd name="T36" fmla="*/ 752475 w 77"/>
                <a:gd name="T37" fmla="*/ 181811 h 38"/>
                <a:gd name="T38" fmla="*/ 866487 w 77"/>
                <a:gd name="T39" fmla="*/ 397711 h 38"/>
                <a:gd name="T40" fmla="*/ 866487 w 77"/>
                <a:gd name="T41" fmla="*/ 397711 h 38"/>
                <a:gd name="T42" fmla="*/ 866487 w 77"/>
                <a:gd name="T43" fmla="*/ 431800 h 38"/>
                <a:gd name="T44" fmla="*/ 866487 w 77"/>
                <a:gd name="T45" fmla="*/ 431800 h 38"/>
                <a:gd name="T46" fmla="*/ 855086 w 77"/>
                <a:gd name="T47" fmla="*/ 431800 h 38"/>
                <a:gd name="T48" fmla="*/ 855086 w 77"/>
                <a:gd name="T49" fmla="*/ 431800 h 38"/>
                <a:gd name="T50" fmla="*/ 832283 w 77"/>
                <a:gd name="T51" fmla="*/ 431800 h 3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7"/>
                <a:gd name="T79" fmla="*/ 0 h 38"/>
                <a:gd name="T80" fmla="*/ 77 w 77"/>
                <a:gd name="T81" fmla="*/ 38 h 3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7" h="38">
                  <a:moveTo>
                    <a:pt x="73" y="38"/>
                  </a:moveTo>
                  <a:cubicBezTo>
                    <a:pt x="67" y="30"/>
                    <a:pt x="67" y="24"/>
                    <a:pt x="63" y="18"/>
                  </a:cubicBezTo>
                  <a:cubicBezTo>
                    <a:pt x="63" y="18"/>
                    <a:pt x="63" y="18"/>
                    <a:pt x="63" y="18"/>
                  </a:cubicBezTo>
                  <a:cubicBezTo>
                    <a:pt x="57" y="8"/>
                    <a:pt x="50" y="4"/>
                    <a:pt x="44" y="4"/>
                  </a:cubicBezTo>
                  <a:cubicBezTo>
                    <a:pt x="44" y="4"/>
                    <a:pt x="44" y="4"/>
                    <a:pt x="44" y="4"/>
                  </a:cubicBezTo>
                  <a:cubicBezTo>
                    <a:pt x="39" y="4"/>
                    <a:pt x="35" y="6"/>
                    <a:pt x="30" y="9"/>
                  </a:cubicBezTo>
                  <a:cubicBezTo>
                    <a:pt x="30" y="9"/>
                    <a:pt x="30" y="9"/>
                    <a:pt x="30" y="9"/>
                  </a:cubicBezTo>
                  <a:cubicBezTo>
                    <a:pt x="20" y="14"/>
                    <a:pt x="10" y="30"/>
                    <a:pt x="4" y="37"/>
                  </a:cubicBezTo>
                  <a:cubicBezTo>
                    <a:pt x="4" y="37"/>
                    <a:pt x="4" y="37"/>
                    <a:pt x="4" y="37"/>
                  </a:cubicBezTo>
                  <a:cubicBezTo>
                    <a:pt x="3" y="38"/>
                    <a:pt x="2" y="38"/>
                    <a:pt x="1" y="38"/>
                  </a:cubicBezTo>
                  <a:cubicBezTo>
                    <a:pt x="1" y="38"/>
                    <a:pt x="1" y="38"/>
                    <a:pt x="1" y="38"/>
                  </a:cubicBezTo>
                  <a:cubicBezTo>
                    <a:pt x="0" y="37"/>
                    <a:pt x="0" y="36"/>
                    <a:pt x="1" y="35"/>
                  </a:cubicBezTo>
                  <a:cubicBezTo>
                    <a:pt x="1" y="35"/>
                    <a:pt x="1" y="35"/>
                    <a:pt x="1" y="35"/>
                  </a:cubicBezTo>
                  <a:cubicBezTo>
                    <a:pt x="7" y="28"/>
                    <a:pt x="17" y="12"/>
                    <a:pt x="28" y="5"/>
                  </a:cubicBezTo>
                  <a:cubicBezTo>
                    <a:pt x="28" y="5"/>
                    <a:pt x="28" y="5"/>
                    <a:pt x="28" y="5"/>
                  </a:cubicBezTo>
                  <a:cubicBezTo>
                    <a:pt x="33" y="2"/>
                    <a:pt x="38" y="1"/>
                    <a:pt x="44" y="1"/>
                  </a:cubicBezTo>
                  <a:cubicBezTo>
                    <a:pt x="44" y="1"/>
                    <a:pt x="44" y="1"/>
                    <a:pt x="44" y="1"/>
                  </a:cubicBezTo>
                  <a:cubicBezTo>
                    <a:pt x="52" y="0"/>
                    <a:pt x="60" y="5"/>
                    <a:pt x="66" y="16"/>
                  </a:cubicBezTo>
                  <a:cubicBezTo>
                    <a:pt x="66" y="16"/>
                    <a:pt x="66" y="16"/>
                    <a:pt x="66" y="16"/>
                  </a:cubicBezTo>
                  <a:cubicBezTo>
                    <a:pt x="70" y="23"/>
                    <a:pt x="71" y="28"/>
                    <a:pt x="76" y="35"/>
                  </a:cubicBezTo>
                  <a:cubicBezTo>
                    <a:pt x="76" y="35"/>
                    <a:pt x="76" y="35"/>
                    <a:pt x="76" y="35"/>
                  </a:cubicBezTo>
                  <a:cubicBezTo>
                    <a:pt x="77" y="36"/>
                    <a:pt x="77" y="37"/>
                    <a:pt x="76" y="38"/>
                  </a:cubicBezTo>
                  <a:cubicBezTo>
                    <a:pt x="76" y="38"/>
                    <a:pt x="76" y="38"/>
                    <a:pt x="76" y="38"/>
                  </a:cubicBezTo>
                  <a:cubicBezTo>
                    <a:pt x="76" y="38"/>
                    <a:pt x="75" y="38"/>
                    <a:pt x="75" y="38"/>
                  </a:cubicBezTo>
                  <a:cubicBezTo>
                    <a:pt x="75" y="38"/>
                    <a:pt x="75" y="38"/>
                    <a:pt x="75" y="38"/>
                  </a:cubicBezTo>
                  <a:cubicBezTo>
                    <a:pt x="74" y="38"/>
                    <a:pt x="74" y="38"/>
                    <a:pt x="73" y="38"/>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56" name="Freeform 204"/>
            <p:cNvSpPr>
              <a:spLocks/>
            </p:cNvSpPr>
            <p:nvPr/>
          </p:nvSpPr>
          <p:spPr bwMode="auto">
            <a:xfrm>
              <a:off x="7321550" y="2311401"/>
              <a:ext cx="639763" cy="339725"/>
            </a:xfrm>
            <a:custGeom>
              <a:avLst/>
              <a:gdLst>
                <a:gd name="T0" fmla="*/ 0 w 56"/>
                <a:gd name="T1" fmla="*/ 317077 h 30"/>
                <a:gd name="T2" fmla="*/ 11424 w 56"/>
                <a:gd name="T3" fmla="*/ 294428 h 30"/>
                <a:gd name="T4" fmla="*/ 11424 w 56"/>
                <a:gd name="T5" fmla="*/ 294428 h 30"/>
                <a:gd name="T6" fmla="*/ 217062 w 56"/>
                <a:gd name="T7" fmla="*/ 237808 h 30"/>
                <a:gd name="T8" fmla="*/ 217062 w 56"/>
                <a:gd name="T9" fmla="*/ 237808 h 30"/>
                <a:gd name="T10" fmla="*/ 434125 w 56"/>
                <a:gd name="T11" fmla="*/ 22648 h 30"/>
                <a:gd name="T12" fmla="*/ 434125 w 56"/>
                <a:gd name="T13" fmla="*/ 22648 h 30"/>
                <a:gd name="T14" fmla="*/ 445549 w 56"/>
                <a:gd name="T15" fmla="*/ 0 h 30"/>
                <a:gd name="T16" fmla="*/ 445549 w 56"/>
                <a:gd name="T17" fmla="*/ 0 h 30"/>
                <a:gd name="T18" fmla="*/ 468398 w 56"/>
                <a:gd name="T19" fmla="*/ 11324 h 30"/>
                <a:gd name="T20" fmla="*/ 468398 w 56"/>
                <a:gd name="T21" fmla="*/ 11324 h 30"/>
                <a:gd name="T22" fmla="*/ 479822 w 56"/>
                <a:gd name="T23" fmla="*/ 33973 h 30"/>
                <a:gd name="T24" fmla="*/ 479822 w 56"/>
                <a:gd name="T25" fmla="*/ 33973 h 30"/>
                <a:gd name="T26" fmla="*/ 525520 w 56"/>
                <a:gd name="T27" fmla="*/ 67945 h 30"/>
                <a:gd name="T28" fmla="*/ 525520 w 56"/>
                <a:gd name="T29" fmla="*/ 67945 h 30"/>
                <a:gd name="T30" fmla="*/ 628339 w 56"/>
                <a:gd name="T31" fmla="*/ 147214 h 30"/>
                <a:gd name="T32" fmla="*/ 628339 w 56"/>
                <a:gd name="T33" fmla="*/ 147214 h 30"/>
                <a:gd name="T34" fmla="*/ 639763 w 56"/>
                <a:gd name="T35" fmla="*/ 181187 h 30"/>
                <a:gd name="T36" fmla="*/ 639763 w 56"/>
                <a:gd name="T37" fmla="*/ 181187 h 30"/>
                <a:gd name="T38" fmla="*/ 605490 w 56"/>
                <a:gd name="T39" fmla="*/ 181187 h 30"/>
                <a:gd name="T40" fmla="*/ 605490 w 56"/>
                <a:gd name="T41" fmla="*/ 181187 h 30"/>
                <a:gd name="T42" fmla="*/ 456974 w 56"/>
                <a:gd name="T43" fmla="*/ 67945 h 30"/>
                <a:gd name="T44" fmla="*/ 456974 w 56"/>
                <a:gd name="T45" fmla="*/ 67945 h 30"/>
                <a:gd name="T46" fmla="*/ 239911 w 56"/>
                <a:gd name="T47" fmla="*/ 283104 h 30"/>
                <a:gd name="T48" fmla="*/ 239911 w 56"/>
                <a:gd name="T49" fmla="*/ 283104 h 30"/>
                <a:gd name="T50" fmla="*/ 22849 w 56"/>
                <a:gd name="T51" fmla="*/ 339725 h 30"/>
                <a:gd name="T52" fmla="*/ 22849 w 56"/>
                <a:gd name="T53" fmla="*/ 339725 h 30"/>
                <a:gd name="T54" fmla="*/ 22849 w 56"/>
                <a:gd name="T55" fmla="*/ 339725 h 30"/>
                <a:gd name="T56" fmla="*/ 22849 w 56"/>
                <a:gd name="T57" fmla="*/ 339725 h 30"/>
                <a:gd name="T58" fmla="*/ 22849 w 56"/>
                <a:gd name="T59" fmla="*/ 339725 h 30"/>
                <a:gd name="T60" fmla="*/ 0 w 56"/>
                <a:gd name="T61" fmla="*/ 317077 h 3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6"/>
                <a:gd name="T94" fmla="*/ 0 h 30"/>
                <a:gd name="T95" fmla="*/ 56 w 56"/>
                <a:gd name="T96" fmla="*/ 30 h 3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6" h="30">
                  <a:moveTo>
                    <a:pt x="0" y="28"/>
                  </a:moveTo>
                  <a:cubicBezTo>
                    <a:pt x="0" y="27"/>
                    <a:pt x="0" y="26"/>
                    <a:pt x="1" y="26"/>
                  </a:cubicBezTo>
                  <a:cubicBezTo>
                    <a:pt x="1" y="26"/>
                    <a:pt x="1" y="26"/>
                    <a:pt x="1" y="26"/>
                  </a:cubicBezTo>
                  <a:cubicBezTo>
                    <a:pt x="5" y="26"/>
                    <a:pt x="12" y="25"/>
                    <a:pt x="19" y="21"/>
                  </a:cubicBezTo>
                  <a:cubicBezTo>
                    <a:pt x="19" y="21"/>
                    <a:pt x="19" y="21"/>
                    <a:pt x="19" y="21"/>
                  </a:cubicBezTo>
                  <a:cubicBezTo>
                    <a:pt x="27" y="18"/>
                    <a:pt x="34" y="12"/>
                    <a:pt x="38" y="2"/>
                  </a:cubicBezTo>
                  <a:cubicBezTo>
                    <a:pt x="38" y="2"/>
                    <a:pt x="38" y="2"/>
                    <a:pt x="38" y="2"/>
                  </a:cubicBezTo>
                  <a:cubicBezTo>
                    <a:pt x="38" y="1"/>
                    <a:pt x="39" y="1"/>
                    <a:pt x="39" y="0"/>
                  </a:cubicBezTo>
                  <a:cubicBezTo>
                    <a:pt x="39" y="0"/>
                    <a:pt x="39" y="0"/>
                    <a:pt x="39" y="0"/>
                  </a:cubicBezTo>
                  <a:cubicBezTo>
                    <a:pt x="40" y="0"/>
                    <a:pt x="41" y="1"/>
                    <a:pt x="41" y="1"/>
                  </a:cubicBezTo>
                  <a:cubicBezTo>
                    <a:pt x="41" y="1"/>
                    <a:pt x="41" y="1"/>
                    <a:pt x="41" y="1"/>
                  </a:cubicBezTo>
                  <a:cubicBezTo>
                    <a:pt x="41" y="1"/>
                    <a:pt x="42" y="2"/>
                    <a:pt x="42" y="3"/>
                  </a:cubicBezTo>
                  <a:cubicBezTo>
                    <a:pt x="42" y="3"/>
                    <a:pt x="42" y="3"/>
                    <a:pt x="42" y="3"/>
                  </a:cubicBezTo>
                  <a:cubicBezTo>
                    <a:pt x="43" y="3"/>
                    <a:pt x="44" y="5"/>
                    <a:pt x="46" y="6"/>
                  </a:cubicBezTo>
                  <a:cubicBezTo>
                    <a:pt x="46" y="6"/>
                    <a:pt x="46" y="6"/>
                    <a:pt x="46" y="6"/>
                  </a:cubicBezTo>
                  <a:cubicBezTo>
                    <a:pt x="48" y="8"/>
                    <a:pt x="52" y="11"/>
                    <a:pt x="55" y="13"/>
                  </a:cubicBezTo>
                  <a:cubicBezTo>
                    <a:pt x="55" y="13"/>
                    <a:pt x="55" y="13"/>
                    <a:pt x="55" y="13"/>
                  </a:cubicBezTo>
                  <a:cubicBezTo>
                    <a:pt x="56" y="13"/>
                    <a:pt x="56" y="15"/>
                    <a:pt x="56" y="16"/>
                  </a:cubicBezTo>
                  <a:cubicBezTo>
                    <a:pt x="56" y="16"/>
                    <a:pt x="56" y="16"/>
                    <a:pt x="56" y="16"/>
                  </a:cubicBezTo>
                  <a:cubicBezTo>
                    <a:pt x="55" y="17"/>
                    <a:pt x="54" y="17"/>
                    <a:pt x="53" y="16"/>
                  </a:cubicBezTo>
                  <a:cubicBezTo>
                    <a:pt x="53" y="16"/>
                    <a:pt x="53" y="16"/>
                    <a:pt x="53" y="16"/>
                  </a:cubicBezTo>
                  <a:cubicBezTo>
                    <a:pt x="48" y="14"/>
                    <a:pt x="43" y="9"/>
                    <a:pt x="40" y="6"/>
                  </a:cubicBezTo>
                  <a:cubicBezTo>
                    <a:pt x="40" y="6"/>
                    <a:pt x="40" y="6"/>
                    <a:pt x="40" y="6"/>
                  </a:cubicBezTo>
                  <a:cubicBezTo>
                    <a:pt x="36" y="16"/>
                    <a:pt x="28" y="21"/>
                    <a:pt x="21" y="25"/>
                  </a:cubicBezTo>
                  <a:cubicBezTo>
                    <a:pt x="21" y="25"/>
                    <a:pt x="21" y="25"/>
                    <a:pt x="21" y="25"/>
                  </a:cubicBezTo>
                  <a:cubicBezTo>
                    <a:pt x="13" y="29"/>
                    <a:pt x="6" y="30"/>
                    <a:pt x="2" y="30"/>
                  </a:cubicBezTo>
                  <a:cubicBezTo>
                    <a:pt x="2" y="30"/>
                    <a:pt x="2" y="30"/>
                    <a:pt x="2" y="30"/>
                  </a:cubicBezTo>
                  <a:cubicBezTo>
                    <a:pt x="2" y="30"/>
                    <a:pt x="2" y="30"/>
                    <a:pt x="2" y="30"/>
                  </a:cubicBezTo>
                  <a:cubicBezTo>
                    <a:pt x="2" y="30"/>
                    <a:pt x="2" y="30"/>
                    <a:pt x="2" y="30"/>
                  </a:cubicBezTo>
                  <a:cubicBezTo>
                    <a:pt x="2" y="30"/>
                    <a:pt x="2" y="30"/>
                    <a:pt x="2" y="30"/>
                  </a:cubicBezTo>
                  <a:cubicBezTo>
                    <a:pt x="0" y="30"/>
                    <a:pt x="0" y="29"/>
                    <a:pt x="0" y="28"/>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57" name="Freeform 205"/>
            <p:cNvSpPr>
              <a:spLocks/>
            </p:cNvSpPr>
            <p:nvPr/>
          </p:nvSpPr>
          <p:spPr bwMode="auto">
            <a:xfrm>
              <a:off x="7516813" y="2719388"/>
              <a:ext cx="169863" cy="57150"/>
            </a:xfrm>
            <a:custGeom>
              <a:avLst/>
              <a:gdLst>
                <a:gd name="T0" fmla="*/ 0 w 15"/>
                <a:gd name="T1" fmla="*/ 45720 h 5"/>
                <a:gd name="T2" fmla="*/ 11324 w 15"/>
                <a:gd name="T3" fmla="*/ 11430 h 5"/>
                <a:gd name="T4" fmla="*/ 11324 w 15"/>
                <a:gd name="T5" fmla="*/ 11430 h 5"/>
                <a:gd name="T6" fmla="*/ 79269 w 15"/>
                <a:gd name="T7" fmla="*/ 0 h 5"/>
                <a:gd name="T8" fmla="*/ 79269 w 15"/>
                <a:gd name="T9" fmla="*/ 0 h 5"/>
                <a:gd name="T10" fmla="*/ 147215 w 15"/>
                <a:gd name="T11" fmla="*/ 11430 h 5"/>
                <a:gd name="T12" fmla="*/ 147215 w 15"/>
                <a:gd name="T13" fmla="*/ 11430 h 5"/>
                <a:gd name="T14" fmla="*/ 158539 w 15"/>
                <a:gd name="T15" fmla="*/ 34290 h 5"/>
                <a:gd name="T16" fmla="*/ 158539 w 15"/>
                <a:gd name="T17" fmla="*/ 34290 h 5"/>
                <a:gd name="T18" fmla="*/ 135890 w 15"/>
                <a:gd name="T19" fmla="*/ 57150 h 5"/>
                <a:gd name="T20" fmla="*/ 135890 w 15"/>
                <a:gd name="T21" fmla="*/ 57150 h 5"/>
                <a:gd name="T22" fmla="*/ 79269 w 15"/>
                <a:gd name="T23" fmla="*/ 45720 h 5"/>
                <a:gd name="T24" fmla="*/ 79269 w 15"/>
                <a:gd name="T25" fmla="*/ 45720 h 5"/>
                <a:gd name="T26" fmla="*/ 33973 w 15"/>
                <a:gd name="T27" fmla="*/ 57150 h 5"/>
                <a:gd name="T28" fmla="*/ 33973 w 15"/>
                <a:gd name="T29" fmla="*/ 57150 h 5"/>
                <a:gd name="T30" fmla="*/ 33973 w 15"/>
                <a:gd name="T31" fmla="*/ 57150 h 5"/>
                <a:gd name="T32" fmla="*/ 22648 w 15"/>
                <a:gd name="T33" fmla="*/ 57150 h 5"/>
                <a:gd name="T34" fmla="*/ 22648 w 15"/>
                <a:gd name="T35" fmla="*/ 57150 h 5"/>
                <a:gd name="T36" fmla="*/ 0 w 15"/>
                <a:gd name="T37" fmla="*/ 45720 h 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
                <a:gd name="T58" fmla="*/ 0 h 5"/>
                <a:gd name="T59" fmla="*/ 15 w 15"/>
                <a:gd name="T60" fmla="*/ 5 h 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 h="5">
                  <a:moveTo>
                    <a:pt x="0" y="4"/>
                  </a:moveTo>
                  <a:cubicBezTo>
                    <a:pt x="0" y="3"/>
                    <a:pt x="0" y="2"/>
                    <a:pt x="1" y="1"/>
                  </a:cubicBezTo>
                  <a:cubicBezTo>
                    <a:pt x="1" y="1"/>
                    <a:pt x="1" y="1"/>
                    <a:pt x="1" y="1"/>
                  </a:cubicBezTo>
                  <a:cubicBezTo>
                    <a:pt x="3" y="0"/>
                    <a:pt x="5" y="0"/>
                    <a:pt x="7" y="0"/>
                  </a:cubicBezTo>
                  <a:cubicBezTo>
                    <a:pt x="7" y="0"/>
                    <a:pt x="7" y="0"/>
                    <a:pt x="7" y="0"/>
                  </a:cubicBezTo>
                  <a:cubicBezTo>
                    <a:pt x="10" y="0"/>
                    <a:pt x="12" y="0"/>
                    <a:pt x="13" y="1"/>
                  </a:cubicBezTo>
                  <a:cubicBezTo>
                    <a:pt x="13" y="1"/>
                    <a:pt x="13" y="1"/>
                    <a:pt x="13" y="1"/>
                  </a:cubicBezTo>
                  <a:cubicBezTo>
                    <a:pt x="14" y="1"/>
                    <a:pt x="15" y="2"/>
                    <a:pt x="14" y="3"/>
                  </a:cubicBezTo>
                  <a:cubicBezTo>
                    <a:pt x="14" y="3"/>
                    <a:pt x="14" y="3"/>
                    <a:pt x="14" y="3"/>
                  </a:cubicBezTo>
                  <a:cubicBezTo>
                    <a:pt x="14" y="4"/>
                    <a:pt x="13" y="5"/>
                    <a:pt x="12" y="5"/>
                  </a:cubicBezTo>
                  <a:cubicBezTo>
                    <a:pt x="12" y="5"/>
                    <a:pt x="12" y="5"/>
                    <a:pt x="12" y="5"/>
                  </a:cubicBezTo>
                  <a:cubicBezTo>
                    <a:pt x="11" y="4"/>
                    <a:pt x="9" y="4"/>
                    <a:pt x="7" y="4"/>
                  </a:cubicBezTo>
                  <a:cubicBezTo>
                    <a:pt x="7" y="4"/>
                    <a:pt x="7" y="4"/>
                    <a:pt x="7" y="4"/>
                  </a:cubicBezTo>
                  <a:cubicBezTo>
                    <a:pt x="6" y="4"/>
                    <a:pt x="4" y="4"/>
                    <a:pt x="3" y="5"/>
                  </a:cubicBezTo>
                  <a:cubicBezTo>
                    <a:pt x="3" y="5"/>
                    <a:pt x="3" y="5"/>
                    <a:pt x="3" y="5"/>
                  </a:cubicBezTo>
                  <a:cubicBezTo>
                    <a:pt x="3" y="5"/>
                    <a:pt x="3" y="5"/>
                    <a:pt x="3" y="5"/>
                  </a:cubicBezTo>
                  <a:cubicBezTo>
                    <a:pt x="2" y="5"/>
                    <a:pt x="2" y="5"/>
                    <a:pt x="2" y="5"/>
                  </a:cubicBezTo>
                  <a:cubicBezTo>
                    <a:pt x="2" y="5"/>
                    <a:pt x="2" y="5"/>
                    <a:pt x="2" y="5"/>
                  </a:cubicBezTo>
                  <a:cubicBezTo>
                    <a:pt x="1" y="5"/>
                    <a:pt x="0" y="5"/>
                    <a:pt x="0" y="4"/>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grpSp>
      <p:sp>
        <p:nvSpPr>
          <p:cNvPr id="428" name="Freeform 575"/>
          <p:cNvSpPr>
            <a:spLocks noEditPoints="1"/>
          </p:cNvSpPr>
          <p:nvPr/>
        </p:nvSpPr>
        <p:spPr bwMode="auto">
          <a:xfrm>
            <a:off x="8350556" y="4476947"/>
            <a:ext cx="1053058" cy="2129222"/>
          </a:xfrm>
          <a:custGeom>
            <a:avLst/>
            <a:gdLst>
              <a:gd name="T0" fmla="*/ 156 w 180"/>
              <a:gd name="T1" fmla="*/ 0 h 364"/>
              <a:gd name="T2" fmla="*/ 0 w 180"/>
              <a:gd name="T3" fmla="*/ 0 h 364"/>
              <a:gd name="T4" fmla="*/ 0 w 180"/>
              <a:gd name="T5" fmla="*/ 340 h 364"/>
              <a:gd name="T6" fmla="*/ 24 w 180"/>
              <a:gd name="T7" fmla="*/ 364 h 364"/>
              <a:gd name="T8" fmla="*/ 180 w 180"/>
              <a:gd name="T9" fmla="*/ 364 h 364"/>
              <a:gd name="T10" fmla="*/ 180 w 180"/>
              <a:gd name="T11" fmla="*/ 24 h 364"/>
              <a:gd name="T12" fmla="*/ 156 w 180"/>
              <a:gd name="T13" fmla="*/ 0 h 364"/>
              <a:gd name="T14" fmla="*/ 76 w 180"/>
              <a:gd name="T15" fmla="*/ 292 h 364"/>
              <a:gd name="T16" fmla="*/ 28 w 180"/>
              <a:gd name="T17" fmla="*/ 292 h 364"/>
              <a:gd name="T18" fmla="*/ 28 w 180"/>
              <a:gd name="T19" fmla="*/ 244 h 364"/>
              <a:gd name="T20" fmla="*/ 76 w 180"/>
              <a:gd name="T21" fmla="*/ 244 h 364"/>
              <a:gd name="T22" fmla="*/ 76 w 180"/>
              <a:gd name="T23" fmla="*/ 292 h 364"/>
              <a:gd name="T24" fmla="*/ 76 w 180"/>
              <a:gd name="T25" fmla="*/ 220 h 364"/>
              <a:gd name="T26" fmla="*/ 28 w 180"/>
              <a:gd name="T27" fmla="*/ 220 h 364"/>
              <a:gd name="T28" fmla="*/ 28 w 180"/>
              <a:gd name="T29" fmla="*/ 172 h 364"/>
              <a:gd name="T30" fmla="*/ 76 w 180"/>
              <a:gd name="T31" fmla="*/ 172 h 364"/>
              <a:gd name="T32" fmla="*/ 76 w 180"/>
              <a:gd name="T33" fmla="*/ 220 h 364"/>
              <a:gd name="T34" fmla="*/ 76 w 180"/>
              <a:gd name="T35" fmla="*/ 148 h 364"/>
              <a:gd name="T36" fmla="*/ 28 w 180"/>
              <a:gd name="T37" fmla="*/ 148 h 364"/>
              <a:gd name="T38" fmla="*/ 28 w 180"/>
              <a:gd name="T39" fmla="*/ 100 h 364"/>
              <a:gd name="T40" fmla="*/ 76 w 180"/>
              <a:gd name="T41" fmla="*/ 100 h 364"/>
              <a:gd name="T42" fmla="*/ 76 w 180"/>
              <a:gd name="T43" fmla="*/ 148 h 364"/>
              <a:gd name="T44" fmla="*/ 76 w 180"/>
              <a:gd name="T45" fmla="*/ 76 h 364"/>
              <a:gd name="T46" fmla="*/ 28 w 180"/>
              <a:gd name="T47" fmla="*/ 76 h 364"/>
              <a:gd name="T48" fmla="*/ 28 w 180"/>
              <a:gd name="T49" fmla="*/ 28 h 364"/>
              <a:gd name="T50" fmla="*/ 76 w 180"/>
              <a:gd name="T51" fmla="*/ 28 h 364"/>
              <a:gd name="T52" fmla="*/ 76 w 180"/>
              <a:gd name="T53" fmla="*/ 76 h 364"/>
              <a:gd name="T54" fmla="*/ 152 w 180"/>
              <a:gd name="T55" fmla="*/ 220 h 364"/>
              <a:gd name="T56" fmla="*/ 104 w 180"/>
              <a:gd name="T57" fmla="*/ 220 h 364"/>
              <a:gd name="T58" fmla="*/ 104 w 180"/>
              <a:gd name="T59" fmla="*/ 172 h 364"/>
              <a:gd name="T60" fmla="*/ 152 w 180"/>
              <a:gd name="T61" fmla="*/ 172 h 364"/>
              <a:gd name="T62" fmla="*/ 152 w 180"/>
              <a:gd name="T63" fmla="*/ 220 h 364"/>
              <a:gd name="T64" fmla="*/ 152 w 180"/>
              <a:gd name="T65" fmla="*/ 148 h 364"/>
              <a:gd name="T66" fmla="*/ 104 w 180"/>
              <a:gd name="T67" fmla="*/ 148 h 364"/>
              <a:gd name="T68" fmla="*/ 104 w 180"/>
              <a:gd name="T69" fmla="*/ 100 h 364"/>
              <a:gd name="T70" fmla="*/ 152 w 180"/>
              <a:gd name="T71" fmla="*/ 100 h 364"/>
              <a:gd name="T72" fmla="*/ 152 w 180"/>
              <a:gd name="T73" fmla="*/ 148 h 364"/>
              <a:gd name="T74" fmla="*/ 152 w 180"/>
              <a:gd name="T75" fmla="*/ 76 h 364"/>
              <a:gd name="T76" fmla="*/ 104 w 180"/>
              <a:gd name="T77" fmla="*/ 76 h 364"/>
              <a:gd name="T78" fmla="*/ 104 w 180"/>
              <a:gd name="T79" fmla="*/ 28 h 364"/>
              <a:gd name="T80" fmla="*/ 152 w 180"/>
              <a:gd name="T81" fmla="*/ 28 h 364"/>
              <a:gd name="T82" fmla="*/ 152 w 180"/>
              <a:gd name="T83" fmla="*/ 76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0" h="364">
                <a:moveTo>
                  <a:pt x="156" y="0"/>
                </a:moveTo>
                <a:cubicBezTo>
                  <a:pt x="0" y="0"/>
                  <a:pt x="0" y="0"/>
                  <a:pt x="0" y="0"/>
                </a:cubicBezTo>
                <a:cubicBezTo>
                  <a:pt x="0" y="340"/>
                  <a:pt x="0" y="340"/>
                  <a:pt x="0" y="340"/>
                </a:cubicBezTo>
                <a:cubicBezTo>
                  <a:pt x="0" y="353"/>
                  <a:pt x="10" y="364"/>
                  <a:pt x="24" y="364"/>
                </a:cubicBezTo>
                <a:cubicBezTo>
                  <a:pt x="180" y="364"/>
                  <a:pt x="180" y="364"/>
                  <a:pt x="180" y="364"/>
                </a:cubicBezTo>
                <a:cubicBezTo>
                  <a:pt x="180" y="24"/>
                  <a:pt x="180" y="24"/>
                  <a:pt x="180" y="24"/>
                </a:cubicBezTo>
                <a:cubicBezTo>
                  <a:pt x="180" y="11"/>
                  <a:pt x="169" y="0"/>
                  <a:pt x="156" y="0"/>
                </a:cubicBezTo>
                <a:moveTo>
                  <a:pt x="76" y="292"/>
                </a:moveTo>
                <a:cubicBezTo>
                  <a:pt x="28" y="292"/>
                  <a:pt x="28" y="292"/>
                  <a:pt x="28" y="292"/>
                </a:cubicBezTo>
                <a:cubicBezTo>
                  <a:pt x="28" y="244"/>
                  <a:pt x="28" y="244"/>
                  <a:pt x="28" y="244"/>
                </a:cubicBezTo>
                <a:cubicBezTo>
                  <a:pt x="76" y="244"/>
                  <a:pt x="76" y="244"/>
                  <a:pt x="76" y="244"/>
                </a:cubicBezTo>
                <a:lnTo>
                  <a:pt x="76" y="292"/>
                </a:lnTo>
                <a:close/>
                <a:moveTo>
                  <a:pt x="76" y="220"/>
                </a:moveTo>
                <a:cubicBezTo>
                  <a:pt x="28" y="220"/>
                  <a:pt x="28" y="220"/>
                  <a:pt x="28" y="220"/>
                </a:cubicBezTo>
                <a:cubicBezTo>
                  <a:pt x="28" y="172"/>
                  <a:pt x="28" y="172"/>
                  <a:pt x="28" y="172"/>
                </a:cubicBezTo>
                <a:cubicBezTo>
                  <a:pt x="76" y="172"/>
                  <a:pt x="76" y="172"/>
                  <a:pt x="76" y="172"/>
                </a:cubicBezTo>
                <a:lnTo>
                  <a:pt x="76" y="220"/>
                </a:lnTo>
                <a:close/>
                <a:moveTo>
                  <a:pt x="76" y="148"/>
                </a:moveTo>
                <a:cubicBezTo>
                  <a:pt x="28" y="148"/>
                  <a:pt x="28" y="148"/>
                  <a:pt x="28" y="148"/>
                </a:cubicBezTo>
                <a:cubicBezTo>
                  <a:pt x="28" y="100"/>
                  <a:pt x="28" y="100"/>
                  <a:pt x="28" y="100"/>
                </a:cubicBezTo>
                <a:cubicBezTo>
                  <a:pt x="76" y="100"/>
                  <a:pt x="76" y="100"/>
                  <a:pt x="76" y="100"/>
                </a:cubicBezTo>
                <a:lnTo>
                  <a:pt x="76" y="148"/>
                </a:lnTo>
                <a:close/>
                <a:moveTo>
                  <a:pt x="76" y="76"/>
                </a:moveTo>
                <a:cubicBezTo>
                  <a:pt x="28" y="76"/>
                  <a:pt x="28" y="76"/>
                  <a:pt x="28" y="76"/>
                </a:cubicBezTo>
                <a:cubicBezTo>
                  <a:pt x="28" y="28"/>
                  <a:pt x="28" y="28"/>
                  <a:pt x="28" y="28"/>
                </a:cubicBezTo>
                <a:cubicBezTo>
                  <a:pt x="76" y="28"/>
                  <a:pt x="76" y="28"/>
                  <a:pt x="76" y="28"/>
                </a:cubicBezTo>
                <a:lnTo>
                  <a:pt x="76" y="76"/>
                </a:lnTo>
                <a:close/>
                <a:moveTo>
                  <a:pt x="152" y="220"/>
                </a:moveTo>
                <a:cubicBezTo>
                  <a:pt x="104" y="220"/>
                  <a:pt x="104" y="220"/>
                  <a:pt x="104" y="220"/>
                </a:cubicBezTo>
                <a:cubicBezTo>
                  <a:pt x="104" y="172"/>
                  <a:pt x="104" y="172"/>
                  <a:pt x="104" y="172"/>
                </a:cubicBezTo>
                <a:cubicBezTo>
                  <a:pt x="152" y="172"/>
                  <a:pt x="152" y="172"/>
                  <a:pt x="152" y="172"/>
                </a:cubicBezTo>
                <a:lnTo>
                  <a:pt x="152" y="220"/>
                </a:lnTo>
                <a:close/>
                <a:moveTo>
                  <a:pt x="152" y="148"/>
                </a:moveTo>
                <a:cubicBezTo>
                  <a:pt x="104" y="148"/>
                  <a:pt x="104" y="148"/>
                  <a:pt x="104" y="148"/>
                </a:cubicBezTo>
                <a:cubicBezTo>
                  <a:pt x="104" y="100"/>
                  <a:pt x="104" y="100"/>
                  <a:pt x="104" y="100"/>
                </a:cubicBezTo>
                <a:cubicBezTo>
                  <a:pt x="152" y="100"/>
                  <a:pt x="152" y="100"/>
                  <a:pt x="152" y="100"/>
                </a:cubicBezTo>
                <a:lnTo>
                  <a:pt x="152" y="148"/>
                </a:lnTo>
                <a:close/>
                <a:moveTo>
                  <a:pt x="152" y="76"/>
                </a:moveTo>
                <a:cubicBezTo>
                  <a:pt x="104" y="76"/>
                  <a:pt x="104" y="76"/>
                  <a:pt x="104" y="76"/>
                </a:cubicBezTo>
                <a:cubicBezTo>
                  <a:pt x="104" y="28"/>
                  <a:pt x="104" y="28"/>
                  <a:pt x="104" y="28"/>
                </a:cubicBezTo>
                <a:cubicBezTo>
                  <a:pt x="152" y="28"/>
                  <a:pt x="152" y="28"/>
                  <a:pt x="152" y="28"/>
                </a:cubicBezTo>
                <a:lnTo>
                  <a:pt x="152" y="76"/>
                </a:lnTo>
                <a:close/>
              </a:path>
            </a:pathLst>
          </a:custGeom>
          <a:solidFill>
            <a:schemeClr val="accent4">
              <a:lumMod val="40000"/>
              <a:lumOff val="60000"/>
            </a:schemeClr>
          </a:solidFill>
          <a:ln>
            <a:noFill/>
          </a:ln>
        </p:spPr>
        <p:txBody>
          <a:bodyPr vert="horz" wrap="square" lIns="129909" tIns="64954" rIns="129909" bIns="64954" numCol="1" anchor="t" anchorCtr="0" compatLnSpc="1">
            <a:prstTxWarp prst="textNoShape">
              <a:avLst/>
            </a:prstTxWarp>
          </a:bodyPr>
          <a:lstStyle/>
          <a:p>
            <a:endParaRPr lang="en-US">
              <a:latin typeface="微软雅黑" pitchFamily="34" charset="-122"/>
              <a:ea typeface="微软雅黑" pitchFamily="34" charset="-122"/>
            </a:endParaRPr>
          </a:p>
        </p:txBody>
      </p:sp>
      <p:grpSp>
        <p:nvGrpSpPr>
          <p:cNvPr id="6" name="Group 5"/>
          <p:cNvGrpSpPr/>
          <p:nvPr/>
        </p:nvGrpSpPr>
        <p:grpSpPr>
          <a:xfrm>
            <a:off x="3000810" y="1414046"/>
            <a:ext cx="1481740" cy="1221955"/>
            <a:chOff x="2113298" y="994251"/>
            <a:chExt cx="1043504" cy="859187"/>
          </a:xfrm>
        </p:grpSpPr>
        <p:grpSp>
          <p:nvGrpSpPr>
            <p:cNvPr id="405" name="Group 404"/>
            <p:cNvGrpSpPr/>
            <p:nvPr/>
          </p:nvGrpSpPr>
          <p:grpSpPr>
            <a:xfrm>
              <a:off x="2113298" y="994251"/>
              <a:ext cx="1043504" cy="321946"/>
              <a:chOff x="161386" y="954156"/>
              <a:chExt cx="314542" cy="387627"/>
            </a:xfrm>
          </p:grpSpPr>
          <p:sp>
            <p:nvSpPr>
              <p:cNvPr id="406" name="Round Diagonal Corner Rectangle 405"/>
              <p:cNvSpPr/>
              <p:nvPr/>
            </p:nvSpPr>
            <p:spPr>
              <a:xfrm flipV="1">
                <a:off x="171035" y="954156"/>
                <a:ext cx="291924" cy="387626"/>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00" dirty="0">
                  <a:latin typeface="微软雅黑" pitchFamily="34" charset="-122"/>
                  <a:ea typeface="微软雅黑" pitchFamily="34" charset="-122"/>
                </a:endParaRPr>
              </a:p>
            </p:txBody>
          </p:sp>
          <p:sp>
            <p:nvSpPr>
              <p:cNvPr id="407" name="Round Diagonal Corner Rectangle 406"/>
              <p:cNvSpPr/>
              <p:nvPr/>
            </p:nvSpPr>
            <p:spPr>
              <a:xfrm>
                <a:off x="161386" y="954157"/>
                <a:ext cx="314542" cy="387626"/>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2300" dirty="0">
                    <a:latin typeface="微软雅黑" pitchFamily="34" charset="-122"/>
                    <a:ea typeface="微软雅黑" pitchFamily="34" charset="-122"/>
                  </a:rPr>
                  <a:t>研究</a:t>
                </a:r>
                <a:endParaRPr lang="en-US" sz="2300" dirty="0">
                  <a:latin typeface="微软雅黑" pitchFamily="34" charset="-122"/>
                  <a:ea typeface="微软雅黑" pitchFamily="34" charset="-122"/>
                </a:endParaRPr>
              </a:p>
            </p:txBody>
          </p:sp>
        </p:grpSp>
        <p:sp>
          <p:nvSpPr>
            <p:cNvPr id="422" name="Freeform 248"/>
            <p:cNvSpPr>
              <a:spLocks noEditPoints="1"/>
            </p:cNvSpPr>
            <p:nvPr/>
          </p:nvSpPr>
          <p:spPr bwMode="auto">
            <a:xfrm>
              <a:off x="2246142" y="1370083"/>
              <a:ext cx="492004" cy="483355"/>
            </a:xfrm>
            <a:custGeom>
              <a:avLst/>
              <a:gdLst>
                <a:gd name="T0" fmla="*/ 136 w 216"/>
                <a:gd name="T1" fmla="*/ 134 h 212"/>
                <a:gd name="T2" fmla="*/ 116 w 216"/>
                <a:gd name="T3" fmla="*/ 130 h 212"/>
                <a:gd name="T4" fmla="*/ 87 w 216"/>
                <a:gd name="T5" fmla="*/ 101 h 212"/>
                <a:gd name="T6" fmla="*/ 83 w 216"/>
                <a:gd name="T7" fmla="*/ 81 h 212"/>
                <a:gd name="T8" fmla="*/ 136 w 216"/>
                <a:gd name="T9" fmla="*/ 28 h 212"/>
                <a:gd name="T10" fmla="*/ 189 w 216"/>
                <a:gd name="T11" fmla="*/ 81 h 212"/>
                <a:gd name="T12" fmla="*/ 136 w 216"/>
                <a:gd name="T13" fmla="*/ 134 h 212"/>
                <a:gd name="T14" fmla="*/ 136 w 216"/>
                <a:gd name="T15" fmla="*/ 0 h 212"/>
                <a:gd name="T16" fmla="*/ 56 w 216"/>
                <a:gd name="T17" fmla="*/ 81 h 212"/>
                <a:gd name="T18" fmla="*/ 67 w 216"/>
                <a:gd name="T19" fmla="*/ 121 h 212"/>
                <a:gd name="T20" fmla="*/ 15 w 216"/>
                <a:gd name="T21" fmla="*/ 173 h 212"/>
                <a:gd name="T22" fmla="*/ 15 w 216"/>
                <a:gd name="T23" fmla="*/ 173 h 212"/>
                <a:gd name="T24" fmla="*/ 0 w 216"/>
                <a:gd name="T25" fmla="*/ 189 h 212"/>
                <a:gd name="T26" fmla="*/ 17 w 216"/>
                <a:gd name="T27" fmla="*/ 207 h 212"/>
                <a:gd name="T28" fmla="*/ 39 w 216"/>
                <a:gd name="T29" fmla="*/ 207 h 212"/>
                <a:gd name="T30" fmla="*/ 96 w 216"/>
                <a:gd name="T31" fmla="*/ 150 h 212"/>
                <a:gd name="T32" fmla="*/ 136 w 216"/>
                <a:gd name="T33" fmla="*/ 161 h 212"/>
                <a:gd name="T34" fmla="*/ 216 w 216"/>
                <a:gd name="T35" fmla="*/ 81 h 212"/>
                <a:gd name="T36" fmla="*/ 136 w 216"/>
                <a:gd name="T3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6" h="212">
                  <a:moveTo>
                    <a:pt x="136" y="134"/>
                  </a:moveTo>
                  <a:cubicBezTo>
                    <a:pt x="129" y="134"/>
                    <a:pt x="122" y="132"/>
                    <a:pt x="116" y="130"/>
                  </a:cubicBezTo>
                  <a:cubicBezTo>
                    <a:pt x="103" y="124"/>
                    <a:pt x="93" y="114"/>
                    <a:pt x="87" y="101"/>
                  </a:cubicBezTo>
                  <a:cubicBezTo>
                    <a:pt x="84" y="95"/>
                    <a:pt x="83" y="88"/>
                    <a:pt x="83" y="81"/>
                  </a:cubicBezTo>
                  <a:cubicBezTo>
                    <a:pt x="83" y="51"/>
                    <a:pt x="107" y="28"/>
                    <a:pt x="136" y="28"/>
                  </a:cubicBezTo>
                  <a:cubicBezTo>
                    <a:pt x="165" y="28"/>
                    <a:pt x="189" y="51"/>
                    <a:pt x="189" y="81"/>
                  </a:cubicBezTo>
                  <a:cubicBezTo>
                    <a:pt x="189" y="110"/>
                    <a:pt x="165" y="134"/>
                    <a:pt x="136" y="134"/>
                  </a:cubicBezTo>
                  <a:moveTo>
                    <a:pt x="136" y="0"/>
                  </a:moveTo>
                  <a:cubicBezTo>
                    <a:pt x="92" y="0"/>
                    <a:pt x="56" y="36"/>
                    <a:pt x="56" y="81"/>
                  </a:cubicBezTo>
                  <a:cubicBezTo>
                    <a:pt x="56" y="95"/>
                    <a:pt x="60" y="109"/>
                    <a:pt x="67" y="121"/>
                  </a:cubicBezTo>
                  <a:cubicBezTo>
                    <a:pt x="15" y="173"/>
                    <a:pt x="15" y="173"/>
                    <a:pt x="15" y="173"/>
                  </a:cubicBezTo>
                  <a:cubicBezTo>
                    <a:pt x="15" y="173"/>
                    <a:pt x="15" y="173"/>
                    <a:pt x="15" y="173"/>
                  </a:cubicBezTo>
                  <a:cubicBezTo>
                    <a:pt x="0" y="189"/>
                    <a:pt x="0" y="189"/>
                    <a:pt x="0" y="189"/>
                  </a:cubicBezTo>
                  <a:cubicBezTo>
                    <a:pt x="17" y="207"/>
                    <a:pt x="17" y="207"/>
                    <a:pt x="17" y="207"/>
                  </a:cubicBezTo>
                  <a:cubicBezTo>
                    <a:pt x="23" y="212"/>
                    <a:pt x="33" y="212"/>
                    <a:pt x="39" y="207"/>
                  </a:cubicBezTo>
                  <a:cubicBezTo>
                    <a:pt x="96" y="150"/>
                    <a:pt x="96" y="150"/>
                    <a:pt x="96" y="150"/>
                  </a:cubicBezTo>
                  <a:cubicBezTo>
                    <a:pt x="108" y="157"/>
                    <a:pt x="121" y="161"/>
                    <a:pt x="136" y="161"/>
                  </a:cubicBezTo>
                  <a:cubicBezTo>
                    <a:pt x="180" y="161"/>
                    <a:pt x="216" y="125"/>
                    <a:pt x="216" y="81"/>
                  </a:cubicBezTo>
                  <a:cubicBezTo>
                    <a:pt x="216" y="36"/>
                    <a:pt x="180" y="0"/>
                    <a:pt x="136" y="0"/>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nvGrpSpPr>
          <p:cNvPr id="432" name="Group 431"/>
          <p:cNvGrpSpPr/>
          <p:nvPr/>
        </p:nvGrpSpPr>
        <p:grpSpPr>
          <a:xfrm>
            <a:off x="3055350" y="5170062"/>
            <a:ext cx="1004809" cy="1200649"/>
            <a:chOff x="4008438" y="1887538"/>
            <a:chExt cx="1135063" cy="1354138"/>
          </a:xfrm>
          <a:solidFill>
            <a:srgbClr val="000000"/>
          </a:solidFill>
        </p:grpSpPr>
        <p:sp>
          <p:nvSpPr>
            <p:cNvPr id="433" name="Oval 796"/>
            <p:cNvSpPr>
              <a:spLocks noChangeArrowheads="1"/>
            </p:cNvSpPr>
            <p:nvPr/>
          </p:nvSpPr>
          <p:spPr bwMode="auto">
            <a:xfrm>
              <a:off x="4094163" y="2252663"/>
              <a:ext cx="184150" cy="195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34" name="Freeform 797"/>
            <p:cNvSpPr>
              <a:spLocks/>
            </p:cNvSpPr>
            <p:nvPr/>
          </p:nvSpPr>
          <p:spPr bwMode="auto">
            <a:xfrm>
              <a:off x="4008438" y="2478088"/>
              <a:ext cx="357188" cy="665163"/>
            </a:xfrm>
            <a:custGeom>
              <a:avLst/>
              <a:gdLst>
                <a:gd name="T0" fmla="*/ 75 w 95"/>
                <a:gd name="T1" fmla="*/ 0 h 177"/>
                <a:gd name="T2" fmla="*/ 48 w 95"/>
                <a:gd name="T3" fmla="*/ 0 h 177"/>
                <a:gd name="T4" fmla="*/ 20 w 95"/>
                <a:gd name="T5" fmla="*/ 0 h 177"/>
                <a:gd name="T6" fmla="*/ 0 w 95"/>
                <a:gd name="T7" fmla="*/ 21 h 177"/>
                <a:gd name="T8" fmla="*/ 0 w 95"/>
                <a:gd name="T9" fmla="*/ 24 h 177"/>
                <a:gd name="T10" fmla="*/ 0 w 95"/>
                <a:gd name="T11" fmla="*/ 40 h 177"/>
                <a:gd name="T12" fmla="*/ 0 w 95"/>
                <a:gd name="T13" fmla="*/ 55 h 177"/>
                <a:gd name="T14" fmla="*/ 0 w 95"/>
                <a:gd name="T15" fmla="*/ 83 h 177"/>
                <a:gd name="T16" fmla="*/ 0 w 95"/>
                <a:gd name="T17" fmla="*/ 83 h 177"/>
                <a:gd name="T18" fmla="*/ 8 w 95"/>
                <a:gd name="T19" fmla="*/ 91 h 177"/>
                <a:gd name="T20" fmla="*/ 16 w 95"/>
                <a:gd name="T21" fmla="*/ 84 h 177"/>
                <a:gd name="T22" fmla="*/ 16 w 95"/>
                <a:gd name="T23" fmla="*/ 83 h 177"/>
                <a:gd name="T24" fmla="*/ 16 w 95"/>
                <a:gd name="T25" fmla="*/ 27 h 177"/>
                <a:gd name="T26" fmla="*/ 18 w 95"/>
                <a:gd name="T27" fmla="*/ 25 h 177"/>
                <a:gd name="T28" fmla="*/ 20 w 95"/>
                <a:gd name="T29" fmla="*/ 27 h 177"/>
                <a:gd name="T30" fmla="*/ 20 w 95"/>
                <a:gd name="T31" fmla="*/ 87 h 177"/>
                <a:gd name="T32" fmla="*/ 20 w 95"/>
                <a:gd name="T33" fmla="*/ 95 h 177"/>
                <a:gd name="T34" fmla="*/ 20 w 95"/>
                <a:gd name="T35" fmla="*/ 96 h 177"/>
                <a:gd name="T36" fmla="*/ 20 w 95"/>
                <a:gd name="T37" fmla="*/ 96 h 177"/>
                <a:gd name="T38" fmla="*/ 26 w 95"/>
                <a:gd name="T39" fmla="*/ 163 h 177"/>
                <a:gd name="T40" fmla="*/ 40 w 95"/>
                <a:gd name="T41" fmla="*/ 177 h 177"/>
                <a:gd name="T42" fmla="*/ 48 w 95"/>
                <a:gd name="T43" fmla="*/ 177 h 177"/>
                <a:gd name="T44" fmla="*/ 55 w 95"/>
                <a:gd name="T45" fmla="*/ 177 h 177"/>
                <a:gd name="T46" fmla="*/ 69 w 95"/>
                <a:gd name="T47" fmla="*/ 163 h 177"/>
                <a:gd name="T48" fmla="*/ 75 w 95"/>
                <a:gd name="T49" fmla="*/ 96 h 177"/>
                <a:gd name="T50" fmla="*/ 75 w 95"/>
                <a:gd name="T51" fmla="*/ 96 h 177"/>
                <a:gd name="T52" fmla="*/ 75 w 95"/>
                <a:gd name="T53" fmla="*/ 95 h 177"/>
                <a:gd name="T54" fmla="*/ 75 w 95"/>
                <a:gd name="T55" fmla="*/ 87 h 177"/>
                <a:gd name="T56" fmla="*/ 75 w 95"/>
                <a:gd name="T57" fmla="*/ 27 h 177"/>
                <a:gd name="T58" fmla="*/ 77 w 95"/>
                <a:gd name="T59" fmla="*/ 25 h 177"/>
                <a:gd name="T60" fmla="*/ 79 w 95"/>
                <a:gd name="T61" fmla="*/ 27 h 177"/>
                <a:gd name="T62" fmla="*/ 79 w 95"/>
                <a:gd name="T63" fmla="*/ 83 h 177"/>
                <a:gd name="T64" fmla="*/ 79 w 95"/>
                <a:gd name="T65" fmla="*/ 84 h 177"/>
                <a:gd name="T66" fmla="*/ 87 w 95"/>
                <a:gd name="T67" fmla="*/ 91 h 177"/>
                <a:gd name="T68" fmla="*/ 95 w 95"/>
                <a:gd name="T69" fmla="*/ 83 h 177"/>
                <a:gd name="T70" fmla="*/ 95 w 95"/>
                <a:gd name="T71" fmla="*/ 83 h 177"/>
                <a:gd name="T72" fmla="*/ 95 w 95"/>
                <a:gd name="T73" fmla="*/ 40 h 177"/>
                <a:gd name="T74" fmla="*/ 95 w 95"/>
                <a:gd name="T75" fmla="*/ 24 h 177"/>
                <a:gd name="T76" fmla="*/ 95 w 95"/>
                <a:gd name="T77" fmla="*/ 21 h 177"/>
                <a:gd name="T78" fmla="*/ 75 w 95"/>
                <a:gd name="T79"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5" h="177">
                  <a:moveTo>
                    <a:pt x="75" y="0"/>
                  </a:moveTo>
                  <a:cubicBezTo>
                    <a:pt x="48" y="0"/>
                    <a:pt x="48" y="0"/>
                    <a:pt x="48" y="0"/>
                  </a:cubicBezTo>
                  <a:cubicBezTo>
                    <a:pt x="20" y="0"/>
                    <a:pt x="20" y="0"/>
                    <a:pt x="20" y="0"/>
                  </a:cubicBezTo>
                  <a:cubicBezTo>
                    <a:pt x="7" y="0"/>
                    <a:pt x="0" y="6"/>
                    <a:pt x="0" y="21"/>
                  </a:cubicBezTo>
                  <a:cubicBezTo>
                    <a:pt x="0" y="24"/>
                    <a:pt x="0" y="24"/>
                    <a:pt x="0" y="24"/>
                  </a:cubicBezTo>
                  <a:cubicBezTo>
                    <a:pt x="0" y="40"/>
                    <a:pt x="0" y="40"/>
                    <a:pt x="0" y="40"/>
                  </a:cubicBezTo>
                  <a:cubicBezTo>
                    <a:pt x="0" y="55"/>
                    <a:pt x="0" y="55"/>
                    <a:pt x="0" y="55"/>
                  </a:cubicBezTo>
                  <a:cubicBezTo>
                    <a:pt x="0" y="83"/>
                    <a:pt x="0" y="83"/>
                    <a:pt x="0" y="83"/>
                  </a:cubicBezTo>
                  <a:cubicBezTo>
                    <a:pt x="0" y="83"/>
                    <a:pt x="0" y="83"/>
                    <a:pt x="0" y="83"/>
                  </a:cubicBezTo>
                  <a:cubicBezTo>
                    <a:pt x="0" y="88"/>
                    <a:pt x="4" y="91"/>
                    <a:pt x="8" y="91"/>
                  </a:cubicBezTo>
                  <a:cubicBezTo>
                    <a:pt x="12" y="91"/>
                    <a:pt x="15" y="88"/>
                    <a:pt x="16" y="84"/>
                  </a:cubicBezTo>
                  <a:cubicBezTo>
                    <a:pt x="16" y="84"/>
                    <a:pt x="16" y="84"/>
                    <a:pt x="16" y="83"/>
                  </a:cubicBezTo>
                  <a:cubicBezTo>
                    <a:pt x="16" y="27"/>
                    <a:pt x="16" y="27"/>
                    <a:pt x="16" y="27"/>
                  </a:cubicBezTo>
                  <a:cubicBezTo>
                    <a:pt x="16" y="26"/>
                    <a:pt x="17" y="25"/>
                    <a:pt x="18" y="25"/>
                  </a:cubicBezTo>
                  <a:cubicBezTo>
                    <a:pt x="19" y="25"/>
                    <a:pt x="20" y="26"/>
                    <a:pt x="20" y="27"/>
                  </a:cubicBezTo>
                  <a:cubicBezTo>
                    <a:pt x="20" y="87"/>
                    <a:pt x="20" y="87"/>
                    <a:pt x="20" y="87"/>
                  </a:cubicBezTo>
                  <a:cubicBezTo>
                    <a:pt x="20" y="87"/>
                    <a:pt x="20" y="92"/>
                    <a:pt x="20" y="95"/>
                  </a:cubicBezTo>
                  <a:cubicBezTo>
                    <a:pt x="20" y="96"/>
                    <a:pt x="20" y="96"/>
                    <a:pt x="20" y="96"/>
                  </a:cubicBezTo>
                  <a:cubicBezTo>
                    <a:pt x="20" y="96"/>
                    <a:pt x="20" y="96"/>
                    <a:pt x="20" y="96"/>
                  </a:cubicBezTo>
                  <a:cubicBezTo>
                    <a:pt x="26" y="163"/>
                    <a:pt x="26" y="163"/>
                    <a:pt x="26" y="163"/>
                  </a:cubicBezTo>
                  <a:cubicBezTo>
                    <a:pt x="27" y="173"/>
                    <a:pt x="31" y="177"/>
                    <a:pt x="40" y="177"/>
                  </a:cubicBezTo>
                  <a:cubicBezTo>
                    <a:pt x="48" y="177"/>
                    <a:pt x="48" y="177"/>
                    <a:pt x="48" y="177"/>
                  </a:cubicBezTo>
                  <a:cubicBezTo>
                    <a:pt x="55" y="177"/>
                    <a:pt x="55" y="177"/>
                    <a:pt x="55" y="177"/>
                  </a:cubicBezTo>
                  <a:cubicBezTo>
                    <a:pt x="64" y="177"/>
                    <a:pt x="68" y="173"/>
                    <a:pt x="69" y="163"/>
                  </a:cubicBezTo>
                  <a:cubicBezTo>
                    <a:pt x="75" y="96"/>
                    <a:pt x="75" y="96"/>
                    <a:pt x="75" y="96"/>
                  </a:cubicBezTo>
                  <a:cubicBezTo>
                    <a:pt x="75" y="96"/>
                    <a:pt x="75" y="96"/>
                    <a:pt x="75" y="96"/>
                  </a:cubicBezTo>
                  <a:cubicBezTo>
                    <a:pt x="75" y="95"/>
                    <a:pt x="75" y="95"/>
                    <a:pt x="75" y="95"/>
                  </a:cubicBezTo>
                  <a:cubicBezTo>
                    <a:pt x="75" y="92"/>
                    <a:pt x="75" y="87"/>
                    <a:pt x="75" y="87"/>
                  </a:cubicBezTo>
                  <a:cubicBezTo>
                    <a:pt x="75" y="27"/>
                    <a:pt x="75" y="27"/>
                    <a:pt x="75" y="27"/>
                  </a:cubicBezTo>
                  <a:cubicBezTo>
                    <a:pt x="75" y="26"/>
                    <a:pt x="76" y="25"/>
                    <a:pt x="77" y="25"/>
                  </a:cubicBezTo>
                  <a:cubicBezTo>
                    <a:pt x="78" y="25"/>
                    <a:pt x="79" y="26"/>
                    <a:pt x="79" y="27"/>
                  </a:cubicBezTo>
                  <a:cubicBezTo>
                    <a:pt x="79" y="83"/>
                    <a:pt x="79" y="83"/>
                    <a:pt x="79" y="83"/>
                  </a:cubicBezTo>
                  <a:cubicBezTo>
                    <a:pt x="79" y="84"/>
                    <a:pt x="79" y="84"/>
                    <a:pt x="79" y="84"/>
                  </a:cubicBezTo>
                  <a:cubicBezTo>
                    <a:pt x="80" y="88"/>
                    <a:pt x="83" y="91"/>
                    <a:pt x="87" y="91"/>
                  </a:cubicBezTo>
                  <a:cubicBezTo>
                    <a:pt x="91" y="91"/>
                    <a:pt x="95" y="88"/>
                    <a:pt x="95" y="83"/>
                  </a:cubicBezTo>
                  <a:cubicBezTo>
                    <a:pt x="95" y="83"/>
                    <a:pt x="95" y="83"/>
                    <a:pt x="95" y="83"/>
                  </a:cubicBezTo>
                  <a:cubicBezTo>
                    <a:pt x="95" y="40"/>
                    <a:pt x="95" y="40"/>
                    <a:pt x="95" y="40"/>
                  </a:cubicBezTo>
                  <a:cubicBezTo>
                    <a:pt x="95" y="24"/>
                    <a:pt x="95" y="24"/>
                    <a:pt x="95" y="24"/>
                  </a:cubicBezTo>
                  <a:cubicBezTo>
                    <a:pt x="95" y="21"/>
                    <a:pt x="95" y="21"/>
                    <a:pt x="95" y="21"/>
                  </a:cubicBezTo>
                  <a:cubicBezTo>
                    <a:pt x="95" y="6"/>
                    <a:pt x="88" y="0"/>
                    <a:pt x="7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35" name="Oval 798"/>
            <p:cNvSpPr>
              <a:spLocks noChangeArrowheads="1"/>
            </p:cNvSpPr>
            <p:nvPr/>
          </p:nvSpPr>
          <p:spPr bwMode="auto">
            <a:xfrm>
              <a:off x="4778376" y="2041526"/>
              <a:ext cx="249238" cy="2667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36" name="Freeform 799"/>
            <p:cNvSpPr>
              <a:spLocks/>
            </p:cNvSpPr>
            <p:nvPr/>
          </p:nvSpPr>
          <p:spPr bwMode="auto">
            <a:xfrm>
              <a:off x="4157663" y="1887538"/>
              <a:ext cx="771525" cy="250825"/>
            </a:xfrm>
            <a:custGeom>
              <a:avLst/>
              <a:gdLst>
                <a:gd name="T0" fmla="*/ 16 w 205"/>
                <a:gd name="T1" fmla="*/ 16 h 67"/>
                <a:gd name="T2" fmla="*/ 104 w 205"/>
                <a:gd name="T3" fmla="*/ 16 h 67"/>
                <a:gd name="T4" fmla="*/ 104 w 205"/>
                <a:gd name="T5" fmla="*/ 67 h 67"/>
                <a:gd name="T6" fmla="*/ 120 w 205"/>
                <a:gd name="T7" fmla="*/ 67 h 67"/>
                <a:gd name="T8" fmla="*/ 120 w 205"/>
                <a:gd name="T9" fmla="*/ 16 h 67"/>
                <a:gd name="T10" fmla="*/ 189 w 205"/>
                <a:gd name="T11" fmla="*/ 16 h 67"/>
                <a:gd name="T12" fmla="*/ 189 w 205"/>
                <a:gd name="T13" fmla="*/ 32 h 67"/>
                <a:gd name="T14" fmla="*/ 198 w 205"/>
                <a:gd name="T15" fmla="*/ 32 h 67"/>
                <a:gd name="T16" fmla="*/ 205 w 205"/>
                <a:gd name="T17" fmla="*/ 32 h 67"/>
                <a:gd name="T18" fmla="*/ 205 w 205"/>
                <a:gd name="T19" fmla="*/ 0 h 67"/>
                <a:gd name="T20" fmla="*/ 0 w 205"/>
                <a:gd name="T21" fmla="*/ 0 h 67"/>
                <a:gd name="T22" fmla="*/ 0 w 205"/>
                <a:gd name="T23" fmla="*/ 67 h 67"/>
                <a:gd name="T24" fmla="*/ 16 w 205"/>
                <a:gd name="T25" fmla="*/ 67 h 67"/>
                <a:gd name="T26" fmla="*/ 16 w 205"/>
                <a:gd name="T27" fmla="*/ 16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5" h="67">
                  <a:moveTo>
                    <a:pt x="16" y="16"/>
                  </a:moveTo>
                  <a:cubicBezTo>
                    <a:pt x="104" y="16"/>
                    <a:pt x="104" y="16"/>
                    <a:pt x="104" y="16"/>
                  </a:cubicBezTo>
                  <a:cubicBezTo>
                    <a:pt x="104" y="67"/>
                    <a:pt x="104" y="67"/>
                    <a:pt x="104" y="67"/>
                  </a:cubicBezTo>
                  <a:cubicBezTo>
                    <a:pt x="120" y="67"/>
                    <a:pt x="120" y="67"/>
                    <a:pt x="120" y="67"/>
                  </a:cubicBezTo>
                  <a:cubicBezTo>
                    <a:pt x="120" y="16"/>
                    <a:pt x="120" y="16"/>
                    <a:pt x="120" y="16"/>
                  </a:cubicBezTo>
                  <a:cubicBezTo>
                    <a:pt x="189" y="16"/>
                    <a:pt x="189" y="16"/>
                    <a:pt x="189" y="16"/>
                  </a:cubicBezTo>
                  <a:cubicBezTo>
                    <a:pt x="189" y="32"/>
                    <a:pt x="189" y="32"/>
                    <a:pt x="189" y="32"/>
                  </a:cubicBezTo>
                  <a:cubicBezTo>
                    <a:pt x="192" y="32"/>
                    <a:pt x="195" y="32"/>
                    <a:pt x="198" y="32"/>
                  </a:cubicBezTo>
                  <a:cubicBezTo>
                    <a:pt x="201" y="32"/>
                    <a:pt x="203" y="32"/>
                    <a:pt x="205" y="32"/>
                  </a:cubicBezTo>
                  <a:cubicBezTo>
                    <a:pt x="205" y="0"/>
                    <a:pt x="205" y="0"/>
                    <a:pt x="205" y="0"/>
                  </a:cubicBezTo>
                  <a:cubicBezTo>
                    <a:pt x="0" y="0"/>
                    <a:pt x="0" y="0"/>
                    <a:pt x="0" y="0"/>
                  </a:cubicBezTo>
                  <a:cubicBezTo>
                    <a:pt x="0" y="67"/>
                    <a:pt x="0" y="67"/>
                    <a:pt x="0" y="67"/>
                  </a:cubicBezTo>
                  <a:cubicBezTo>
                    <a:pt x="16" y="67"/>
                    <a:pt x="16" y="67"/>
                    <a:pt x="16" y="67"/>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37" name="Freeform 800"/>
            <p:cNvSpPr>
              <a:spLocks/>
            </p:cNvSpPr>
            <p:nvPr/>
          </p:nvSpPr>
          <p:spPr bwMode="auto">
            <a:xfrm>
              <a:off x="4489451" y="2252663"/>
              <a:ext cx="184150" cy="195263"/>
            </a:xfrm>
            <a:custGeom>
              <a:avLst/>
              <a:gdLst>
                <a:gd name="T0" fmla="*/ 0 w 49"/>
                <a:gd name="T1" fmla="*/ 26 h 52"/>
                <a:gd name="T2" fmla="*/ 25 w 49"/>
                <a:gd name="T3" fmla="*/ 52 h 52"/>
                <a:gd name="T4" fmla="*/ 38 w 49"/>
                <a:gd name="T5" fmla="*/ 50 h 52"/>
                <a:gd name="T6" fmla="*/ 49 w 49"/>
                <a:gd name="T7" fmla="*/ 25 h 52"/>
                <a:gd name="T8" fmla="*/ 25 w 49"/>
                <a:gd name="T9" fmla="*/ 0 h 52"/>
                <a:gd name="T10" fmla="*/ 0 w 49"/>
                <a:gd name="T11" fmla="*/ 26 h 52"/>
              </a:gdLst>
              <a:ahLst/>
              <a:cxnLst>
                <a:cxn ang="0">
                  <a:pos x="T0" y="T1"/>
                </a:cxn>
                <a:cxn ang="0">
                  <a:pos x="T2" y="T3"/>
                </a:cxn>
                <a:cxn ang="0">
                  <a:pos x="T4" y="T5"/>
                </a:cxn>
                <a:cxn ang="0">
                  <a:pos x="T6" y="T7"/>
                </a:cxn>
                <a:cxn ang="0">
                  <a:pos x="T8" y="T9"/>
                </a:cxn>
                <a:cxn ang="0">
                  <a:pos x="T10" y="T11"/>
                </a:cxn>
              </a:cxnLst>
              <a:rect l="0" t="0" r="r" b="b"/>
              <a:pathLst>
                <a:path w="49" h="52">
                  <a:moveTo>
                    <a:pt x="0" y="26"/>
                  </a:moveTo>
                  <a:cubicBezTo>
                    <a:pt x="0" y="45"/>
                    <a:pt x="7" y="52"/>
                    <a:pt x="25" y="52"/>
                  </a:cubicBezTo>
                  <a:cubicBezTo>
                    <a:pt x="30" y="52"/>
                    <a:pt x="35" y="52"/>
                    <a:pt x="38" y="50"/>
                  </a:cubicBezTo>
                  <a:cubicBezTo>
                    <a:pt x="39" y="39"/>
                    <a:pt x="43" y="30"/>
                    <a:pt x="49" y="25"/>
                  </a:cubicBezTo>
                  <a:cubicBezTo>
                    <a:pt x="49" y="7"/>
                    <a:pt x="42" y="0"/>
                    <a:pt x="25" y="0"/>
                  </a:cubicBezTo>
                  <a:cubicBezTo>
                    <a:pt x="7" y="0"/>
                    <a:pt x="0" y="7"/>
                    <a:pt x="0" y="2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38" name="Freeform 801"/>
            <p:cNvSpPr>
              <a:spLocks/>
            </p:cNvSpPr>
            <p:nvPr/>
          </p:nvSpPr>
          <p:spPr bwMode="auto">
            <a:xfrm>
              <a:off x="4402138" y="2478088"/>
              <a:ext cx="282575" cy="665163"/>
            </a:xfrm>
            <a:custGeom>
              <a:avLst/>
              <a:gdLst>
                <a:gd name="T0" fmla="*/ 61 w 75"/>
                <a:gd name="T1" fmla="*/ 77 h 177"/>
                <a:gd name="T2" fmla="*/ 61 w 75"/>
                <a:gd name="T3" fmla="*/ 0 h 177"/>
                <a:gd name="T4" fmla="*/ 48 w 75"/>
                <a:gd name="T5" fmla="*/ 0 h 177"/>
                <a:gd name="T6" fmla="*/ 20 w 75"/>
                <a:gd name="T7" fmla="*/ 0 h 177"/>
                <a:gd name="T8" fmla="*/ 0 w 75"/>
                <a:gd name="T9" fmla="*/ 21 h 177"/>
                <a:gd name="T10" fmla="*/ 0 w 75"/>
                <a:gd name="T11" fmla="*/ 24 h 177"/>
                <a:gd name="T12" fmla="*/ 0 w 75"/>
                <a:gd name="T13" fmla="*/ 40 h 177"/>
                <a:gd name="T14" fmla="*/ 0 w 75"/>
                <a:gd name="T15" fmla="*/ 55 h 177"/>
                <a:gd name="T16" fmla="*/ 0 w 75"/>
                <a:gd name="T17" fmla="*/ 83 h 177"/>
                <a:gd name="T18" fmla="*/ 0 w 75"/>
                <a:gd name="T19" fmla="*/ 83 h 177"/>
                <a:gd name="T20" fmla="*/ 8 w 75"/>
                <a:gd name="T21" fmla="*/ 91 h 177"/>
                <a:gd name="T22" fmla="*/ 16 w 75"/>
                <a:gd name="T23" fmla="*/ 84 h 177"/>
                <a:gd name="T24" fmla="*/ 16 w 75"/>
                <a:gd name="T25" fmla="*/ 83 h 177"/>
                <a:gd name="T26" fmla="*/ 16 w 75"/>
                <a:gd name="T27" fmla="*/ 27 h 177"/>
                <a:gd name="T28" fmla="*/ 18 w 75"/>
                <a:gd name="T29" fmla="*/ 25 h 177"/>
                <a:gd name="T30" fmla="*/ 20 w 75"/>
                <a:gd name="T31" fmla="*/ 27 h 177"/>
                <a:gd name="T32" fmla="*/ 20 w 75"/>
                <a:gd name="T33" fmla="*/ 87 h 177"/>
                <a:gd name="T34" fmla="*/ 20 w 75"/>
                <a:gd name="T35" fmla="*/ 95 h 177"/>
                <a:gd name="T36" fmla="*/ 20 w 75"/>
                <a:gd name="T37" fmla="*/ 96 h 177"/>
                <a:gd name="T38" fmla="*/ 20 w 75"/>
                <a:gd name="T39" fmla="*/ 96 h 177"/>
                <a:gd name="T40" fmla="*/ 27 w 75"/>
                <a:gd name="T41" fmla="*/ 163 h 177"/>
                <a:gd name="T42" fmla="*/ 40 w 75"/>
                <a:gd name="T43" fmla="*/ 177 h 177"/>
                <a:gd name="T44" fmla="*/ 48 w 75"/>
                <a:gd name="T45" fmla="*/ 177 h 177"/>
                <a:gd name="T46" fmla="*/ 55 w 75"/>
                <a:gd name="T47" fmla="*/ 177 h 177"/>
                <a:gd name="T48" fmla="*/ 69 w 75"/>
                <a:gd name="T49" fmla="*/ 163 h 177"/>
                <a:gd name="T50" fmla="*/ 75 w 75"/>
                <a:gd name="T51" fmla="*/ 96 h 177"/>
                <a:gd name="T52" fmla="*/ 75 w 75"/>
                <a:gd name="T53" fmla="*/ 96 h 177"/>
                <a:gd name="T54" fmla="*/ 75 w 75"/>
                <a:gd name="T55" fmla="*/ 95 h 177"/>
                <a:gd name="T56" fmla="*/ 75 w 75"/>
                <a:gd name="T57" fmla="*/ 95 h 177"/>
                <a:gd name="T58" fmla="*/ 61 w 75"/>
                <a:gd name="T59" fmla="*/ 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5" h="177">
                  <a:moveTo>
                    <a:pt x="61" y="77"/>
                  </a:moveTo>
                  <a:cubicBezTo>
                    <a:pt x="61" y="0"/>
                    <a:pt x="61" y="0"/>
                    <a:pt x="61" y="0"/>
                  </a:cubicBezTo>
                  <a:cubicBezTo>
                    <a:pt x="48" y="0"/>
                    <a:pt x="48" y="0"/>
                    <a:pt x="48" y="0"/>
                  </a:cubicBezTo>
                  <a:cubicBezTo>
                    <a:pt x="20" y="0"/>
                    <a:pt x="20" y="0"/>
                    <a:pt x="20" y="0"/>
                  </a:cubicBezTo>
                  <a:cubicBezTo>
                    <a:pt x="7" y="0"/>
                    <a:pt x="0" y="6"/>
                    <a:pt x="0" y="21"/>
                  </a:cubicBezTo>
                  <a:cubicBezTo>
                    <a:pt x="0" y="24"/>
                    <a:pt x="0" y="24"/>
                    <a:pt x="0" y="24"/>
                  </a:cubicBezTo>
                  <a:cubicBezTo>
                    <a:pt x="0" y="40"/>
                    <a:pt x="0" y="40"/>
                    <a:pt x="0" y="40"/>
                  </a:cubicBezTo>
                  <a:cubicBezTo>
                    <a:pt x="0" y="55"/>
                    <a:pt x="0" y="55"/>
                    <a:pt x="0" y="55"/>
                  </a:cubicBezTo>
                  <a:cubicBezTo>
                    <a:pt x="0" y="83"/>
                    <a:pt x="0" y="83"/>
                    <a:pt x="0" y="83"/>
                  </a:cubicBezTo>
                  <a:cubicBezTo>
                    <a:pt x="0" y="83"/>
                    <a:pt x="0" y="83"/>
                    <a:pt x="0" y="83"/>
                  </a:cubicBezTo>
                  <a:cubicBezTo>
                    <a:pt x="0" y="88"/>
                    <a:pt x="4" y="91"/>
                    <a:pt x="8" y="91"/>
                  </a:cubicBezTo>
                  <a:cubicBezTo>
                    <a:pt x="12" y="91"/>
                    <a:pt x="15" y="88"/>
                    <a:pt x="16" y="84"/>
                  </a:cubicBezTo>
                  <a:cubicBezTo>
                    <a:pt x="16" y="84"/>
                    <a:pt x="16" y="84"/>
                    <a:pt x="16" y="83"/>
                  </a:cubicBezTo>
                  <a:cubicBezTo>
                    <a:pt x="16" y="27"/>
                    <a:pt x="16" y="27"/>
                    <a:pt x="16" y="27"/>
                  </a:cubicBezTo>
                  <a:cubicBezTo>
                    <a:pt x="16" y="26"/>
                    <a:pt x="17" y="25"/>
                    <a:pt x="18" y="25"/>
                  </a:cubicBezTo>
                  <a:cubicBezTo>
                    <a:pt x="19" y="25"/>
                    <a:pt x="20" y="26"/>
                    <a:pt x="20" y="27"/>
                  </a:cubicBezTo>
                  <a:cubicBezTo>
                    <a:pt x="20" y="87"/>
                    <a:pt x="20" y="87"/>
                    <a:pt x="20" y="87"/>
                  </a:cubicBezTo>
                  <a:cubicBezTo>
                    <a:pt x="20" y="87"/>
                    <a:pt x="20" y="92"/>
                    <a:pt x="20" y="95"/>
                  </a:cubicBezTo>
                  <a:cubicBezTo>
                    <a:pt x="20" y="96"/>
                    <a:pt x="20" y="96"/>
                    <a:pt x="20" y="96"/>
                  </a:cubicBezTo>
                  <a:cubicBezTo>
                    <a:pt x="20" y="96"/>
                    <a:pt x="20" y="96"/>
                    <a:pt x="20" y="96"/>
                  </a:cubicBezTo>
                  <a:cubicBezTo>
                    <a:pt x="27" y="163"/>
                    <a:pt x="27" y="163"/>
                    <a:pt x="27" y="163"/>
                  </a:cubicBezTo>
                  <a:cubicBezTo>
                    <a:pt x="28" y="173"/>
                    <a:pt x="31" y="177"/>
                    <a:pt x="40" y="177"/>
                  </a:cubicBezTo>
                  <a:cubicBezTo>
                    <a:pt x="48" y="177"/>
                    <a:pt x="48" y="177"/>
                    <a:pt x="48" y="177"/>
                  </a:cubicBezTo>
                  <a:cubicBezTo>
                    <a:pt x="55" y="177"/>
                    <a:pt x="55" y="177"/>
                    <a:pt x="55" y="177"/>
                  </a:cubicBezTo>
                  <a:cubicBezTo>
                    <a:pt x="64" y="177"/>
                    <a:pt x="68" y="173"/>
                    <a:pt x="69" y="163"/>
                  </a:cubicBezTo>
                  <a:cubicBezTo>
                    <a:pt x="75" y="96"/>
                    <a:pt x="75" y="96"/>
                    <a:pt x="75" y="96"/>
                  </a:cubicBezTo>
                  <a:cubicBezTo>
                    <a:pt x="75" y="96"/>
                    <a:pt x="75" y="96"/>
                    <a:pt x="75" y="96"/>
                  </a:cubicBezTo>
                  <a:cubicBezTo>
                    <a:pt x="75" y="95"/>
                    <a:pt x="75" y="95"/>
                    <a:pt x="75" y="95"/>
                  </a:cubicBezTo>
                  <a:cubicBezTo>
                    <a:pt x="75" y="95"/>
                    <a:pt x="75" y="95"/>
                    <a:pt x="75" y="95"/>
                  </a:cubicBezTo>
                  <a:cubicBezTo>
                    <a:pt x="67" y="93"/>
                    <a:pt x="61" y="85"/>
                    <a:pt x="61" y="7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39" name="Freeform 802"/>
            <p:cNvSpPr>
              <a:spLocks/>
            </p:cNvSpPr>
            <p:nvPr/>
          </p:nvSpPr>
          <p:spPr bwMode="auto">
            <a:xfrm>
              <a:off x="4662488" y="2346326"/>
              <a:ext cx="481013" cy="895350"/>
            </a:xfrm>
            <a:custGeom>
              <a:avLst/>
              <a:gdLst>
                <a:gd name="T0" fmla="*/ 101 w 128"/>
                <a:gd name="T1" fmla="*/ 0 h 238"/>
                <a:gd name="T2" fmla="*/ 64 w 128"/>
                <a:gd name="T3" fmla="*/ 0 h 238"/>
                <a:gd name="T4" fmla="*/ 27 w 128"/>
                <a:gd name="T5" fmla="*/ 0 h 238"/>
                <a:gd name="T6" fmla="*/ 0 w 128"/>
                <a:gd name="T7" fmla="*/ 29 h 238"/>
                <a:gd name="T8" fmla="*/ 0 w 128"/>
                <a:gd name="T9" fmla="*/ 32 h 238"/>
                <a:gd name="T10" fmla="*/ 0 w 128"/>
                <a:gd name="T11" fmla="*/ 54 h 238"/>
                <a:gd name="T12" fmla="*/ 0 w 128"/>
                <a:gd name="T13" fmla="*/ 74 h 238"/>
                <a:gd name="T14" fmla="*/ 0 w 128"/>
                <a:gd name="T15" fmla="*/ 112 h 238"/>
                <a:gd name="T16" fmla="*/ 0 w 128"/>
                <a:gd name="T17" fmla="*/ 112 h 238"/>
                <a:gd name="T18" fmla="*/ 11 w 128"/>
                <a:gd name="T19" fmla="*/ 122 h 238"/>
                <a:gd name="T20" fmla="*/ 21 w 128"/>
                <a:gd name="T21" fmla="*/ 113 h 238"/>
                <a:gd name="T22" fmla="*/ 21 w 128"/>
                <a:gd name="T23" fmla="*/ 112 h 238"/>
                <a:gd name="T24" fmla="*/ 21 w 128"/>
                <a:gd name="T25" fmla="*/ 36 h 238"/>
                <a:gd name="T26" fmla="*/ 24 w 128"/>
                <a:gd name="T27" fmla="*/ 33 h 238"/>
                <a:gd name="T28" fmla="*/ 27 w 128"/>
                <a:gd name="T29" fmla="*/ 36 h 238"/>
                <a:gd name="T30" fmla="*/ 27 w 128"/>
                <a:gd name="T31" fmla="*/ 116 h 238"/>
                <a:gd name="T32" fmla="*/ 27 w 128"/>
                <a:gd name="T33" fmla="*/ 128 h 238"/>
                <a:gd name="T34" fmla="*/ 27 w 128"/>
                <a:gd name="T35" fmla="*/ 128 h 238"/>
                <a:gd name="T36" fmla="*/ 27 w 128"/>
                <a:gd name="T37" fmla="*/ 128 h 238"/>
                <a:gd name="T38" fmla="*/ 36 w 128"/>
                <a:gd name="T39" fmla="*/ 219 h 238"/>
                <a:gd name="T40" fmla="*/ 54 w 128"/>
                <a:gd name="T41" fmla="*/ 238 h 238"/>
                <a:gd name="T42" fmla="*/ 64 w 128"/>
                <a:gd name="T43" fmla="*/ 238 h 238"/>
                <a:gd name="T44" fmla="*/ 74 w 128"/>
                <a:gd name="T45" fmla="*/ 238 h 238"/>
                <a:gd name="T46" fmla="*/ 92 w 128"/>
                <a:gd name="T47" fmla="*/ 219 h 238"/>
                <a:gd name="T48" fmla="*/ 101 w 128"/>
                <a:gd name="T49" fmla="*/ 128 h 238"/>
                <a:gd name="T50" fmla="*/ 101 w 128"/>
                <a:gd name="T51" fmla="*/ 128 h 238"/>
                <a:gd name="T52" fmla="*/ 101 w 128"/>
                <a:gd name="T53" fmla="*/ 128 h 238"/>
                <a:gd name="T54" fmla="*/ 101 w 128"/>
                <a:gd name="T55" fmla="*/ 116 h 238"/>
                <a:gd name="T56" fmla="*/ 101 w 128"/>
                <a:gd name="T57" fmla="*/ 36 h 238"/>
                <a:gd name="T58" fmla="*/ 104 w 128"/>
                <a:gd name="T59" fmla="*/ 33 h 238"/>
                <a:gd name="T60" fmla="*/ 106 w 128"/>
                <a:gd name="T61" fmla="*/ 36 h 238"/>
                <a:gd name="T62" fmla="*/ 106 w 128"/>
                <a:gd name="T63" fmla="*/ 112 h 238"/>
                <a:gd name="T64" fmla="*/ 107 w 128"/>
                <a:gd name="T65" fmla="*/ 113 h 238"/>
                <a:gd name="T66" fmla="*/ 117 w 128"/>
                <a:gd name="T67" fmla="*/ 122 h 238"/>
                <a:gd name="T68" fmla="*/ 128 w 128"/>
                <a:gd name="T69" fmla="*/ 112 h 238"/>
                <a:gd name="T70" fmla="*/ 128 w 128"/>
                <a:gd name="T71" fmla="*/ 112 h 238"/>
                <a:gd name="T72" fmla="*/ 128 w 128"/>
                <a:gd name="T73" fmla="*/ 54 h 238"/>
                <a:gd name="T74" fmla="*/ 128 w 128"/>
                <a:gd name="T75" fmla="*/ 32 h 238"/>
                <a:gd name="T76" fmla="*/ 128 w 128"/>
                <a:gd name="T77" fmla="*/ 29 h 238"/>
                <a:gd name="T78" fmla="*/ 101 w 128"/>
                <a:gd name="T79"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238">
                  <a:moveTo>
                    <a:pt x="101" y="0"/>
                  </a:moveTo>
                  <a:cubicBezTo>
                    <a:pt x="64" y="0"/>
                    <a:pt x="64" y="0"/>
                    <a:pt x="64" y="0"/>
                  </a:cubicBezTo>
                  <a:cubicBezTo>
                    <a:pt x="27" y="0"/>
                    <a:pt x="27" y="0"/>
                    <a:pt x="27" y="0"/>
                  </a:cubicBezTo>
                  <a:cubicBezTo>
                    <a:pt x="10" y="0"/>
                    <a:pt x="0" y="8"/>
                    <a:pt x="0" y="29"/>
                  </a:cubicBezTo>
                  <a:cubicBezTo>
                    <a:pt x="0" y="32"/>
                    <a:pt x="0" y="32"/>
                    <a:pt x="0" y="32"/>
                  </a:cubicBezTo>
                  <a:cubicBezTo>
                    <a:pt x="0" y="54"/>
                    <a:pt x="0" y="54"/>
                    <a:pt x="0" y="54"/>
                  </a:cubicBezTo>
                  <a:cubicBezTo>
                    <a:pt x="0" y="74"/>
                    <a:pt x="0" y="74"/>
                    <a:pt x="0" y="74"/>
                  </a:cubicBezTo>
                  <a:cubicBezTo>
                    <a:pt x="0" y="112"/>
                    <a:pt x="0" y="112"/>
                    <a:pt x="0" y="112"/>
                  </a:cubicBezTo>
                  <a:cubicBezTo>
                    <a:pt x="0" y="112"/>
                    <a:pt x="0" y="112"/>
                    <a:pt x="0" y="112"/>
                  </a:cubicBezTo>
                  <a:cubicBezTo>
                    <a:pt x="0" y="118"/>
                    <a:pt x="5" y="122"/>
                    <a:pt x="11" y="122"/>
                  </a:cubicBezTo>
                  <a:cubicBezTo>
                    <a:pt x="16" y="122"/>
                    <a:pt x="20" y="119"/>
                    <a:pt x="21" y="113"/>
                  </a:cubicBezTo>
                  <a:cubicBezTo>
                    <a:pt x="21" y="113"/>
                    <a:pt x="21" y="112"/>
                    <a:pt x="21" y="112"/>
                  </a:cubicBezTo>
                  <a:cubicBezTo>
                    <a:pt x="21" y="36"/>
                    <a:pt x="21" y="36"/>
                    <a:pt x="21" y="36"/>
                  </a:cubicBezTo>
                  <a:cubicBezTo>
                    <a:pt x="21" y="34"/>
                    <a:pt x="23" y="33"/>
                    <a:pt x="24" y="33"/>
                  </a:cubicBezTo>
                  <a:cubicBezTo>
                    <a:pt x="26" y="33"/>
                    <a:pt x="27" y="34"/>
                    <a:pt x="27" y="36"/>
                  </a:cubicBezTo>
                  <a:cubicBezTo>
                    <a:pt x="27" y="116"/>
                    <a:pt x="27" y="116"/>
                    <a:pt x="27" y="116"/>
                  </a:cubicBezTo>
                  <a:cubicBezTo>
                    <a:pt x="27" y="116"/>
                    <a:pt x="27" y="123"/>
                    <a:pt x="27" y="128"/>
                  </a:cubicBezTo>
                  <a:cubicBezTo>
                    <a:pt x="27" y="128"/>
                    <a:pt x="27" y="128"/>
                    <a:pt x="27" y="128"/>
                  </a:cubicBezTo>
                  <a:cubicBezTo>
                    <a:pt x="27" y="128"/>
                    <a:pt x="27" y="128"/>
                    <a:pt x="27" y="128"/>
                  </a:cubicBezTo>
                  <a:cubicBezTo>
                    <a:pt x="36" y="219"/>
                    <a:pt x="36" y="219"/>
                    <a:pt x="36" y="219"/>
                  </a:cubicBezTo>
                  <a:cubicBezTo>
                    <a:pt x="37" y="233"/>
                    <a:pt x="42" y="238"/>
                    <a:pt x="54" y="238"/>
                  </a:cubicBezTo>
                  <a:cubicBezTo>
                    <a:pt x="64" y="238"/>
                    <a:pt x="64" y="238"/>
                    <a:pt x="64" y="238"/>
                  </a:cubicBezTo>
                  <a:cubicBezTo>
                    <a:pt x="74" y="238"/>
                    <a:pt x="74" y="238"/>
                    <a:pt x="74" y="238"/>
                  </a:cubicBezTo>
                  <a:cubicBezTo>
                    <a:pt x="86" y="238"/>
                    <a:pt x="91" y="233"/>
                    <a:pt x="92" y="219"/>
                  </a:cubicBezTo>
                  <a:cubicBezTo>
                    <a:pt x="101" y="128"/>
                    <a:pt x="101" y="128"/>
                    <a:pt x="101" y="128"/>
                  </a:cubicBezTo>
                  <a:cubicBezTo>
                    <a:pt x="101" y="128"/>
                    <a:pt x="101" y="128"/>
                    <a:pt x="101" y="128"/>
                  </a:cubicBezTo>
                  <a:cubicBezTo>
                    <a:pt x="101" y="128"/>
                    <a:pt x="101" y="128"/>
                    <a:pt x="101" y="128"/>
                  </a:cubicBezTo>
                  <a:cubicBezTo>
                    <a:pt x="101" y="123"/>
                    <a:pt x="101" y="116"/>
                    <a:pt x="101" y="116"/>
                  </a:cubicBezTo>
                  <a:cubicBezTo>
                    <a:pt x="101" y="36"/>
                    <a:pt x="101" y="36"/>
                    <a:pt x="101" y="36"/>
                  </a:cubicBezTo>
                  <a:cubicBezTo>
                    <a:pt x="101" y="34"/>
                    <a:pt x="102" y="33"/>
                    <a:pt x="104" y="33"/>
                  </a:cubicBezTo>
                  <a:cubicBezTo>
                    <a:pt x="105" y="33"/>
                    <a:pt x="106" y="34"/>
                    <a:pt x="106" y="36"/>
                  </a:cubicBezTo>
                  <a:cubicBezTo>
                    <a:pt x="106" y="112"/>
                    <a:pt x="106" y="112"/>
                    <a:pt x="106" y="112"/>
                  </a:cubicBezTo>
                  <a:cubicBezTo>
                    <a:pt x="106" y="112"/>
                    <a:pt x="107" y="113"/>
                    <a:pt x="107" y="113"/>
                  </a:cubicBezTo>
                  <a:cubicBezTo>
                    <a:pt x="107" y="119"/>
                    <a:pt x="112" y="122"/>
                    <a:pt x="117" y="122"/>
                  </a:cubicBezTo>
                  <a:cubicBezTo>
                    <a:pt x="123" y="122"/>
                    <a:pt x="128" y="118"/>
                    <a:pt x="128" y="112"/>
                  </a:cubicBezTo>
                  <a:cubicBezTo>
                    <a:pt x="128" y="112"/>
                    <a:pt x="128" y="112"/>
                    <a:pt x="128" y="112"/>
                  </a:cubicBezTo>
                  <a:cubicBezTo>
                    <a:pt x="128" y="54"/>
                    <a:pt x="128" y="54"/>
                    <a:pt x="128" y="54"/>
                  </a:cubicBezTo>
                  <a:cubicBezTo>
                    <a:pt x="128" y="32"/>
                    <a:pt x="128" y="32"/>
                    <a:pt x="128" y="32"/>
                  </a:cubicBezTo>
                  <a:cubicBezTo>
                    <a:pt x="128" y="29"/>
                    <a:pt x="128" y="29"/>
                    <a:pt x="128" y="29"/>
                  </a:cubicBezTo>
                  <a:cubicBezTo>
                    <a:pt x="128" y="8"/>
                    <a:pt x="118" y="0"/>
                    <a:pt x="10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nvGrpSpPr>
          <p:cNvPr id="452" name="Group 451"/>
          <p:cNvGrpSpPr/>
          <p:nvPr/>
        </p:nvGrpSpPr>
        <p:grpSpPr>
          <a:xfrm>
            <a:off x="2756746" y="4588742"/>
            <a:ext cx="1540924" cy="480994"/>
            <a:chOff x="2541226" y="2809769"/>
            <a:chExt cx="1282879" cy="399811"/>
          </a:xfrm>
        </p:grpSpPr>
        <p:grpSp>
          <p:nvGrpSpPr>
            <p:cNvPr id="440" name="Group 439"/>
            <p:cNvGrpSpPr/>
            <p:nvPr/>
          </p:nvGrpSpPr>
          <p:grpSpPr>
            <a:xfrm>
              <a:off x="2541226" y="2809769"/>
              <a:ext cx="399347" cy="399811"/>
              <a:chOff x="3879851" y="1882776"/>
              <a:chExt cx="1368425" cy="1370013"/>
            </a:xfrm>
            <a:solidFill>
              <a:srgbClr val="000000"/>
            </a:solidFill>
          </p:grpSpPr>
          <p:sp>
            <p:nvSpPr>
              <p:cNvPr id="441" name="Freeform 513"/>
              <p:cNvSpPr>
                <a:spLocks noEditPoints="1"/>
              </p:cNvSpPr>
              <p:nvPr/>
            </p:nvSpPr>
            <p:spPr bwMode="auto">
              <a:xfrm>
                <a:off x="3879851" y="1882776"/>
                <a:ext cx="1368425" cy="1370013"/>
              </a:xfrm>
              <a:custGeom>
                <a:avLst/>
                <a:gdLst>
                  <a:gd name="T0" fmla="*/ 342 w 364"/>
                  <a:gd name="T1" fmla="*/ 0 h 364"/>
                  <a:gd name="T2" fmla="*/ 0 w 364"/>
                  <a:gd name="T3" fmla="*/ 0 h 364"/>
                  <a:gd name="T4" fmla="*/ 0 w 364"/>
                  <a:gd name="T5" fmla="*/ 341 h 364"/>
                  <a:gd name="T6" fmla="*/ 22 w 364"/>
                  <a:gd name="T7" fmla="*/ 364 h 364"/>
                  <a:gd name="T8" fmla="*/ 364 w 364"/>
                  <a:gd name="T9" fmla="*/ 364 h 364"/>
                  <a:gd name="T10" fmla="*/ 364 w 364"/>
                  <a:gd name="T11" fmla="*/ 25 h 364"/>
                  <a:gd name="T12" fmla="*/ 342 w 364"/>
                  <a:gd name="T13" fmla="*/ 0 h 364"/>
                  <a:gd name="T14" fmla="*/ 255 w 364"/>
                  <a:gd name="T15" fmla="*/ 259 h 364"/>
                  <a:gd name="T16" fmla="*/ 242 w 364"/>
                  <a:gd name="T17" fmla="*/ 280 h 364"/>
                  <a:gd name="T18" fmla="*/ 219 w 364"/>
                  <a:gd name="T19" fmla="*/ 292 h 364"/>
                  <a:gd name="T20" fmla="*/ 188 w 364"/>
                  <a:gd name="T21" fmla="*/ 296 h 364"/>
                  <a:gd name="T22" fmla="*/ 185 w 364"/>
                  <a:gd name="T23" fmla="*/ 330 h 364"/>
                  <a:gd name="T24" fmla="*/ 168 w 364"/>
                  <a:gd name="T25" fmla="*/ 330 h 364"/>
                  <a:gd name="T26" fmla="*/ 161 w 364"/>
                  <a:gd name="T27" fmla="*/ 327 h 364"/>
                  <a:gd name="T28" fmla="*/ 159 w 364"/>
                  <a:gd name="T29" fmla="*/ 320 h 364"/>
                  <a:gd name="T30" fmla="*/ 161 w 364"/>
                  <a:gd name="T31" fmla="*/ 296 h 364"/>
                  <a:gd name="T32" fmla="*/ 140 w 364"/>
                  <a:gd name="T33" fmla="*/ 294 h 364"/>
                  <a:gd name="T34" fmla="*/ 124 w 364"/>
                  <a:gd name="T35" fmla="*/ 290 h 364"/>
                  <a:gd name="T36" fmla="*/ 114 w 364"/>
                  <a:gd name="T37" fmla="*/ 284 h 364"/>
                  <a:gd name="T38" fmla="*/ 111 w 364"/>
                  <a:gd name="T39" fmla="*/ 275 h 364"/>
                  <a:gd name="T40" fmla="*/ 111 w 364"/>
                  <a:gd name="T41" fmla="*/ 251 h 364"/>
                  <a:gd name="T42" fmla="*/ 124 w 364"/>
                  <a:gd name="T43" fmla="*/ 252 h 364"/>
                  <a:gd name="T44" fmla="*/ 138 w 364"/>
                  <a:gd name="T45" fmla="*/ 252 h 364"/>
                  <a:gd name="T46" fmla="*/ 152 w 364"/>
                  <a:gd name="T47" fmla="*/ 253 h 364"/>
                  <a:gd name="T48" fmla="*/ 165 w 364"/>
                  <a:gd name="T49" fmla="*/ 253 h 364"/>
                  <a:gd name="T50" fmla="*/ 169 w 364"/>
                  <a:gd name="T51" fmla="*/ 202 h 364"/>
                  <a:gd name="T52" fmla="*/ 141 w 364"/>
                  <a:gd name="T53" fmla="*/ 191 h 364"/>
                  <a:gd name="T54" fmla="*/ 122 w 364"/>
                  <a:gd name="T55" fmla="*/ 176 h 364"/>
                  <a:gd name="T56" fmla="*/ 112 w 364"/>
                  <a:gd name="T57" fmla="*/ 159 h 364"/>
                  <a:gd name="T58" fmla="*/ 109 w 364"/>
                  <a:gd name="T59" fmla="*/ 137 h 364"/>
                  <a:gd name="T60" fmla="*/ 114 w 364"/>
                  <a:gd name="T61" fmla="*/ 106 h 364"/>
                  <a:gd name="T62" fmla="*/ 128 w 364"/>
                  <a:gd name="T63" fmla="*/ 85 h 364"/>
                  <a:gd name="T64" fmla="*/ 150 w 364"/>
                  <a:gd name="T65" fmla="*/ 74 h 364"/>
                  <a:gd name="T66" fmla="*/ 179 w 364"/>
                  <a:gd name="T67" fmla="*/ 69 h 364"/>
                  <a:gd name="T68" fmla="*/ 181 w 364"/>
                  <a:gd name="T69" fmla="*/ 37 h 364"/>
                  <a:gd name="T70" fmla="*/ 198 w 364"/>
                  <a:gd name="T71" fmla="*/ 37 h 364"/>
                  <a:gd name="T72" fmla="*/ 206 w 364"/>
                  <a:gd name="T73" fmla="*/ 40 h 364"/>
                  <a:gd name="T74" fmla="*/ 207 w 364"/>
                  <a:gd name="T75" fmla="*/ 48 h 364"/>
                  <a:gd name="T76" fmla="*/ 206 w 364"/>
                  <a:gd name="T77" fmla="*/ 69 h 364"/>
                  <a:gd name="T78" fmla="*/ 226 w 364"/>
                  <a:gd name="T79" fmla="*/ 71 h 364"/>
                  <a:gd name="T80" fmla="*/ 240 w 364"/>
                  <a:gd name="T81" fmla="*/ 75 h 364"/>
                  <a:gd name="T82" fmla="*/ 250 w 364"/>
                  <a:gd name="T83" fmla="*/ 83 h 364"/>
                  <a:gd name="T84" fmla="*/ 252 w 364"/>
                  <a:gd name="T85" fmla="*/ 93 h 364"/>
                  <a:gd name="T86" fmla="*/ 252 w 364"/>
                  <a:gd name="T87" fmla="*/ 114 h 364"/>
                  <a:gd name="T88" fmla="*/ 227 w 364"/>
                  <a:gd name="T89" fmla="*/ 112 h 364"/>
                  <a:gd name="T90" fmla="*/ 202 w 364"/>
                  <a:gd name="T91" fmla="*/ 111 h 364"/>
                  <a:gd name="T92" fmla="*/ 198 w 364"/>
                  <a:gd name="T93" fmla="*/ 161 h 364"/>
                  <a:gd name="T94" fmla="*/ 227 w 364"/>
                  <a:gd name="T95" fmla="*/ 173 h 364"/>
                  <a:gd name="T96" fmla="*/ 246 w 364"/>
                  <a:gd name="T97" fmla="*/ 185 h 364"/>
                  <a:gd name="T98" fmla="*/ 257 w 364"/>
                  <a:gd name="T99" fmla="*/ 203 h 364"/>
                  <a:gd name="T100" fmla="*/ 260 w 364"/>
                  <a:gd name="T101" fmla="*/ 227 h 364"/>
                  <a:gd name="T102" fmla="*/ 255 w 364"/>
                  <a:gd name="T103" fmla="*/ 25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4" h="364">
                    <a:moveTo>
                      <a:pt x="342" y="0"/>
                    </a:moveTo>
                    <a:cubicBezTo>
                      <a:pt x="0" y="0"/>
                      <a:pt x="0" y="0"/>
                      <a:pt x="0" y="0"/>
                    </a:cubicBezTo>
                    <a:cubicBezTo>
                      <a:pt x="0" y="341"/>
                      <a:pt x="0" y="341"/>
                      <a:pt x="0" y="341"/>
                    </a:cubicBezTo>
                    <a:cubicBezTo>
                      <a:pt x="0" y="354"/>
                      <a:pt x="10" y="364"/>
                      <a:pt x="22" y="364"/>
                    </a:cubicBezTo>
                    <a:cubicBezTo>
                      <a:pt x="364" y="364"/>
                      <a:pt x="364" y="364"/>
                      <a:pt x="364" y="364"/>
                    </a:cubicBezTo>
                    <a:cubicBezTo>
                      <a:pt x="364" y="25"/>
                      <a:pt x="364" y="25"/>
                      <a:pt x="364" y="25"/>
                    </a:cubicBezTo>
                    <a:cubicBezTo>
                      <a:pt x="364" y="12"/>
                      <a:pt x="354" y="0"/>
                      <a:pt x="342" y="0"/>
                    </a:cubicBezTo>
                    <a:moveTo>
                      <a:pt x="255" y="259"/>
                    </a:moveTo>
                    <a:cubicBezTo>
                      <a:pt x="252" y="267"/>
                      <a:pt x="248" y="274"/>
                      <a:pt x="242" y="280"/>
                    </a:cubicBezTo>
                    <a:cubicBezTo>
                      <a:pt x="236" y="285"/>
                      <a:pt x="228" y="289"/>
                      <a:pt x="219" y="292"/>
                    </a:cubicBezTo>
                    <a:cubicBezTo>
                      <a:pt x="210" y="294"/>
                      <a:pt x="200" y="296"/>
                      <a:pt x="188" y="296"/>
                    </a:cubicBezTo>
                    <a:cubicBezTo>
                      <a:pt x="185" y="330"/>
                      <a:pt x="185" y="330"/>
                      <a:pt x="185" y="330"/>
                    </a:cubicBezTo>
                    <a:cubicBezTo>
                      <a:pt x="168" y="330"/>
                      <a:pt x="168" y="330"/>
                      <a:pt x="168" y="330"/>
                    </a:cubicBezTo>
                    <a:cubicBezTo>
                      <a:pt x="164" y="330"/>
                      <a:pt x="162" y="329"/>
                      <a:pt x="161" y="327"/>
                    </a:cubicBezTo>
                    <a:cubicBezTo>
                      <a:pt x="160" y="325"/>
                      <a:pt x="159" y="323"/>
                      <a:pt x="159" y="320"/>
                    </a:cubicBezTo>
                    <a:cubicBezTo>
                      <a:pt x="161" y="296"/>
                      <a:pt x="161" y="296"/>
                      <a:pt x="161" y="296"/>
                    </a:cubicBezTo>
                    <a:cubicBezTo>
                      <a:pt x="153" y="296"/>
                      <a:pt x="146" y="295"/>
                      <a:pt x="140" y="294"/>
                    </a:cubicBezTo>
                    <a:cubicBezTo>
                      <a:pt x="133" y="293"/>
                      <a:pt x="128" y="292"/>
                      <a:pt x="124" y="290"/>
                    </a:cubicBezTo>
                    <a:cubicBezTo>
                      <a:pt x="119" y="288"/>
                      <a:pt x="116" y="286"/>
                      <a:pt x="114" y="284"/>
                    </a:cubicBezTo>
                    <a:cubicBezTo>
                      <a:pt x="112" y="281"/>
                      <a:pt x="111" y="278"/>
                      <a:pt x="111" y="275"/>
                    </a:cubicBezTo>
                    <a:cubicBezTo>
                      <a:pt x="111" y="251"/>
                      <a:pt x="111" y="251"/>
                      <a:pt x="111" y="251"/>
                    </a:cubicBezTo>
                    <a:cubicBezTo>
                      <a:pt x="115" y="251"/>
                      <a:pt x="119" y="251"/>
                      <a:pt x="124" y="252"/>
                    </a:cubicBezTo>
                    <a:cubicBezTo>
                      <a:pt x="129" y="252"/>
                      <a:pt x="134" y="252"/>
                      <a:pt x="138" y="252"/>
                    </a:cubicBezTo>
                    <a:cubicBezTo>
                      <a:pt x="143" y="252"/>
                      <a:pt x="148" y="253"/>
                      <a:pt x="152" y="253"/>
                    </a:cubicBezTo>
                    <a:cubicBezTo>
                      <a:pt x="157" y="253"/>
                      <a:pt x="161" y="253"/>
                      <a:pt x="165" y="253"/>
                    </a:cubicBezTo>
                    <a:cubicBezTo>
                      <a:pt x="169" y="202"/>
                      <a:pt x="169" y="202"/>
                      <a:pt x="169" y="202"/>
                    </a:cubicBezTo>
                    <a:cubicBezTo>
                      <a:pt x="158" y="198"/>
                      <a:pt x="149" y="195"/>
                      <a:pt x="141" y="191"/>
                    </a:cubicBezTo>
                    <a:cubicBezTo>
                      <a:pt x="133" y="186"/>
                      <a:pt x="127" y="182"/>
                      <a:pt x="122" y="176"/>
                    </a:cubicBezTo>
                    <a:cubicBezTo>
                      <a:pt x="117" y="171"/>
                      <a:pt x="114" y="165"/>
                      <a:pt x="112" y="159"/>
                    </a:cubicBezTo>
                    <a:cubicBezTo>
                      <a:pt x="110" y="152"/>
                      <a:pt x="109" y="145"/>
                      <a:pt x="109" y="137"/>
                    </a:cubicBezTo>
                    <a:cubicBezTo>
                      <a:pt x="109" y="124"/>
                      <a:pt x="110" y="114"/>
                      <a:pt x="114" y="106"/>
                    </a:cubicBezTo>
                    <a:cubicBezTo>
                      <a:pt x="117" y="97"/>
                      <a:pt x="122" y="90"/>
                      <a:pt x="128" y="85"/>
                    </a:cubicBezTo>
                    <a:cubicBezTo>
                      <a:pt x="134" y="80"/>
                      <a:pt x="142" y="76"/>
                      <a:pt x="150" y="74"/>
                    </a:cubicBezTo>
                    <a:cubicBezTo>
                      <a:pt x="159" y="71"/>
                      <a:pt x="168" y="70"/>
                      <a:pt x="179" y="69"/>
                    </a:cubicBezTo>
                    <a:cubicBezTo>
                      <a:pt x="181" y="37"/>
                      <a:pt x="181" y="37"/>
                      <a:pt x="181" y="37"/>
                    </a:cubicBezTo>
                    <a:cubicBezTo>
                      <a:pt x="198" y="37"/>
                      <a:pt x="198" y="37"/>
                      <a:pt x="198" y="37"/>
                    </a:cubicBezTo>
                    <a:cubicBezTo>
                      <a:pt x="202" y="37"/>
                      <a:pt x="205" y="38"/>
                      <a:pt x="206" y="40"/>
                    </a:cubicBezTo>
                    <a:cubicBezTo>
                      <a:pt x="207" y="42"/>
                      <a:pt x="207" y="45"/>
                      <a:pt x="207" y="48"/>
                    </a:cubicBezTo>
                    <a:cubicBezTo>
                      <a:pt x="206" y="69"/>
                      <a:pt x="206" y="69"/>
                      <a:pt x="206" y="69"/>
                    </a:cubicBezTo>
                    <a:cubicBezTo>
                      <a:pt x="213" y="69"/>
                      <a:pt x="220" y="70"/>
                      <a:pt x="226" y="71"/>
                    </a:cubicBezTo>
                    <a:cubicBezTo>
                      <a:pt x="231" y="73"/>
                      <a:pt x="236" y="74"/>
                      <a:pt x="240" y="75"/>
                    </a:cubicBezTo>
                    <a:cubicBezTo>
                      <a:pt x="246" y="78"/>
                      <a:pt x="249" y="80"/>
                      <a:pt x="250" y="83"/>
                    </a:cubicBezTo>
                    <a:cubicBezTo>
                      <a:pt x="251" y="87"/>
                      <a:pt x="252" y="90"/>
                      <a:pt x="252" y="93"/>
                    </a:cubicBezTo>
                    <a:cubicBezTo>
                      <a:pt x="252" y="114"/>
                      <a:pt x="252" y="114"/>
                      <a:pt x="252" y="114"/>
                    </a:cubicBezTo>
                    <a:cubicBezTo>
                      <a:pt x="244" y="113"/>
                      <a:pt x="236" y="112"/>
                      <a:pt x="227" y="112"/>
                    </a:cubicBezTo>
                    <a:cubicBezTo>
                      <a:pt x="219" y="112"/>
                      <a:pt x="211" y="111"/>
                      <a:pt x="202" y="111"/>
                    </a:cubicBezTo>
                    <a:cubicBezTo>
                      <a:pt x="198" y="161"/>
                      <a:pt x="198" y="161"/>
                      <a:pt x="198" y="161"/>
                    </a:cubicBezTo>
                    <a:cubicBezTo>
                      <a:pt x="210" y="165"/>
                      <a:pt x="219" y="169"/>
                      <a:pt x="227" y="173"/>
                    </a:cubicBezTo>
                    <a:cubicBezTo>
                      <a:pt x="235" y="176"/>
                      <a:pt x="241" y="180"/>
                      <a:pt x="246" y="185"/>
                    </a:cubicBezTo>
                    <a:cubicBezTo>
                      <a:pt x="251" y="190"/>
                      <a:pt x="254" y="196"/>
                      <a:pt x="257" y="203"/>
                    </a:cubicBezTo>
                    <a:cubicBezTo>
                      <a:pt x="259" y="209"/>
                      <a:pt x="260" y="218"/>
                      <a:pt x="260" y="227"/>
                    </a:cubicBezTo>
                    <a:cubicBezTo>
                      <a:pt x="260" y="240"/>
                      <a:pt x="258" y="250"/>
                      <a:pt x="255" y="2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42" name="Freeform 514"/>
              <p:cNvSpPr>
                <a:spLocks/>
              </p:cNvSpPr>
              <p:nvPr/>
            </p:nvSpPr>
            <p:spPr bwMode="auto">
              <a:xfrm>
                <a:off x="4459288" y="2305051"/>
                <a:ext cx="79375" cy="165100"/>
              </a:xfrm>
              <a:custGeom>
                <a:avLst/>
                <a:gdLst>
                  <a:gd name="T0" fmla="*/ 4 w 21"/>
                  <a:gd name="T1" fmla="*/ 6 h 44"/>
                  <a:gd name="T2" fmla="*/ 0 w 21"/>
                  <a:gd name="T3" fmla="*/ 22 h 44"/>
                  <a:gd name="T4" fmla="*/ 4 w 21"/>
                  <a:gd name="T5" fmla="*/ 36 h 44"/>
                  <a:gd name="T6" fmla="*/ 18 w 21"/>
                  <a:gd name="T7" fmla="*/ 44 h 44"/>
                  <a:gd name="T8" fmla="*/ 21 w 21"/>
                  <a:gd name="T9" fmla="*/ 0 h 44"/>
                  <a:gd name="T10" fmla="*/ 4 w 21"/>
                  <a:gd name="T11" fmla="*/ 6 h 44"/>
                </a:gdLst>
                <a:ahLst/>
                <a:cxnLst>
                  <a:cxn ang="0">
                    <a:pos x="T0" y="T1"/>
                  </a:cxn>
                  <a:cxn ang="0">
                    <a:pos x="T2" y="T3"/>
                  </a:cxn>
                  <a:cxn ang="0">
                    <a:pos x="T4" y="T5"/>
                  </a:cxn>
                  <a:cxn ang="0">
                    <a:pos x="T6" y="T7"/>
                  </a:cxn>
                  <a:cxn ang="0">
                    <a:pos x="T8" y="T9"/>
                  </a:cxn>
                  <a:cxn ang="0">
                    <a:pos x="T10" y="T11"/>
                  </a:cxn>
                </a:cxnLst>
                <a:rect l="0" t="0" r="r" b="b"/>
                <a:pathLst>
                  <a:path w="21" h="44">
                    <a:moveTo>
                      <a:pt x="4" y="6"/>
                    </a:moveTo>
                    <a:cubicBezTo>
                      <a:pt x="1" y="10"/>
                      <a:pt x="0" y="15"/>
                      <a:pt x="0" y="22"/>
                    </a:cubicBezTo>
                    <a:cubicBezTo>
                      <a:pt x="0" y="28"/>
                      <a:pt x="1" y="33"/>
                      <a:pt x="4" y="36"/>
                    </a:cubicBezTo>
                    <a:cubicBezTo>
                      <a:pt x="7" y="39"/>
                      <a:pt x="11" y="42"/>
                      <a:pt x="18" y="44"/>
                    </a:cubicBezTo>
                    <a:cubicBezTo>
                      <a:pt x="21" y="0"/>
                      <a:pt x="21" y="0"/>
                      <a:pt x="21" y="0"/>
                    </a:cubicBezTo>
                    <a:cubicBezTo>
                      <a:pt x="13" y="0"/>
                      <a:pt x="7" y="3"/>
                      <a:pt x="4"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43" name="Freeform 515"/>
              <p:cNvSpPr>
                <a:spLocks/>
              </p:cNvSpPr>
              <p:nvPr/>
            </p:nvSpPr>
            <p:spPr bwMode="auto">
              <a:xfrm>
                <a:off x="4598988" y="2662238"/>
                <a:ext cx="82550" cy="173038"/>
              </a:xfrm>
              <a:custGeom>
                <a:avLst/>
                <a:gdLst>
                  <a:gd name="T0" fmla="*/ 4 w 22"/>
                  <a:gd name="T1" fmla="*/ 0 h 46"/>
                  <a:gd name="T2" fmla="*/ 0 w 22"/>
                  <a:gd name="T3" fmla="*/ 46 h 46"/>
                  <a:gd name="T4" fmla="*/ 18 w 22"/>
                  <a:gd name="T5" fmla="*/ 39 h 46"/>
                  <a:gd name="T6" fmla="*/ 22 w 22"/>
                  <a:gd name="T7" fmla="*/ 23 h 46"/>
                  <a:gd name="T8" fmla="*/ 18 w 22"/>
                  <a:gd name="T9" fmla="*/ 7 h 46"/>
                  <a:gd name="T10" fmla="*/ 4 w 22"/>
                  <a:gd name="T11" fmla="*/ 0 h 46"/>
                </a:gdLst>
                <a:ahLst/>
                <a:cxnLst>
                  <a:cxn ang="0">
                    <a:pos x="T0" y="T1"/>
                  </a:cxn>
                  <a:cxn ang="0">
                    <a:pos x="T2" y="T3"/>
                  </a:cxn>
                  <a:cxn ang="0">
                    <a:pos x="T4" y="T5"/>
                  </a:cxn>
                  <a:cxn ang="0">
                    <a:pos x="T6" y="T7"/>
                  </a:cxn>
                  <a:cxn ang="0">
                    <a:pos x="T8" y="T9"/>
                  </a:cxn>
                  <a:cxn ang="0">
                    <a:pos x="T10" y="T11"/>
                  </a:cxn>
                </a:cxnLst>
                <a:rect l="0" t="0" r="r" b="b"/>
                <a:pathLst>
                  <a:path w="22" h="46">
                    <a:moveTo>
                      <a:pt x="4" y="0"/>
                    </a:moveTo>
                    <a:cubicBezTo>
                      <a:pt x="0" y="46"/>
                      <a:pt x="0" y="46"/>
                      <a:pt x="0" y="46"/>
                    </a:cubicBezTo>
                    <a:cubicBezTo>
                      <a:pt x="9" y="45"/>
                      <a:pt x="14" y="43"/>
                      <a:pt x="18" y="39"/>
                    </a:cubicBezTo>
                    <a:cubicBezTo>
                      <a:pt x="21" y="35"/>
                      <a:pt x="22" y="30"/>
                      <a:pt x="22" y="23"/>
                    </a:cubicBezTo>
                    <a:cubicBezTo>
                      <a:pt x="22" y="15"/>
                      <a:pt x="21" y="10"/>
                      <a:pt x="18" y="7"/>
                    </a:cubicBezTo>
                    <a:cubicBezTo>
                      <a:pt x="15" y="5"/>
                      <a:pt x="10"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nvGrpSpPr>
            <p:cNvPr id="444" name="Group 443"/>
            <p:cNvGrpSpPr/>
            <p:nvPr/>
          </p:nvGrpSpPr>
          <p:grpSpPr>
            <a:xfrm>
              <a:off x="2982992" y="2809769"/>
              <a:ext cx="399347" cy="399811"/>
              <a:chOff x="3879851" y="1882776"/>
              <a:chExt cx="1368425" cy="1370013"/>
            </a:xfrm>
            <a:solidFill>
              <a:srgbClr val="000000"/>
            </a:solidFill>
          </p:grpSpPr>
          <p:sp>
            <p:nvSpPr>
              <p:cNvPr id="445" name="Freeform 513"/>
              <p:cNvSpPr>
                <a:spLocks noEditPoints="1"/>
              </p:cNvSpPr>
              <p:nvPr/>
            </p:nvSpPr>
            <p:spPr bwMode="auto">
              <a:xfrm>
                <a:off x="3879851" y="1882776"/>
                <a:ext cx="1368425" cy="1370013"/>
              </a:xfrm>
              <a:custGeom>
                <a:avLst/>
                <a:gdLst>
                  <a:gd name="T0" fmla="*/ 342 w 364"/>
                  <a:gd name="T1" fmla="*/ 0 h 364"/>
                  <a:gd name="T2" fmla="*/ 0 w 364"/>
                  <a:gd name="T3" fmla="*/ 0 h 364"/>
                  <a:gd name="T4" fmla="*/ 0 w 364"/>
                  <a:gd name="T5" fmla="*/ 341 h 364"/>
                  <a:gd name="T6" fmla="*/ 22 w 364"/>
                  <a:gd name="T7" fmla="*/ 364 h 364"/>
                  <a:gd name="T8" fmla="*/ 364 w 364"/>
                  <a:gd name="T9" fmla="*/ 364 h 364"/>
                  <a:gd name="T10" fmla="*/ 364 w 364"/>
                  <a:gd name="T11" fmla="*/ 25 h 364"/>
                  <a:gd name="T12" fmla="*/ 342 w 364"/>
                  <a:gd name="T13" fmla="*/ 0 h 364"/>
                  <a:gd name="T14" fmla="*/ 255 w 364"/>
                  <a:gd name="T15" fmla="*/ 259 h 364"/>
                  <a:gd name="T16" fmla="*/ 242 w 364"/>
                  <a:gd name="T17" fmla="*/ 280 h 364"/>
                  <a:gd name="T18" fmla="*/ 219 w 364"/>
                  <a:gd name="T19" fmla="*/ 292 h 364"/>
                  <a:gd name="T20" fmla="*/ 188 w 364"/>
                  <a:gd name="T21" fmla="*/ 296 h 364"/>
                  <a:gd name="T22" fmla="*/ 185 w 364"/>
                  <a:gd name="T23" fmla="*/ 330 h 364"/>
                  <a:gd name="T24" fmla="*/ 168 w 364"/>
                  <a:gd name="T25" fmla="*/ 330 h 364"/>
                  <a:gd name="T26" fmla="*/ 161 w 364"/>
                  <a:gd name="T27" fmla="*/ 327 h 364"/>
                  <a:gd name="T28" fmla="*/ 159 w 364"/>
                  <a:gd name="T29" fmla="*/ 320 h 364"/>
                  <a:gd name="T30" fmla="*/ 161 w 364"/>
                  <a:gd name="T31" fmla="*/ 296 h 364"/>
                  <a:gd name="T32" fmla="*/ 140 w 364"/>
                  <a:gd name="T33" fmla="*/ 294 h 364"/>
                  <a:gd name="T34" fmla="*/ 124 w 364"/>
                  <a:gd name="T35" fmla="*/ 290 h 364"/>
                  <a:gd name="T36" fmla="*/ 114 w 364"/>
                  <a:gd name="T37" fmla="*/ 284 h 364"/>
                  <a:gd name="T38" fmla="*/ 111 w 364"/>
                  <a:gd name="T39" fmla="*/ 275 h 364"/>
                  <a:gd name="T40" fmla="*/ 111 w 364"/>
                  <a:gd name="T41" fmla="*/ 251 h 364"/>
                  <a:gd name="T42" fmla="*/ 124 w 364"/>
                  <a:gd name="T43" fmla="*/ 252 h 364"/>
                  <a:gd name="T44" fmla="*/ 138 w 364"/>
                  <a:gd name="T45" fmla="*/ 252 h 364"/>
                  <a:gd name="T46" fmla="*/ 152 w 364"/>
                  <a:gd name="T47" fmla="*/ 253 h 364"/>
                  <a:gd name="T48" fmla="*/ 165 w 364"/>
                  <a:gd name="T49" fmla="*/ 253 h 364"/>
                  <a:gd name="T50" fmla="*/ 169 w 364"/>
                  <a:gd name="T51" fmla="*/ 202 h 364"/>
                  <a:gd name="T52" fmla="*/ 141 w 364"/>
                  <a:gd name="T53" fmla="*/ 191 h 364"/>
                  <a:gd name="T54" fmla="*/ 122 w 364"/>
                  <a:gd name="T55" fmla="*/ 176 h 364"/>
                  <a:gd name="T56" fmla="*/ 112 w 364"/>
                  <a:gd name="T57" fmla="*/ 159 h 364"/>
                  <a:gd name="T58" fmla="*/ 109 w 364"/>
                  <a:gd name="T59" fmla="*/ 137 h 364"/>
                  <a:gd name="T60" fmla="*/ 114 w 364"/>
                  <a:gd name="T61" fmla="*/ 106 h 364"/>
                  <a:gd name="T62" fmla="*/ 128 w 364"/>
                  <a:gd name="T63" fmla="*/ 85 h 364"/>
                  <a:gd name="T64" fmla="*/ 150 w 364"/>
                  <a:gd name="T65" fmla="*/ 74 h 364"/>
                  <a:gd name="T66" fmla="*/ 179 w 364"/>
                  <a:gd name="T67" fmla="*/ 69 h 364"/>
                  <a:gd name="T68" fmla="*/ 181 w 364"/>
                  <a:gd name="T69" fmla="*/ 37 h 364"/>
                  <a:gd name="T70" fmla="*/ 198 w 364"/>
                  <a:gd name="T71" fmla="*/ 37 h 364"/>
                  <a:gd name="T72" fmla="*/ 206 w 364"/>
                  <a:gd name="T73" fmla="*/ 40 h 364"/>
                  <a:gd name="T74" fmla="*/ 207 w 364"/>
                  <a:gd name="T75" fmla="*/ 48 h 364"/>
                  <a:gd name="T76" fmla="*/ 206 w 364"/>
                  <a:gd name="T77" fmla="*/ 69 h 364"/>
                  <a:gd name="T78" fmla="*/ 226 w 364"/>
                  <a:gd name="T79" fmla="*/ 71 h 364"/>
                  <a:gd name="T80" fmla="*/ 240 w 364"/>
                  <a:gd name="T81" fmla="*/ 75 h 364"/>
                  <a:gd name="T82" fmla="*/ 250 w 364"/>
                  <a:gd name="T83" fmla="*/ 83 h 364"/>
                  <a:gd name="T84" fmla="*/ 252 w 364"/>
                  <a:gd name="T85" fmla="*/ 93 h 364"/>
                  <a:gd name="T86" fmla="*/ 252 w 364"/>
                  <a:gd name="T87" fmla="*/ 114 h 364"/>
                  <a:gd name="T88" fmla="*/ 227 w 364"/>
                  <a:gd name="T89" fmla="*/ 112 h 364"/>
                  <a:gd name="T90" fmla="*/ 202 w 364"/>
                  <a:gd name="T91" fmla="*/ 111 h 364"/>
                  <a:gd name="T92" fmla="*/ 198 w 364"/>
                  <a:gd name="T93" fmla="*/ 161 h 364"/>
                  <a:gd name="T94" fmla="*/ 227 w 364"/>
                  <a:gd name="T95" fmla="*/ 173 h 364"/>
                  <a:gd name="T96" fmla="*/ 246 w 364"/>
                  <a:gd name="T97" fmla="*/ 185 h 364"/>
                  <a:gd name="T98" fmla="*/ 257 w 364"/>
                  <a:gd name="T99" fmla="*/ 203 h 364"/>
                  <a:gd name="T100" fmla="*/ 260 w 364"/>
                  <a:gd name="T101" fmla="*/ 227 h 364"/>
                  <a:gd name="T102" fmla="*/ 255 w 364"/>
                  <a:gd name="T103" fmla="*/ 25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4" h="364">
                    <a:moveTo>
                      <a:pt x="342" y="0"/>
                    </a:moveTo>
                    <a:cubicBezTo>
                      <a:pt x="0" y="0"/>
                      <a:pt x="0" y="0"/>
                      <a:pt x="0" y="0"/>
                    </a:cubicBezTo>
                    <a:cubicBezTo>
                      <a:pt x="0" y="341"/>
                      <a:pt x="0" y="341"/>
                      <a:pt x="0" y="341"/>
                    </a:cubicBezTo>
                    <a:cubicBezTo>
                      <a:pt x="0" y="354"/>
                      <a:pt x="10" y="364"/>
                      <a:pt x="22" y="364"/>
                    </a:cubicBezTo>
                    <a:cubicBezTo>
                      <a:pt x="364" y="364"/>
                      <a:pt x="364" y="364"/>
                      <a:pt x="364" y="364"/>
                    </a:cubicBezTo>
                    <a:cubicBezTo>
                      <a:pt x="364" y="25"/>
                      <a:pt x="364" y="25"/>
                      <a:pt x="364" y="25"/>
                    </a:cubicBezTo>
                    <a:cubicBezTo>
                      <a:pt x="364" y="12"/>
                      <a:pt x="354" y="0"/>
                      <a:pt x="342" y="0"/>
                    </a:cubicBezTo>
                    <a:moveTo>
                      <a:pt x="255" y="259"/>
                    </a:moveTo>
                    <a:cubicBezTo>
                      <a:pt x="252" y="267"/>
                      <a:pt x="248" y="274"/>
                      <a:pt x="242" y="280"/>
                    </a:cubicBezTo>
                    <a:cubicBezTo>
                      <a:pt x="236" y="285"/>
                      <a:pt x="228" y="289"/>
                      <a:pt x="219" y="292"/>
                    </a:cubicBezTo>
                    <a:cubicBezTo>
                      <a:pt x="210" y="294"/>
                      <a:pt x="200" y="296"/>
                      <a:pt x="188" y="296"/>
                    </a:cubicBezTo>
                    <a:cubicBezTo>
                      <a:pt x="185" y="330"/>
                      <a:pt x="185" y="330"/>
                      <a:pt x="185" y="330"/>
                    </a:cubicBezTo>
                    <a:cubicBezTo>
                      <a:pt x="168" y="330"/>
                      <a:pt x="168" y="330"/>
                      <a:pt x="168" y="330"/>
                    </a:cubicBezTo>
                    <a:cubicBezTo>
                      <a:pt x="164" y="330"/>
                      <a:pt x="162" y="329"/>
                      <a:pt x="161" y="327"/>
                    </a:cubicBezTo>
                    <a:cubicBezTo>
                      <a:pt x="160" y="325"/>
                      <a:pt x="159" y="323"/>
                      <a:pt x="159" y="320"/>
                    </a:cubicBezTo>
                    <a:cubicBezTo>
                      <a:pt x="161" y="296"/>
                      <a:pt x="161" y="296"/>
                      <a:pt x="161" y="296"/>
                    </a:cubicBezTo>
                    <a:cubicBezTo>
                      <a:pt x="153" y="296"/>
                      <a:pt x="146" y="295"/>
                      <a:pt x="140" y="294"/>
                    </a:cubicBezTo>
                    <a:cubicBezTo>
                      <a:pt x="133" y="293"/>
                      <a:pt x="128" y="292"/>
                      <a:pt x="124" y="290"/>
                    </a:cubicBezTo>
                    <a:cubicBezTo>
                      <a:pt x="119" y="288"/>
                      <a:pt x="116" y="286"/>
                      <a:pt x="114" y="284"/>
                    </a:cubicBezTo>
                    <a:cubicBezTo>
                      <a:pt x="112" y="281"/>
                      <a:pt x="111" y="278"/>
                      <a:pt x="111" y="275"/>
                    </a:cubicBezTo>
                    <a:cubicBezTo>
                      <a:pt x="111" y="251"/>
                      <a:pt x="111" y="251"/>
                      <a:pt x="111" y="251"/>
                    </a:cubicBezTo>
                    <a:cubicBezTo>
                      <a:pt x="115" y="251"/>
                      <a:pt x="119" y="251"/>
                      <a:pt x="124" y="252"/>
                    </a:cubicBezTo>
                    <a:cubicBezTo>
                      <a:pt x="129" y="252"/>
                      <a:pt x="134" y="252"/>
                      <a:pt x="138" y="252"/>
                    </a:cubicBezTo>
                    <a:cubicBezTo>
                      <a:pt x="143" y="252"/>
                      <a:pt x="148" y="253"/>
                      <a:pt x="152" y="253"/>
                    </a:cubicBezTo>
                    <a:cubicBezTo>
                      <a:pt x="157" y="253"/>
                      <a:pt x="161" y="253"/>
                      <a:pt x="165" y="253"/>
                    </a:cubicBezTo>
                    <a:cubicBezTo>
                      <a:pt x="169" y="202"/>
                      <a:pt x="169" y="202"/>
                      <a:pt x="169" y="202"/>
                    </a:cubicBezTo>
                    <a:cubicBezTo>
                      <a:pt x="158" y="198"/>
                      <a:pt x="149" y="195"/>
                      <a:pt x="141" y="191"/>
                    </a:cubicBezTo>
                    <a:cubicBezTo>
                      <a:pt x="133" y="186"/>
                      <a:pt x="127" y="182"/>
                      <a:pt x="122" y="176"/>
                    </a:cubicBezTo>
                    <a:cubicBezTo>
                      <a:pt x="117" y="171"/>
                      <a:pt x="114" y="165"/>
                      <a:pt x="112" y="159"/>
                    </a:cubicBezTo>
                    <a:cubicBezTo>
                      <a:pt x="110" y="152"/>
                      <a:pt x="109" y="145"/>
                      <a:pt x="109" y="137"/>
                    </a:cubicBezTo>
                    <a:cubicBezTo>
                      <a:pt x="109" y="124"/>
                      <a:pt x="110" y="114"/>
                      <a:pt x="114" y="106"/>
                    </a:cubicBezTo>
                    <a:cubicBezTo>
                      <a:pt x="117" y="97"/>
                      <a:pt x="122" y="90"/>
                      <a:pt x="128" y="85"/>
                    </a:cubicBezTo>
                    <a:cubicBezTo>
                      <a:pt x="134" y="80"/>
                      <a:pt x="142" y="76"/>
                      <a:pt x="150" y="74"/>
                    </a:cubicBezTo>
                    <a:cubicBezTo>
                      <a:pt x="159" y="71"/>
                      <a:pt x="168" y="70"/>
                      <a:pt x="179" y="69"/>
                    </a:cubicBezTo>
                    <a:cubicBezTo>
                      <a:pt x="181" y="37"/>
                      <a:pt x="181" y="37"/>
                      <a:pt x="181" y="37"/>
                    </a:cubicBezTo>
                    <a:cubicBezTo>
                      <a:pt x="198" y="37"/>
                      <a:pt x="198" y="37"/>
                      <a:pt x="198" y="37"/>
                    </a:cubicBezTo>
                    <a:cubicBezTo>
                      <a:pt x="202" y="37"/>
                      <a:pt x="205" y="38"/>
                      <a:pt x="206" y="40"/>
                    </a:cubicBezTo>
                    <a:cubicBezTo>
                      <a:pt x="207" y="42"/>
                      <a:pt x="207" y="45"/>
                      <a:pt x="207" y="48"/>
                    </a:cubicBezTo>
                    <a:cubicBezTo>
                      <a:pt x="206" y="69"/>
                      <a:pt x="206" y="69"/>
                      <a:pt x="206" y="69"/>
                    </a:cubicBezTo>
                    <a:cubicBezTo>
                      <a:pt x="213" y="69"/>
                      <a:pt x="220" y="70"/>
                      <a:pt x="226" y="71"/>
                    </a:cubicBezTo>
                    <a:cubicBezTo>
                      <a:pt x="231" y="73"/>
                      <a:pt x="236" y="74"/>
                      <a:pt x="240" y="75"/>
                    </a:cubicBezTo>
                    <a:cubicBezTo>
                      <a:pt x="246" y="78"/>
                      <a:pt x="249" y="80"/>
                      <a:pt x="250" y="83"/>
                    </a:cubicBezTo>
                    <a:cubicBezTo>
                      <a:pt x="251" y="87"/>
                      <a:pt x="252" y="90"/>
                      <a:pt x="252" y="93"/>
                    </a:cubicBezTo>
                    <a:cubicBezTo>
                      <a:pt x="252" y="114"/>
                      <a:pt x="252" y="114"/>
                      <a:pt x="252" y="114"/>
                    </a:cubicBezTo>
                    <a:cubicBezTo>
                      <a:pt x="244" y="113"/>
                      <a:pt x="236" y="112"/>
                      <a:pt x="227" y="112"/>
                    </a:cubicBezTo>
                    <a:cubicBezTo>
                      <a:pt x="219" y="112"/>
                      <a:pt x="211" y="111"/>
                      <a:pt x="202" y="111"/>
                    </a:cubicBezTo>
                    <a:cubicBezTo>
                      <a:pt x="198" y="161"/>
                      <a:pt x="198" y="161"/>
                      <a:pt x="198" y="161"/>
                    </a:cubicBezTo>
                    <a:cubicBezTo>
                      <a:pt x="210" y="165"/>
                      <a:pt x="219" y="169"/>
                      <a:pt x="227" y="173"/>
                    </a:cubicBezTo>
                    <a:cubicBezTo>
                      <a:pt x="235" y="176"/>
                      <a:pt x="241" y="180"/>
                      <a:pt x="246" y="185"/>
                    </a:cubicBezTo>
                    <a:cubicBezTo>
                      <a:pt x="251" y="190"/>
                      <a:pt x="254" y="196"/>
                      <a:pt x="257" y="203"/>
                    </a:cubicBezTo>
                    <a:cubicBezTo>
                      <a:pt x="259" y="209"/>
                      <a:pt x="260" y="218"/>
                      <a:pt x="260" y="227"/>
                    </a:cubicBezTo>
                    <a:cubicBezTo>
                      <a:pt x="260" y="240"/>
                      <a:pt x="258" y="250"/>
                      <a:pt x="255" y="2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46" name="Freeform 514"/>
              <p:cNvSpPr>
                <a:spLocks/>
              </p:cNvSpPr>
              <p:nvPr/>
            </p:nvSpPr>
            <p:spPr bwMode="auto">
              <a:xfrm>
                <a:off x="4459288" y="2305051"/>
                <a:ext cx="79375" cy="165100"/>
              </a:xfrm>
              <a:custGeom>
                <a:avLst/>
                <a:gdLst>
                  <a:gd name="T0" fmla="*/ 4 w 21"/>
                  <a:gd name="T1" fmla="*/ 6 h 44"/>
                  <a:gd name="T2" fmla="*/ 0 w 21"/>
                  <a:gd name="T3" fmla="*/ 22 h 44"/>
                  <a:gd name="T4" fmla="*/ 4 w 21"/>
                  <a:gd name="T5" fmla="*/ 36 h 44"/>
                  <a:gd name="T6" fmla="*/ 18 w 21"/>
                  <a:gd name="T7" fmla="*/ 44 h 44"/>
                  <a:gd name="T8" fmla="*/ 21 w 21"/>
                  <a:gd name="T9" fmla="*/ 0 h 44"/>
                  <a:gd name="T10" fmla="*/ 4 w 21"/>
                  <a:gd name="T11" fmla="*/ 6 h 44"/>
                </a:gdLst>
                <a:ahLst/>
                <a:cxnLst>
                  <a:cxn ang="0">
                    <a:pos x="T0" y="T1"/>
                  </a:cxn>
                  <a:cxn ang="0">
                    <a:pos x="T2" y="T3"/>
                  </a:cxn>
                  <a:cxn ang="0">
                    <a:pos x="T4" y="T5"/>
                  </a:cxn>
                  <a:cxn ang="0">
                    <a:pos x="T6" y="T7"/>
                  </a:cxn>
                  <a:cxn ang="0">
                    <a:pos x="T8" y="T9"/>
                  </a:cxn>
                  <a:cxn ang="0">
                    <a:pos x="T10" y="T11"/>
                  </a:cxn>
                </a:cxnLst>
                <a:rect l="0" t="0" r="r" b="b"/>
                <a:pathLst>
                  <a:path w="21" h="44">
                    <a:moveTo>
                      <a:pt x="4" y="6"/>
                    </a:moveTo>
                    <a:cubicBezTo>
                      <a:pt x="1" y="10"/>
                      <a:pt x="0" y="15"/>
                      <a:pt x="0" y="22"/>
                    </a:cubicBezTo>
                    <a:cubicBezTo>
                      <a:pt x="0" y="28"/>
                      <a:pt x="1" y="33"/>
                      <a:pt x="4" y="36"/>
                    </a:cubicBezTo>
                    <a:cubicBezTo>
                      <a:pt x="7" y="39"/>
                      <a:pt x="11" y="42"/>
                      <a:pt x="18" y="44"/>
                    </a:cubicBezTo>
                    <a:cubicBezTo>
                      <a:pt x="21" y="0"/>
                      <a:pt x="21" y="0"/>
                      <a:pt x="21" y="0"/>
                    </a:cubicBezTo>
                    <a:cubicBezTo>
                      <a:pt x="13" y="0"/>
                      <a:pt x="7" y="3"/>
                      <a:pt x="4"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47" name="Freeform 515"/>
              <p:cNvSpPr>
                <a:spLocks/>
              </p:cNvSpPr>
              <p:nvPr/>
            </p:nvSpPr>
            <p:spPr bwMode="auto">
              <a:xfrm>
                <a:off x="4598988" y="2662238"/>
                <a:ext cx="82550" cy="173038"/>
              </a:xfrm>
              <a:custGeom>
                <a:avLst/>
                <a:gdLst>
                  <a:gd name="T0" fmla="*/ 4 w 22"/>
                  <a:gd name="T1" fmla="*/ 0 h 46"/>
                  <a:gd name="T2" fmla="*/ 0 w 22"/>
                  <a:gd name="T3" fmla="*/ 46 h 46"/>
                  <a:gd name="T4" fmla="*/ 18 w 22"/>
                  <a:gd name="T5" fmla="*/ 39 h 46"/>
                  <a:gd name="T6" fmla="*/ 22 w 22"/>
                  <a:gd name="T7" fmla="*/ 23 h 46"/>
                  <a:gd name="T8" fmla="*/ 18 w 22"/>
                  <a:gd name="T9" fmla="*/ 7 h 46"/>
                  <a:gd name="T10" fmla="*/ 4 w 22"/>
                  <a:gd name="T11" fmla="*/ 0 h 46"/>
                </a:gdLst>
                <a:ahLst/>
                <a:cxnLst>
                  <a:cxn ang="0">
                    <a:pos x="T0" y="T1"/>
                  </a:cxn>
                  <a:cxn ang="0">
                    <a:pos x="T2" y="T3"/>
                  </a:cxn>
                  <a:cxn ang="0">
                    <a:pos x="T4" y="T5"/>
                  </a:cxn>
                  <a:cxn ang="0">
                    <a:pos x="T6" y="T7"/>
                  </a:cxn>
                  <a:cxn ang="0">
                    <a:pos x="T8" y="T9"/>
                  </a:cxn>
                  <a:cxn ang="0">
                    <a:pos x="T10" y="T11"/>
                  </a:cxn>
                </a:cxnLst>
                <a:rect l="0" t="0" r="r" b="b"/>
                <a:pathLst>
                  <a:path w="22" h="46">
                    <a:moveTo>
                      <a:pt x="4" y="0"/>
                    </a:moveTo>
                    <a:cubicBezTo>
                      <a:pt x="0" y="46"/>
                      <a:pt x="0" y="46"/>
                      <a:pt x="0" y="46"/>
                    </a:cubicBezTo>
                    <a:cubicBezTo>
                      <a:pt x="9" y="45"/>
                      <a:pt x="14" y="43"/>
                      <a:pt x="18" y="39"/>
                    </a:cubicBezTo>
                    <a:cubicBezTo>
                      <a:pt x="21" y="35"/>
                      <a:pt x="22" y="30"/>
                      <a:pt x="22" y="23"/>
                    </a:cubicBezTo>
                    <a:cubicBezTo>
                      <a:pt x="22" y="15"/>
                      <a:pt x="21" y="10"/>
                      <a:pt x="18" y="7"/>
                    </a:cubicBezTo>
                    <a:cubicBezTo>
                      <a:pt x="15" y="5"/>
                      <a:pt x="10"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nvGrpSpPr>
            <p:cNvPr id="448" name="Group 447"/>
            <p:cNvGrpSpPr/>
            <p:nvPr/>
          </p:nvGrpSpPr>
          <p:grpSpPr>
            <a:xfrm>
              <a:off x="3424758" y="2809769"/>
              <a:ext cx="399347" cy="399811"/>
              <a:chOff x="3879851" y="1882776"/>
              <a:chExt cx="1368425" cy="1370013"/>
            </a:xfrm>
            <a:solidFill>
              <a:srgbClr val="000000"/>
            </a:solidFill>
          </p:grpSpPr>
          <p:sp>
            <p:nvSpPr>
              <p:cNvPr id="449" name="Freeform 513"/>
              <p:cNvSpPr>
                <a:spLocks noEditPoints="1"/>
              </p:cNvSpPr>
              <p:nvPr/>
            </p:nvSpPr>
            <p:spPr bwMode="auto">
              <a:xfrm>
                <a:off x="3879851" y="1882776"/>
                <a:ext cx="1368425" cy="1370013"/>
              </a:xfrm>
              <a:custGeom>
                <a:avLst/>
                <a:gdLst>
                  <a:gd name="T0" fmla="*/ 342 w 364"/>
                  <a:gd name="T1" fmla="*/ 0 h 364"/>
                  <a:gd name="T2" fmla="*/ 0 w 364"/>
                  <a:gd name="T3" fmla="*/ 0 h 364"/>
                  <a:gd name="T4" fmla="*/ 0 w 364"/>
                  <a:gd name="T5" fmla="*/ 341 h 364"/>
                  <a:gd name="T6" fmla="*/ 22 w 364"/>
                  <a:gd name="T7" fmla="*/ 364 h 364"/>
                  <a:gd name="T8" fmla="*/ 364 w 364"/>
                  <a:gd name="T9" fmla="*/ 364 h 364"/>
                  <a:gd name="T10" fmla="*/ 364 w 364"/>
                  <a:gd name="T11" fmla="*/ 25 h 364"/>
                  <a:gd name="T12" fmla="*/ 342 w 364"/>
                  <a:gd name="T13" fmla="*/ 0 h 364"/>
                  <a:gd name="T14" fmla="*/ 255 w 364"/>
                  <a:gd name="T15" fmla="*/ 259 h 364"/>
                  <a:gd name="T16" fmla="*/ 242 w 364"/>
                  <a:gd name="T17" fmla="*/ 280 h 364"/>
                  <a:gd name="T18" fmla="*/ 219 w 364"/>
                  <a:gd name="T19" fmla="*/ 292 h 364"/>
                  <a:gd name="T20" fmla="*/ 188 w 364"/>
                  <a:gd name="T21" fmla="*/ 296 h 364"/>
                  <a:gd name="T22" fmla="*/ 185 w 364"/>
                  <a:gd name="T23" fmla="*/ 330 h 364"/>
                  <a:gd name="T24" fmla="*/ 168 w 364"/>
                  <a:gd name="T25" fmla="*/ 330 h 364"/>
                  <a:gd name="T26" fmla="*/ 161 w 364"/>
                  <a:gd name="T27" fmla="*/ 327 h 364"/>
                  <a:gd name="T28" fmla="*/ 159 w 364"/>
                  <a:gd name="T29" fmla="*/ 320 h 364"/>
                  <a:gd name="T30" fmla="*/ 161 w 364"/>
                  <a:gd name="T31" fmla="*/ 296 h 364"/>
                  <a:gd name="T32" fmla="*/ 140 w 364"/>
                  <a:gd name="T33" fmla="*/ 294 h 364"/>
                  <a:gd name="T34" fmla="*/ 124 w 364"/>
                  <a:gd name="T35" fmla="*/ 290 h 364"/>
                  <a:gd name="T36" fmla="*/ 114 w 364"/>
                  <a:gd name="T37" fmla="*/ 284 h 364"/>
                  <a:gd name="T38" fmla="*/ 111 w 364"/>
                  <a:gd name="T39" fmla="*/ 275 h 364"/>
                  <a:gd name="T40" fmla="*/ 111 w 364"/>
                  <a:gd name="T41" fmla="*/ 251 h 364"/>
                  <a:gd name="T42" fmla="*/ 124 w 364"/>
                  <a:gd name="T43" fmla="*/ 252 h 364"/>
                  <a:gd name="T44" fmla="*/ 138 w 364"/>
                  <a:gd name="T45" fmla="*/ 252 h 364"/>
                  <a:gd name="T46" fmla="*/ 152 w 364"/>
                  <a:gd name="T47" fmla="*/ 253 h 364"/>
                  <a:gd name="T48" fmla="*/ 165 w 364"/>
                  <a:gd name="T49" fmla="*/ 253 h 364"/>
                  <a:gd name="T50" fmla="*/ 169 w 364"/>
                  <a:gd name="T51" fmla="*/ 202 h 364"/>
                  <a:gd name="T52" fmla="*/ 141 w 364"/>
                  <a:gd name="T53" fmla="*/ 191 h 364"/>
                  <a:gd name="T54" fmla="*/ 122 w 364"/>
                  <a:gd name="T55" fmla="*/ 176 h 364"/>
                  <a:gd name="T56" fmla="*/ 112 w 364"/>
                  <a:gd name="T57" fmla="*/ 159 h 364"/>
                  <a:gd name="T58" fmla="*/ 109 w 364"/>
                  <a:gd name="T59" fmla="*/ 137 h 364"/>
                  <a:gd name="T60" fmla="*/ 114 w 364"/>
                  <a:gd name="T61" fmla="*/ 106 h 364"/>
                  <a:gd name="T62" fmla="*/ 128 w 364"/>
                  <a:gd name="T63" fmla="*/ 85 h 364"/>
                  <a:gd name="T64" fmla="*/ 150 w 364"/>
                  <a:gd name="T65" fmla="*/ 74 h 364"/>
                  <a:gd name="T66" fmla="*/ 179 w 364"/>
                  <a:gd name="T67" fmla="*/ 69 h 364"/>
                  <a:gd name="T68" fmla="*/ 181 w 364"/>
                  <a:gd name="T69" fmla="*/ 37 h 364"/>
                  <a:gd name="T70" fmla="*/ 198 w 364"/>
                  <a:gd name="T71" fmla="*/ 37 h 364"/>
                  <a:gd name="T72" fmla="*/ 206 w 364"/>
                  <a:gd name="T73" fmla="*/ 40 h 364"/>
                  <a:gd name="T74" fmla="*/ 207 w 364"/>
                  <a:gd name="T75" fmla="*/ 48 h 364"/>
                  <a:gd name="T76" fmla="*/ 206 w 364"/>
                  <a:gd name="T77" fmla="*/ 69 h 364"/>
                  <a:gd name="T78" fmla="*/ 226 w 364"/>
                  <a:gd name="T79" fmla="*/ 71 h 364"/>
                  <a:gd name="T80" fmla="*/ 240 w 364"/>
                  <a:gd name="T81" fmla="*/ 75 h 364"/>
                  <a:gd name="T82" fmla="*/ 250 w 364"/>
                  <a:gd name="T83" fmla="*/ 83 h 364"/>
                  <a:gd name="T84" fmla="*/ 252 w 364"/>
                  <a:gd name="T85" fmla="*/ 93 h 364"/>
                  <a:gd name="T86" fmla="*/ 252 w 364"/>
                  <a:gd name="T87" fmla="*/ 114 h 364"/>
                  <a:gd name="T88" fmla="*/ 227 w 364"/>
                  <a:gd name="T89" fmla="*/ 112 h 364"/>
                  <a:gd name="T90" fmla="*/ 202 w 364"/>
                  <a:gd name="T91" fmla="*/ 111 h 364"/>
                  <a:gd name="T92" fmla="*/ 198 w 364"/>
                  <a:gd name="T93" fmla="*/ 161 h 364"/>
                  <a:gd name="T94" fmla="*/ 227 w 364"/>
                  <a:gd name="T95" fmla="*/ 173 h 364"/>
                  <a:gd name="T96" fmla="*/ 246 w 364"/>
                  <a:gd name="T97" fmla="*/ 185 h 364"/>
                  <a:gd name="T98" fmla="*/ 257 w 364"/>
                  <a:gd name="T99" fmla="*/ 203 h 364"/>
                  <a:gd name="T100" fmla="*/ 260 w 364"/>
                  <a:gd name="T101" fmla="*/ 227 h 364"/>
                  <a:gd name="T102" fmla="*/ 255 w 364"/>
                  <a:gd name="T103" fmla="*/ 25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4" h="364">
                    <a:moveTo>
                      <a:pt x="342" y="0"/>
                    </a:moveTo>
                    <a:cubicBezTo>
                      <a:pt x="0" y="0"/>
                      <a:pt x="0" y="0"/>
                      <a:pt x="0" y="0"/>
                    </a:cubicBezTo>
                    <a:cubicBezTo>
                      <a:pt x="0" y="341"/>
                      <a:pt x="0" y="341"/>
                      <a:pt x="0" y="341"/>
                    </a:cubicBezTo>
                    <a:cubicBezTo>
                      <a:pt x="0" y="354"/>
                      <a:pt x="10" y="364"/>
                      <a:pt x="22" y="364"/>
                    </a:cubicBezTo>
                    <a:cubicBezTo>
                      <a:pt x="364" y="364"/>
                      <a:pt x="364" y="364"/>
                      <a:pt x="364" y="364"/>
                    </a:cubicBezTo>
                    <a:cubicBezTo>
                      <a:pt x="364" y="25"/>
                      <a:pt x="364" y="25"/>
                      <a:pt x="364" y="25"/>
                    </a:cubicBezTo>
                    <a:cubicBezTo>
                      <a:pt x="364" y="12"/>
                      <a:pt x="354" y="0"/>
                      <a:pt x="342" y="0"/>
                    </a:cubicBezTo>
                    <a:moveTo>
                      <a:pt x="255" y="259"/>
                    </a:moveTo>
                    <a:cubicBezTo>
                      <a:pt x="252" y="267"/>
                      <a:pt x="248" y="274"/>
                      <a:pt x="242" y="280"/>
                    </a:cubicBezTo>
                    <a:cubicBezTo>
                      <a:pt x="236" y="285"/>
                      <a:pt x="228" y="289"/>
                      <a:pt x="219" y="292"/>
                    </a:cubicBezTo>
                    <a:cubicBezTo>
                      <a:pt x="210" y="294"/>
                      <a:pt x="200" y="296"/>
                      <a:pt x="188" y="296"/>
                    </a:cubicBezTo>
                    <a:cubicBezTo>
                      <a:pt x="185" y="330"/>
                      <a:pt x="185" y="330"/>
                      <a:pt x="185" y="330"/>
                    </a:cubicBezTo>
                    <a:cubicBezTo>
                      <a:pt x="168" y="330"/>
                      <a:pt x="168" y="330"/>
                      <a:pt x="168" y="330"/>
                    </a:cubicBezTo>
                    <a:cubicBezTo>
                      <a:pt x="164" y="330"/>
                      <a:pt x="162" y="329"/>
                      <a:pt x="161" y="327"/>
                    </a:cubicBezTo>
                    <a:cubicBezTo>
                      <a:pt x="160" y="325"/>
                      <a:pt x="159" y="323"/>
                      <a:pt x="159" y="320"/>
                    </a:cubicBezTo>
                    <a:cubicBezTo>
                      <a:pt x="161" y="296"/>
                      <a:pt x="161" y="296"/>
                      <a:pt x="161" y="296"/>
                    </a:cubicBezTo>
                    <a:cubicBezTo>
                      <a:pt x="153" y="296"/>
                      <a:pt x="146" y="295"/>
                      <a:pt x="140" y="294"/>
                    </a:cubicBezTo>
                    <a:cubicBezTo>
                      <a:pt x="133" y="293"/>
                      <a:pt x="128" y="292"/>
                      <a:pt x="124" y="290"/>
                    </a:cubicBezTo>
                    <a:cubicBezTo>
                      <a:pt x="119" y="288"/>
                      <a:pt x="116" y="286"/>
                      <a:pt x="114" y="284"/>
                    </a:cubicBezTo>
                    <a:cubicBezTo>
                      <a:pt x="112" y="281"/>
                      <a:pt x="111" y="278"/>
                      <a:pt x="111" y="275"/>
                    </a:cubicBezTo>
                    <a:cubicBezTo>
                      <a:pt x="111" y="251"/>
                      <a:pt x="111" y="251"/>
                      <a:pt x="111" y="251"/>
                    </a:cubicBezTo>
                    <a:cubicBezTo>
                      <a:pt x="115" y="251"/>
                      <a:pt x="119" y="251"/>
                      <a:pt x="124" y="252"/>
                    </a:cubicBezTo>
                    <a:cubicBezTo>
                      <a:pt x="129" y="252"/>
                      <a:pt x="134" y="252"/>
                      <a:pt x="138" y="252"/>
                    </a:cubicBezTo>
                    <a:cubicBezTo>
                      <a:pt x="143" y="252"/>
                      <a:pt x="148" y="253"/>
                      <a:pt x="152" y="253"/>
                    </a:cubicBezTo>
                    <a:cubicBezTo>
                      <a:pt x="157" y="253"/>
                      <a:pt x="161" y="253"/>
                      <a:pt x="165" y="253"/>
                    </a:cubicBezTo>
                    <a:cubicBezTo>
                      <a:pt x="169" y="202"/>
                      <a:pt x="169" y="202"/>
                      <a:pt x="169" y="202"/>
                    </a:cubicBezTo>
                    <a:cubicBezTo>
                      <a:pt x="158" y="198"/>
                      <a:pt x="149" y="195"/>
                      <a:pt x="141" y="191"/>
                    </a:cubicBezTo>
                    <a:cubicBezTo>
                      <a:pt x="133" y="186"/>
                      <a:pt x="127" y="182"/>
                      <a:pt x="122" y="176"/>
                    </a:cubicBezTo>
                    <a:cubicBezTo>
                      <a:pt x="117" y="171"/>
                      <a:pt x="114" y="165"/>
                      <a:pt x="112" y="159"/>
                    </a:cubicBezTo>
                    <a:cubicBezTo>
                      <a:pt x="110" y="152"/>
                      <a:pt x="109" y="145"/>
                      <a:pt x="109" y="137"/>
                    </a:cubicBezTo>
                    <a:cubicBezTo>
                      <a:pt x="109" y="124"/>
                      <a:pt x="110" y="114"/>
                      <a:pt x="114" y="106"/>
                    </a:cubicBezTo>
                    <a:cubicBezTo>
                      <a:pt x="117" y="97"/>
                      <a:pt x="122" y="90"/>
                      <a:pt x="128" y="85"/>
                    </a:cubicBezTo>
                    <a:cubicBezTo>
                      <a:pt x="134" y="80"/>
                      <a:pt x="142" y="76"/>
                      <a:pt x="150" y="74"/>
                    </a:cubicBezTo>
                    <a:cubicBezTo>
                      <a:pt x="159" y="71"/>
                      <a:pt x="168" y="70"/>
                      <a:pt x="179" y="69"/>
                    </a:cubicBezTo>
                    <a:cubicBezTo>
                      <a:pt x="181" y="37"/>
                      <a:pt x="181" y="37"/>
                      <a:pt x="181" y="37"/>
                    </a:cubicBezTo>
                    <a:cubicBezTo>
                      <a:pt x="198" y="37"/>
                      <a:pt x="198" y="37"/>
                      <a:pt x="198" y="37"/>
                    </a:cubicBezTo>
                    <a:cubicBezTo>
                      <a:pt x="202" y="37"/>
                      <a:pt x="205" y="38"/>
                      <a:pt x="206" y="40"/>
                    </a:cubicBezTo>
                    <a:cubicBezTo>
                      <a:pt x="207" y="42"/>
                      <a:pt x="207" y="45"/>
                      <a:pt x="207" y="48"/>
                    </a:cubicBezTo>
                    <a:cubicBezTo>
                      <a:pt x="206" y="69"/>
                      <a:pt x="206" y="69"/>
                      <a:pt x="206" y="69"/>
                    </a:cubicBezTo>
                    <a:cubicBezTo>
                      <a:pt x="213" y="69"/>
                      <a:pt x="220" y="70"/>
                      <a:pt x="226" y="71"/>
                    </a:cubicBezTo>
                    <a:cubicBezTo>
                      <a:pt x="231" y="73"/>
                      <a:pt x="236" y="74"/>
                      <a:pt x="240" y="75"/>
                    </a:cubicBezTo>
                    <a:cubicBezTo>
                      <a:pt x="246" y="78"/>
                      <a:pt x="249" y="80"/>
                      <a:pt x="250" y="83"/>
                    </a:cubicBezTo>
                    <a:cubicBezTo>
                      <a:pt x="251" y="87"/>
                      <a:pt x="252" y="90"/>
                      <a:pt x="252" y="93"/>
                    </a:cubicBezTo>
                    <a:cubicBezTo>
                      <a:pt x="252" y="114"/>
                      <a:pt x="252" y="114"/>
                      <a:pt x="252" y="114"/>
                    </a:cubicBezTo>
                    <a:cubicBezTo>
                      <a:pt x="244" y="113"/>
                      <a:pt x="236" y="112"/>
                      <a:pt x="227" y="112"/>
                    </a:cubicBezTo>
                    <a:cubicBezTo>
                      <a:pt x="219" y="112"/>
                      <a:pt x="211" y="111"/>
                      <a:pt x="202" y="111"/>
                    </a:cubicBezTo>
                    <a:cubicBezTo>
                      <a:pt x="198" y="161"/>
                      <a:pt x="198" y="161"/>
                      <a:pt x="198" y="161"/>
                    </a:cubicBezTo>
                    <a:cubicBezTo>
                      <a:pt x="210" y="165"/>
                      <a:pt x="219" y="169"/>
                      <a:pt x="227" y="173"/>
                    </a:cubicBezTo>
                    <a:cubicBezTo>
                      <a:pt x="235" y="176"/>
                      <a:pt x="241" y="180"/>
                      <a:pt x="246" y="185"/>
                    </a:cubicBezTo>
                    <a:cubicBezTo>
                      <a:pt x="251" y="190"/>
                      <a:pt x="254" y="196"/>
                      <a:pt x="257" y="203"/>
                    </a:cubicBezTo>
                    <a:cubicBezTo>
                      <a:pt x="259" y="209"/>
                      <a:pt x="260" y="218"/>
                      <a:pt x="260" y="227"/>
                    </a:cubicBezTo>
                    <a:cubicBezTo>
                      <a:pt x="260" y="240"/>
                      <a:pt x="258" y="250"/>
                      <a:pt x="255" y="2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50" name="Freeform 514"/>
              <p:cNvSpPr>
                <a:spLocks/>
              </p:cNvSpPr>
              <p:nvPr/>
            </p:nvSpPr>
            <p:spPr bwMode="auto">
              <a:xfrm>
                <a:off x="4459288" y="2305051"/>
                <a:ext cx="79375" cy="165100"/>
              </a:xfrm>
              <a:custGeom>
                <a:avLst/>
                <a:gdLst>
                  <a:gd name="T0" fmla="*/ 4 w 21"/>
                  <a:gd name="T1" fmla="*/ 6 h 44"/>
                  <a:gd name="T2" fmla="*/ 0 w 21"/>
                  <a:gd name="T3" fmla="*/ 22 h 44"/>
                  <a:gd name="T4" fmla="*/ 4 w 21"/>
                  <a:gd name="T5" fmla="*/ 36 h 44"/>
                  <a:gd name="T6" fmla="*/ 18 w 21"/>
                  <a:gd name="T7" fmla="*/ 44 h 44"/>
                  <a:gd name="T8" fmla="*/ 21 w 21"/>
                  <a:gd name="T9" fmla="*/ 0 h 44"/>
                  <a:gd name="T10" fmla="*/ 4 w 21"/>
                  <a:gd name="T11" fmla="*/ 6 h 44"/>
                </a:gdLst>
                <a:ahLst/>
                <a:cxnLst>
                  <a:cxn ang="0">
                    <a:pos x="T0" y="T1"/>
                  </a:cxn>
                  <a:cxn ang="0">
                    <a:pos x="T2" y="T3"/>
                  </a:cxn>
                  <a:cxn ang="0">
                    <a:pos x="T4" y="T5"/>
                  </a:cxn>
                  <a:cxn ang="0">
                    <a:pos x="T6" y="T7"/>
                  </a:cxn>
                  <a:cxn ang="0">
                    <a:pos x="T8" y="T9"/>
                  </a:cxn>
                  <a:cxn ang="0">
                    <a:pos x="T10" y="T11"/>
                  </a:cxn>
                </a:cxnLst>
                <a:rect l="0" t="0" r="r" b="b"/>
                <a:pathLst>
                  <a:path w="21" h="44">
                    <a:moveTo>
                      <a:pt x="4" y="6"/>
                    </a:moveTo>
                    <a:cubicBezTo>
                      <a:pt x="1" y="10"/>
                      <a:pt x="0" y="15"/>
                      <a:pt x="0" y="22"/>
                    </a:cubicBezTo>
                    <a:cubicBezTo>
                      <a:pt x="0" y="28"/>
                      <a:pt x="1" y="33"/>
                      <a:pt x="4" y="36"/>
                    </a:cubicBezTo>
                    <a:cubicBezTo>
                      <a:pt x="7" y="39"/>
                      <a:pt x="11" y="42"/>
                      <a:pt x="18" y="44"/>
                    </a:cubicBezTo>
                    <a:cubicBezTo>
                      <a:pt x="21" y="0"/>
                      <a:pt x="21" y="0"/>
                      <a:pt x="21" y="0"/>
                    </a:cubicBezTo>
                    <a:cubicBezTo>
                      <a:pt x="13" y="0"/>
                      <a:pt x="7" y="3"/>
                      <a:pt x="4"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51" name="Freeform 515"/>
              <p:cNvSpPr>
                <a:spLocks/>
              </p:cNvSpPr>
              <p:nvPr/>
            </p:nvSpPr>
            <p:spPr bwMode="auto">
              <a:xfrm>
                <a:off x="4598988" y="2662238"/>
                <a:ext cx="82550" cy="173038"/>
              </a:xfrm>
              <a:custGeom>
                <a:avLst/>
                <a:gdLst>
                  <a:gd name="T0" fmla="*/ 4 w 22"/>
                  <a:gd name="T1" fmla="*/ 0 h 46"/>
                  <a:gd name="T2" fmla="*/ 0 w 22"/>
                  <a:gd name="T3" fmla="*/ 46 h 46"/>
                  <a:gd name="T4" fmla="*/ 18 w 22"/>
                  <a:gd name="T5" fmla="*/ 39 h 46"/>
                  <a:gd name="T6" fmla="*/ 22 w 22"/>
                  <a:gd name="T7" fmla="*/ 23 h 46"/>
                  <a:gd name="T8" fmla="*/ 18 w 22"/>
                  <a:gd name="T9" fmla="*/ 7 h 46"/>
                  <a:gd name="T10" fmla="*/ 4 w 22"/>
                  <a:gd name="T11" fmla="*/ 0 h 46"/>
                </a:gdLst>
                <a:ahLst/>
                <a:cxnLst>
                  <a:cxn ang="0">
                    <a:pos x="T0" y="T1"/>
                  </a:cxn>
                  <a:cxn ang="0">
                    <a:pos x="T2" y="T3"/>
                  </a:cxn>
                  <a:cxn ang="0">
                    <a:pos x="T4" y="T5"/>
                  </a:cxn>
                  <a:cxn ang="0">
                    <a:pos x="T6" y="T7"/>
                  </a:cxn>
                  <a:cxn ang="0">
                    <a:pos x="T8" y="T9"/>
                  </a:cxn>
                  <a:cxn ang="0">
                    <a:pos x="T10" y="T11"/>
                  </a:cxn>
                </a:cxnLst>
                <a:rect l="0" t="0" r="r" b="b"/>
                <a:pathLst>
                  <a:path w="22" h="46">
                    <a:moveTo>
                      <a:pt x="4" y="0"/>
                    </a:moveTo>
                    <a:cubicBezTo>
                      <a:pt x="0" y="46"/>
                      <a:pt x="0" y="46"/>
                      <a:pt x="0" y="46"/>
                    </a:cubicBezTo>
                    <a:cubicBezTo>
                      <a:pt x="9" y="45"/>
                      <a:pt x="14" y="43"/>
                      <a:pt x="18" y="39"/>
                    </a:cubicBezTo>
                    <a:cubicBezTo>
                      <a:pt x="21" y="35"/>
                      <a:pt x="22" y="30"/>
                      <a:pt x="22" y="23"/>
                    </a:cubicBezTo>
                    <a:cubicBezTo>
                      <a:pt x="22" y="15"/>
                      <a:pt x="21" y="10"/>
                      <a:pt x="18" y="7"/>
                    </a:cubicBezTo>
                    <a:cubicBezTo>
                      <a:pt x="15" y="5"/>
                      <a:pt x="10"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sp>
        <p:nvSpPr>
          <p:cNvPr id="453" name="TextBox 452"/>
          <p:cNvSpPr txBox="1"/>
          <p:nvPr/>
        </p:nvSpPr>
        <p:spPr>
          <a:xfrm>
            <a:off x="8313785" y="3523523"/>
            <a:ext cx="2028685" cy="408176"/>
          </a:xfrm>
          <a:prstGeom prst="rect">
            <a:avLst/>
          </a:prstGeom>
          <a:noFill/>
        </p:spPr>
        <p:txBody>
          <a:bodyPr wrap="square" lIns="129909" tIns="64954" rIns="129909" bIns="64954" rtlCol="0">
            <a:spAutoFit/>
          </a:bodyPr>
          <a:lstStyle/>
          <a:p>
            <a:pPr defTabSz="611204">
              <a:spcAft>
                <a:spcPts val="568"/>
              </a:spcAft>
              <a:buSzPct val="100000"/>
            </a:pPr>
            <a:r>
              <a:rPr lang="zh-CN" altLang="en-US" sz="1800" b="1" dirty="0" smtClean="0">
                <a:solidFill>
                  <a:srgbClr val="002060"/>
                </a:solidFill>
                <a:latin typeface="微软雅黑" pitchFamily="34" charset="-122"/>
                <a:ea typeface="微软雅黑" pitchFamily="34" charset="-122"/>
                <a:cs typeface="HP Simplified" pitchFamily="34" charset="0"/>
              </a:rPr>
              <a:t>我们的企业</a:t>
            </a:r>
            <a:endParaRPr lang="en-US" sz="1800" b="1" dirty="0" smtClean="0">
              <a:solidFill>
                <a:srgbClr val="002060"/>
              </a:solidFill>
              <a:latin typeface="微软雅黑" pitchFamily="34" charset="-122"/>
              <a:ea typeface="微软雅黑" pitchFamily="34" charset="-122"/>
              <a:cs typeface="HP Simplified" pitchFamily="34" charset="0"/>
            </a:endParaRPr>
          </a:p>
        </p:txBody>
      </p:sp>
      <p:sp>
        <p:nvSpPr>
          <p:cNvPr id="455" name="TextBox 454"/>
          <p:cNvSpPr txBox="1"/>
          <p:nvPr/>
        </p:nvSpPr>
        <p:spPr>
          <a:xfrm>
            <a:off x="2641694" y="3523524"/>
            <a:ext cx="2462650" cy="377398"/>
          </a:xfrm>
          <a:prstGeom prst="rect">
            <a:avLst/>
          </a:prstGeom>
          <a:noFill/>
        </p:spPr>
        <p:txBody>
          <a:bodyPr wrap="square" lIns="129909" tIns="64954" rIns="129909" bIns="64954" rtlCol="0">
            <a:spAutoFit/>
          </a:bodyPr>
          <a:lstStyle/>
          <a:p>
            <a:pPr defTabSz="611204">
              <a:spcAft>
                <a:spcPts val="568"/>
              </a:spcAft>
              <a:buSzPct val="100000"/>
            </a:pPr>
            <a:r>
              <a:rPr lang="zh-CN" altLang="en-US" b="1" dirty="0" smtClean="0">
                <a:solidFill>
                  <a:srgbClr val="000000"/>
                </a:solidFill>
                <a:latin typeface="微软雅黑" pitchFamily="34" charset="-122"/>
                <a:ea typeface="微软雅黑" pitchFamily="34" charset="-122"/>
                <a:cs typeface="HP Simplified" pitchFamily="34" charset="0"/>
              </a:rPr>
              <a:t>对手的生态系统</a:t>
            </a:r>
            <a:endParaRPr lang="en-US" b="1" dirty="0" smtClean="0">
              <a:solidFill>
                <a:srgbClr val="000000"/>
              </a:solidFill>
              <a:latin typeface="微软雅黑" pitchFamily="34" charset="-122"/>
              <a:ea typeface="微软雅黑" pitchFamily="34" charset="-122"/>
              <a:cs typeface="HP Simplified" pitchFamily="34" charset="0"/>
            </a:endParaRPr>
          </a:p>
        </p:txBody>
      </p:sp>
      <p:grpSp>
        <p:nvGrpSpPr>
          <p:cNvPr id="2" name="Group 1"/>
          <p:cNvGrpSpPr/>
          <p:nvPr/>
        </p:nvGrpSpPr>
        <p:grpSpPr>
          <a:xfrm>
            <a:off x="5395404" y="1084107"/>
            <a:ext cx="510443" cy="5578311"/>
            <a:chOff x="5326950" y="727538"/>
            <a:chExt cx="385877" cy="4210312"/>
          </a:xfrm>
          <a:solidFill>
            <a:schemeClr val="accent3"/>
          </a:solidFill>
        </p:grpSpPr>
        <p:grpSp>
          <p:nvGrpSpPr>
            <p:cNvPr id="206" name="Group 205"/>
            <p:cNvGrpSpPr/>
            <p:nvPr/>
          </p:nvGrpSpPr>
          <p:grpSpPr>
            <a:xfrm>
              <a:off x="5478169" y="960699"/>
              <a:ext cx="83439" cy="3576577"/>
              <a:chOff x="5396292" y="1038173"/>
              <a:chExt cx="120650" cy="3594099"/>
            </a:xfrm>
            <a:grpFill/>
          </p:grpSpPr>
          <p:sp>
            <p:nvSpPr>
              <p:cNvPr id="219" name="Rectangle 218"/>
              <p:cNvSpPr/>
              <p:nvPr/>
            </p:nvSpPr>
            <p:spPr bwMode="gray">
              <a:xfrm>
                <a:off x="5396292" y="1038173"/>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0" name="Rectangle 219"/>
              <p:cNvSpPr/>
              <p:nvPr/>
            </p:nvSpPr>
            <p:spPr bwMode="gray">
              <a:xfrm>
                <a:off x="5396292" y="1281202"/>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1" name="Rectangle 220"/>
              <p:cNvSpPr/>
              <p:nvPr/>
            </p:nvSpPr>
            <p:spPr bwMode="gray">
              <a:xfrm>
                <a:off x="5396292" y="1524231"/>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2" name="Rectangle 221"/>
              <p:cNvSpPr/>
              <p:nvPr/>
            </p:nvSpPr>
            <p:spPr bwMode="gray">
              <a:xfrm>
                <a:off x="5396292" y="1767260"/>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3" name="Rectangle 222"/>
              <p:cNvSpPr/>
              <p:nvPr/>
            </p:nvSpPr>
            <p:spPr bwMode="gray">
              <a:xfrm>
                <a:off x="5396292" y="2010289"/>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4" name="Rectangle 223"/>
              <p:cNvSpPr/>
              <p:nvPr/>
            </p:nvSpPr>
            <p:spPr bwMode="gray">
              <a:xfrm>
                <a:off x="5396292" y="2253319"/>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5" name="Rectangle 224"/>
              <p:cNvSpPr/>
              <p:nvPr/>
            </p:nvSpPr>
            <p:spPr bwMode="gray">
              <a:xfrm>
                <a:off x="5396292" y="2496349"/>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6" name="Rectangle 225"/>
              <p:cNvSpPr/>
              <p:nvPr/>
            </p:nvSpPr>
            <p:spPr bwMode="gray">
              <a:xfrm>
                <a:off x="5396292" y="2739379"/>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7" name="Rectangle 226"/>
              <p:cNvSpPr/>
              <p:nvPr/>
            </p:nvSpPr>
            <p:spPr bwMode="gray">
              <a:xfrm>
                <a:off x="5396292" y="2982408"/>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8" name="Rectangle 227"/>
              <p:cNvSpPr/>
              <p:nvPr/>
            </p:nvSpPr>
            <p:spPr bwMode="gray">
              <a:xfrm>
                <a:off x="5396292" y="3225437"/>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9" name="Rectangle 228"/>
              <p:cNvSpPr/>
              <p:nvPr/>
            </p:nvSpPr>
            <p:spPr bwMode="gray">
              <a:xfrm>
                <a:off x="5396292" y="3468466"/>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30" name="Rectangle 229"/>
              <p:cNvSpPr/>
              <p:nvPr/>
            </p:nvSpPr>
            <p:spPr bwMode="gray">
              <a:xfrm>
                <a:off x="5396292" y="3711496"/>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31" name="Rectangle 230"/>
              <p:cNvSpPr/>
              <p:nvPr/>
            </p:nvSpPr>
            <p:spPr bwMode="gray">
              <a:xfrm>
                <a:off x="5396292" y="3954526"/>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41" name="Rectangle 240"/>
              <p:cNvSpPr/>
              <p:nvPr/>
            </p:nvSpPr>
            <p:spPr bwMode="gray">
              <a:xfrm>
                <a:off x="5396292" y="4197555"/>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42" name="Rectangle 241"/>
              <p:cNvSpPr/>
              <p:nvPr/>
            </p:nvSpPr>
            <p:spPr bwMode="gray">
              <a:xfrm>
                <a:off x="5396292" y="4440581"/>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grpSp>
        <p:sp>
          <p:nvSpPr>
            <p:cNvPr id="457" name="Freeform 745"/>
            <p:cNvSpPr>
              <a:spLocks noEditPoints="1"/>
            </p:cNvSpPr>
            <p:nvPr/>
          </p:nvSpPr>
          <p:spPr bwMode="auto">
            <a:xfrm>
              <a:off x="5326950" y="727538"/>
              <a:ext cx="385877" cy="460375"/>
            </a:xfrm>
            <a:custGeom>
              <a:avLst/>
              <a:gdLst>
                <a:gd name="T0" fmla="*/ 259 w 280"/>
                <a:gd name="T1" fmla="*/ 153 h 334"/>
                <a:gd name="T2" fmla="*/ 238 w 280"/>
                <a:gd name="T3" fmla="*/ 153 h 334"/>
                <a:gd name="T4" fmla="*/ 238 w 280"/>
                <a:gd name="T5" fmla="*/ 99 h 334"/>
                <a:gd name="T6" fmla="*/ 138 w 280"/>
                <a:gd name="T7" fmla="*/ 0 h 334"/>
                <a:gd name="T8" fmla="*/ 39 w 280"/>
                <a:gd name="T9" fmla="*/ 99 h 334"/>
                <a:gd name="T10" fmla="*/ 39 w 280"/>
                <a:gd name="T11" fmla="*/ 153 h 334"/>
                <a:gd name="T12" fmla="*/ 0 w 280"/>
                <a:gd name="T13" fmla="*/ 153 h 334"/>
                <a:gd name="T14" fmla="*/ 0 w 280"/>
                <a:gd name="T15" fmla="*/ 312 h 334"/>
                <a:gd name="T16" fmla="*/ 21 w 280"/>
                <a:gd name="T17" fmla="*/ 334 h 334"/>
                <a:gd name="T18" fmla="*/ 280 w 280"/>
                <a:gd name="T19" fmla="*/ 334 h 334"/>
                <a:gd name="T20" fmla="*/ 280 w 280"/>
                <a:gd name="T21" fmla="*/ 174 h 334"/>
                <a:gd name="T22" fmla="*/ 259 w 280"/>
                <a:gd name="T23" fmla="*/ 153 h 334"/>
                <a:gd name="T24" fmla="*/ 81 w 280"/>
                <a:gd name="T25" fmla="*/ 99 h 334"/>
                <a:gd name="T26" fmla="*/ 138 w 280"/>
                <a:gd name="T27" fmla="*/ 43 h 334"/>
                <a:gd name="T28" fmla="*/ 195 w 280"/>
                <a:gd name="T29" fmla="*/ 99 h 334"/>
                <a:gd name="T30" fmla="*/ 195 w 280"/>
                <a:gd name="T31" fmla="*/ 153 h 334"/>
                <a:gd name="T32" fmla="*/ 81 w 280"/>
                <a:gd name="T33" fmla="*/ 153 h 334"/>
                <a:gd name="T34" fmla="*/ 81 w 280"/>
                <a:gd name="T35" fmla="*/ 9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0" h="334">
                  <a:moveTo>
                    <a:pt x="259" y="153"/>
                  </a:moveTo>
                  <a:cubicBezTo>
                    <a:pt x="238" y="153"/>
                    <a:pt x="238" y="153"/>
                    <a:pt x="238" y="153"/>
                  </a:cubicBezTo>
                  <a:cubicBezTo>
                    <a:pt x="238" y="99"/>
                    <a:pt x="238" y="99"/>
                    <a:pt x="238" y="99"/>
                  </a:cubicBezTo>
                  <a:cubicBezTo>
                    <a:pt x="238" y="45"/>
                    <a:pt x="193" y="0"/>
                    <a:pt x="138" y="0"/>
                  </a:cubicBezTo>
                  <a:cubicBezTo>
                    <a:pt x="83" y="0"/>
                    <a:pt x="39" y="45"/>
                    <a:pt x="39" y="99"/>
                  </a:cubicBezTo>
                  <a:cubicBezTo>
                    <a:pt x="39" y="153"/>
                    <a:pt x="39" y="153"/>
                    <a:pt x="39" y="153"/>
                  </a:cubicBezTo>
                  <a:cubicBezTo>
                    <a:pt x="0" y="153"/>
                    <a:pt x="0" y="153"/>
                    <a:pt x="0" y="153"/>
                  </a:cubicBezTo>
                  <a:cubicBezTo>
                    <a:pt x="0" y="312"/>
                    <a:pt x="0" y="312"/>
                    <a:pt x="0" y="312"/>
                  </a:cubicBezTo>
                  <a:cubicBezTo>
                    <a:pt x="0" y="324"/>
                    <a:pt x="9" y="334"/>
                    <a:pt x="21" y="334"/>
                  </a:cubicBezTo>
                  <a:cubicBezTo>
                    <a:pt x="280" y="334"/>
                    <a:pt x="280" y="334"/>
                    <a:pt x="280" y="334"/>
                  </a:cubicBezTo>
                  <a:cubicBezTo>
                    <a:pt x="280" y="174"/>
                    <a:pt x="280" y="174"/>
                    <a:pt x="280" y="174"/>
                  </a:cubicBezTo>
                  <a:cubicBezTo>
                    <a:pt x="280" y="162"/>
                    <a:pt x="271" y="153"/>
                    <a:pt x="259" y="153"/>
                  </a:cubicBezTo>
                  <a:moveTo>
                    <a:pt x="81" y="99"/>
                  </a:moveTo>
                  <a:cubicBezTo>
                    <a:pt x="81" y="68"/>
                    <a:pt x="107" y="43"/>
                    <a:pt x="138" y="43"/>
                  </a:cubicBezTo>
                  <a:cubicBezTo>
                    <a:pt x="169" y="43"/>
                    <a:pt x="195" y="68"/>
                    <a:pt x="195" y="99"/>
                  </a:cubicBezTo>
                  <a:cubicBezTo>
                    <a:pt x="195" y="153"/>
                    <a:pt x="195" y="153"/>
                    <a:pt x="195" y="153"/>
                  </a:cubicBezTo>
                  <a:cubicBezTo>
                    <a:pt x="81" y="153"/>
                    <a:pt x="81" y="153"/>
                    <a:pt x="81" y="153"/>
                  </a:cubicBezTo>
                  <a:lnTo>
                    <a:pt x="81" y="99"/>
                  </a:ln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216" name="Freeform 745"/>
            <p:cNvSpPr>
              <a:spLocks noEditPoints="1"/>
            </p:cNvSpPr>
            <p:nvPr/>
          </p:nvSpPr>
          <p:spPr bwMode="auto">
            <a:xfrm>
              <a:off x="5326950" y="4477475"/>
              <a:ext cx="385877" cy="460375"/>
            </a:xfrm>
            <a:custGeom>
              <a:avLst/>
              <a:gdLst>
                <a:gd name="T0" fmla="*/ 259 w 280"/>
                <a:gd name="T1" fmla="*/ 153 h 334"/>
                <a:gd name="T2" fmla="*/ 238 w 280"/>
                <a:gd name="T3" fmla="*/ 153 h 334"/>
                <a:gd name="T4" fmla="*/ 238 w 280"/>
                <a:gd name="T5" fmla="*/ 99 h 334"/>
                <a:gd name="T6" fmla="*/ 138 w 280"/>
                <a:gd name="T7" fmla="*/ 0 h 334"/>
                <a:gd name="T8" fmla="*/ 39 w 280"/>
                <a:gd name="T9" fmla="*/ 99 h 334"/>
                <a:gd name="T10" fmla="*/ 39 w 280"/>
                <a:gd name="T11" fmla="*/ 153 h 334"/>
                <a:gd name="T12" fmla="*/ 0 w 280"/>
                <a:gd name="T13" fmla="*/ 153 h 334"/>
                <a:gd name="T14" fmla="*/ 0 w 280"/>
                <a:gd name="T15" fmla="*/ 312 h 334"/>
                <a:gd name="T16" fmla="*/ 21 w 280"/>
                <a:gd name="T17" fmla="*/ 334 h 334"/>
                <a:gd name="T18" fmla="*/ 280 w 280"/>
                <a:gd name="T19" fmla="*/ 334 h 334"/>
                <a:gd name="T20" fmla="*/ 280 w 280"/>
                <a:gd name="T21" fmla="*/ 174 h 334"/>
                <a:gd name="T22" fmla="*/ 259 w 280"/>
                <a:gd name="T23" fmla="*/ 153 h 334"/>
                <a:gd name="T24" fmla="*/ 81 w 280"/>
                <a:gd name="T25" fmla="*/ 99 h 334"/>
                <a:gd name="T26" fmla="*/ 138 w 280"/>
                <a:gd name="T27" fmla="*/ 43 h 334"/>
                <a:gd name="T28" fmla="*/ 195 w 280"/>
                <a:gd name="T29" fmla="*/ 99 h 334"/>
                <a:gd name="T30" fmla="*/ 195 w 280"/>
                <a:gd name="T31" fmla="*/ 153 h 334"/>
                <a:gd name="T32" fmla="*/ 81 w 280"/>
                <a:gd name="T33" fmla="*/ 153 h 334"/>
                <a:gd name="T34" fmla="*/ 81 w 280"/>
                <a:gd name="T35" fmla="*/ 9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0" h="334">
                  <a:moveTo>
                    <a:pt x="259" y="153"/>
                  </a:moveTo>
                  <a:cubicBezTo>
                    <a:pt x="238" y="153"/>
                    <a:pt x="238" y="153"/>
                    <a:pt x="238" y="153"/>
                  </a:cubicBezTo>
                  <a:cubicBezTo>
                    <a:pt x="238" y="99"/>
                    <a:pt x="238" y="99"/>
                    <a:pt x="238" y="99"/>
                  </a:cubicBezTo>
                  <a:cubicBezTo>
                    <a:pt x="238" y="45"/>
                    <a:pt x="193" y="0"/>
                    <a:pt x="138" y="0"/>
                  </a:cubicBezTo>
                  <a:cubicBezTo>
                    <a:pt x="83" y="0"/>
                    <a:pt x="39" y="45"/>
                    <a:pt x="39" y="99"/>
                  </a:cubicBezTo>
                  <a:cubicBezTo>
                    <a:pt x="39" y="153"/>
                    <a:pt x="39" y="153"/>
                    <a:pt x="39" y="153"/>
                  </a:cubicBezTo>
                  <a:cubicBezTo>
                    <a:pt x="0" y="153"/>
                    <a:pt x="0" y="153"/>
                    <a:pt x="0" y="153"/>
                  </a:cubicBezTo>
                  <a:cubicBezTo>
                    <a:pt x="0" y="312"/>
                    <a:pt x="0" y="312"/>
                    <a:pt x="0" y="312"/>
                  </a:cubicBezTo>
                  <a:cubicBezTo>
                    <a:pt x="0" y="324"/>
                    <a:pt x="9" y="334"/>
                    <a:pt x="21" y="334"/>
                  </a:cubicBezTo>
                  <a:cubicBezTo>
                    <a:pt x="280" y="334"/>
                    <a:pt x="280" y="334"/>
                    <a:pt x="280" y="334"/>
                  </a:cubicBezTo>
                  <a:cubicBezTo>
                    <a:pt x="280" y="174"/>
                    <a:pt x="280" y="174"/>
                    <a:pt x="280" y="174"/>
                  </a:cubicBezTo>
                  <a:cubicBezTo>
                    <a:pt x="280" y="162"/>
                    <a:pt x="271" y="153"/>
                    <a:pt x="259" y="153"/>
                  </a:cubicBezTo>
                  <a:moveTo>
                    <a:pt x="81" y="99"/>
                  </a:moveTo>
                  <a:cubicBezTo>
                    <a:pt x="81" y="68"/>
                    <a:pt x="107" y="43"/>
                    <a:pt x="138" y="43"/>
                  </a:cubicBezTo>
                  <a:cubicBezTo>
                    <a:pt x="169" y="43"/>
                    <a:pt x="195" y="68"/>
                    <a:pt x="195" y="99"/>
                  </a:cubicBezTo>
                  <a:cubicBezTo>
                    <a:pt x="195" y="153"/>
                    <a:pt x="195" y="153"/>
                    <a:pt x="195" y="153"/>
                  </a:cubicBezTo>
                  <a:cubicBezTo>
                    <a:pt x="81" y="153"/>
                    <a:pt x="81" y="153"/>
                    <a:pt x="81" y="153"/>
                  </a:cubicBezTo>
                  <a:lnTo>
                    <a:pt x="81" y="99"/>
                  </a:ln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nvGrpSpPr>
          <p:cNvPr id="4" name="Group 3"/>
          <p:cNvGrpSpPr/>
          <p:nvPr/>
        </p:nvGrpSpPr>
        <p:grpSpPr>
          <a:xfrm>
            <a:off x="2850414" y="2650350"/>
            <a:ext cx="1008667" cy="701163"/>
            <a:chOff x="3687587" y="1770927"/>
            <a:chExt cx="710346" cy="493005"/>
          </a:xfrm>
        </p:grpSpPr>
        <p:grpSp>
          <p:nvGrpSpPr>
            <p:cNvPr id="217" name="Group 216"/>
            <p:cNvGrpSpPr/>
            <p:nvPr/>
          </p:nvGrpSpPr>
          <p:grpSpPr>
            <a:xfrm>
              <a:off x="3687587" y="1770927"/>
              <a:ext cx="197202" cy="493005"/>
              <a:chOff x="4305301" y="1846263"/>
              <a:chExt cx="568325" cy="1420813"/>
            </a:xfrm>
            <a:solidFill>
              <a:srgbClr val="000000"/>
            </a:solidFill>
          </p:grpSpPr>
          <p:sp>
            <p:nvSpPr>
              <p:cNvPr id="218" name="Oval 633"/>
              <p:cNvSpPr>
                <a:spLocks noChangeArrowheads="1"/>
              </p:cNvSpPr>
              <p:nvPr/>
            </p:nvSpPr>
            <p:spPr bwMode="auto">
              <a:xfrm>
                <a:off x="4440238" y="1846263"/>
                <a:ext cx="296863" cy="3111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232" name="Freeform 634"/>
              <p:cNvSpPr>
                <a:spLocks/>
              </p:cNvSpPr>
              <p:nvPr/>
            </p:nvSpPr>
            <p:spPr bwMode="auto">
              <a:xfrm>
                <a:off x="4305301" y="2203451"/>
                <a:ext cx="568325" cy="1063625"/>
              </a:xfrm>
              <a:custGeom>
                <a:avLst/>
                <a:gdLst>
                  <a:gd name="T0" fmla="*/ 119 w 151"/>
                  <a:gd name="T1" fmla="*/ 0 h 283"/>
                  <a:gd name="T2" fmla="*/ 75 w 151"/>
                  <a:gd name="T3" fmla="*/ 0 h 283"/>
                  <a:gd name="T4" fmla="*/ 32 w 151"/>
                  <a:gd name="T5" fmla="*/ 0 h 283"/>
                  <a:gd name="T6" fmla="*/ 0 w 151"/>
                  <a:gd name="T7" fmla="*/ 34 h 283"/>
                  <a:gd name="T8" fmla="*/ 0 w 151"/>
                  <a:gd name="T9" fmla="*/ 39 h 283"/>
                  <a:gd name="T10" fmla="*/ 0 w 151"/>
                  <a:gd name="T11" fmla="*/ 65 h 283"/>
                  <a:gd name="T12" fmla="*/ 0 w 151"/>
                  <a:gd name="T13" fmla="*/ 88 h 283"/>
                  <a:gd name="T14" fmla="*/ 0 w 151"/>
                  <a:gd name="T15" fmla="*/ 133 h 283"/>
                  <a:gd name="T16" fmla="*/ 0 w 151"/>
                  <a:gd name="T17" fmla="*/ 133 h 283"/>
                  <a:gd name="T18" fmla="*/ 12 w 151"/>
                  <a:gd name="T19" fmla="*/ 145 h 283"/>
                  <a:gd name="T20" fmla="*/ 25 w 151"/>
                  <a:gd name="T21" fmla="*/ 135 h 283"/>
                  <a:gd name="T22" fmla="*/ 25 w 151"/>
                  <a:gd name="T23" fmla="*/ 133 h 283"/>
                  <a:gd name="T24" fmla="*/ 25 w 151"/>
                  <a:gd name="T25" fmla="*/ 43 h 283"/>
                  <a:gd name="T26" fmla="*/ 28 w 151"/>
                  <a:gd name="T27" fmla="*/ 39 h 283"/>
                  <a:gd name="T28" fmla="*/ 31 w 151"/>
                  <a:gd name="T29" fmla="*/ 43 h 283"/>
                  <a:gd name="T30" fmla="*/ 31 w 151"/>
                  <a:gd name="T31" fmla="*/ 138 h 283"/>
                  <a:gd name="T32" fmla="*/ 32 w 151"/>
                  <a:gd name="T33" fmla="*/ 152 h 283"/>
                  <a:gd name="T34" fmla="*/ 32 w 151"/>
                  <a:gd name="T35" fmla="*/ 152 h 283"/>
                  <a:gd name="T36" fmla="*/ 32 w 151"/>
                  <a:gd name="T37" fmla="*/ 152 h 283"/>
                  <a:gd name="T38" fmla="*/ 42 w 151"/>
                  <a:gd name="T39" fmla="*/ 260 h 283"/>
                  <a:gd name="T40" fmla="*/ 64 w 151"/>
                  <a:gd name="T41" fmla="*/ 283 h 283"/>
                  <a:gd name="T42" fmla="*/ 75 w 151"/>
                  <a:gd name="T43" fmla="*/ 283 h 283"/>
                  <a:gd name="T44" fmla="*/ 87 w 151"/>
                  <a:gd name="T45" fmla="*/ 283 h 283"/>
                  <a:gd name="T46" fmla="*/ 109 w 151"/>
                  <a:gd name="T47" fmla="*/ 260 h 283"/>
                  <a:gd name="T48" fmla="*/ 119 w 151"/>
                  <a:gd name="T49" fmla="*/ 152 h 283"/>
                  <a:gd name="T50" fmla="*/ 119 w 151"/>
                  <a:gd name="T51" fmla="*/ 152 h 283"/>
                  <a:gd name="T52" fmla="*/ 119 w 151"/>
                  <a:gd name="T53" fmla="*/ 152 h 283"/>
                  <a:gd name="T54" fmla="*/ 119 w 151"/>
                  <a:gd name="T55" fmla="*/ 138 h 283"/>
                  <a:gd name="T56" fmla="*/ 119 w 151"/>
                  <a:gd name="T57" fmla="*/ 43 h 283"/>
                  <a:gd name="T58" fmla="*/ 123 w 151"/>
                  <a:gd name="T59" fmla="*/ 39 h 283"/>
                  <a:gd name="T60" fmla="*/ 126 w 151"/>
                  <a:gd name="T61" fmla="*/ 43 h 283"/>
                  <a:gd name="T62" fmla="*/ 126 w 151"/>
                  <a:gd name="T63" fmla="*/ 133 h 283"/>
                  <a:gd name="T64" fmla="*/ 126 w 151"/>
                  <a:gd name="T65" fmla="*/ 135 h 283"/>
                  <a:gd name="T66" fmla="*/ 139 w 151"/>
                  <a:gd name="T67" fmla="*/ 145 h 283"/>
                  <a:gd name="T68" fmla="*/ 151 w 151"/>
                  <a:gd name="T69" fmla="*/ 133 h 283"/>
                  <a:gd name="T70" fmla="*/ 151 w 151"/>
                  <a:gd name="T71" fmla="*/ 133 h 283"/>
                  <a:gd name="T72" fmla="*/ 151 w 151"/>
                  <a:gd name="T73" fmla="*/ 65 h 283"/>
                  <a:gd name="T74" fmla="*/ 151 w 151"/>
                  <a:gd name="T75" fmla="*/ 39 h 283"/>
                  <a:gd name="T76" fmla="*/ 151 w 151"/>
                  <a:gd name="T77" fmla="*/ 34 h 283"/>
                  <a:gd name="T78" fmla="*/ 119 w 151"/>
                  <a:gd name="T79"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1" h="283">
                    <a:moveTo>
                      <a:pt x="119" y="0"/>
                    </a:moveTo>
                    <a:cubicBezTo>
                      <a:pt x="75" y="0"/>
                      <a:pt x="75" y="0"/>
                      <a:pt x="75" y="0"/>
                    </a:cubicBezTo>
                    <a:cubicBezTo>
                      <a:pt x="32" y="0"/>
                      <a:pt x="32" y="0"/>
                      <a:pt x="32" y="0"/>
                    </a:cubicBezTo>
                    <a:cubicBezTo>
                      <a:pt x="11" y="0"/>
                      <a:pt x="0" y="10"/>
                      <a:pt x="0" y="34"/>
                    </a:cubicBezTo>
                    <a:cubicBezTo>
                      <a:pt x="0" y="39"/>
                      <a:pt x="0" y="39"/>
                      <a:pt x="0" y="39"/>
                    </a:cubicBezTo>
                    <a:cubicBezTo>
                      <a:pt x="0" y="65"/>
                      <a:pt x="0" y="65"/>
                      <a:pt x="0" y="65"/>
                    </a:cubicBezTo>
                    <a:cubicBezTo>
                      <a:pt x="0" y="88"/>
                      <a:pt x="0" y="88"/>
                      <a:pt x="0" y="88"/>
                    </a:cubicBezTo>
                    <a:cubicBezTo>
                      <a:pt x="0" y="133"/>
                      <a:pt x="0" y="133"/>
                      <a:pt x="0" y="133"/>
                    </a:cubicBezTo>
                    <a:cubicBezTo>
                      <a:pt x="0" y="133"/>
                      <a:pt x="0" y="133"/>
                      <a:pt x="0" y="133"/>
                    </a:cubicBezTo>
                    <a:cubicBezTo>
                      <a:pt x="0" y="140"/>
                      <a:pt x="5" y="145"/>
                      <a:pt x="12" y="145"/>
                    </a:cubicBezTo>
                    <a:cubicBezTo>
                      <a:pt x="19" y="145"/>
                      <a:pt x="24" y="141"/>
                      <a:pt x="25" y="135"/>
                    </a:cubicBezTo>
                    <a:cubicBezTo>
                      <a:pt x="25" y="134"/>
                      <a:pt x="25" y="133"/>
                      <a:pt x="25" y="133"/>
                    </a:cubicBezTo>
                    <a:cubicBezTo>
                      <a:pt x="25" y="43"/>
                      <a:pt x="25" y="43"/>
                      <a:pt x="25" y="43"/>
                    </a:cubicBezTo>
                    <a:cubicBezTo>
                      <a:pt x="25" y="41"/>
                      <a:pt x="26" y="39"/>
                      <a:pt x="28" y="39"/>
                    </a:cubicBezTo>
                    <a:cubicBezTo>
                      <a:pt x="30" y="39"/>
                      <a:pt x="31" y="41"/>
                      <a:pt x="31" y="43"/>
                    </a:cubicBezTo>
                    <a:cubicBezTo>
                      <a:pt x="31" y="138"/>
                      <a:pt x="31" y="138"/>
                      <a:pt x="31" y="138"/>
                    </a:cubicBezTo>
                    <a:cubicBezTo>
                      <a:pt x="31" y="138"/>
                      <a:pt x="31" y="147"/>
                      <a:pt x="32" y="152"/>
                    </a:cubicBezTo>
                    <a:cubicBezTo>
                      <a:pt x="32" y="152"/>
                      <a:pt x="32" y="152"/>
                      <a:pt x="32" y="152"/>
                    </a:cubicBezTo>
                    <a:cubicBezTo>
                      <a:pt x="32" y="152"/>
                      <a:pt x="32" y="152"/>
                      <a:pt x="32" y="152"/>
                    </a:cubicBezTo>
                    <a:cubicBezTo>
                      <a:pt x="42" y="260"/>
                      <a:pt x="42" y="260"/>
                      <a:pt x="42" y="260"/>
                    </a:cubicBezTo>
                    <a:cubicBezTo>
                      <a:pt x="43" y="276"/>
                      <a:pt x="50" y="283"/>
                      <a:pt x="64" y="283"/>
                    </a:cubicBezTo>
                    <a:cubicBezTo>
                      <a:pt x="75" y="283"/>
                      <a:pt x="75" y="283"/>
                      <a:pt x="75" y="283"/>
                    </a:cubicBezTo>
                    <a:cubicBezTo>
                      <a:pt x="87" y="283"/>
                      <a:pt x="87" y="283"/>
                      <a:pt x="87" y="283"/>
                    </a:cubicBezTo>
                    <a:cubicBezTo>
                      <a:pt x="101" y="283"/>
                      <a:pt x="108" y="276"/>
                      <a:pt x="109" y="260"/>
                    </a:cubicBezTo>
                    <a:cubicBezTo>
                      <a:pt x="119" y="152"/>
                      <a:pt x="119" y="152"/>
                      <a:pt x="119" y="152"/>
                    </a:cubicBezTo>
                    <a:cubicBezTo>
                      <a:pt x="119" y="152"/>
                      <a:pt x="119" y="152"/>
                      <a:pt x="119" y="152"/>
                    </a:cubicBezTo>
                    <a:cubicBezTo>
                      <a:pt x="119" y="152"/>
                      <a:pt x="119" y="152"/>
                      <a:pt x="119" y="152"/>
                    </a:cubicBezTo>
                    <a:cubicBezTo>
                      <a:pt x="119" y="147"/>
                      <a:pt x="119" y="138"/>
                      <a:pt x="119" y="138"/>
                    </a:cubicBezTo>
                    <a:cubicBezTo>
                      <a:pt x="119" y="43"/>
                      <a:pt x="119" y="43"/>
                      <a:pt x="119" y="43"/>
                    </a:cubicBezTo>
                    <a:cubicBezTo>
                      <a:pt x="119" y="41"/>
                      <a:pt x="121" y="39"/>
                      <a:pt x="123" y="39"/>
                    </a:cubicBezTo>
                    <a:cubicBezTo>
                      <a:pt x="124" y="39"/>
                      <a:pt x="126" y="41"/>
                      <a:pt x="126" y="43"/>
                    </a:cubicBezTo>
                    <a:cubicBezTo>
                      <a:pt x="126" y="133"/>
                      <a:pt x="126" y="133"/>
                      <a:pt x="126" y="133"/>
                    </a:cubicBezTo>
                    <a:cubicBezTo>
                      <a:pt x="126" y="133"/>
                      <a:pt x="126" y="134"/>
                      <a:pt x="126" y="135"/>
                    </a:cubicBezTo>
                    <a:cubicBezTo>
                      <a:pt x="127" y="141"/>
                      <a:pt x="132" y="145"/>
                      <a:pt x="139" y="145"/>
                    </a:cubicBezTo>
                    <a:cubicBezTo>
                      <a:pt x="146" y="145"/>
                      <a:pt x="151" y="140"/>
                      <a:pt x="151" y="133"/>
                    </a:cubicBezTo>
                    <a:cubicBezTo>
                      <a:pt x="151" y="133"/>
                      <a:pt x="151" y="133"/>
                      <a:pt x="151" y="133"/>
                    </a:cubicBezTo>
                    <a:cubicBezTo>
                      <a:pt x="151" y="65"/>
                      <a:pt x="151" y="65"/>
                      <a:pt x="151" y="65"/>
                    </a:cubicBezTo>
                    <a:cubicBezTo>
                      <a:pt x="151" y="39"/>
                      <a:pt x="151" y="39"/>
                      <a:pt x="151" y="39"/>
                    </a:cubicBezTo>
                    <a:cubicBezTo>
                      <a:pt x="151" y="34"/>
                      <a:pt x="151" y="34"/>
                      <a:pt x="151" y="34"/>
                    </a:cubicBezTo>
                    <a:cubicBezTo>
                      <a:pt x="151" y="10"/>
                      <a:pt x="140" y="0"/>
                      <a:pt x="1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nvGrpSpPr>
            <p:cNvPr id="233" name="Group 232"/>
            <p:cNvGrpSpPr/>
            <p:nvPr/>
          </p:nvGrpSpPr>
          <p:grpSpPr>
            <a:xfrm>
              <a:off x="3944159" y="1770927"/>
              <a:ext cx="197202" cy="493005"/>
              <a:chOff x="4305301" y="1846263"/>
              <a:chExt cx="568325" cy="1420813"/>
            </a:xfrm>
            <a:solidFill>
              <a:srgbClr val="000000"/>
            </a:solidFill>
          </p:grpSpPr>
          <p:sp>
            <p:nvSpPr>
              <p:cNvPr id="234" name="Oval 633"/>
              <p:cNvSpPr>
                <a:spLocks noChangeArrowheads="1"/>
              </p:cNvSpPr>
              <p:nvPr/>
            </p:nvSpPr>
            <p:spPr bwMode="auto">
              <a:xfrm>
                <a:off x="4440238" y="1846263"/>
                <a:ext cx="296863" cy="3111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235" name="Freeform 634"/>
              <p:cNvSpPr>
                <a:spLocks/>
              </p:cNvSpPr>
              <p:nvPr/>
            </p:nvSpPr>
            <p:spPr bwMode="auto">
              <a:xfrm>
                <a:off x="4305301" y="2203451"/>
                <a:ext cx="568325" cy="1063625"/>
              </a:xfrm>
              <a:custGeom>
                <a:avLst/>
                <a:gdLst>
                  <a:gd name="T0" fmla="*/ 119 w 151"/>
                  <a:gd name="T1" fmla="*/ 0 h 283"/>
                  <a:gd name="T2" fmla="*/ 75 w 151"/>
                  <a:gd name="T3" fmla="*/ 0 h 283"/>
                  <a:gd name="T4" fmla="*/ 32 w 151"/>
                  <a:gd name="T5" fmla="*/ 0 h 283"/>
                  <a:gd name="T6" fmla="*/ 0 w 151"/>
                  <a:gd name="T7" fmla="*/ 34 h 283"/>
                  <a:gd name="T8" fmla="*/ 0 w 151"/>
                  <a:gd name="T9" fmla="*/ 39 h 283"/>
                  <a:gd name="T10" fmla="*/ 0 w 151"/>
                  <a:gd name="T11" fmla="*/ 65 h 283"/>
                  <a:gd name="T12" fmla="*/ 0 w 151"/>
                  <a:gd name="T13" fmla="*/ 88 h 283"/>
                  <a:gd name="T14" fmla="*/ 0 w 151"/>
                  <a:gd name="T15" fmla="*/ 133 h 283"/>
                  <a:gd name="T16" fmla="*/ 0 w 151"/>
                  <a:gd name="T17" fmla="*/ 133 h 283"/>
                  <a:gd name="T18" fmla="*/ 12 w 151"/>
                  <a:gd name="T19" fmla="*/ 145 h 283"/>
                  <a:gd name="T20" fmla="*/ 25 w 151"/>
                  <a:gd name="T21" fmla="*/ 135 h 283"/>
                  <a:gd name="T22" fmla="*/ 25 w 151"/>
                  <a:gd name="T23" fmla="*/ 133 h 283"/>
                  <a:gd name="T24" fmla="*/ 25 w 151"/>
                  <a:gd name="T25" fmla="*/ 43 h 283"/>
                  <a:gd name="T26" fmla="*/ 28 w 151"/>
                  <a:gd name="T27" fmla="*/ 39 h 283"/>
                  <a:gd name="T28" fmla="*/ 31 w 151"/>
                  <a:gd name="T29" fmla="*/ 43 h 283"/>
                  <a:gd name="T30" fmla="*/ 31 w 151"/>
                  <a:gd name="T31" fmla="*/ 138 h 283"/>
                  <a:gd name="T32" fmla="*/ 32 w 151"/>
                  <a:gd name="T33" fmla="*/ 152 h 283"/>
                  <a:gd name="T34" fmla="*/ 32 w 151"/>
                  <a:gd name="T35" fmla="*/ 152 h 283"/>
                  <a:gd name="T36" fmla="*/ 32 w 151"/>
                  <a:gd name="T37" fmla="*/ 152 h 283"/>
                  <a:gd name="T38" fmla="*/ 42 w 151"/>
                  <a:gd name="T39" fmla="*/ 260 h 283"/>
                  <a:gd name="T40" fmla="*/ 64 w 151"/>
                  <a:gd name="T41" fmla="*/ 283 h 283"/>
                  <a:gd name="T42" fmla="*/ 75 w 151"/>
                  <a:gd name="T43" fmla="*/ 283 h 283"/>
                  <a:gd name="T44" fmla="*/ 87 w 151"/>
                  <a:gd name="T45" fmla="*/ 283 h 283"/>
                  <a:gd name="T46" fmla="*/ 109 w 151"/>
                  <a:gd name="T47" fmla="*/ 260 h 283"/>
                  <a:gd name="T48" fmla="*/ 119 w 151"/>
                  <a:gd name="T49" fmla="*/ 152 h 283"/>
                  <a:gd name="T50" fmla="*/ 119 w 151"/>
                  <a:gd name="T51" fmla="*/ 152 h 283"/>
                  <a:gd name="T52" fmla="*/ 119 w 151"/>
                  <a:gd name="T53" fmla="*/ 152 h 283"/>
                  <a:gd name="T54" fmla="*/ 119 w 151"/>
                  <a:gd name="T55" fmla="*/ 138 h 283"/>
                  <a:gd name="T56" fmla="*/ 119 w 151"/>
                  <a:gd name="T57" fmla="*/ 43 h 283"/>
                  <a:gd name="T58" fmla="*/ 123 w 151"/>
                  <a:gd name="T59" fmla="*/ 39 h 283"/>
                  <a:gd name="T60" fmla="*/ 126 w 151"/>
                  <a:gd name="T61" fmla="*/ 43 h 283"/>
                  <a:gd name="T62" fmla="*/ 126 w 151"/>
                  <a:gd name="T63" fmla="*/ 133 h 283"/>
                  <a:gd name="T64" fmla="*/ 126 w 151"/>
                  <a:gd name="T65" fmla="*/ 135 h 283"/>
                  <a:gd name="T66" fmla="*/ 139 w 151"/>
                  <a:gd name="T67" fmla="*/ 145 h 283"/>
                  <a:gd name="T68" fmla="*/ 151 w 151"/>
                  <a:gd name="T69" fmla="*/ 133 h 283"/>
                  <a:gd name="T70" fmla="*/ 151 w 151"/>
                  <a:gd name="T71" fmla="*/ 133 h 283"/>
                  <a:gd name="T72" fmla="*/ 151 w 151"/>
                  <a:gd name="T73" fmla="*/ 65 h 283"/>
                  <a:gd name="T74" fmla="*/ 151 w 151"/>
                  <a:gd name="T75" fmla="*/ 39 h 283"/>
                  <a:gd name="T76" fmla="*/ 151 w 151"/>
                  <a:gd name="T77" fmla="*/ 34 h 283"/>
                  <a:gd name="T78" fmla="*/ 119 w 151"/>
                  <a:gd name="T79"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1" h="283">
                    <a:moveTo>
                      <a:pt x="119" y="0"/>
                    </a:moveTo>
                    <a:cubicBezTo>
                      <a:pt x="75" y="0"/>
                      <a:pt x="75" y="0"/>
                      <a:pt x="75" y="0"/>
                    </a:cubicBezTo>
                    <a:cubicBezTo>
                      <a:pt x="32" y="0"/>
                      <a:pt x="32" y="0"/>
                      <a:pt x="32" y="0"/>
                    </a:cubicBezTo>
                    <a:cubicBezTo>
                      <a:pt x="11" y="0"/>
                      <a:pt x="0" y="10"/>
                      <a:pt x="0" y="34"/>
                    </a:cubicBezTo>
                    <a:cubicBezTo>
                      <a:pt x="0" y="39"/>
                      <a:pt x="0" y="39"/>
                      <a:pt x="0" y="39"/>
                    </a:cubicBezTo>
                    <a:cubicBezTo>
                      <a:pt x="0" y="65"/>
                      <a:pt x="0" y="65"/>
                      <a:pt x="0" y="65"/>
                    </a:cubicBezTo>
                    <a:cubicBezTo>
                      <a:pt x="0" y="88"/>
                      <a:pt x="0" y="88"/>
                      <a:pt x="0" y="88"/>
                    </a:cubicBezTo>
                    <a:cubicBezTo>
                      <a:pt x="0" y="133"/>
                      <a:pt x="0" y="133"/>
                      <a:pt x="0" y="133"/>
                    </a:cubicBezTo>
                    <a:cubicBezTo>
                      <a:pt x="0" y="133"/>
                      <a:pt x="0" y="133"/>
                      <a:pt x="0" y="133"/>
                    </a:cubicBezTo>
                    <a:cubicBezTo>
                      <a:pt x="0" y="140"/>
                      <a:pt x="5" y="145"/>
                      <a:pt x="12" y="145"/>
                    </a:cubicBezTo>
                    <a:cubicBezTo>
                      <a:pt x="19" y="145"/>
                      <a:pt x="24" y="141"/>
                      <a:pt x="25" y="135"/>
                    </a:cubicBezTo>
                    <a:cubicBezTo>
                      <a:pt x="25" y="134"/>
                      <a:pt x="25" y="133"/>
                      <a:pt x="25" y="133"/>
                    </a:cubicBezTo>
                    <a:cubicBezTo>
                      <a:pt x="25" y="43"/>
                      <a:pt x="25" y="43"/>
                      <a:pt x="25" y="43"/>
                    </a:cubicBezTo>
                    <a:cubicBezTo>
                      <a:pt x="25" y="41"/>
                      <a:pt x="26" y="39"/>
                      <a:pt x="28" y="39"/>
                    </a:cubicBezTo>
                    <a:cubicBezTo>
                      <a:pt x="30" y="39"/>
                      <a:pt x="31" y="41"/>
                      <a:pt x="31" y="43"/>
                    </a:cubicBezTo>
                    <a:cubicBezTo>
                      <a:pt x="31" y="138"/>
                      <a:pt x="31" y="138"/>
                      <a:pt x="31" y="138"/>
                    </a:cubicBezTo>
                    <a:cubicBezTo>
                      <a:pt x="31" y="138"/>
                      <a:pt x="31" y="147"/>
                      <a:pt x="32" y="152"/>
                    </a:cubicBezTo>
                    <a:cubicBezTo>
                      <a:pt x="32" y="152"/>
                      <a:pt x="32" y="152"/>
                      <a:pt x="32" y="152"/>
                    </a:cubicBezTo>
                    <a:cubicBezTo>
                      <a:pt x="32" y="152"/>
                      <a:pt x="32" y="152"/>
                      <a:pt x="32" y="152"/>
                    </a:cubicBezTo>
                    <a:cubicBezTo>
                      <a:pt x="42" y="260"/>
                      <a:pt x="42" y="260"/>
                      <a:pt x="42" y="260"/>
                    </a:cubicBezTo>
                    <a:cubicBezTo>
                      <a:pt x="43" y="276"/>
                      <a:pt x="50" y="283"/>
                      <a:pt x="64" y="283"/>
                    </a:cubicBezTo>
                    <a:cubicBezTo>
                      <a:pt x="75" y="283"/>
                      <a:pt x="75" y="283"/>
                      <a:pt x="75" y="283"/>
                    </a:cubicBezTo>
                    <a:cubicBezTo>
                      <a:pt x="87" y="283"/>
                      <a:pt x="87" y="283"/>
                      <a:pt x="87" y="283"/>
                    </a:cubicBezTo>
                    <a:cubicBezTo>
                      <a:pt x="101" y="283"/>
                      <a:pt x="108" y="276"/>
                      <a:pt x="109" y="260"/>
                    </a:cubicBezTo>
                    <a:cubicBezTo>
                      <a:pt x="119" y="152"/>
                      <a:pt x="119" y="152"/>
                      <a:pt x="119" y="152"/>
                    </a:cubicBezTo>
                    <a:cubicBezTo>
                      <a:pt x="119" y="152"/>
                      <a:pt x="119" y="152"/>
                      <a:pt x="119" y="152"/>
                    </a:cubicBezTo>
                    <a:cubicBezTo>
                      <a:pt x="119" y="152"/>
                      <a:pt x="119" y="152"/>
                      <a:pt x="119" y="152"/>
                    </a:cubicBezTo>
                    <a:cubicBezTo>
                      <a:pt x="119" y="147"/>
                      <a:pt x="119" y="138"/>
                      <a:pt x="119" y="138"/>
                    </a:cubicBezTo>
                    <a:cubicBezTo>
                      <a:pt x="119" y="43"/>
                      <a:pt x="119" y="43"/>
                      <a:pt x="119" y="43"/>
                    </a:cubicBezTo>
                    <a:cubicBezTo>
                      <a:pt x="119" y="41"/>
                      <a:pt x="121" y="39"/>
                      <a:pt x="123" y="39"/>
                    </a:cubicBezTo>
                    <a:cubicBezTo>
                      <a:pt x="124" y="39"/>
                      <a:pt x="126" y="41"/>
                      <a:pt x="126" y="43"/>
                    </a:cubicBezTo>
                    <a:cubicBezTo>
                      <a:pt x="126" y="133"/>
                      <a:pt x="126" y="133"/>
                      <a:pt x="126" y="133"/>
                    </a:cubicBezTo>
                    <a:cubicBezTo>
                      <a:pt x="126" y="133"/>
                      <a:pt x="126" y="134"/>
                      <a:pt x="126" y="135"/>
                    </a:cubicBezTo>
                    <a:cubicBezTo>
                      <a:pt x="127" y="141"/>
                      <a:pt x="132" y="145"/>
                      <a:pt x="139" y="145"/>
                    </a:cubicBezTo>
                    <a:cubicBezTo>
                      <a:pt x="146" y="145"/>
                      <a:pt x="151" y="140"/>
                      <a:pt x="151" y="133"/>
                    </a:cubicBezTo>
                    <a:cubicBezTo>
                      <a:pt x="151" y="133"/>
                      <a:pt x="151" y="133"/>
                      <a:pt x="151" y="133"/>
                    </a:cubicBezTo>
                    <a:cubicBezTo>
                      <a:pt x="151" y="65"/>
                      <a:pt x="151" y="65"/>
                      <a:pt x="151" y="65"/>
                    </a:cubicBezTo>
                    <a:cubicBezTo>
                      <a:pt x="151" y="39"/>
                      <a:pt x="151" y="39"/>
                      <a:pt x="151" y="39"/>
                    </a:cubicBezTo>
                    <a:cubicBezTo>
                      <a:pt x="151" y="34"/>
                      <a:pt x="151" y="34"/>
                      <a:pt x="151" y="34"/>
                    </a:cubicBezTo>
                    <a:cubicBezTo>
                      <a:pt x="151" y="10"/>
                      <a:pt x="140" y="0"/>
                      <a:pt x="1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nvGrpSpPr>
            <p:cNvPr id="236" name="Group 235"/>
            <p:cNvGrpSpPr/>
            <p:nvPr/>
          </p:nvGrpSpPr>
          <p:grpSpPr>
            <a:xfrm>
              <a:off x="4200731" y="1770927"/>
              <a:ext cx="197202" cy="493005"/>
              <a:chOff x="4305301" y="1846263"/>
              <a:chExt cx="568325" cy="1420813"/>
            </a:xfrm>
            <a:solidFill>
              <a:srgbClr val="000000"/>
            </a:solidFill>
          </p:grpSpPr>
          <p:sp>
            <p:nvSpPr>
              <p:cNvPr id="237" name="Oval 633"/>
              <p:cNvSpPr>
                <a:spLocks noChangeArrowheads="1"/>
              </p:cNvSpPr>
              <p:nvPr/>
            </p:nvSpPr>
            <p:spPr bwMode="auto">
              <a:xfrm>
                <a:off x="4440238" y="1846263"/>
                <a:ext cx="296863" cy="3111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238" name="Freeform 634"/>
              <p:cNvSpPr>
                <a:spLocks/>
              </p:cNvSpPr>
              <p:nvPr/>
            </p:nvSpPr>
            <p:spPr bwMode="auto">
              <a:xfrm>
                <a:off x="4305301" y="2203451"/>
                <a:ext cx="568325" cy="1063625"/>
              </a:xfrm>
              <a:custGeom>
                <a:avLst/>
                <a:gdLst>
                  <a:gd name="T0" fmla="*/ 119 w 151"/>
                  <a:gd name="T1" fmla="*/ 0 h 283"/>
                  <a:gd name="T2" fmla="*/ 75 w 151"/>
                  <a:gd name="T3" fmla="*/ 0 h 283"/>
                  <a:gd name="T4" fmla="*/ 32 w 151"/>
                  <a:gd name="T5" fmla="*/ 0 h 283"/>
                  <a:gd name="T6" fmla="*/ 0 w 151"/>
                  <a:gd name="T7" fmla="*/ 34 h 283"/>
                  <a:gd name="T8" fmla="*/ 0 w 151"/>
                  <a:gd name="T9" fmla="*/ 39 h 283"/>
                  <a:gd name="T10" fmla="*/ 0 w 151"/>
                  <a:gd name="T11" fmla="*/ 65 h 283"/>
                  <a:gd name="T12" fmla="*/ 0 w 151"/>
                  <a:gd name="T13" fmla="*/ 88 h 283"/>
                  <a:gd name="T14" fmla="*/ 0 w 151"/>
                  <a:gd name="T15" fmla="*/ 133 h 283"/>
                  <a:gd name="T16" fmla="*/ 0 w 151"/>
                  <a:gd name="T17" fmla="*/ 133 h 283"/>
                  <a:gd name="T18" fmla="*/ 12 w 151"/>
                  <a:gd name="T19" fmla="*/ 145 h 283"/>
                  <a:gd name="T20" fmla="*/ 25 w 151"/>
                  <a:gd name="T21" fmla="*/ 135 h 283"/>
                  <a:gd name="T22" fmla="*/ 25 w 151"/>
                  <a:gd name="T23" fmla="*/ 133 h 283"/>
                  <a:gd name="T24" fmla="*/ 25 w 151"/>
                  <a:gd name="T25" fmla="*/ 43 h 283"/>
                  <a:gd name="T26" fmla="*/ 28 w 151"/>
                  <a:gd name="T27" fmla="*/ 39 h 283"/>
                  <a:gd name="T28" fmla="*/ 31 w 151"/>
                  <a:gd name="T29" fmla="*/ 43 h 283"/>
                  <a:gd name="T30" fmla="*/ 31 w 151"/>
                  <a:gd name="T31" fmla="*/ 138 h 283"/>
                  <a:gd name="T32" fmla="*/ 32 w 151"/>
                  <a:gd name="T33" fmla="*/ 152 h 283"/>
                  <a:gd name="T34" fmla="*/ 32 w 151"/>
                  <a:gd name="T35" fmla="*/ 152 h 283"/>
                  <a:gd name="T36" fmla="*/ 32 w 151"/>
                  <a:gd name="T37" fmla="*/ 152 h 283"/>
                  <a:gd name="T38" fmla="*/ 42 w 151"/>
                  <a:gd name="T39" fmla="*/ 260 h 283"/>
                  <a:gd name="T40" fmla="*/ 64 w 151"/>
                  <a:gd name="T41" fmla="*/ 283 h 283"/>
                  <a:gd name="T42" fmla="*/ 75 w 151"/>
                  <a:gd name="T43" fmla="*/ 283 h 283"/>
                  <a:gd name="T44" fmla="*/ 87 w 151"/>
                  <a:gd name="T45" fmla="*/ 283 h 283"/>
                  <a:gd name="T46" fmla="*/ 109 w 151"/>
                  <a:gd name="T47" fmla="*/ 260 h 283"/>
                  <a:gd name="T48" fmla="*/ 119 w 151"/>
                  <a:gd name="T49" fmla="*/ 152 h 283"/>
                  <a:gd name="T50" fmla="*/ 119 w 151"/>
                  <a:gd name="T51" fmla="*/ 152 h 283"/>
                  <a:gd name="T52" fmla="*/ 119 w 151"/>
                  <a:gd name="T53" fmla="*/ 152 h 283"/>
                  <a:gd name="T54" fmla="*/ 119 w 151"/>
                  <a:gd name="T55" fmla="*/ 138 h 283"/>
                  <a:gd name="T56" fmla="*/ 119 w 151"/>
                  <a:gd name="T57" fmla="*/ 43 h 283"/>
                  <a:gd name="T58" fmla="*/ 123 w 151"/>
                  <a:gd name="T59" fmla="*/ 39 h 283"/>
                  <a:gd name="T60" fmla="*/ 126 w 151"/>
                  <a:gd name="T61" fmla="*/ 43 h 283"/>
                  <a:gd name="T62" fmla="*/ 126 w 151"/>
                  <a:gd name="T63" fmla="*/ 133 h 283"/>
                  <a:gd name="T64" fmla="*/ 126 w 151"/>
                  <a:gd name="T65" fmla="*/ 135 h 283"/>
                  <a:gd name="T66" fmla="*/ 139 w 151"/>
                  <a:gd name="T67" fmla="*/ 145 h 283"/>
                  <a:gd name="T68" fmla="*/ 151 w 151"/>
                  <a:gd name="T69" fmla="*/ 133 h 283"/>
                  <a:gd name="T70" fmla="*/ 151 w 151"/>
                  <a:gd name="T71" fmla="*/ 133 h 283"/>
                  <a:gd name="T72" fmla="*/ 151 w 151"/>
                  <a:gd name="T73" fmla="*/ 65 h 283"/>
                  <a:gd name="T74" fmla="*/ 151 w 151"/>
                  <a:gd name="T75" fmla="*/ 39 h 283"/>
                  <a:gd name="T76" fmla="*/ 151 w 151"/>
                  <a:gd name="T77" fmla="*/ 34 h 283"/>
                  <a:gd name="T78" fmla="*/ 119 w 151"/>
                  <a:gd name="T79"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1" h="283">
                    <a:moveTo>
                      <a:pt x="119" y="0"/>
                    </a:moveTo>
                    <a:cubicBezTo>
                      <a:pt x="75" y="0"/>
                      <a:pt x="75" y="0"/>
                      <a:pt x="75" y="0"/>
                    </a:cubicBezTo>
                    <a:cubicBezTo>
                      <a:pt x="32" y="0"/>
                      <a:pt x="32" y="0"/>
                      <a:pt x="32" y="0"/>
                    </a:cubicBezTo>
                    <a:cubicBezTo>
                      <a:pt x="11" y="0"/>
                      <a:pt x="0" y="10"/>
                      <a:pt x="0" y="34"/>
                    </a:cubicBezTo>
                    <a:cubicBezTo>
                      <a:pt x="0" y="39"/>
                      <a:pt x="0" y="39"/>
                      <a:pt x="0" y="39"/>
                    </a:cubicBezTo>
                    <a:cubicBezTo>
                      <a:pt x="0" y="65"/>
                      <a:pt x="0" y="65"/>
                      <a:pt x="0" y="65"/>
                    </a:cubicBezTo>
                    <a:cubicBezTo>
                      <a:pt x="0" y="88"/>
                      <a:pt x="0" y="88"/>
                      <a:pt x="0" y="88"/>
                    </a:cubicBezTo>
                    <a:cubicBezTo>
                      <a:pt x="0" y="133"/>
                      <a:pt x="0" y="133"/>
                      <a:pt x="0" y="133"/>
                    </a:cubicBezTo>
                    <a:cubicBezTo>
                      <a:pt x="0" y="133"/>
                      <a:pt x="0" y="133"/>
                      <a:pt x="0" y="133"/>
                    </a:cubicBezTo>
                    <a:cubicBezTo>
                      <a:pt x="0" y="140"/>
                      <a:pt x="5" y="145"/>
                      <a:pt x="12" y="145"/>
                    </a:cubicBezTo>
                    <a:cubicBezTo>
                      <a:pt x="19" y="145"/>
                      <a:pt x="24" y="141"/>
                      <a:pt x="25" y="135"/>
                    </a:cubicBezTo>
                    <a:cubicBezTo>
                      <a:pt x="25" y="134"/>
                      <a:pt x="25" y="133"/>
                      <a:pt x="25" y="133"/>
                    </a:cubicBezTo>
                    <a:cubicBezTo>
                      <a:pt x="25" y="43"/>
                      <a:pt x="25" y="43"/>
                      <a:pt x="25" y="43"/>
                    </a:cubicBezTo>
                    <a:cubicBezTo>
                      <a:pt x="25" y="41"/>
                      <a:pt x="26" y="39"/>
                      <a:pt x="28" y="39"/>
                    </a:cubicBezTo>
                    <a:cubicBezTo>
                      <a:pt x="30" y="39"/>
                      <a:pt x="31" y="41"/>
                      <a:pt x="31" y="43"/>
                    </a:cubicBezTo>
                    <a:cubicBezTo>
                      <a:pt x="31" y="138"/>
                      <a:pt x="31" y="138"/>
                      <a:pt x="31" y="138"/>
                    </a:cubicBezTo>
                    <a:cubicBezTo>
                      <a:pt x="31" y="138"/>
                      <a:pt x="31" y="147"/>
                      <a:pt x="32" y="152"/>
                    </a:cubicBezTo>
                    <a:cubicBezTo>
                      <a:pt x="32" y="152"/>
                      <a:pt x="32" y="152"/>
                      <a:pt x="32" y="152"/>
                    </a:cubicBezTo>
                    <a:cubicBezTo>
                      <a:pt x="32" y="152"/>
                      <a:pt x="32" y="152"/>
                      <a:pt x="32" y="152"/>
                    </a:cubicBezTo>
                    <a:cubicBezTo>
                      <a:pt x="42" y="260"/>
                      <a:pt x="42" y="260"/>
                      <a:pt x="42" y="260"/>
                    </a:cubicBezTo>
                    <a:cubicBezTo>
                      <a:pt x="43" y="276"/>
                      <a:pt x="50" y="283"/>
                      <a:pt x="64" y="283"/>
                    </a:cubicBezTo>
                    <a:cubicBezTo>
                      <a:pt x="75" y="283"/>
                      <a:pt x="75" y="283"/>
                      <a:pt x="75" y="283"/>
                    </a:cubicBezTo>
                    <a:cubicBezTo>
                      <a:pt x="87" y="283"/>
                      <a:pt x="87" y="283"/>
                      <a:pt x="87" y="283"/>
                    </a:cubicBezTo>
                    <a:cubicBezTo>
                      <a:pt x="101" y="283"/>
                      <a:pt x="108" y="276"/>
                      <a:pt x="109" y="260"/>
                    </a:cubicBezTo>
                    <a:cubicBezTo>
                      <a:pt x="119" y="152"/>
                      <a:pt x="119" y="152"/>
                      <a:pt x="119" y="152"/>
                    </a:cubicBezTo>
                    <a:cubicBezTo>
                      <a:pt x="119" y="152"/>
                      <a:pt x="119" y="152"/>
                      <a:pt x="119" y="152"/>
                    </a:cubicBezTo>
                    <a:cubicBezTo>
                      <a:pt x="119" y="152"/>
                      <a:pt x="119" y="152"/>
                      <a:pt x="119" y="152"/>
                    </a:cubicBezTo>
                    <a:cubicBezTo>
                      <a:pt x="119" y="147"/>
                      <a:pt x="119" y="138"/>
                      <a:pt x="119" y="138"/>
                    </a:cubicBezTo>
                    <a:cubicBezTo>
                      <a:pt x="119" y="43"/>
                      <a:pt x="119" y="43"/>
                      <a:pt x="119" y="43"/>
                    </a:cubicBezTo>
                    <a:cubicBezTo>
                      <a:pt x="119" y="41"/>
                      <a:pt x="121" y="39"/>
                      <a:pt x="123" y="39"/>
                    </a:cubicBezTo>
                    <a:cubicBezTo>
                      <a:pt x="124" y="39"/>
                      <a:pt x="126" y="41"/>
                      <a:pt x="126" y="43"/>
                    </a:cubicBezTo>
                    <a:cubicBezTo>
                      <a:pt x="126" y="133"/>
                      <a:pt x="126" y="133"/>
                      <a:pt x="126" y="133"/>
                    </a:cubicBezTo>
                    <a:cubicBezTo>
                      <a:pt x="126" y="133"/>
                      <a:pt x="126" y="134"/>
                      <a:pt x="126" y="135"/>
                    </a:cubicBezTo>
                    <a:cubicBezTo>
                      <a:pt x="127" y="141"/>
                      <a:pt x="132" y="145"/>
                      <a:pt x="139" y="145"/>
                    </a:cubicBezTo>
                    <a:cubicBezTo>
                      <a:pt x="146" y="145"/>
                      <a:pt x="151" y="140"/>
                      <a:pt x="151" y="133"/>
                    </a:cubicBezTo>
                    <a:cubicBezTo>
                      <a:pt x="151" y="133"/>
                      <a:pt x="151" y="133"/>
                      <a:pt x="151" y="133"/>
                    </a:cubicBezTo>
                    <a:cubicBezTo>
                      <a:pt x="151" y="65"/>
                      <a:pt x="151" y="65"/>
                      <a:pt x="151" y="65"/>
                    </a:cubicBezTo>
                    <a:cubicBezTo>
                      <a:pt x="151" y="39"/>
                      <a:pt x="151" y="39"/>
                      <a:pt x="151" y="39"/>
                    </a:cubicBezTo>
                    <a:cubicBezTo>
                      <a:pt x="151" y="34"/>
                      <a:pt x="151" y="34"/>
                      <a:pt x="151" y="34"/>
                    </a:cubicBezTo>
                    <a:cubicBezTo>
                      <a:pt x="151" y="10"/>
                      <a:pt x="140" y="0"/>
                      <a:pt x="1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sp>
        <p:nvSpPr>
          <p:cNvPr id="240" name="Freeform 239"/>
          <p:cNvSpPr>
            <a:spLocks noEditPoints="1"/>
          </p:cNvSpPr>
          <p:nvPr/>
        </p:nvSpPr>
        <p:spPr bwMode="auto">
          <a:xfrm>
            <a:off x="8352326" y="1382790"/>
            <a:ext cx="1670532" cy="915954"/>
          </a:xfrm>
          <a:custGeom>
            <a:avLst/>
            <a:gdLst>
              <a:gd name="T0" fmla="*/ 77 w 427"/>
              <a:gd name="T1" fmla="*/ 234 h 234"/>
              <a:gd name="T2" fmla="*/ 47 w 427"/>
              <a:gd name="T3" fmla="*/ 227 h 234"/>
              <a:gd name="T4" fmla="*/ 0 w 427"/>
              <a:gd name="T5" fmla="*/ 156 h 234"/>
              <a:gd name="T6" fmla="*/ 7 w 427"/>
              <a:gd name="T7" fmla="*/ 125 h 234"/>
              <a:gd name="T8" fmla="*/ 78 w 427"/>
              <a:gd name="T9" fmla="*/ 79 h 234"/>
              <a:gd name="T10" fmla="*/ 79 w 427"/>
              <a:gd name="T11" fmla="*/ 79 h 234"/>
              <a:gd name="T12" fmla="*/ 84 w 427"/>
              <a:gd name="T13" fmla="*/ 62 h 234"/>
              <a:gd name="T14" fmla="*/ 179 w 427"/>
              <a:gd name="T15" fmla="*/ 0 h 234"/>
              <a:gd name="T16" fmla="*/ 220 w 427"/>
              <a:gd name="T17" fmla="*/ 8 h 234"/>
              <a:gd name="T18" fmla="*/ 277 w 427"/>
              <a:gd name="T19" fmla="*/ 70 h 234"/>
              <a:gd name="T20" fmla="*/ 301 w 427"/>
              <a:gd name="T21" fmla="*/ 67 h 234"/>
              <a:gd name="T22" fmla="*/ 334 w 427"/>
              <a:gd name="T23" fmla="*/ 74 h 234"/>
              <a:gd name="T24" fmla="*/ 382 w 427"/>
              <a:gd name="T25" fmla="*/ 133 h 234"/>
              <a:gd name="T26" fmla="*/ 397 w 427"/>
              <a:gd name="T27" fmla="*/ 137 h 234"/>
              <a:gd name="T28" fmla="*/ 397 w 427"/>
              <a:gd name="T29" fmla="*/ 137 h 234"/>
              <a:gd name="T30" fmla="*/ 427 w 427"/>
              <a:gd name="T31" fmla="*/ 183 h 234"/>
              <a:gd name="T32" fmla="*/ 423 w 427"/>
              <a:gd name="T33" fmla="*/ 203 h 234"/>
              <a:gd name="T34" fmla="*/ 382 w 427"/>
              <a:gd name="T35" fmla="*/ 234 h 234"/>
              <a:gd name="T36" fmla="*/ 77 w 427"/>
              <a:gd name="T37" fmla="*/ 234 h 234"/>
              <a:gd name="T38" fmla="*/ 404 w 427"/>
              <a:gd name="T39" fmla="*/ 195 h 234"/>
              <a:gd name="T40" fmla="*/ 407 w 427"/>
              <a:gd name="T41" fmla="*/ 183 h 234"/>
              <a:gd name="T42" fmla="*/ 389 w 427"/>
              <a:gd name="T43" fmla="*/ 155 h 234"/>
              <a:gd name="T44" fmla="*/ 389 w 427"/>
              <a:gd name="T45" fmla="*/ 155 h 234"/>
              <a:gd name="T46" fmla="*/ 377 w 427"/>
              <a:gd name="T47" fmla="*/ 153 h 234"/>
              <a:gd name="T48" fmla="*/ 375 w 427"/>
              <a:gd name="T49" fmla="*/ 153 h 234"/>
              <a:gd name="T50" fmla="*/ 364 w 427"/>
              <a:gd name="T51" fmla="*/ 144 h 234"/>
              <a:gd name="T52" fmla="*/ 326 w 427"/>
              <a:gd name="T53" fmla="*/ 92 h 234"/>
              <a:gd name="T54" fmla="*/ 301 w 427"/>
              <a:gd name="T55" fmla="*/ 87 h 234"/>
              <a:gd name="T56" fmla="*/ 274 w 427"/>
              <a:gd name="T57" fmla="*/ 93 h 234"/>
              <a:gd name="T58" fmla="*/ 261 w 427"/>
              <a:gd name="T59" fmla="*/ 86 h 234"/>
              <a:gd name="T60" fmla="*/ 212 w 427"/>
              <a:gd name="T61" fmla="*/ 27 h 234"/>
              <a:gd name="T62" fmla="*/ 179 w 427"/>
              <a:gd name="T63" fmla="*/ 20 h 234"/>
              <a:gd name="T64" fmla="*/ 103 w 427"/>
              <a:gd name="T65" fmla="*/ 70 h 234"/>
              <a:gd name="T66" fmla="*/ 97 w 427"/>
              <a:gd name="T67" fmla="*/ 91 h 234"/>
              <a:gd name="T68" fmla="*/ 86 w 427"/>
              <a:gd name="T69" fmla="*/ 99 h 234"/>
              <a:gd name="T70" fmla="*/ 78 w 427"/>
              <a:gd name="T71" fmla="*/ 99 h 234"/>
              <a:gd name="T72" fmla="*/ 25 w 427"/>
              <a:gd name="T73" fmla="*/ 133 h 234"/>
              <a:gd name="T74" fmla="*/ 20 w 427"/>
              <a:gd name="T75" fmla="*/ 156 h 234"/>
              <a:gd name="T76" fmla="*/ 55 w 427"/>
              <a:gd name="T77" fmla="*/ 209 h 234"/>
              <a:gd name="T78" fmla="*/ 78 w 427"/>
              <a:gd name="T79" fmla="*/ 214 h 234"/>
              <a:gd name="T80" fmla="*/ 78 w 427"/>
              <a:gd name="T81" fmla="*/ 214 h 234"/>
              <a:gd name="T82" fmla="*/ 380 w 427"/>
              <a:gd name="T83" fmla="*/ 21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234">
                <a:moveTo>
                  <a:pt x="77" y="234"/>
                </a:moveTo>
                <a:cubicBezTo>
                  <a:pt x="77" y="234"/>
                  <a:pt x="77" y="234"/>
                  <a:pt x="77" y="234"/>
                </a:cubicBezTo>
                <a:cubicBezTo>
                  <a:pt x="67" y="234"/>
                  <a:pt x="57" y="231"/>
                  <a:pt x="47" y="227"/>
                </a:cubicBezTo>
                <a:cubicBezTo>
                  <a:pt x="47" y="227"/>
                  <a:pt x="47" y="227"/>
                  <a:pt x="47" y="227"/>
                </a:cubicBezTo>
                <a:cubicBezTo>
                  <a:pt x="18" y="215"/>
                  <a:pt x="0" y="186"/>
                  <a:pt x="0" y="156"/>
                </a:cubicBezTo>
                <a:cubicBezTo>
                  <a:pt x="0" y="156"/>
                  <a:pt x="0" y="156"/>
                  <a:pt x="0" y="156"/>
                </a:cubicBezTo>
                <a:cubicBezTo>
                  <a:pt x="0" y="146"/>
                  <a:pt x="2" y="135"/>
                  <a:pt x="7" y="125"/>
                </a:cubicBezTo>
                <a:cubicBezTo>
                  <a:pt x="7" y="125"/>
                  <a:pt x="7" y="125"/>
                  <a:pt x="7" y="125"/>
                </a:cubicBezTo>
                <a:cubicBezTo>
                  <a:pt x="19" y="96"/>
                  <a:pt x="48" y="79"/>
                  <a:pt x="78" y="79"/>
                </a:cubicBezTo>
                <a:cubicBezTo>
                  <a:pt x="78" y="79"/>
                  <a:pt x="78" y="79"/>
                  <a:pt x="78" y="79"/>
                </a:cubicBezTo>
                <a:cubicBezTo>
                  <a:pt x="78" y="79"/>
                  <a:pt x="78" y="79"/>
                  <a:pt x="79" y="79"/>
                </a:cubicBezTo>
                <a:cubicBezTo>
                  <a:pt x="79" y="79"/>
                  <a:pt x="79" y="79"/>
                  <a:pt x="79" y="79"/>
                </a:cubicBezTo>
                <a:cubicBezTo>
                  <a:pt x="80" y="73"/>
                  <a:pt x="82" y="67"/>
                  <a:pt x="84" y="62"/>
                </a:cubicBezTo>
                <a:cubicBezTo>
                  <a:pt x="84" y="62"/>
                  <a:pt x="84" y="62"/>
                  <a:pt x="84" y="62"/>
                </a:cubicBezTo>
                <a:cubicBezTo>
                  <a:pt x="101" y="23"/>
                  <a:pt x="139" y="0"/>
                  <a:pt x="179" y="0"/>
                </a:cubicBezTo>
                <a:cubicBezTo>
                  <a:pt x="179" y="0"/>
                  <a:pt x="179" y="0"/>
                  <a:pt x="179" y="0"/>
                </a:cubicBezTo>
                <a:cubicBezTo>
                  <a:pt x="193" y="0"/>
                  <a:pt x="207" y="2"/>
                  <a:pt x="220" y="8"/>
                </a:cubicBezTo>
                <a:cubicBezTo>
                  <a:pt x="220" y="8"/>
                  <a:pt x="220" y="8"/>
                  <a:pt x="220" y="8"/>
                </a:cubicBezTo>
                <a:cubicBezTo>
                  <a:pt x="248" y="20"/>
                  <a:pt x="268" y="43"/>
                  <a:pt x="277" y="70"/>
                </a:cubicBezTo>
                <a:cubicBezTo>
                  <a:pt x="277" y="70"/>
                  <a:pt x="277" y="70"/>
                  <a:pt x="277" y="70"/>
                </a:cubicBezTo>
                <a:cubicBezTo>
                  <a:pt x="285" y="68"/>
                  <a:pt x="293" y="67"/>
                  <a:pt x="301" y="67"/>
                </a:cubicBezTo>
                <a:cubicBezTo>
                  <a:pt x="301" y="67"/>
                  <a:pt x="301" y="67"/>
                  <a:pt x="301" y="67"/>
                </a:cubicBezTo>
                <a:cubicBezTo>
                  <a:pt x="312" y="67"/>
                  <a:pt x="323" y="69"/>
                  <a:pt x="334" y="74"/>
                </a:cubicBezTo>
                <a:cubicBezTo>
                  <a:pt x="334" y="74"/>
                  <a:pt x="334" y="74"/>
                  <a:pt x="334" y="74"/>
                </a:cubicBezTo>
                <a:cubicBezTo>
                  <a:pt x="360" y="85"/>
                  <a:pt x="377" y="108"/>
                  <a:pt x="382" y="133"/>
                </a:cubicBezTo>
                <a:cubicBezTo>
                  <a:pt x="382" y="133"/>
                  <a:pt x="382" y="133"/>
                  <a:pt x="382" y="133"/>
                </a:cubicBezTo>
                <a:cubicBezTo>
                  <a:pt x="387" y="134"/>
                  <a:pt x="392" y="135"/>
                  <a:pt x="397" y="137"/>
                </a:cubicBezTo>
                <a:cubicBezTo>
                  <a:pt x="397" y="137"/>
                  <a:pt x="397" y="137"/>
                  <a:pt x="397" y="137"/>
                </a:cubicBezTo>
                <a:cubicBezTo>
                  <a:pt x="397" y="137"/>
                  <a:pt x="397" y="137"/>
                  <a:pt x="397" y="137"/>
                </a:cubicBezTo>
                <a:cubicBezTo>
                  <a:pt x="397" y="137"/>
                  <a:pt x="397" y="137"/>
                  <a:pt x="397" y="137"/>
                </a:cubicBezTo>
                <a:cubicBezTo>
                  <a:pt x="416" y="145"/>
                  <a:pt x="427" y="164"/>
                  <a:pt x="427" y="183"/>
                </a:cubicBezTo>
                <a:cubicBezTo>
                  <a:pt x="427" y="183"/>
                  <a:pt x="427" y="183"/>
                  <a:pt x="427" y="183"/>
                </a:cubicBezTo>
                <a:cubicBezTo>
                  <a:pt x="427" y="190"/>
                  <a:pt x="426" y="196"/>
                  <a:pt x="423" y="203"/>
                </a:cubicBezTo>
                <a:cubicBezTo>
                  <a:pt x="423" y="203"/>
                  <a:pt x="423" y="203"/>
                  <a:pt x="423" y="203"/>
                </a:cubicBezTo>
                <a:cubicBezTo>
                  <a:pt x="415" y="220"/>
                  <a:pt x="400" y="232"/>
                  <a:pt x="382" y="234"/>
                </a:cubicBezTo>
                <a:cubicBezTo>
                  <a:pt x="382" y="234"/>
                  <a:pt x="382" y="234"/>
                  <a:pt x="382" y="234"/>
                </a:cubicBezTo>
                <a:cubicBezTo>
                  <a:pt x="381" y="234"/>
                  <a:pt x="381" y="234"/>
                  <a:pt x="381" y="234"/>
                </a:cubicBezTo>
                <a:cubicBezTo>
                  <a:pt x="77" y="234"/>
                  <a:pt x="77" y="234"/>
                  <a:pt x="77" y="234"/>
                </a:cubicBezTo>
                <a:close/>
                <a:moveTo>
                  <a:pt x="380" y="214"/>
                </a:moveTo>
                <a:cubicBezTo>
                  <a:pt x="390" y="213"/>
                  <a:pt x="400" y="205"/>
                  <a:pt x="404" y="195"/>
                </a:cubicBezTo>
                <a:cubicBezTo>
                  <a:pt x="404" y="195"/>
                  <a:pt x="404" y="195"/>
                  <a:pt x="404" y="195"/>
                </a:cubicBezTo>
                <a:cubicBezTo>
                  <a:pt x="406" y="191"/>
                  <a:pt x="407" y="187"/>
                  <a:pt x="407" y="183"/>
                </a:cubicBezTo>
                <a:cubicBezTo>
                  <a:pt x="407" y="183"/>
                  <a:pt x="407" y="183"/>
                  <a:pt x="407" y="183"/>
                </a:cubicBezTo>
                <a:cubicBezTo>
                  <a:pt x="407" y="171"/>
                  <a:pt x="400" y="160"/>
                  <a:pt x="389" y="155"/>
                </a:cubicBezTo>
                <a:cubicBezTo>
                  <a:pt x="389" y="155"/>
                  <a:pt x="389" y="155"/>
                  <a:pt x="389" y="155"/>
                </a:cubicBezTo>
                <a:cubicBezTo>
                  <a:pt x="389" y="155"/>
                  <a:pt x="389" y="155"/>
                  <a:pt x="389" y="155"/>
                </a:cubicBezTo>
                <a:cubicBezTo>
                  <a:pt x="385" y="154"/>
                  <a:pt x="381" y="153"/>
                  <a:pt x="377" y="153"/>
                </a:cubicBezTo>
                <a:cubicBezTo>
                  <a:pt x="377" y="153"/>
                  <a:pt x="377" y="153"/>
                  <a:pt x="377" y="153"/>
                </a:cubicBezTo>
                <a:cubicBezTo>
                  <a:pt x="376" y="153"/>
                  <a:pt x="375" y="153"/>
                  <a:pt x="375" y="153"/>
                </a:cubicBezTo>
                <a:cubicBezTo>
                  <a:pt x="375" y="153"/>
                  <a:pt x="375" y="153"/>
                  <a:pt x="375" y="153"/>
                </a:cubicBezTo>
                <a:cubicBezTo>
                  <a:pt x="365" y="154"/>
                  <a:pt x="365" y="154"/>
                  <a:pt x="365" y="154"/>
                </a:cubicBezTo>
                <a:cubicBezTo>
                  <a:pt x="364" y="144"/>
                  <a:pt x="364" y="144"/>
                  <a:pt x="364" y="144"/>
                </a:cubicBezTo>
                <a:cubicBezTo>
                  <a:pt x="362" y="122"/>
                  <a:pt x="348" y="102"/>
                  <a:pt x="326" y="92"/>
                </a:cubicBezTo>
                <a:cubicBezTo>
                  <a:pt x="326" y="92"/>
                  <a:pt x="326" y="92"/>
                  <a:pt x="326" y="92"/>
                </a:cubicBezTo>
                <a:cubicBezTo>
                  <a:pt x="318" y="88"/>
                  <a:pt x="309" y="87"/>
                  <a:pt x="301" y="87"/>
                </a:cubicBezTo>
                <a:cubicBezTo>
                  <a:pt x="301" y="87"/>
                  <a:pt x="301" y="87"/>
                  <a:pt x="301" y="87"/>
                </a:cubicBezTo>
                <a:cubicBezTo>
                  <a:pt x="292" y="87"/>
                  <a:pt x="283" y="89"/>
                  <a:pt x="274" y="93"/>
                </a:cubicBezTo>
                <a:cubicBezTo>
                  <a:pt x="274" y="93"/>
                  <a:pt x="274" y="93"/>
                  <a:pt x="274" y="93"/>
                </a:cubicBezTo>
                <a:cubicBezTo>
                  <a:pt x="263" y="98"/>
                  <a:pt x="263" y="98"/>
                  <a:pt x="263" y="98"/>
                </a:cubicBezTo>
                <a:cubicBezTo>
                  <a:pt x="261" y="86"/>
                  <a:pt x="261" y="86"/>
                  <a:pt x="261" y="86"/>
                </a:cubicBezTo>
                <a:cubicBezTo>
                  <a:pt x="255" y="60"/>
                  <a:pt x="238" y="38"/>
                  <a:pt x="212" y="27"/>
                </a:cubicBezTo>
                <a:cubicBezTo>
                  <a:pt x="212" y="27"/>
                  <a:pt x="212" y="27"/>
                  <a:pt x="212" y="27"/>
                </a:cubicBezTo>
                <a:cubicBezTo>
                  <a:pt x="201" y="22"/>
                  <a:pt x="190" y="20"/>
                  <a:pt x="179" y="20"/>
                </a:cubicBezTo>
                <a:cubicBezTo>
                  <a:pt x="179" y="20"/>
                  <a:pt x="179" y="20"/>
                  <a:pt x="179" y="20"/>
                </a:cubicBezTo>
                <a:cubicBezTo>
                  <a:pt x="147" y="20"/>
                  <a:pt x="116" y="38"/>
                  <a:pt x="103" y="70"/>
                </a:cubicBezTo>
                <a:cubicBezTo>
                  <a:pt x="103" y="70"/>
                  <a:pt x="103" y="70"/>
                  <a:pt x="103" y="70"/>
                </a:cubicBezTo>
                <a:cubicBezTo>
                  <a:pt x="100" y="77"/>
                  <a:pt x="98" y="84"/>
                  <a:pt x="97" y="91"/>
                </a:cubicBezTo>
                <a:cubicBezTo>
                  <a:pt x="97" y="91"/>
                  <a:pt x="97" y="91"/>
                  <a:pt x="97" y="91"/>
                </a:cubicBezTo>
                <a:cubicBezTo>
                  <a:pt x="95" y="100"/>
                  <a:pt x="95" y="100"/>
                  <a:pt x="95" y="100"/>
                </a:cubicBezTo>
                <a:cubicBezTo>
                  <a:pt x="86" y="99"/>
                  <a:pt x="86" y="99"/>
                  <a:pt x="86" y="99"/>
                </a:cubicBezTo>
                <a:cubicBezTo>
                  <a:pt x="83" y="99"/>
                  <a:pt x="80" y="99"/>
                  <a:pt x="78" y="99"/>
                </a:cubicBezTo>
                <a:cubicBezTo>
                  <a:pt x="78" y="99"/>
                  <a:pt x="78" y="99"/>
                  <a:pt x="78" y="99"/>
                </a:cubicBezTo>
                <a:cubicBezTo>
                  <a:pt x="56" y="99"/>
                  <a:pt x="35" y="112"/>
                  <a:pt x="25" y="133"/>
                </a:cubicBezTo>
                <a:cubicBezTo>
                  <a:pt x="25" y="133"/>
                  <a:pt x="25" y="133"/>
                  <a:pt x="25" y="133"/>
                </a:cubicBezTo>
                <a:cubicBezTo>
                  <a:pt x="22" y="141"/>
                  <a:pt x="20" y="148"/>
                  <a:pt x="20" y="156"/>
                </a:cubicBezTo>
                <a:cubicBezTo>
                  <a:pt x="20" y="156"/>
                  <a:pt x="20" y="156"/>
                  <a:pt x="20" y="156"/>
                </a:cubicBezTo>
                <a:cubicBezTo>
                  <a:pt x="20" y="178"/>
                  <a:pt x="33" y="200"/>
                  <a:pt x="55" y="209"/>
                </a:cubicBezTo>
                <a:cubicBezTo>
                  <a:pt x="55" y="209"/>
                  <a:pt x="55" y="209"/>
                  <a:pt x="55" y="209"/>
                </a:cubicBezTo>
                <a:cubicBezTo>
                  <a:pt x="62" y="212"/>
                  <a:pt x="70" y="214"/>
                  <a:pt x="78" y="214"/>
                </a:cubicBezTo>
                <a:cubicBezTo>
                  <a:pt x="78" y="214"/>
                  <a:pt x="78" y="214"/>
                  <a:pt x="78" y="214"/>
                </a:cubicBezTo>
                <a:cubicBezTo>
                  <a:pt x="78" y="214"/>
                  <a:pt x="78" y="214"/>
                  <a:pt x="78" y="214"/>
                </a:cubicBezTo>
                <a:cubicBezTo>
                  <a:pt x="78" y="214"/>
                  <a:pt x="78" y="214"/>
                  <a:pt x="78" y="214"/>
                </a:cubicBezTo>
                <a:cubicBezTo>
                  <a:pt x="78" y="214"/>
                  <a:pt x="78" y="214"/>
                  <a:pt x="78" y="214"/>
                </a:cubicBezTo>
                <a:cubicBezTo>
                  <a:pt x="380" y="214"/>
                  <a:pt x="380" y="214"/>
                  <a:pt x="380" y="214"/>
                </a:cubicBezTo>
                <a:close/>
              </a:path>
            </a:pathLst>
          </a:custGeom>
          <a:solidFill>
            <a:schemeClr val="accent4">
              <a:lumMod val="40000"/>
              <a:lumOff val="60000"/>
            </a:schemeClr>
          </a:solidFill>
          <a:ln>
            <a:noFill/>
          </a:ln>
        </p:spPr>
        <p:txBody>
          <a:bodyPr vert="horz" wrap="square" lIns="129909" tIns="64954" rIns="129909" bIns="64954"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259" name="Freeform 137"/>
          <p:cNvSpPr>
            <a:spLocks noChangeAspect="1"/>
          </p:cNvSpPr>
          <p:nvPr/>
        </p:nvSpPr>
        <p:spPr bwMode="auto">
          <a:xfrm>
            <a:off x="8563428" y="2043290"/>
            <a:ext cx="1691370" cy="910336"/>
          </a:xfrm>
          <a:custGeom>
            <a:avLst/>
            <a:gdLst>
              <a:gd name="T0" fmla="*/ 414 w 446"/>
              <a:gd name="T1" fmla="*/ 158 h 240"/>
              <a:gd name="T2" fmla="*/ 394 w 446"/>
              <a:gd name="T3" fmla="*/ 155 h 240"/>
              <a:gd name="T4" fmla="*/ 348 w 446"/>
              <a:gd name="T5" fmla="*/ 91 h 240"/>
              <a:gd name="T6" fmla="*/ 285 w 446"/>
              <a:gd name="T7" fmla="*/ 92 h 240"/>
              <a:gd name="T8" fmla="*/ 228 w 446"/>
              <a:gd name="T9" fmla="*/ 22 h 240"/>
              <a:gd name="T10" fmla="*/ 98 w 446"/>
              <a:gd name="T11" fmla="*/ 73 h 240"/>
              <a:gd name="T12" fmla="*/ 91 w 446"/>
              <a:gd name="T13" fmla="*/ 98 h 240"/>
              <a:gd name="T14" fmla="*/ 16 w 446"/>
              <a:gd name="T15" fmla="*/ 140 h 240"/>
              <a:gd name="T16" fmla="*/ 53 w 446"/>
              <a:gd name="T17" fmla="*/ 234 h 240"/>
              <a:gd name="T18" fmla="*/ 81 w 446"/>
              <a:gd name="T19" fmla="*/ 240 h 240"/>
              <a:gd name="T20" fmla="*/ 402 w 446"/>
              <a:gd name="T21" fmla="*/ 240 h 240"/>
              <a:gd name="T22" fmla="*/ 436 w 446"/>
              <a:gd name="T23" fmla="*/ 214 h 240"/>
              <a:gd name="T24" fmla="*/ 414 w 446"/>
              <a:gd name="T25" fmla="*/ 15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6" h="240">
                <a:moveTo>
                  <a:pt x="414" y="158"/>
                </a:moveTo>
                <a:cubicBezTo>
                  <a:pt x="408" y="155"/>
                  <a:pt x="401" y="154"/>
                  <a:pt x="394" y="155"/>
                </a:cubicBezTo>
                <a:cubicBezTo>
                  <a:pt x="392" y="128"/>
                  <a:pt x="375" y="103"/>
                  <a:pt x="348" y="91"/>
                </a:cubicBezTo>
                <a:cubicBezTo>
                  <a:pt x="327" y="82"/>
                  <a:pt x="304" y="83"/>
                  <a:pt x="285" y="92"/>
                </a:cubicBezTo>
                <a:cubicBezTo>
                  <a:pt x="278" y="61"/>
                  <a:pt x="258" y="35"/>
                  <a:pt x="228" y="22"/>
                </a:cubicBezTo>
                <a:cubicBezTo>
                  <a:pt x="178" y="0"/>
                  <a:pt x="120" y="23"/>
                  <a:pt x="98" y="73"/>
                </a:cubicBezTo>
                <a:cubicBezTo>
                  <a:pt x="94" y="81"/>
                  <a:pt x="92" y="89"/>
                  <a:pt x="91" y="98"/>
                </a:cubicBezTo>
                <a:cubicBezTo>
                  <a:pt x="60" y="94"/>
                  <a:pt x="29" y="110"/>
                  <a:pt x="16" y="140"/>
                </a:cubicBezTo>
                <a:cubicBezTo>
                  <a:pt x="0" y="176"/>
                  <a:pt x="17" y="218"/>
                  <a:pt x="53" y="234"/>
                </a:cubicBezTo>
                <a:cubicBezTo>
                  <a:pt x="62" y="238"/>
                  <a:pt x="72" y="240"/>
                  <a:pt x="81" y="240"/>
                </a:cubicBezTo>
                <a:cubicBezTo>
                  <a:pt x="402" y="240"/>
                  <a:pt x="402" y="240"/>
                  <a:pt x="402" y="240"/>
                </a:cubicBezTo>
                <a:cubicBezTo>
                  <a:pt x="417" y="238"/>
                  <a:pt x="430" y="228"/>
                  <a:pt x="436" y="214"/>
                </a:cubicBezTo>
                <a:cubicBezTo>
                  <a:pt x="446" y="192"/>
                  <a:pt x="436" y="167"/>
                  <a:pt x="414" y="158"/>
                </a:cubicBezTo>
              </a:path>
            </a:pathLst>
          </a:custGeom>
          <a:solidFill>
            <a:schemeClr val="accent4">
              <a:lumMod val="40000"/>
              <a:lumOff val="60000"/>
            </a:schemeClr>
          </a:solidFill>
          <a:ln>
            <a:noFill/>
          </a:ln>
        </p:spPr>
        <p:txBody>
          <a:bodyPr vert="horz" wrap="square" lIns="129909" tIns="64954" rIns="129909" bIns="64954" numCol="1" anchor="t" anchorCtr="0" compatLnSpc="1">
            <a:prstTxWarp prst="textNoShape">
              <a:avLst/>
            </a:prstTxWarp>
          </a:bodyPr>
          <a:lstStyle/>
          <a:p>
            <a:endParaRPr lang="en-US">
              <a:latin typeface="微软雅黑" pitchFamily="34" charset="-122"/>
              <a:ea typeface="微软雅黑" pitchFamily="34" charset="-122"/>
            </a:endParaRPr>
          </a:p>
        </p:txBody>
      </p:sp>
      <p:grpSp>
        <p:nvGrpSpPr>
          <p:cNvPr id="10" name="Group 9"/>
          <p:cNvGrpSpPr/>
          <p:nvPr/>
        </p:nvGrpSpPr>
        <p:grpSpPr>
          <a:xfrm>
            <a:off x="3828664" y="2045487"/>
            <a:ext cx="3576545" cy="438764"/>
            <a:chOff x="2696308" y="1438233"/>
            <a:chExt cx="2518755" cy="308506"/>
          </a:xfrm>
        </p:grpSpPr>
        <p:sp>
          <p:nvSpPr>
            <p:cNvPr id="295" name="Oval 294"/>
            <p:cNvSpPr/>
            <p:nvPr/>
          </p:nvSpPr>
          <p:spPr>
            <a:xfrm>
              <a:off x="5012582" y="1493414"/>
              <a:ext cx="202481" cy="198146"/>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微软雅黑" pitchFamily="34" charset="-122"/>
                <a:ea typeface="微软雅黑" pitchFamily="34" charset="-122"/>
              </a:endParaRPr>
            </a:p>
          </p:txBody>
        </p:sp>
        <p:sp>
          <p:nvSpPr>
            <p:cNvPr id="430" name="Right Arrow 429"/>
            <p:cNvSpPr/>
            <p:nvPr/>
          </p:nvSpPr>
          <p:spPr>
            <a:xfrm>
              <a:off x="2696308" y="1438233"/>
              <a:ext cx="2323540" cy="308506"/>
            </a:xfrm>
            <a:prstGeom prst="rightArrow">
              <a:avLst>
                <a:gd name="adj1" fmla="val 42593"/>
                <a:gd name="adj2" fmla="val 87037"/>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微软雅黑" pitchFamily="34" charset="-122"/>
                <a:ea typeface="微软雅黑" pitchFamily="34" charset="-122"/>
              </a:endParaRPr>
            </a:p>
          </p:txBody>
        </p:sp>
      </p:grpSp>
      <p:grpSp>
        <p:nvGrpSpPr>
          <p:cNvPr id="262" name="Group 261"/>
          <p:cNvGrpSpPr/>
          <p:nvPr/>
        </p:nvGrpSpPr>
        <p:grpSpPr>
          <a:xfrm>
            <a:off x="4719599" y="2015746"/>
            <a:ext cx="1857816" cy="452001"/>
            <a:chOff x="171035" y="954157"/>
            <a:chExt cx="390949" cy="387626"/>
          </a:xfrm>
        </p:grpSpPr>
        <p:sp>
          <p:nvSpPr>
            <p:cNvPr id="263" name="Round Diagonal Corner Rectangle 262"/>
            <p:cNvSpPr/>
            <p:nvPr/>
          </p:nvSpPr>
          <p:spPr>
            <a:xfrm flipV="1">
              <a:off x="171035" y="954157"/>
              <a:ext cx="387626" cy="387626"/>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dirty="0">
                <a:latin typeface="微软雅黑" pitchFamily="34" charset="-122"/>
                <a:ea typeface="微软雅黑" pitchFamily="34" charset="-122"/>
              </a:endParaRPr>
            </a:p>
          </p:txBody>
        </p:sp>
        <p:sp>
          <p:nvSpPr>
            <p:cNvPr id="264" name="Round Diagonal Corner Rectangle 263"/>
            <p:cNvSpPr/>
            <p:nvPr/>
          </p:nvSpPr>
          <p:spPr>
            <a:xfrm>
              <a:off x="174358" y="954157"/>
              <a:ext cx="387626" cy="387626"/>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2300" dirty="0">
                  <a:latin typeface="微软雅黑" pitchFamily="34" charset="-122"/>
                  <a:ea typeface="微软雅黑" pitchFamily="34" charset="-122"/>
                </a:rPr>
                <a:t>渗透</a:t>
              </a:r>
              <a:endParaRPr lang="en-US" sz="2300" dirty="0">
                <a:latin typeface="微软雅黑" pitchFamily="34" charset="-122"/>
                <a:ea typeface="微软雅黑" pitchFamily="34" charset="-122"/>
              </a:endParaRPr>
            </a:p>
          </p:txBody>
        </p:sp>
      </p:grpSp>
      <p:sp>
        <p:nvSpPr>
          <p:cNvPr id="271" name="Freeform 310"/>
          <p:cNvSpPr>
            <a:spLocks/>
          </p:cNvSpPr>
          <p:nvPr/>
        </p:nvSpPr>
        <p:spPr bwMode="auto">
          <a:xfrm>
            <a:off x="6794108" y="5042495"/>
            <a:ext cx="42505" cy="113734"/>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solidFill>
            <a:srgbClr val="000000"/>
          </a:solidFill>
          <a:ln w="9525">
            <a:noFill/>
            <a:round/>
            <a:headEnd/>
            <a:tailEnd/>
          </a:ln>
        </p:spPr>
        <p:txBody>
          <a:bodyPr lIns="129909" tIns="64954" rIns="129909" bIns="64954"/>
          <a:lstStyle/>
          <a:p>
            <a:endParaRPr lang="en-US" sz="2000" dirty="0">
              <a:latin typeface="微软雅黑" pitchFamily="34" charset="-122"/>
              <a:ea typeface="微软雅黑" pitchFamily="34" charset="-122"/>
            </a:endParaRPr>
          </a:p>
        </p:txBody>
      </p:sp>
      <p:grpSp>
        <p:nvGrpSpPr>
          <p:cNvPr id="268" name="Group 267"/>
          <p:cNvGrpSpPr/>
          <p:nvPr/>
        </p:nvGrpSpPr>
        <p:grpSpPr>
          <a:xfrm>
            <a:off x="6521830" y="4318883"/>
            <a:ext cx="1481740" cy="457879"/>
            <a:chOff x="161386" y="954156"/>
            <a:chExt cx="314542" cy="387627"/>
          </a:xfrm>
        </p:grpSpPr>
        <p:sp>
          <p:nvSpPr>
            <p:cNvPr id="269" name="Round Diagonal Corner Rectangle 268"/>
            <p:cNvSpPr/>
            <p:nvPr/>
          </p:nvSpPr>
          <p:spPr>
            <a:xfrm flipV="1">
              <a:off x="171035" y="954156"/>
              <a:ext cx="291924" cy="387626"/>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00" dirty="0">
                <a:latin typeface="微软雅黑" pitchFamily="34" charset="-122"/>
                <a:ea typeface="微软雅黑" pitchFamily="34" charset="-122"/>
              </a:endParaRPr>
            </a:p>
          </p:txBody>
        </p:sp>
        <p:sp>
          <p:nvSpPr>
            <p:cNvPr id="270" name="Round Diagonal Corner Rectangle 269"/>
            <p:cNvSpPr/>
            <p:nvPr/>
          </p:nvSpPr>
          <p:spPr>
            <a:xfrm>
              <a:off x="161386" y="954157"/>
              <a:ext cx="314542" cy="387626"/>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2300" dirty="0">
                  <a:latin typeface="微软雅黑" pitchFamily="34" charset="-122"/>
                  <a:ea typeface="微软雅黑" pitchFamily="34" charset="-122"/>
                </a:rPr>
                <a:t>捕获</a:t>
              </a:r>
              <a:endParaRPr lang="en-US" sz="2300" dirty="0">
                <a:latin typeface="微软雅黑" pitchFamily="34" charset="-122"/>
                <a:ea typeface="微软雅黑" pitchFamily="34" charset="-122"/>
              </a:endParaRPr>
            </a:p>
          </p:txBody>
        </p:sp>
      </p:grpSp>
      <p:grpSp>
        <p:nvGrpSpPr>
          <p:cNvPr id="9" name="Group 8"/>
          <p:cNvGrpSpPr/>
          <p:nvPr/>
        </p:nvGrpSpPr>
        <p:grpSpPr>
          <a:xfrm>
            <a:off x="4325899" y="4805243"/>
            <a:ext cx="2399571" cy="1062370"/>
            <a:chOff x="3046482" y="3378686"/>
            <a:chExt cx="1689880" cy="746979"/>
          </a:xfrm>
        </p:grpSpPr>
        <p:sp>
          <p:nvSpPr>
            <p:cNvPr id="292" name="Freeform 94"/>
            <p:cNvSpPr>
              <a:spLocks noEditPoints="1"/>
            </p:cNvSpPr>
            <p:nvPr/>
          </p:nvSpPr>
          <p:spPr bwMode="auto">
            <a:xfrm rot="4109834">
              <a:off x="3606505" y="2818663"/>
              <a:ext cx="569834" cy="1689880"/>
            </a:xfrm>
            <a:custGeom>
              <a:avLst/>
              <a:gdLst/>
              <a:ahLst/>
              <a:cxnLst>
                <a:cxn ang="0">
                  <a:pos x="360" y="3404"/>
                </a:cxn>
                <a:cxn ang="0">
                  <a:pos x="358" y="3462"/>
                </a:cxn>
                <a:cxn ang="0">
                  <a:pos x="268" y="3158"/>
                </a:cxn>
                <a:cxn ang="0">
                  <a:pos x="402" y="3008"/>
                </a:cxn>
                <a:cxn ang="0">
                  <a:pos x="388" y="3050"/>
                </a:cxn>
                <a:cxn ang="0">
                  <a:pos x="422" y="2898"/>
                </a:cxn>
                <a:cxn ang="0">
                  <a:pos x="370" y="2872"/>
                </a:cxn>
                <a:cxn ang="0">
                  <a:pos x="432" y="2780"/>
                </a:cxn>
                <a:cxn ang="0">
                  <a:pos x="360" y="2742"/>
                </a:cxn>
                <a:cxn ang="0">
                  <a:pos x="456" y="2520"/>
                </a:cxn>
                <a:cxn ang="0">
                  <a:pos x="492" y="2382"/>
                </a:cxn>
                <a:cxn ang="0">
                  <a:pos x="496" y="2344"/>
                </a:cxn>
                <a:cxn ang="0">
                  <a:pos x="514" y="2088"/>
                </a:cxn>
                <a:cxn ang="0">
                  <a:pos x="560" y="1948"/>
                </a:cxn>
                <a:cxn ang="0">
                  <a:pos x="634" y="1680"/>
                </a:cxn>
                <a:cxn ang="0">
                  <a:pos x="630" y="1696"/>
                </a:cxn>
                <a:cxn ang="0">
                  <a:pos x="662" y="1540"/>
                </a:cxn>
                <a:cxn ang="0">
                  <a:pos x="700" y="1450"/>
                </a:cxn>
                <a:cxn ang="0">
                  <a:pos x="726" y="1406"/>
                </a:cxn>
                <a:cxn ang="0">
                  <a:pos x="728" y="1314"/>
                </a:cxn>
                <a:cxn ang="0">
                  <a:pos x="812" y="1120"/>
                </a:cxn>
                <a:cxn ang="0">
                  <a:pos x="880" y="862"/>
                </a:cxn>
                <a:cxn ang="0">
                  <a:pos x="808" y="840"/>
                </a:cxn>
                <a:cxn ang="0">
                  <a:pos x="800" y="712"/>
                </a:cxn>
                <a:cxn ang="0">
                  <a:pos x="828" y="456"/>
                </a:cxn>
                <a:cxn ang="0">
                  <a:pos x="986" y="164"/>
                </a:cxn>
                <a:cxn ang="0">
                  <a:pos x="976" y="182"/>
                </a:cxn>
                <a:cxn ang="0">
                  <a:pos x="850" y="34"/>
                </a:cxn>
                <a:cxn ang="0">
                  <a:pos x="142" y="3294"/>
                </a:cxn>
                <a:cxn ang="0">
                  <a:pos x="158" y="3160"/>
                </a:cxn>
                <a:cxn ang="0">
                  <a:pos x="96" y="3144"/>
                </a:cxn>
                <a:cxn ang="0">
                  <a:pos x="90" y="2900"/>
                </a:cxn>
                <a:cxn ang="0">
                  <a:pos x="178" y="2918"/>
                </a:cxn>
                <a:cxn ang="0">
                  <a:pos x="208" y="2792"/>
                </a:cxn>
                <a:cxn ang="0">
                  <a:pos x="202" y="2600"/>
                </a:cxn>
                <a:cxn ang="0">
                  <a:pos x="220" y="2654"/>
                </a:cxn>
                <a:cxn ang="0">
                  <a:pos x="310" y="2342"/>
                </a:cxn>
                <a:cxn ang="0">
                  <a:pos x="358" y="2258"/>
                </a:cxn>
                <a:cxn ang="0">
                  <a:pos x="452" y="2116"/>
                </a:cxn>
                <a:cxn ang="0">
                  <a:pos x="468" y="2084"/>
                </a:cxn>
                <a:cxn ang="0">
                  <a:pos x="576" y="1812"/>
                </a:cxn>
                <a:cxn ang="0">
                  <a:pos x="588" y="1788"/>
                </a:cxn>
                <a:cxn ang="0">
                  <a:pos x="648" y="1678"/>
                </a:cxn>
                <a:cxn ang="0">
                  <a:pos x="708" y="1506"/>
                </a:cxn>
                <a:cxn ang="0">
                  <a:pos x="704" y="1520"/>
                </a:cxn>
                <a:cxn ang="0">
                  <a:pos x="796" y="1366"/>
                </a:cxn>
                <a:cxn ang="0">
                  <a:pos x="798" y="1298"/>
                </a:cxn>
                <a:cxn ang="0">
                  <a:pos x="902" y="1160"/>
                </a:cxn>
                <a:cxn ang="0">
                  <a:pos x="908" y="1110"/>
                </a:cxn>
                <a:cxn ang="0">
                  <a:pos x="986" y="988"/>
                </a:cxn>
                <a:cxn ang="0">
                  <a:pos x="974" y="986"/>
                </a:cxn>
                <a:cxn ang="0">
                  <a:pos x="1042" y="842"/>
                </a:cxn>
                <a:cxn ang="0">
                  <a:pos x="1028" y="850"/>
                </a:cxn>
                <a:cxn ang="0">
                  <a:pos x="1092" y="708"/>
                </a:cxn>
                <a:cxn ang="0">
                  <a:pos x="1062" y="702"/>
                </a:cxn>
                <a:cxn ang="0">
                  <a:pos x="1134" y="592"/>
                </a:cxn>
                <a:cxn ang="0">
                  <a:pos x="1072" y="562"/>
                </a:cxn>
                <a:cxn ang="0">
                  <a:pos x="1152" y="482"/>
                </a:cxn>
                <a:cxn ang="0">
                  <a:pos x="1060" y="438"/>
                </a:cxn>
                <a:cxn ang="0">
                  <a:pos x="1100" y="210"/>
                </a:cxn>
                <a:cxn ang="0">
                  <a:pos x="1176" y="90"/>
                </a:cxn>
                <a:cxn ang="0">
                  <a:pos x="1144" y="20"/>
                </a:cxn>
              </a:cxnLst>
              <a:rect l="0" t="0" r="r" b="b"/>
              <a:pathLst>
                <a:path w="1226" h="3488">
                  <a:moveTo>
                    <a:pt x="320" y="3396"/>
                  </a:moveTo>
                  <a:lnTo>
                    <a:pt x="320" y="3396"/>
                  </a:lnTo>
                  <a:lnTo>
                    <a:pt x="304" y="3398"/>
                  </a:lnTo>
                  <a:lnTo>
                    <a:pt x="290" y="3400"/>
                  </a:lnTo>
                  <a:lnTo>
                    <a:pt x="276" y="3404"/>
                  </a:lnTo>
                  <a:lnTo>
                    <a:pt x="266" y="3408"/>
                  </a:lnTo>
                  <a:lnTo>
                    <a:pt x="258" y="3416"/>
                  </a:lnTo>
                  <a:lnTo>
                    <a:pt x="252" y="3424"/>
                  </a:lnTo>
                  <a:lnTo>
                    <a:pt x="248" y="3432"/>
                  </a:lnTo>
                  <a:lnTo>
                    <a:pt x="248" y="3444"/>
                  </a:lnTo>
                  <a:lnTo>
                    <a:pt x="248" y="3444"/>
                  </a:lnTo>
                  <a:lnTo>
                    <a:pt x="248" y="3452"/>
                  </a:lnTo>
                  <a:lnTo>
                    <a:pt x="252" y="3462"/>
                  </a:lnTo>
                  <a:lnTo>
                    <a:pt x="258" y="3470"/>
                  </a:lnTo>
                  <a:lnTo>
                    <a:pt x="264" y="3476"/>
                  </a:lnTo>
                  <a:lnTo>
                    <a:pt x="274" y="3480"/>
                  </a:lnTo>
                  <a:lnTo>
                    <a:pt x="286" y="3484"/>
                  </a:lnTo>
                  <a:lnTo>
                    <a:pt x="300" y="3488"/>
                  </a:lnTo>
                  <a:lnTo>
                    <a:pt x="316" y="3488"/>
                  </a:lnTo>
                  <a:lnTo>
                    <a:pt x="316" y="3488"/>
                  </a:lnTo>
                  <a:lnTo>
                    <a:pt x="332" y="3488"/>
                  </a:lnTo>
                  <a:lnTo>
                    <a:pt x="346" y="3484"/>
                  </a:lnTo>
                  <a:lnTo>
                    <a:pt x="358" y="3480"/>
                  </a:lnTo>
                  <a:lnTo>
                    <a:pt x="368" y="3476"/>
                  </a:lnTo>
                  <a:lnTo>
                    <a:pt x="376" y="3468"/>
                  </a:lnTo>
                  <a:lnTo>
                    <a:pt x="382" y="3460"/>
                  </a:lnTo>
                  <a:lnTo>
                    <a:pt x="386" y="3452"/>
                  </a:lnTo>
                  <a:lnTo>
                    <a:pt x="386" y="3442"/>
                  </a:lnTo>
                  <a:lnTo>
                    <a:pt x="386" y="3442"/>
                  </a:lnTo>
                  <a:lnTo>
                    <a:pt x="386" y="3432"/>
                  </a:lnTo>
                  <a:lnTo>
                    <a:pt x="382" y="3422"/>
                  </a:lnTo>
                  <a:lnTo>
                    <a:pt x="378" y="3414"/>
                  </a:lnTo>
                  <a:lnTo>
                    <a:pt x="370" y="3408"/>
                  </a:lnTo>
                  <a:lnTo>
                    <a:pt x="360" y="3404"/>
                  </a:lnTo>
                  <a:lnTo>
                    <a:pt x="348" y="3400"/>
                  </a:lnTo>
                  <a:lnTo>
                    <a:pt x="336" y="3398"/>
                  </a:lnTo>
                  <a:lnTo>
                    <a:pt x="320" y="3396"/>
                  </a:lnTo>
                  <a:lnTo>
                    <a:pt x="320" y="3396"/>
                  </a:lnTo>
                  <a:close/>
                  <a:moveTo>
                    <a:pt x="316" y="3470"/>
                  </a:moveTo>
                  <a:lnTo>
                    <a:pt x="316" y="3470"/>
                  </a:lnTo>
                  <a:lnTo>
                    <a:pt x="292" y="3468"/>
                  </a:lnTo>
                  <a:lnTo>
                    <a:pt x="284" y="3466"/>
                  </a:lnTo>
                  <a:lnTo>
                    <a:pt x="276" y="3462"/>
                  </a:lnTo>
                  <a:lnTo>
                    <a:pt x="270" y="3458"/>
                  </a:lnTo>
                  <a:lnTo>
                    <a:pt x="266" y="3454"/>
                  </a:lnTo>
                  <a:lnTo>
                    <a:pt x="262" y="3448"/>
                  </a:lnTo>
                  <a:lnTo>
                    <a:pt x="262" y="3442"/>
                  </a:lnTo>
                  <a:lnTo>
                    <a:pt x="262" y="3442"/>
                  </a:lnTo>
                  <a:lnTo>
                    <a:pt x="262" y="3436"/>
                  </a:lnTo>
                  <a:lnTo>
                    <a:pt x="266" y="3430"/>
                  </a:lnTo>
                  <a:lnTo>
                    <a:pt x="270" y="3426"/>
                  </a:lnTo>
                  <a:lnTo>
                    <a:pt x="278" y="3422"/>
                  </a:lnTo>
                  <a:lnTo>
                    <a:pt x="286" y="3418"/>
                  </a:lnTo>
                  <a:lnTo>
                    <a:pt x="296" y="3416"/>
                  </a:lnTo>
                  <a:lnTo>
                    <a:pt x="318" y="3414"/>
                  </a:lnTo>
                  <a:lnTo>
                    <a:pt x="318" y="3414"/>
                  </a:lnTo>
                  <a:lnTo>
                    <a:pt x="340" y="3416"/>
                  </a:lnTo>
                  <a:lnTo>
                    <a:pt x="350" y="3418"/>
                  </a:lnTo>
                  <a:lnTo>
                    <a:pt x="358" y="3422"/>
                  </a:lnTo>
                  <a:lnTo>
                    <a:pt x="364" y="3426"/>
                  </a:lnTo>
                  <a:lnTo>
                    <a:pt x="370" y="3430"/>
                  </a:lnTo>
                  <a:lnTo>
                    <a:pt x="372" y="3436"/>
                  </a:lnTo>
                  <a:lnTo>
                    <a:pt x="372" y="3442"/>
                  </a:lnTo>
                  <a:lnTo>
                    <a:pt x="372" y="3442"/>
                  </a:lnTo>
                  <a:lnTo>
                    <a:pt x="372" y="3448"/>
                  </a:lnTo>
                  <a:lnTo>
                    <a:pt x="370" y="3454"/>
                  </a:lnTo>
                  <a:lnTo>
                    <a:pt x="364" y="3458"/>
                  </a:lnTo>
                  <a:lnTo>
                    <a:pt x="358" y="3462"/>
                  </a:lnTo>
                  <a:lnTo>
                    <a:pt x="350" y="3466"/>
                  </a:lnTo>
                  <a:lnTo>
                    <a:pt x="340" y="3468"/>
                  </a:lnTo>
                  <a:lnTo>
                    <a:pt x="316" y="3470"/>
                  </a:lnTo>
                  <a:lnTo>
                    <a:pt x="316" y="3470"/>
                  </a:lnTo>
                  <a:close/>
                  <a:moveTo>
                    <a:pt x="256" y="3310"/>
                  </a:moveTo>
                  <a:lnTo>
                    <a:pt x="372" y="3310"/>
                  </a:lnTo>
                  <a:lnTo>
                    <a:pt x="372" y="3310"/>
                  </a:lnTo>
                  <a:lnTo>
                    <a:pt x="372" y="3312"/>
                  </a:lnTo>
                  <a:lnTo>
                    <a:pt x="372" y="3312"/>
                  </a:lnTo>
                  <a:lnTo>
                    <a:pt x="358" y="3334"/>
                  </a:lnTo>
                  <a:lnTo>
                    <a:pt x="358" y="3334"/>
                  </a:lnTo>
                  <a:lnTo>
                    <a:pt x="372" y="3338"/>
                  </a:lnTo>
                  <a:lnTo>
                    <a:pt x="372" y="3338"/>
                  </a:lnTo>
                  <a:lnTo>
                    <a:pt x="388" y="3308"/>
                  </a:lnTo>
                  <a:lnTo>
                    <a:pt x="388" y="3308"/>
                  </a:lnTo>
                  <a:lnTo>
                    <a:pt x="388" y="3294"/>
                  </a:lnTo>
                  <a:lnTo>
                    <a:pt x="256" y="3294"/>
                  </a:lnTo>
                  <a:lnTo>
                    <a:pt x="256" y="3294"/>
                  </a:lnTo>
                  <a:lnTo>
                    <a:pt x="256" y="3310"/>
                  </a:lnTo>
                  <a:lnTo>
                    <a:pt x="256" y="3310"/>
                  </a:lnTo>
                  <a:close/>
                  <a:moveTo>
                    <a:pt x="266" y="3174"/>
                  </a:moveTo>
                  <a:lnTo>
                    <a:pt x="380" y="3174"/>
                  </a:lnTo>
                  <a:lnTo>
                    <a:pt x="380" y="3174"/>
                  </a:lnTo>
                  <a:lnTo>
                    <a:pt x="380" y="3176"/>
                  </a:lnTo>
                  <a:lnTo>
                    <a:pt x="380" y="3176"/>
                  </a:lnTo>
                  <a:lnTo>
                    <a:pt x="366" y="3198"/>
                  </a:lnTo>
                  <a:lnTo>
                    <a:pt x="366" y="3198"/>
                  </a:lnTo>
                  <a:lnTo>
                    <a:pt x="378" y="3202"/>
                  </a:lnTo>
                  <a:lnTo>
                    <a:pt x="378" y="3202"/>
                  </a:lnTo>
                  <a:lnTo>
                    <a:pt x="396" y="3172"/>
                  </a:lnTo>
                  <a:lnTo>
                    <a:pt x="396" y="3172"/>
                  </a:lnTo>
                  <a:lnTo>
                    <a:pt x="396" y="3158"/>
                  </a:lnTo>
                  <a:lnTo>
                    <a:pt x="268" y="3158"/>
                  </a:lnTo>
                  <a:lnTo>
                    <a:pt x="268" y="3158"/>
                  </a:lnTo>
                  <a:lnTo>
                    <a:pt x="266" y="3174"/>
                  </a:lnTo>
                  <a:lnTo>
                    <a:pt x="266" y="3174"/>
                  </a:lnTo>
                  <a:close/>
                  <a:moveTo>
                    <a:pt x="354" y="2988"/>
                  </a:moveTo>
                  <a:lnTo>
                    <a:pt x="354" y="2988"/>
                  </a:lnTo>
                  <a:lnTo>
                    <a:pt x="340" y="2990"/>
                  </a:lnTo>
                  <a:lnTo>
                    <a:pt x="326" y="2992"/>
                  </a:lnTo>
                  <a:lnTo>
                    <a:pt x="314" y="2996"/>
                  </a:lnTo>
                  <a:lnTo>
                    <a:pt x="304" y="3002"/>
                  </a:lnTo>
                  <a:lnTo>
                    <a:pt x="296" y="3008"/>
                  </a:lnTo>
                  <a:lnTo>
                    <a:pt x="290" y="3016"/>
                  </a:lnTo>
                  <a:lnTo>
                    <a:pt x="284" y="3026"/>
                  </a:lnTo>
                  <a:lnTo>
                    <a:pt x="282" y="3036"/>
                  </a:lnTo>
                  <a:lnTo>
                    <a:pt x="282" y="3036"/>
                  </a:lnTo>
                  <a:lnTo>
                    <a:pt x="282" y="3046"/>
                  </a:lnTo>
                  <a:lnTo>
                    <a:pt x="284" y="3054"/>
                  </a:lnTo>
                  <a:lnTo>
                    <a:pt x="288" y="3062"/>
                  </a:lnTo>
                  <a:lnTo>
                    <a:pt x="294" y="3068"/>
                  </a:lnTo>
                  <a:lnTo>
                    <a:pt x="304" y="3074"/>
                  </a:lnTo>
                  <a:lnTo>
                    <a:pt x="314" y="3078"/>
                  </a:lnTo>
                  <a:lnTo>
                    <a:pt x="326" y="3080"/>
                  </a:lnTo>
                  <a:lnTo>
                    <a:pt x="340" y="3080"/>
                  </a:lnTo>
                  <a:lnTo>
                    <a:pt x="340" y="3080"/>
                  </a:lnTo>
                  <a:lnTo>
                    <a:pt x="356" y="3080"/>
                  </a:lnTo>
                  <a:lnTo>
                    <a:pt x="368" y="3078"/>
                  </a:lnTo>
                  <a:lnTo>
                    <a:pt x="380" y="3074"/>
                  </a:lnTo>
                  <a:lnTo>
                    <a:pt x="390" y="3068"/>
                  </a:lnTo>
                  <a:lnTo>
                    <a:pt x="396" y="3060"/>
                  </a:lnTo>
                  <a:lnTo>
                    <a:pt x="402" y="3052"/>
                  </a:lnTo>
                  <a:lnTo>
                    <a:pt x="406" y="3044"/>
                  </a:lnTo>
                  <a:lnTo>
                    <a:pt x="408" y="3034"/>
                  </a:lnTo>
                  <a:lnTo>
                    <a:pt x="408" y="3034"/>
                  </a:lnTo>
                  <a:lnTo>
                    <a:pt x="408" y="3024"/>
                  </a:lnTo>
                  <a:lnTo>
                    <a:pt x="406" y="3014"/>
                  </a:lnTo>
                  <a:lnTo>
                    <a:pt x="402" y="3008"/>
                  </a:lnTo>
                  <a:lnTo>
                    <a:pt x="396" y="3000"/>
                  </a:lnTo>
                  <a:lnTo>
                    <a:pt x="388" y="2996"/>
                  </a:lnTo>
                  <a:lnTo>
                    <a:pt x="378" y="2992"/>
                  </a:lnTo>
                  <a:lnTo>
                    <a:pt x="366" y="2990"/>
                  </a:lnTo>
                  <a:lnTo>
                    <a:pt x="354" y="2988"/>
                  </a:lnTo>
                  <a:lnTo>
                    <a:pt x="354" y="2988"/>
                  </a:lnTo>
                  <a:close/>
                  <a:moveTo>
                    <a:pt x="342" y="3062"/>
                  </a:moveTo>
                  <a:lnTo>
                    <a:pt x="342" y="3062"/>
                  </a:lnTo>
                  <a:lnTo>
                    <a:pt x="322" y="3060"/>
                  </a:lnTo>
                  <a:lnTo>
                    <a:pt x="314" y="3058"/>
                  </a:lnTo>
                  <a:lnTo>
                    <a:pt x="306" y="3054"/>
                  </a:lnTo>
                  <a:lnTo>
                    <a:pt x="300" y="3050"/>
                  </a:lnTo>
                  <a:lnTo>
                    <a:pt x="298" y="3046"/>
                  </a:lnTo>
                  <a:lnTo>
                    <a:pt x="296" y="3040"/>
                  </a:lnTo>
                  <a:lnTo>
                    <a:pt x="296" y="3034"/>
                  </a:lnTo>
                  <a:lnTo>
                    <a:pt x="296" y="3034"/>
                  </a:lnTo>
                  <a:lnTo>
                    <a:pt x="298" y="3028"/>
                  </a:lnTo>
                  <a:lnTo>
                    <a:pt x="300" y="3022"/>
                  </a:lnTo>
                  <a:lnTo>
                    <a:pt x="306" y="3018"/>
                  </a:lnTo>
                  <a:lnTo>
                    <a:pt x="312" y="3014"/>
                  </a:lnTo>
                  <a:lnTo>
                    <a:pt x="330" y="3008"/>
                  </a:lnTo>
                  <a:lnTo>
                    <a:pt x="350" y="3008"/>
                  </a:lnTo>
                  <a:lnTo>
                    <a:pt x="350" y="3008"/>
                  </a:lnTo>
                  <a:lnTo>
                    <a:pt x="370" y="3008"/>
                  </a:lnTo>
                  <a:lnTo>
                    <a:pt x="378" y="3010"/>
                  </a:lnTo>
                  <a:lnTo>
                    <a:pt x="384" y="3014"/>
                  </a:lnTo>
                  <a:lnTo>
                    <a:pt x="390" y="3018"/>
                  </a:lnTo>
                  <a:lnTo>
                    <a:pt x="394" y="3022"/>
                  </a:lnTo>
                  <a:lnTo>
                    <a:pt x="396" y="3028"/>
                  </a:lnTo>
                  <a:lnTo>
                    <a:pt x="396" y="3034"/>
                  </a:lnTo>
                  <a:lnTo>
                    <a:pt x="396" y="3034"/>
                  </a:lnTo>
                  <a:lnTo>
                    <a:pt x="394" y="3040"/>
                  </a:lnTo>
                  <a:lnTo>
                    <a:pt x="392" y="3046"/>
                  </a:lnTo>
                  <a:lnTo>
                    <a:pt x="388" y="3050"/>
                  </a:lnTo>
                  <a:lnTo>
                    <a:pt x="382" y="3054"/>
                  </a:lnTo>
                  <a:lnTo>
                    <a:pt x="374" y="3058"/>
                  </a:lnTo>
                  <a:lnTo>
                    <a:pt x="364" y="3060"/>
                  </a:lnTo>
                  <a:lnTo>
                    <a:pt x="342" y="3062"/>
                  </a:lnTo>
                  <a:lnTo>
                    <a:pt x="342" y="3062"/>
                  </a:lnTo>
                  <a:close/>
                  <a:moveTo>
                    <a:pt x="374" y="2854"/>
                  </a:moveTo>
                  <a:lnTo>
                    <a:pt x="374" y="2854"/>
                  </a:lnTo>
                  <a:lnTo>
                    <a:pt x="360" y="2854"/>
                  </a:lnTo>
                  <a:lnTo>
                    <a:pt x="348" y="2856"/>
                  </a:lnTo>
                  <a:lnTo>
                    <a:pt x="336" y="2860"/>
                  </a:lnTo>
                  <a:lnTo>
                    <a:pt x="326" y="2866"/>
                  </a:lnTo>
                  <a:lnTo>
                    <a:pt x="318" y="2872"/>
                  </a:lnTo>
                  <a:lnTo>
                    <a:pt x="312" y="2880"/>
                  </a:lnTo>
                  <a:lnTo>
                    <a:pt x="308" y="2890"/>
                  </a:lnTo>
                  <a:lnTo>
                    <a:pt x="304" y="2900"/>
                  </a:lnTo>
                  <a:lnTo>
                    <a:pt x="304" y="2900"/>
                  </a:lnTo>
                  <a:lnTo>
                    <a:pt x="304" y="2910"/>
                  </a:lnTo>
                  <a:lnTo>
                    <a:pt x="306" y="2918"/>
                  </a:lnTo>
                  <a:lnTo>
                    <a:pt x="310" y="2926"/>
                  </a:lnTo>
                  <a:lnTo>
                    <a:pt x="316" y="2932"/>
                  </a:lnTo>
                  <a:lnTo>
                    <a:pt x="322" y="2938"/>
                  </a:lnTo>
                  <a:lnTo>
                    <a:pt x="332" y="2942"/>
                  </a:lnTo>
                  <a:lnTo>
                    <a:pt x="344" y="2944"/>
                  </a:lnTo>
                  <a:lnTo>
                    <a:pt x="358" y="2944"/>
                  </a:lnTo>
                  <a:lnTo>
                    <a:pt x="358" y="2944"/>
                  </a:lnTo>
                  <a:lnTo>
                    <a:pt x="372" y="2944"/>
                  </a:lnTo>
                  <a:lnTo>
                    <a:pt x="384" y="2942"/>
                  </a:lnTo>
                  <a:lnTo>
                    <a:pt x="394" y="2938"/>
                  </a:lnTo>
                  <a:lnTo>
                    <a:pt x="404" y="2932"/>
                  </a:lnTo>
                  <a:lnTo>
                    <a:pt x="410" y="2924"/>
                  </a:lnTo>
                  <a:lnTo>
                    <a:pt x="416" y="2916"/>
                  </a:lnTo>
                  <a:lnTo>
                    <a:pt x="420" y="2908"/>
                  </a:lnTo>
                  <a:lnTo>
                    <a:pt x="422" y="2898"/>
                  </a:lnTo>
                  <a:lnTo>
                    <a:pt x="422" y="2898"/>
                  </a:lnTo>
                  <a:lnTo>
                    <a:pt x="422" y="2888"/>
                  </a:lnTo>
                  <a:lnTo>
                    <a:pt x="420" y="2878"/>
                  </a:lnTo>
                  <a:lnTo>
                    <a:pt x="418" y="2872"/>
                  </a:lnTo>
                  <a:lnTo>
                    <a:pt x="412" y="2864"/>
                  </a:lnTo>
                  <a:lnTo>
                    <a:pt x="404" y="2860"/>
                  </a:lnTo>
                  <a:lnTo>
                    <a:pt x="396" y="2856"/>
                  </a:lnTo>
                  <a:lnTo>
                    <a:pt x="386" y="2854"/>
                  </a:lnTo>
                  <a:lnTo>
                    <a:pt x="374" y="2854"/>
                  </a:lnTo>
                  <a:lnTo>
                    <a:pt x="374" y="2854"/>
                  </a:lnTo>
                  <a:close/>
                  <a:moveTo>
                    <a:pt x="410" y="2898"/>
                  </a:moveTo>
                  <a:lnTo>
                    <a:pt x="410" y="2898"/>
                  </a:lnTo>
                  <a:lnTo>
                    <a:pt x="410" y="2904"/>
                  </a:lnTo>
                  <a:lnTo>
                    <a:pt x="406" y="2910"/>
                  </a:lnTo>
                  <a:lnTo>
                    <a:pt x="402" y="2914"/>
                  </a:lnTo>
                  <a:lnTo>
                    <a:pt x="396" y="2918"/>
                  </a:lnTo>
                  <a:lnTo>
                    <a:pt x="390" y="2922"/>
                  </a:lnTo>
                  <a:lnTo>
                    <a:pt x="382" y="2924"/>
                  </a:lnTo>
                  <a:lnTo>
                    <a:pt x="360" y="2926"/>
                  </a:lnTo>
                  <a:lnTo>
                    <a:pt x="360" y="2926"/>
                  </a:lnTo>
                  <a:lnTo>
                    <a:pt x="340" y="2924"/>
                  </a:lnTo>
                  <a:lnTo>
                    <a:pt x="332" y="2922"/>
                  </a:lnTo>
                  <a:lnTo>
                    <a:pt x="326" y="2920"/>
                  </a:lnTo>
                  <a:lnTo>
                    <a:pt x="322" y="2916"/>
                  </a:lnTo>
                  <a:lnTo>
                    <a:pt x="318" y="2910"/>
                  </a:lnTo>
                  <a:lnTo>
                    <a:pt x="316" y="2906"/>
                  </a:lnTo>
                  <a:lnTo>
                    <a:pt x="318" y="2900"/>
                  </a:lnTo>
                  <a:lnTo>
                    <a:pt x="318" y="2900"/>
                  </a:lnTo>
                  <a:lnTo>
                    <a:pt x="320" y="2892"/>
                  </a:lnTo>
                  <a:lnTo>
                    <a:pt x="322" y="2886"/>
                  </a:lnTo>
                  <a:lnTo>
                    <a:pt x="328" y="2882"/>
                  </a:lnTo>
                  <a:lnTo>
                    <a:pt x="334" y="2878"/>
                  </a:lnTo>
                  <a:lnTo>
                    <a:pt x="350" y="2874"/>
                  </a:lnTo>
                  <a:lnTo>
                    <a:pt x="370" y="2872"/>
                  </a:lnTo>
                  <a:lnTo>
                    <a:pt x="370" y="2872"/>
                  </a:lnTo>
                  <a:lnTo>
                    <a:pt x="388" y="2874"/>
                  </a:lnTo>
                  <a:lnTo>
                    <a:pt x="396" y="2876"/>
                  </a:lnTo>
                  <a:lnTo>
                    <a:pt x="402" y="2878"/>
                  </a:lnTo>
                  <a:lnTo>
                    <a:pt x="406" y="2882"/>
                  </a:lnTo>
                  <a:lnTo>
                    <a:pt x="408" y="2886"/>
                  </a:lnTo>
                  <a:lnTo>
                    <a:pt x="410" y="2892"/>
                  </a:lnTo>
                  <a:lnTo>
                    <a:pt x="410" y="2898"/>
                  </a:lnTo>
                  <a:lnTo>
                    <a:pt x="410" y="2898"/>
                  </a:lnTo>
                  <a:close/>
                  <a:moveTo>
                    <a:pt x="396" y="2718"/>
                  </a:moveTo>
                  <a:lnTo>
                    <a:pt x="396" y="2718"/>
                  </a:lnTo>
                  <a:lnTo>
                    <a:pt x="384" y="2718"/>
                  </a:lnTo>
                  <a:lnTo>
                    <a:pt x="372" y="2720"/>
                  </a:lnTo>
                  <a:lnTo>
                    <a:pt x="362" y="2724"/>
                  </a:lnTo>
                  <a:lnTo>
                    <a:pt x="354" y="2730"/>
                  </a:lnTo>
                  <a:lnTo>
                    <a:pt x="346" y="2736"/>
                  </a:lnTo>
                  <a:lnTo>
                    <a:pt x="340" y="2744"/>
                  </a:lnTo>
                  <a:lnTo>
                    <a:pt x="334" y="2754"/>
                  </a:lnTo>
                  <a:lnTo>
                    <a:pt x="332" y="2764"/>
                  </a:lnTo>
                  <a:lnTo>
                    <a:pt x="332" y="2764"/>
                  </a:lnTo>
                  <a:lnTo>
                    <a:pt x="330" y="2774"/>
                  </a:lnTo>
                  <a:lnTo>
                    <a:pt x="332" y="2782"/>
                  </a:lnTo>
                  <a:lnTo>
                    <a:pt x="334" y="2790"/>
                  </a:lnTo>
                  <a:lnTo>
                    <a:pt x="340" y="2796"/>
                  </a:lnTo>
                  <a:lnTo>
                    <a:pt x="346" y="2802"/>
                  </a:lnTo>
                  <a:lnTo>
                    <a:pt x="356" y="2806"/>
                  </a:lnTo>
                  <a:lnTo>
                    <a:pt x="366" y="2808"/>
                  </a:lnTo>
                  <a:lnTo>
                    <a:pt x="378" y="2810"/>
                  </a:lnTo>
                  <a:lnTo>
                    <a:pt x="378" y="2810"/>
                  </a:lnTo>
                  <a:lnTo>
                    <a:pt x="392" y="2808"/>
                  </a:lnTo>
                  <a:lnTo>
                    <a:pt x="402" y="2806"/>
                  </a:lnTo>
                  <a:lnTo>
                    <a:pt x="412" y="2802"/>
                  </a:lnTo>
                  <a:lnTo>
                    <a:pt x="420" y="2796"/>
                  </a:lnTo>
                  <a:lnTo>
                    <a:pt x="428" y="2790"/>
                  </a:lnTo>
                  <a:lnTo>
                    <a:pt x="432" y="2780"/>
                  </a:lnTo>
                  <a:lnTo>
                    <a:pt x="436" y="2772"/>
                  </a:lnTo>
                  <a:lnTo>
                    <a:pt x="438" y="2762"/>
                  </a:lnTo>
                  <a:lnTo>
                    <a:pt x="438" y="2762"/>
                  </a:lnTo>
                  <a:lnTo>
                    <a:pt x="438" y="2752"/>
                  </a:lnTo>
                  <a:lnTo>
                    <a:pt x="438" y="2744"/>
                  </a:lnTo>
                  <a:lnTo>
                    <a:pt x="434" y="2736"/>
                  </a:lnTo>
                  <a:lnTo>
                    <a:pt x="430" y="2728"/>
                  </a:lnTo>
                  <a:lnTo>
                    <a:pt x="424" y="2724"/>
                  </a:lnTo>
                  <a:lnTo>
                    <a:pt x="416" y="2720"/>
                  </a:lnTo>
                  <a:lnTo>
                    <a:pt x="408" y="2718"/>
                  </a:lnTo>
                  <a:lnTo>
                    <a:pt x="396" y="2718"/>
                  </a:lnTo>
                  <a:lnTo>
                    <a:pt x="396" y="2718"/>
                  </a:lnTo>
                  <a:close/>
                  <a:moveTo>
                    <a:pt x="428" y="2764"/>
                  </a:moveTo>
                  <a:lnTo>
                    <a:pt x="428" y="2764"/>
                  </a:lnTo>
                  <a:lnTo>
                    <a:pt x="426" y="2768"/>
                  </a:lnTo>
                  <a:lnTo>
                    <a:pt x="424" y="2774"/>
                  </a:lnTo>
                  <a:lnTo>
                    <a:pt x="420" y="2778"/>
                  </a:lnTo>
                  <a:lnTo>
                    <a:pt x="414" y="2782"/>
                  </a:lnTo>
                  <a:lnTo>
                    <a:pt x="408" y="2786"/>
                  </a:lnTo>
                  <a:lnTo>
                    <a:pt x="400" y="2788"/>
                  </a:lnTo>
                  <a:lnTo>
                    <a:pt x="382" y="2790"/>
                  </a:lnTo>
                  <a:lnTo>
                    <a:pt x="382" y="2790"/>
                  </a:lnTo>
                  <a:lnTo>
                    <a:pt x="364" y="2788"/>
                  </a:lnTo>
                  <a:lnTo>
                    <a:pt x="356" y="2786"/>
                  </a:lnTo>
                  <a:lnTo>
                    <a:pt x="350" y="2784"/>
                  </a:lnTo>
                  <a:lnTo>
                    <a:pt x="346" y="2780"/>
                  </a:lnTo>
                  <a:lnTo>
                    <a:pt x="344" y="2774"/>
                  </a:lnTo>
                  <a:lnTo>
                    <a:pt x="342" y="2770"/>
                  </a:lnTo>
                  <a:lnTo>
                    <a:pt x="342" y="2764"/>
                  </a:lnTo>
                  <a:lnTo>
                    <a:pt x="342" y="2764"/>
                  </a:lnTo>
                  <a:lnTo>
                    <a:pt x="346" y="2756"/>
                  </a:lnTo>
                  <a:lnTo>
                    <a:pt x="348" y="2752"/>
                  </a:lnTo>
                  <a:lnTo>
                    <a:pt x="354" y="2746"/>
                  </a:lnTo>
                  <a:lnTo>
                    <a:pt x="360" y="2742"/>
                  </a:lnTo>
                  <a:lnTo>
                    <a:pt x="374" y="2738"/>
                  </a:lnTo>
                  <a:lnTo>
                    <a:pt x="392" y="2736"/>
                  </a:lnTo>
                  <a:lnTo>
                    <a:pt x="392" y="2736"/>
                  </a:lnTo>
                  <a:lnTo>
                    <a:pt x="408" y="2738"/>
                  </a:lnTo>
                  <a:lnTo>
                    <a:pt x="416" y="2740"/>
                  </a:lnTo>
                  <a:lnTo>
                    <a:pt x="420" y="2742"/>
                  </a:lnTo>
                  <a:lnTo>
                    <a:pt x="424" y="2746"/>
                  </a:lnTo>
                  <a:lnTo>
                    <a:pt x="428" y="2750"/>
                  </a:lnTo>
                  <a:lnTo>
                    <a:pt x="428" y="2756"/>
                  </a:lnTo>
                  <a:lnTo>
                    <a:pt x="428" y="2764"/>
                  </a:lnTo>
                  <a:lnTo>
                    <a:pt x="428" y="2764"/>
                  </a:lnTo>
                  <a:close/>
                  <a:moveTo>
                    <a:pt x="362" y="2632"/>
                  </a:moveTo>
                  <a:lnTo>
                    <a:pt x="444" y="2632"/>
                  </a:lnTo>
                  <a:lnTo>
                    <a:pt x="444" y="2632"/>
                  </a:lnTo>
                  <a:lnTo>
                    <a:pt x="444" y="2632"/>
                  </a:lnTo>
                  <a:lnTo>
                    <a:pt x="444" y="2632"/>
                  </a:lnTo>
                  <a:lnTo>
                    <a:pt x="432" y="2656"/>
                  </a:lnTo>
                  <a:lnTo>
                    <a:pt x="432" y="2656"/>
                  </a:lnTo>
                  <a:lnTo>
                    <a:pt x="440" y="2660"/>
                  </a:lnTo>
                  <a:lnTo>
                    <a:pt x="440" y="2660"/>
                  </a:lnTo>
                  <a:lnTo>
                    <a:pt x="456" y="2630"/>
                  </a:lnTo>
                  <a:lnTo>
                    <a:pt x="456" y="2630"/>
                  </a:lnTo>
                  <a:lnTo>
                    <a:pt x="458" y="2614"/>
                  </a:lnTo>
                  <a:lnTo>
                    <a:pt x="368" y="2614"/>
                  </a:lnTo>
                  <a:lnTo>
                    <a:pt x="368" y="2614"/>
                  </a:lnTo>
                  <a:lnTo>
                    <a:pt x="362" y="2632"/>
                  </a:lnTo>
                  <a:lnTo>
                    <a:pt x="362" y="2632"/>
                  </a:lnTo>
                  <a:close/>
                  <a:moveTo>
                    <a:pt x="396" y="2496"/>
                  </a:moveTo>
                  <a:lnTo>
                    <a:pt x="468" y="2496"/>
                  </a:lnTo>
                  <a:lnTo>
                    <a:pt x="468" y="2496"/>
                  </a:lnTo>
                  <a:lnTo>
                    <a:pt x="468" y="2496"/>
                  </a:lnTo>
                  <a:lnTo>
                    <a:pt x="468" y="2496"/>
                  </a:lnTo>
                  <a:lnTo>
                    <a:pt x="456" y="2520"/>
                  </a:lnTo>
                  <a:lnTo>
                    <a:pt x="456" y="2520"/>
                  </a:lnTo>
                  <a:lnTo>
                    <a:pt x="464" y="2524"/>
                  </a:lnTo>
                  <a:lnTo>
                    <a:pt x="464" y="2524"/>
                  </a:lnTo>
                  <a:lnTo>
                    <a:pt x="476" y="2494"/>
                  </a:lnTo>
                  <a:lnTo>
                    <a:pt x="476" y="2494"/>
                  </a:lnTo>
                  <a:lnTo>
                    <a:pt x="480" y="2478"/>
                  </a:lnTo>
                  <a:lnTo>
                    <a:pt x="402" y="2478"/>
                  </a:lnTo>
                  <a:lnTo>
                    <a:pt x="402" y="2478"/>
                  </a:lnTo>
                  <a:lnTo>
                    <a:pt x="396" y="2496"/>
                  </a:lnTo>
                  <a:lnTo>
                    <a:pt x="396" y="2496"/>
                  </a:lnTo>
                  <a:close/>
                  <a:moveTo>
                    <a:pt x="482" y="2310"/>
                  </a:moveTo>
                  <a:lnTo>
                    <a:pt x="482" y="2310"/>
                  </a:lnTo>
                  <a:lnTo>
                    <a:pt x="474" y="2310"/>
                  </a:lnTo>
                  <a:lnTo>
                    <a:pt x="466" y="2312"/>
                  </a:lnTo>
                  <a:lnTo>
                    <a:pt x="460" y="2316"/>
                  </a:lnTo>
                  <a:lnTo>
                    <a:pt x="452" y="2322"/>
                  </a:lnTo>
                  <a:lnTo>
                    <a:pt x="446" y="2328"/>
                  </a:lnTo>
                  <a:lnTo>
                    <a:pt x="442" y="2336"/>
                  </a:lnTo>
                  <a:lnTo>
                    <a:pt x="436" y="2346"/>
                  </a:lnTo>
                  <a:lnTo>
                    <a:pt x="432" y="2356"/>
                  </a:lnTo>
                  <a:lnTo>
                    <a:pt x="432" y="2356"/>
                  </a:lnTo>
                  <a:lnTo>
                    <a:pt x="430" y="2366"/>
                  </a:lnTo>
                  <a:lnTo>
                    <a:pt x="430" y="2374"/>
                  </a:lnTo>
                  <a:lnTo>
                    <a:pt x="432" y="2382"/>
                  </a:lnTo>
                  <a:lnTo>
                    <a:pt x="434" y="2390"/>
                  </a:lnTo>
                  <a:lnTo>
                    <a:pt x="438" y="2394"/>
                  </a:lnTo>
                  <a:lnTo>
                    <a:pt x="444" y="2398"/>
                  </a:lnTo>
                  <a:lnTo>
                    <a:pt x="452" y="2400"/>
                  </a:lnTo>
                  <a:lnTo>
                    <a:pt x="460" y="2402"/>
                  </a:lnTo>
                  <a:lnTo>
                    <a:pt x="460" y="2402"/>
                  </a:lnTo>
                  <a:lnTo>
                    <a:pt x="468" y="2400"/>
                  </a:lnTo>
                  <a:lnTo>
                    <a:pt x="476" y="2398"/>
                  </a:lnTo>
                  <a:lnTo>
                    <a:pt x="482" y="2394"/>
                  </a:lnTo>
                  <a:lnTo>
                    <a:pt x="488" y="2388"/>
                  </a:lnTo>
                  <a:lnTo>
                    <a:pt x="492" y="2382"/>
                  </a:lnTo>
                  <a:lnTo>
                    <a:pt x="496" y="2374"/>
                  </a:lnTo>
                  <a:lnTo>
                    <a:pt x="500" y="2354"/>
                  </a:lnTo>
                  <a:lnTo>
                    <a:pt x="500" y="2354"/>
                  </a:lnTo>
                  <a:lnTo>
                    <a:pt x="502" y="2336"/>
                  </a:lnTo>
                  <a:lnTo>
                    <a:pt x="502" y="2328"/>
                  </a:lnTo>
                  <a:lnTo>
                    <a:pt x="500" y="2322"/>
                  </a:lnTo>
                  <a:lnTo>
                    <a:pt x="498" y="2316"/>
                  </a:lnTo>
                  <a:lnTo>
                    <a:pt x="494" y="2312"/>
                  </a:lnTo>
                  <a:lnTo>
                    <a:pt x="488" y="2310"/>
                  </a:lnTo>
                  <a:lnTo>
                    <a:pt x="482" y="2310"/>
                  </a:lnTo>
                  <a:lnTo>
                    <a:pt x="482" y="2310"/>
                  </a:lnTo>
                  <a:close/>
                  <a:moveTo>
                    <a:pt x="496" y="2356"/>
                  </a:moveTo>
                  <a:lnTo>
                    <a:pt x="496" y="2356"/>
                  </a:lnTo>
                  <a:lnTo>
                    <a:pt x="492" y="2366"/>
                  </a:lnTo>
                  <a:lnTo>
                    <a:pt x="486" y="2376"/>
                  </a:lnTo>
                  <a:lnTo>
                    <a:pt x="476" y="2382"/>
                  </a:lnTo>
                  <a:lnTo>
                    <a:pt x="464" y="2384"/>
                  </a:lnTo>
                  <a:lnTo>
                    <a:pt x="464" y="2384"/>
                  </a:lnTo>
                  <a:lnTo>
                    <a:pt x="452" y="2382"/>
                  </a:lnTo>
                  <a:lnTo>
                    <a:pt x="448" y="2378"/>
                  </a:lnTo>
                  <a:lnTo>
                    <a:pt x="444" y="2376"/>
                  </a:lnTo>
                  <a:lnTo>
                    <a:pt x="442" y="2372"/>
                  </a:lnTo>
                  <a:lnTo>
                    <a:pt x="440" y="2368"/>
                  </a:lnTo>
                  <a:lnTo>
                    <a:pt x="442" y="2356"/>
                  </a:lnTo>
                  <a:lnTo>
                    <a:pt x="442" y="2356"/>
                  </a:lnTo>
                  <a:lnTo>
                    <a:pt x="446" y="2344"/>
                  </a:lnTo>
                  <a:lnTo>
                    <a:pt x="454" y="2334"/>
                  </a:lnTo>
                  <a:lnTo>
                    <a:pt x="466" y="2330"/>
                  </a:lnTo>
                  <a:lnTo>
                    <a:pt x="476" y="2328"/>
                  </a:lnTo>
                  <a:lnTo>
                    <a:pt x="476" y="2328"/>
                  </a:lnTo>
                  <a:lnTo>
                    <a:pt x="486" y="2330"/>
                  </a:lnTo>
                  <a:lnTo>
                    <a:pt x="490" y="2332"/>
                  </a:lnTo>
                  <a:lnTo>
                    <a:pt x="494" y="2334"/>
                  </a:lnTo>
                  <a:lnTo>
                    <a:pt x="496" y="2344"/>
                  </a:lnTo>
                  <a:lnTo>
                    <a:pt x="496" y="2356"/>
                  </a:lnTo>
                  <a:lnTo>
                    <a:pt x="496" y="2356"/>
                  </a:lnTo>
                  <a:close/>
                  <a:moveTo>
                    <a:pt x="472" y="2224"/>
                  </a:moveTo>
                  <a:lnTo>
                    <a:pt x="518" y="2224"/>
                  </a:lnTo>
                  <a:lnTo>
                    <a:pt x="518" y="2224"/>
                  </a:lnTo>
                  <a:lnTo>
                    <a:pt x="518" y="2224"/>
                  </a:lnTo>
                  <a:lnTo>
                    <a:pt x="518" y="2224"/>
                  </a:lnTo>
                  <a:lnTo>
                    <a:pt x="510" y="2248"/>
                  </a:lnTo>
                  <a:lnTo>
                    <a:pt x="510" y="2248"/>
                  </a:lnTo>
                  <a:lnTo>
                    <a:pt x="514" y="2252"/>
                  </a:lnTo>
                  <a:lnTo>
                    <a:pt x="514" y="2252"/>
                  </a:lnTo>
                  <a:lnTo>
                    <a:pt x="524" y="2222"/>
                  </a:lnTo>
                  <a:lnTo>
                    <a:pt x="524" y="2222"/>
                  </a:lnTo>
                  <a:lnTo>
                    <a:pt x="526" y="2206"/>
                  </a:lnTo>
                  <a:lnTo>
                    <a:pt x="478" y="2206"/>
                  </a:lnTo>
                  <a:lnTo>
                    <a:pt x="478" y="2206"/>
                  </a:lnTo>
                  <a:lnTo>
                    <a:pt x="472" y="2224"/>
                  </a:lnTo>
                  <a:lnTo>
                    <a:pt x="472" y="2224"/>
                  </a:lnTo>
                  <a:close/>
                  <a:moveTo>
                    <a:pt x="514" y="2088"/>
                  </a:moveTo>
                  <a:lnTo>
                    <a:pt x="546" y="2088"/>
                  </a:lnTo>
                  <a:lnTo>
                    <a:pt x="546" y="2088"/>
                  </a:lnTo>
                  <a:lnTo>
                    <a:pt x="546" y="2088"/>
                  </a:lnTo>
                  <a:lnTo>
                    <a:pt x="546" y="2088"/>
                  </a:lnTo>
                  <a:lnTo>
                    <a:pt x="538" y="2112"/>
                  </a:lnTo>
                  <a:lnTo>
                    <a:pt x="538" y="2112"/>
                  </a:lnTo>
                  <a:lnTo>
                    <a:pt x="542" y="2116"/>
                  </a:lnTo>
                  <a:lnTo>
                    <a:pt x="542" y="2116"/>
                  </a:lnTo>
                  <a:lnTo>
                    <a:pt x="550" y="2086"/>
                  </a:lnTo>
                  <a:lnTo>
                    <a:pt x="550" y="2086"/>
                  </a:lnTo>
                  <a:lnTo>
                    <a:pt x="552" y="2070"/>
                  </a:lnTo>
                  <a:lnTo>
                    <a:pt x="518" y="2070"/>
                  </a:lnTo>
                  <a:lnTo>
                    <a:pt x="518" y="2070"/>
                  </a:lnTo>
                  <a:lnTo>
                    <a:pt x="514" y="2088"/>
                  </a:lnTo>
                  <a:lnTo>
                    <a:pt x="514" y="2088"/>
                  </a:lnTo>
                  <a:close/>
                  <a:moveTo>
                    <a:pt x="582" y="1902"/>
                  </a:moveTo>
                  <a:lnTo>
                    <a:pt x="582" y="1902"/>
                  </a:lnTo>
                  <a:lnTo>
                    <a:pt x="578" y="1906"/>
                  </a:lnTo>
                  <a:lnTo>
                    <a:pt x="570" y="1914"/>
                  </a:lnTo>
                  <a:lnTo>
                    <a:pt x="564" y="1930"/>
                  </a:lnTo>
                  <a:lnTo>
                    <a:pt x="556" y="1950"/>
                  </a:lnTo>
                  <a:lnTo>
                    <a:pt x="556" y="1950"/>
                  </a:lnTo>
                  <a:lnTo>
                    <a:pt x="552" y="1968"/>
                  </a:lnTo>
                  <a:lnTo>
                    <a:pt x="550" y="1982"/>
                  </a:lnTo>
                  <a:lnTo>
                    <a:pt x="554" y="1990"/>
                  </a:lnTo>
                  <a:lnTo>
                    <a:pt x="556" y="1994"/>
                  </a:lnTo>
                  <a:lnTo>
                    <a:pt x="558" y="1994"/>
                  </a:lnTo>
                  <a:lnTo>
                    <a:pt x="558" y="1994"/>
                  </a:lnTo>
                  <a:lnTo>
                    <a:pt x="562" y="1994"/>
                  </a:lnTo>
                  <a:lnTo>
                    <a:pt x="564" y="1990"/>
                  </a:lnTo>
                  <a:lnTo>
                    <a:pt x="570" y="1980"/>
                  </a:lnTo>
                  <a:lnTo>
                    <a:pt x="574" y="1966"/>
                  </a:lnTo>
                  <a:lnTo>
                    <a:pt x="576" y="1948"/>
                  </a:lnTo>
                  <a:lnTo>
                    <a:pt x="576" y="1948"/>
                  </a:lnTo>
                  <a:lnTo>
                    <a:pt x="584" y="1914"/>
                  </a:lnTo>
                  <a:lnTo>
                    <a:pt x="584" y="1906"/>
                  </a:lnTo>
                  <a:lnTo>
                    <a:pt x="584" y="1904"/>
                  </a:lnTo>
                  <a:lnTo>
                    <a:pt x="582" y="1902"/>
                  </a:lnTo>
                  <a:lnTo>
                    <a:pt x="582" y="1902"/>
                  </a:lnTo>
                  <a:close/>
                  <a:moveTo>
                    <a:pt x="576" y="1948"/>
                  </a:moveTo>
                  <a:lnTo>
                    <a:pt x="576" y="1948"/>
                  </a:lnTo>
                  <a:lnTo>
                    <a:pt x="572" y="1968"/>
                  </a:lnTo>
                  <a:lnTo>
                    <a:pt x="568" y="1974"/>
                  </a:lnTo>
                  <a:lnTo>
                    <a:pt x="564" y="1976"/>
                  </a:lnTo>
                  <a:lnTo>
                    <a:pt x="564" y="1976"/>
                  </a:lnTo>
                  <a:lnTo>
                    <a:pt x="560" y="1974"/>
                  </a:lnTo>
                  <a:lnTo>
                    <a:pt x="558" y="1968"/>
                  </a:lnTo>
                  <a:lnTo>
                    <a:pt x="558" y="1960"/>
                  </a:lnTo>
                  <a:lnTo>
                    <a:pt x="560" y="1948"/>
                  </a:lnTo>
                  <a:lnTo>
                    <a:pt x="560" y="1948"/>
                  </a:lnTo>
                  <a:lnTo>
                    <a:pt x="564" y="1936"/>
                  </a:lnTo>
                  <a:lnTo>
                    <a:pt x="570" y="1928"/>
                  </a:lnTo>
                  <a:lnTo>
                    <a:pt x="574" y="1922"/>
                  </a:lnTo>
                  <a:lnTo>
                    <a:pt x="578" y="1920"/>
                  </a:lnTo>
                  <a:lnTo>
                    <a:pt x="578" y="1920"/>
                  </a:lnTo>
                  <a:lnTo>
                    <a:pt x="580" y="1922"/>
                  </a:lnTo>
                  <a:lnTo>
                    <a:pt x="580" y="1928"/>
                  </a:lnTo>
                  <a:lnTo>
                    <a:pt x="576" y="1948"/>
                  </a:lnTo>
                  <a:lnTo>
                    <a:pt x="576" y="1948"/>
                  </a:lnTo>
                  <a:close/>
                  <a:moveTo>
                    <a:pt x="600" y="1840"/>
                  </a:moveTo>
                  <a:lnTo>
                    <a:pt x="600" y="1840"/>
                  </a:lnTo>
                  <a:lnTo>
                    <a:pt x="604" y="1818"/>
                  </a:lnTo>
                  <a:lnTo>
                    <a:pt x="604" y="1818"/>
                  </a:lnTo>
                  <a:lnTo>
                    <a:pt x="604" y="1816"/>
                  </a:lnTo>
                  <a:lnTo>
                    <a:pt x="602" y="1816"/>
                  </a:lnTo>
                  <a:lnTo>
                    <a:pt x="602" y="1816"/>
                  </a:lnTo>
                  <a:lnTo>
                    <a:pt x="598" y="1844"/>
                  </a:lnTo>
                  <a:lnTo>
                    <a:pt x="598" y="1844"/>
                  </a:lnTo>
                  <a:lnTo>
                    <a:pt x="600" y="1840"/>
                  </a:lnTo>
                  <a:lnTo>
                    <a:pt x="600" y="1840"/>
                  </a:lnTo>
                  <a:close/>
                  <a:moveTo>
                    <a:pt x="606" y="1800"/>
                  </a:moveTo>
                  <a:lnTo>
                    <a:pt x="604" y="1800"/>
                  </a:lnTo>
                  <a:lnTo>
                    <a:pt x="604" y="1800"/>
                  </a:lnTo>
                  <a:lnTo>
                    <a:pt x="598" y="1816"/>
                  </a:lnTo>
                  <a:lnTo>
                    <a:pt x="602" y="1816"/>
                  </a:lnTo>
                  <a:lnTo>
                    <a:pt x="602" y="1816"/>
                  </a:lnTo>
                  <a:lnTo>
                    <a:pt x="604" y="1814"/>
                  </a:lnTo>
                  <a:lnTo>
                    <a:pt x="604" y="1814"/>
                  </a:lnTo>
                  <a:lnTo>
                    <a:pt x="606" y="1800"/>
                  </a:lnTo>
                  <a:lnTo>
                    <a:pt x="606" y="1800"/>
                  </a:lnTo>
                  <a:close/>
                  <a:moveTo>
                    <a:pt x="634" y="1682"/>
                  </a:moveTo>
                  <a:lnTo>
                    <a:pt x="634" y="1682"/>
                  </a:lnTo>
                  <a:lnTo>
                    <a:pt x="634" y="1680"/>
                  </a:lnTo>
                  <a:lnTo>
                    <a:pt x="636" y="1680"/>
                  </a:lnTo>
                  <a:lnTo>
                    <a:pt x="636" y="1680"/>
                  </a:lnTo>
                  <a:lnTo>
                    <a:pt x="638" y="1676"/>
                  </a:lnTo>
                  <a:lnTo>
                    <a:pt x="638" y="1676"/>
                  </a:lnTo>
                  <a:lnTo>
                    <a:pt x="642" y="1664"/>
                  </a:lnTo>
                  <a:lnTo>
                    <a:pt x="634" y="1664"/>
                  </a:lnTo>
                  <a:lnTo>
                    <a:pt x="634" y="1664"/>
                  </a:lnTo>
                  <a:lnTo>
                    <a:pt x="630" y="1678"/>
                  </a:lnTo>
                  <a:lnTo>
                    <a:pt x="630" y="1678"/>
                  </a:lnTo>
                  <a:lnTo>
                    <a:pt x="630" y="1694"/>
                  </a:lnTo>
                  <a:lnTo>
                    <a:pt x="630" y="1694"/>
                  </a:lnTo>
                  <a:lnTo>
                    <a:pt x="634" y="1684"/>
                  </a:lnTo>
                  <a:lnTo>
                    <a:pt x="634" y="1684"/>
                  </a:lnTo>
                  <a:lnTo>
                    <a:pt x="634" y="1682"/>
                  </a:lnTo>
                  <a:lnTo>
                    <a:pt x="634" y="1682"/>
                  </a:lnTo>
                  <a:close/>
                  <a:moveTo>
                    <a:pt x="648" y="1664"/>
                  </a:moveTo>
                  <a:lnTo>
                    <a:pt x="642" y="1664"/>
                  </a:lnTo>
                  <a:lnTo>
                    <a:pt x="642" y="1664"/>
                  </a:lnTo>
                  <a:lnTo>
                    <a:pt x="638" y="1676"/>
                  </a:lnTo>
                  <a:lnTo>
                    <a:pt x="638" y="1676"/>
                  </a:lnTo>
                  <a:lnTo>
                    <a:pt x="636" y="1680"/>
                  </a:lnTo>
                  <a:lnTo>
                    <a:pt x="642" y="1680"/>
                  </a:lnTo>
                  <a:lnTo>
                    <a:pt x="642" y="1680"/>
                  </a:lnTo>
                  <a:lnTo>
                    <a:pt x="648" y="1664"/>
                  </a:lnTo>
                  <a:lnTo>
                    <a:pt x="648" y="1664"/>
                  </a:lnTo>
                  <a:close/>
                  <a:moveTo>
                    <a:pt x="630" y="1696"/>
                  </a:moveTo>
                  <a:lnTo>
                    <a:pt x="630" y="1696"/>
                  </a:lnTo>
                  <a:lnTo>
                    <a:pt x="628" y="1702"/>
                  </a:lnTo>
                  <a:lnTo>
                    <a:pt x="628" y="1702"/>
                  </a:lnTo>
                  <a:lnTo>
                    <a:pt x="632" y="1698"/>
                  </a:lnTo>
                  <a:lnTo>
                    <a:pt x="632" y="1698"/>
                  </a:lnTo>
                  <a:lnTo>
                    <a:pt x="634" y="1686"/>
                  </a:lnTo>
                  <a:lnTo>
                    <a:pt x="634" y="1686"/>
                  </a:lnTo>
                  <a:lnTo>
                    <a:pt x="630" y="1696"/>
                  </a:lnTo>
                  <a:lnTo>
                    <a:pt x="630" y="1696"/>
                  </a:lnTo>
                  <a:close/>
                  <a:moveTo>
                    <a:pt x="688" y="1494"/>
                  </a:moveTo>
                  <a:lnTo>
                    <a:pt x="688" y="1494"/>
                  </a:lnTo>
                  <a:lnTo>
                    <a:pt x="684" y="1496"/>
                  </a:lnTo>
                  <a:lnTo>
                    <a:pt x="680" y="1498"/>
                  </a:lnTo>
                  <a:lnTo>
                    <a:pt x="672" y="1506"/>
                  </a:lnTo>
                  <a:lnTo>
                    <a:pt x="664" y="1520"/>
                  </a:lnTo>
                  <a:lnTo>
                    <a:pt x="658" y="1540"/>
                  </a:lnTo>
                  <a:lnTo>
                    <a:pt x="658" y="1540"/>
                  </a:lnTo>
                  <a:lnTo>
                    <a:pt x="656" y="1558"/>
                  </a:lnTo>
                  <a:lnTo>
                    <a:pt x="656" y="1574"/>
                  </a:lnTo>
                  <a:lnTo>
                    <a:pt x="660" y="1584"/>
                  </a:lnTo>
                  <a:lnTo>
                    <a:pt x="662" y="1586"/>
                  </a:lnTo>
                  <a:lnTo>
                    <a:pt x="666" y="1586"/>
                  </a:lnTo>
                  <a:lnTo>
                    <a:pt x="666" y="1586"/>
                  </a:lnTo>
                  <a:lnTo>
                    <a:pt x="668" y="1586"/>
                  </a:lnTo>
                  <a:lnTo>
                    <a:pt x="670" y="1584"/>
                  </a:lnTo>
                  <a:lnTo>
                    <a:pt x="674" y="1574"/>
                  </a:lnTo>
                  <a:lnTo>
                    <a:pt x="686" y="1542"/>
                  </a:lnTo>
                  <a:lnTo>
                    <a:pt x="686" y="1542"/>
                  </a:lnTo>
                  <a:lnTo>
                    <a:pt x="692" y="1522"/>
                  </a:lnTo>
                  <a:lnTo>
                    <a:pt x="694" y="1508"/>
                  </a:lnTo>
                  <a:lnTo>
                    <a:pt x="694" y="1502"/>
                  </a:lnTo>
                  <a:lnTo>
                    <a:pt x="694" y="1498"/>
                  </a:lnTo>
                  <a:lnTo>
                    <a:pt x="692" y="1496"/>
                  </a:lnTo>
                  <a:lnTo>
                    <a:pt x="688" y="1494"/>
                  </a:lnTo>
                  <a:lnTo>
                    <a:pt x="688" y="1494"/>
                  </a:lnTo>
                  <a:close/>
                  <a:moveTo>
                    <a:pt x="670" y="1568"/>
                  </a:moveTo>
                  <a:lnTo>
                    <a:pt x="670" y="1568"/>
                  </a:lnTo>
                  <a:lnTo>
                    <a:pt x="666" y="1566"/>
                  </a:lnTo>
                  <a:lnTo>
                    <a:pt x="662" y="1560"/>
                  </a:lnTo>
                  <a:lnTo>
                    <a:pt x="662" y="1552"/>
                  </a:lnTo>
                  <a:lnTo>
                    <a:pt x="662" y="1540"/>
                  </a:lnTo>
                  <a:lnTo>
                    <a:pt x="662" y="1540"/>
                  </a:lnTo>
                  <a:lnTo>
                    <a:pt x="666" y="1528"/>
                  </a:lnTo>
                  <a:lnTo>
                    <a:pt x="672" y="1520"/>
                  </a:lnTo>
                  <a:lnTo>
                    <a:pt x="678" y="1514"/>
                  </a:lnTo>
                  <a:lnTo>
                    <a:pt x="684" y="1514"/>
                  </a:lnTo>
                  <a:lnTo>
                    <a:pt x="684" y="1514"/>
                  </a:lnTo>
                  <a:lnTo>
                    <a:pt x="688" y="1514"/>
                  </a:lnTo>
                  <a:lnTo>
                    <a:pt x="690" y="1520"/>
                  </a:lnTo>
                  <a:lnTo>
                    <a:pt x="688" y="1528"/>
                  </a:lnTo>
                  <a:lnTo>
                    <a:pt x="684" y="1540"/>
                  </a:lnTo>
                  <a:lnTo>
                    <a:pt x="684" y="1540"/>
                  </a:lnTo>
                  <a:lnTo>
                    <a:pt x="678" y="1560"/>
                  </a:lnTo>
                  <a:lnTo>
                    <a:pt x="674" y="1566"/>
                  </a:lnTo>
                  <a:lnTo>
                    <a:pt x="670" y="1568"/>
                  </a:lnTo>
                  <a:lnTo>
                    <a:pt x="670" y="1568"/>
                  </a:lnTo>
                  <a:close/>
                  <a:moveTo>
                    <a:pt x="722" y="1360"/>
                  </a:moveTo>
                  <a:lnTo>
                    <a:pt x="722" y="1360"/>
                  </a:lnTo>
                  <a:lnTo>
                    <a:pt x="716" y="1360"/>
                  </a:lnTo>
                  <a:lnTo>
                    <a:pt x="710" y="1362"/>
                  </a:lnTo>
                  <a:lnTo>
                    <a:pt x="706" y="1366"/>
                  </a:lnTo>
                  <a:lnTo>
                    <a:pt x="700" y="1370"/>
                  </a:lnTo>
                  <a:lnTo>
                    <a:pt x="694" y="1378"/>
                  </a:lnTo>
                  <a:lnTo>
                    <a:pt x="690" y="1384"/>
                  </a:lnTo>
                  <a:lnTo>
                    <a:pt x="686" y="1394"/>
                  </a:lnTo>
                  <a:lnTo>
                    <a:pt x="684" y="1404"/>
                  </a:lnTo>
                  <a:lnTo>
                    <a:pt x="684" y="1404"/>
                  </a:lnTo>
                  <a:lnTo>
                    <a:pt x="682" y="1414"/>
                  </a:lnTo>
                  <a:lnTo>
                    <a:pt x="682" y="1422"/>
                  </a:lnTo>
                  <a:lnTo>
                    <a:pt x="684" y="1430"/>
                  </a:lnTo>
                  <a:lnTo>
                    <a:pt x="686" y="1438"/>
                  </a:lnTo>
                  <a:lnTo>
                    <a:pt x="688" y="1444"/>
                  </a:lnTo>
                  <a:lnTo>
                    <a:pt x="692" y="1448"/>
                  </a:lnTo>
                  <a:lnTo>
                    <a:pt x="696" y="1450"/>
                  </a:lnTo>
                  <a:lnTo>
                    <a:pt x="700" y="1450"/>
                  </a:lnTo>
                  <a:lnTo>
                    <a:pt x="700" y="1450"/>
                  </a:lnTo>
                  <a:lnTo>
                    <a:pt x="704" y="1450"/>
                  </a:lnTo>
                  <a:lnTo>
                    <a:pt x="708" y="1448"/>
                  </a:lnTo>
                  <a:lnTo>
                    <a:pt x="716" y="1438"/>
                  </a:lnTo>
                  <a:lnTo>
                    <a:pt x="722" y="1424"/>
                  </a:lnTo>
                  <a:lnTo>
                    <a:pt x="728" y="1406"/>
                  </a:lnTo>
                  <a:lnTo>
                    <a:pt x="728" y="1406"/>
                  </a:lnTo>
                  <a:lnTo>
                    <a:pt x="734" y="1386"/>
                  </a:lnTo>
                  <a:lnTo>
                    <a:pt x="734" y="1372"/>
                  </a:lnTo>
                  <a:lnTo>
                    <a:pt x="734" y="1366"/>
                  </a:lnTo>
                  <a:lnTo>
                    <a:pt x="732" y="1362"/>
                  </a:lnTo>
                  <a:lnTo>
                    <a:pt x="728" y="1360"/>
                  </a:lnTo>
                  <a:lnTo>
                    <a:pt x="722" y="1360"/>
                  </a:lnTo>
                  <a:lnTo>
                    <a:pt x="722" y="1360"/>
                  </a:lnTo>
                  <a:close/>
                  <a:moveTo>
                    <a:pt x="726" y="1406"/>
                  </a:moveTo>
                  <a:lnTo>
                    <a:pt x="726" y="1406"/>
                  </a:lnTo>
                  <a:lnTo>
                    <a:pt x="722" y="1416"/>
                  </a:lnTo>
                  <a:lnTo>
                    <a:pt x="718" y="1426"/>
                  </a:lnTo>
                  <a:lnTo>
                    <a:pt x="712" y="1430"/>
                  </a:lnTo>
                  <a:lnTo>
                    <a:pt x="704" y="1432"/>
                  </a:lnTo>
                  <a:lnTo>
                    <a:pt x="704" y="1432"/>
                  </a:lnTo>
                  <a:lnTo>
                    <a:pt x="698" y="1430"/>
                  </a:lnTo>
                  <a:lnTo>
                    <a:pt x="692" y="1424"/>
                  </a:lnTo>
                  <a:lnTo>
                    <a:pt x="690" y="1416"/>
                  </a:lnTo>
                  <a:lnTo>
                    <a:pt x="690" y="1404"/>
                  </a:lnTo>
                  <a:lnTo>
                    <a:pt x="690" y="1404"/>
                  </a:lnTo>
                  <a:lnTo>
                    <a:pt x="694" y="1392"/>
                  </a:lnTo>
                  <a:lnTo>
                    <a:pt x="702" y="1384"/>
                  </a:lnTo>
                  <a:lnTo>
                    <a:pt x="710" y="1380"/>
                  </a:lnTo>
                  <a:lnTo>
                    <a:pt x="718" y="1378"/>
                  </a:lnTo>
                  <a:lnTo>
                    <a:pt x="718" y="1378"/>
                  </a:lnTo>
                  <a:lnTo>
                    <a:pt x="726" y="1380"/>
                  </a:lnTo>
                  <a:lnTo>
                    <a:pt x="728" y="1384"/>
                  </a:lnTo>
                  <a:lnTo>
                    <a:pt x="728" y="1392"/>
                  </a:lnTo>
                  <a:lnTo>
                    <a:pt x="726" y="1406"/>
                  </a:lnTo>
                  <a:lnTo>
                    <a:pt x="726" y="1406"/>
                  </a:lnTo>
                  <a:close/>
                  <a:moveTo>
                    <a:pt x="734" y="1316"/>
                  </a:moveTo>
                  <a:lnTo>
                    <a:pt x="734" y="1316"/>
                  </a:lnTo>
                  <a:lnTo>
                    <a:pt x="740" y="1314"/>
                  </a:lnTo>
                  <a:lnTo>
                    <a:pt x="746" y="1312"/>
                  </a:lnTo>
                  <a:lnTo>
                    <a:pt x="750" y="1308"/>
                  </a:lnTo>
                  <a:lnTo>
                    <a:pt x="756" y="1302"/>
                  </a:lnTo>
                  <a:lnTo>
                    <a:pt x="762" y="1288"/>
                  </a:lnTo>
                  <a:lnTo>
                    <a:pt x="770" y="1270"/>
                  </a:lnTo>
                  <a:lnTo>
                    <a:pt x="770" y="1270"/>
                  </a:lnTo>
                  <a:lnTo>
                    <a:pt x="774" y="1250"/>
                  </a:lnTo>
                  <a:lnTo>
                    <a:pt x="774" y="1242"/>
                  </a:lnTo>
                  <a:lnTo>
                    <a:pt x="774" y="1236"/>
                  </a:lnTo>
                  <a:lnTo>
                    <a:pt x="772" y="1230"/>
                  </a:lnTo>
                  <a:lnTo>
                    <a:pt x="768" y="1226"/>
                  </a:lnTo>
                  <a:lnTo>
                    <a:pt x="762" y="1224"/>
                  </a:lnTo>
                  <a:lnTo>
                    <a:pt x="756" y="1224"/>
                  </a:lnTo>
                  <a:lnTo>
                    <a:pt x="756" y="1224"/>
                  </a:lnTo>
                  <a:lnTo>
                    <a:pt x="748" y="1224"/>
                  </a:lnTo>
                  <a:lnTo>
                    <a:pt x="740" y="1226"/>
                  </a:lnTo>
                  <a:lnTo>
                    <a:pt x="734" y="1230"/>
                  </a:lnTo>
                  <a:lnTo>
                    <a:pt x="726" y="1234"/>
                  </a:lnTo>
                  <a:lnTo>
                    <a:pt x="720" y="1242"/>
                  </a:lnTo>
                  <a:lnTo>
                    <a:pt x="716" y="1248"/>
                  </a:lnTo>
                  <a:lnTo>
                    <a:pt x="712" y="1258"/>
                  </a:lnTo>
                  <a:lnTo>
                    <a:pt x="708" y="1268"/>
                  </a:lnTo>
                  <a:lnTo>
                    <a:pt x="708" y="1268"/>
                  </a:lnTo>
                  <a:lnTo>
                    <a:pt x="708" y="1278"/>
                  </a:lnTo>
                  <a:lnTo>
                    <a:pt x="708" y="1286"/>
                  </a:lnTo>
                  <a:lnTo>
                    <a:pt x="710" y="1296"/>
                  </a:lnTo>
                  <a:lnTo>
                    <a:pt x="714" y="1302"/>
                  </a:lnTo>
                  <a:lnTo>
                    <a:pt x="718" y="1308"/>
                  </a:lnTo>
                  <a:lnTo>
                    <a:pt x="722" y="1312"/>
                  </a:lnTo>
                  <a:lnTo>
                    <a:pt x="728" y="1314"/>
                  </a:lnTo>
                  <a:lnTo>
                    <a:pt x="734" y="1316"/>
                  </a:lnTo>
                  <a:lnTo>
                    <a:pt x="734" y="1316"/>
                  </a:lnTo>
                  <a:close/>
                  <a:moveTo>
                    <a:pt x="718" y="1270"/>
                  </a:moveTo>
                  <a:lnTo>
                    <a:pt x="718" y="1270"/>
                  </a:lnTo>
                  <a:lnTo>
                    <a:pt x="720" y="1262"/>
                  </a:lnTo>
                  <a:lnTo>
                    <a:pt x="722" y="1256"/>
                  </a:lnTo>
                  <a:lnTo>
                    <a:pt x="730" y="1248"/>
                  </a:lnTo>
                  <a:lnTo>
                    <a:pt x="740" y="1244"/>
                  </a:lnTo>
                  <a:lnTo>
                    <a:pt x="752" y="1242"/>
                  </a:lnTo>
                  <a:lnTo>
                    <a:pt x="752" y="1242"/>
                  </a:lnTo>
                  <a:lnTo>
                    <a:pt x="762" y="1244"/>
                  </a:lnTo>
                  <a:lnTo>
                    <a:pt x="764" y="1246"/>
                  </a:lnTo>
                  <a:lnTo>
                    <a:pt x="766" y="1248"/>
                  </a:lnTo>
                  <a:lnTo>
                    <a:pt x="768" y="1258"/>
                  </a:lnTo>
                  <a:lnTo>
                    <a:pt x="766" y="1270"/>
                  </a:lnTo>
                  <a:lnTo>
                    <a:pt x="766" y="1270"/>
                  </a:lnTo>
                  <a:lnTo>
                    <a:pt x="762" y="1280"/>
                  </a:lnTo>
                  <a:lnTo>
                    <a:pt x="756" y="1290"/>
                  </a:lnTo>
                  <a:lnTo>
                    <a:pt x="748" y="1294"/>
                  </a:lnTo>
                  <a:lnTo>
                    <a:pt x="738" y="1296"/>
                  </a:lnTo>
                  <a:lnTo>
                    <a:pt x="738" y="1296"/>
                  </a:lnTo>
                  <a:lnTo>
                    <a:pt x="728" y="1294"/>
                  </a:lnTo>
                  <a:lnTo>
                    <a:pt x="722" y="1288"/>
                  </a:lnTo>
                  <a:lnTo>
                    <a:pt x="718" y="1280"/>
                  </a:lnTo>
                  <a:lnTo>
                    <a:pt x="718" y="1270"/>
                  </a:lnTo>
                  <a:lnTo>
                    <a:pt x="718" y="1270"/>
                  </a:lnTo>
                  <a:close/>
                  <a:moveTo>
                    <a:pt x="750" y="1162"/>
                  </a:moveTo>
                  <a:lnTo>
                    <a:pt x="750" y="1162"/>
                  </a:lnTo>
                  <a:lnTo>
                    <a:pt x="746" y="1138"/>
                  </a:lnTo>
                  <a:lnTo>
                    <a:pt x="746" y="1138"/>
                  </a:lnTo>
                  <a:lnTo>
                    <a:pt x="746" y="1138"/>
                  </a:lnTo>
                  <a:lnTo>
                    <a:pt x="806" y="1138"/>
                  </a:lnTo>
                  <a:lnTo>
                    <a:pt x="806" y="1138"/>
                  </a:lnTo>
                  <a:lnTo>
                    <a:pt x="812" y="1120"/>
                  </a:lnTo>
                  <a:lnTo>
                    <a:pt x="738" y="1120"/>
                  </a:lnTo>
                  <a:lnTo>
                    <a:pt x="738" y="1120"/>
                  </a:lnTo>
                  <a:lnTo>
                    <a:pt x="734" y="1136"/>
                  </a:lnTo>
                  <a:lnTo>
                    <a:pt x="734" y="1136"/>
                  </a:lnTo>
                  <a:lnTo>
                    <a:pt x="740" y="1166"/>
                  </a:lnTo>
                  <a:lnTo>
                    <a:pt x="740" y="1166"/>
                  </a:lnTo>
                  <a:lnTo>
                    <a:pt x="750" y="1162"/>
                  </a:lnTo>
                  <a:lnTo>
                    <a:pt x="750" y="1162"/>
                  </a:lnTo>
                  <a:close/>
                  <a:moveTo>
                    <a:pt x="776" y="1026"/>
                  </a:moveTo>
                  <a:lnTo>
                    <a:pt x="776" y="1026"/>
                  </a:lnTo>
                  <a:lnTo>
                    <a:pt x="772" y="1002"/>
                  </a:lnTo>
                  <a:lnTo>
                    <a:pt x="772" y="1002"/>
                  </a:lnTo>
                  <a:lnTo>
                    <a:pt x="772" y="1002"/>
                  </a:lnTo>
                  <a:lnTo>
                    <a:pt x="844" y="1002"/>
                  </a:lnTo>
                  <a:lnTo>
                    <a:pt x="844" y="1002"/>
                  </a:lnTo>
                  <a:lnTo>
                    <a:pt x="848" y="984"/>
                  </a:lnTo>
                  <a:lnTo>
                    <a:pt x="760" y="984"/>
                  </a:lnTo>
                  <a:lnTo>
                    <a:pt x="760" y="984"/>
                  </a:lnTo>
                  <a:lnTo>
                    <a:pt x="758" y="1000"/>
                  </a:lnTo>
                  <a:lnTo>
                    <a:pt x="758" y="1000"/>
                  </a:lnTo>
                  <a:lnTo>
                    <a:pt x="766" y="1030"/>
                  </a:lnTo>
                  <a:lnTo>
                    <a:pt x="766" y="1030"/>
                  </a:lnTo>
                  <a:lnTo>
                    <a:pt x="776" y="1026"/>
                  </a:lnTo>
                  <a:lnTo>
                    <a:pt x="776" y="1026"/>
                  </a:lnTo>
                  <a:close/>
                  <a:moveTo>
                    <a:pt x="826" y="908"/>
                  </a:moveTo>
                  <a:lnTo>
                    <a:pt x="826" y="908"/>
                  </a:lnTo>
                  <a:lnTo>
                    <a:pt x="838" y="906"/>
                  </a:lnTo>
                  <a:lnTo>
                    <a:pt x="848" y="904"/>
                  </a:lnTo>
                  <a:lnTo>
                    <a:pt x="856" y="900"/>
                  </a:lnTo>
                  <a:lnTo>
                    <a:pt x="862" y="896"/>
                  </a:lnTo>
                  <a:lnTo>
                    <a:pt x="868" y="888"/>
                  </a:lnTo>
                  <a:lnTo>
                    <a:pt x="872" y="880"/>
                  </a:lnTo>
                  <a:lnTo>
                    <a:pt x="876" y="872"/>
                  </a:lnTo>
                  <a:lnTo>
                    <a:pt x="880" y="862"/>
                  </a:lnTo>
                  <a:lnTo>
                    <a:pt x="880" y="862"/>
                  </a:lnTo>
                  <a:lnTo>
                    <a:pt x="882" y="852"/>
                  </a:lnTo>
                  <a:lnTo>
                    <a:pt x="882" y="842"/>
                  </a:lnTo>
                  <a:lnTo>
                    <a:pt x="880" y="834"/>
                  </a:lnTo>
                  <a:lnTo>
                    <a:pt x="878" y="828"/>
                  </a:lnTo>
                  <a:lnTo>
                    <a:pt x="872" y="822"/>
                  </a:lnTo>
                  <a:lnTo>
                    <a:pt x="864" y="818"/>
                  </a:lnTo>
                  <a:lnTo>
                    <a:pt x="856" y="816"/>
                  </a:lnTo>
                  <a:lnTo>
                    <a:pt x="844" y="816"/>
                  </a:lnTo>
                  <a:lnTo>
                    <a:pt x="844" y="816"/>
                  </a:lnTo>
                  <a:lnTo>
                    <a:pt x="832" y="816"/>
                  </a:lnTo>
                  <a:lnTo>
                    <a:pt x="820" y="818"/>
                  </a:lnTo>
                  <a:lnTo>
                    <a:pt x="810" y="822"/>
                  </a:lnTo>
                  <a:lnTo>
                    <a:pt x="800" y="828"/>
                  </a:lnTo>
                  <a:lnTo>
                    <a:pt x="792" y="834"/>
                  </a:lnTo>
                  <a:lnTo>
                    <a:pt x="784" y="842"/>
                  </a:lnTo>
                  <a:lnTo>
                    <a:pt x="780" y="850"/>
                  </a:lnTo>
                  <a:lnTo>
                    <a:pt x="776" y="860"/>
                  </a:lnTo>
                  <a:lnTo>
                    <a:pt x="776" y="860"/>
                  </a:lnTo>
                  <a:lnTo>
                    <a:pt x="776" y="870"/>
                  </a:lnTo>
                  <a:lnTo>
                    <a:pt x="778" y="880"/>
                  </a:lnTo>
                  <a:lnTo>
                    <a:pt x="782" y="888"/>
                  </a:lnTo>
                  <a:lnTo>
                    <a:pt x="788" y="894"/>
                  </a:lnTo>
                  <a:lnTo>
                    <a:pt x="796" y="900"/>
                  </a:lnTo>
                  <a:lnTo>
                    <a:pt x="806" y="904"/>
                  </a:lnTo>
                  <a:lnTo>
                    <a:pt x="816" y="906"/>
                  </a:lnTo>
                  <a:lnTo>
                    <a:pt x="826" y="908"/>
                  </a:lnTo>
                  <a:lnTo>
                    <a:pt x="826" y="908"/>
                  </a:lnTo>
                  <a:close/>
                  <a:moveTo>
                    <a:pt x="790" y="862"/>
                  </a:moveTo>
                  <a:lnTo>
                    <a:pt x="790" y="862"/>
                  </a:lnTo>
                  <a:lnTo>
                    <a:pt x="792" y="854"/>
                  </a:lnTo>
                  <a:lnTo>
                    <a:pt x="796" y="850"/>
                  </a:lnTo>
                  <a:lnTo>
                    <a:pt x="802" y="844"/>
                  </a:lnTo>
                  <a:lnTo>
                    <a:pt x="808" y="840"/>
                  </a:lnTo>
                  <a:lnTo>
                    <a:pt x="822" y="836"/>
                  </a:lnTo>
                  <a:lnTo>
                    <a:pt x="840" y="834"/>
                  </a:lnTo>
                  <a:lnTo>
                    <a:pt x="840" y="834"/>
                  </a:lnTo>
                  <a:lnTo>
                    <a:pt x="856" y="836"/>
                  </a:lnTo>
                  <a:lnTo>
                    <a:pt x="862" y="838"/>
                  </a:lnTo>
                  <a:lnTo>
                    <a:pt x="868" y="840"/>
                  </a:lnTo>
                  <a:lnTo>
                    <a:pt x="870" y="844"/>
                  </a:lnTo>
                  <a:lnTo>
                    <a:pt x="872" y="850"/>
                  </a:lnTo>
                  <a:lnTo>
                    <a:pt x="872" y="856"/>
                  </a:lnTo>
                  <a:lnTo>
                    <a:pt x="872" y="862"/>
                  </a:lnTo>
                  <a:lnTo>
                    <a:pt x="872" y="862"/>
                  </a:lnTo>
                  <a:lnTo>
                    <a:pt x="868" y="874"/>
                  </a:lnTo>
                  <a:lnTo>
                    <a:pt x="858" y="882"/>
                  </a:lnTo>
                  <a:lnTo>
                    <a:pt x="854" y="884"/>
                  </a:lnTo>
                  <a:lnTo>
                    <a:pt x="846" y="888"/>
                  </a:lnTo>
                  <a:lnTo>
                    <a:pt x="830" y="890"/>
                  </a:lnTo>
                  <a:lnTo>
                    <a:pt x="830" y="890"/>
                  </a:lnTo>
                  <a:lnTo>
                    <a:pt x="814" y="888"/>
                  </a:lnTo>
                  <a:lnTo>
                    <a:pt x="806" y="884"/>
                  </a:lnTo>
                  <a:lnTo>
                    <a:pt x="800" y="882"/>
                  </a:lnTo>
                  <a:lnTo>
                    <a:pt x="796" y="878"/>
                  </a:lnTo>
                  <a:lnTo>
                    <a:pt x="792" y="872"/>
                  </a:lnTo>
                  <a:lnTo>
                    <a:pt x="790" y="868"/>
                  </a:lnTo>
                  <a:lnTo>
                    <a:pt x="790" y="862"/>
                  </a:lnTo>
                  <a:lnTo>
                    <a:pt x="790" y="862"/>
                  </a:lnTo>
                  <a:close/>
                  <a:moveTo>
                    <a:pt x="824" y="754"/>
                  </a:moveTo>
                  <a:lnTo>
                    <a:pt x="824" y="754"/>
                  </a:lnTo>
                  <a:lnTo>
                    <a:pt x="816" y="730"/>
                  </a:lnTo>
                  <a:lnTo>
                    <a:pt x="816" y="730"/>
                  </a:lnTo>
                  <a:lnTo>
                    <a:pt x="816" y="730"/>
                  </a:lnTo>
                  <a:lnTo>
                    <a:pt x="908" y="730"/>
                  </a:lnTo>
                  <a:lnTo>
                    <a:pt x="908" y="730"/>
                  </a:lnTo>
                  <a:lnTo>
                    <a:pt x="912" y="712"/>
                  </a:lnTo>
                  <a:lnTo>
                    <a:pt x="800" y="712"/>
                  </a:lnTo>
                  <a:lnTo>
                    <a:pt x="800" y="712"/>
                  </a:lnTo>
                  <a:lnTo>
                    <a:pt x="798" y="728"/>
                  </a:lnTo>
                  <a:lnTo>
                    <a:pt x="798" y="728"/>
                  </a:lnTo>
                  <a:lnTo>
                    <a:pt x="810" y="758"/>
                  </a:lnTo>
                  <a:lnTo>
                    <a:pt x="810" y="758"/>
                  </a:lnTo>
                  <a:lnTo>
                    <a:pt x="824" y="754"/>
                  </a:lnTo>
                  <a:lnTo>
                    <a:pt x="824" y="754"/>
                  </a:lnTo>
                  <a:close/>
                  <a:moveTo>
                    <a:pt x="844" y="618"/>
                  </a:moveTo>
                  <a:lnTo>
                    <a:pt x="844" y="618"/>
                  </a:lnTo>
                  <a:lnTo>
                    <a:pt x="834" y="594"/>
                  </a:lnTo>
                  <a:lnTo>
                    <a:pt x="834" y="594"/>
                  </a:lnTo>
                  <a:lnTo>
                    <a:pt x="834" y="594"/>
                  </a:lnTo>
                  <a:lnTo>
                    <a:pt x="934" y="594"/>
                  </a:lnTo>
                  <a:lnTo>
                    <a:pt x="934" y="594"/>
                  </a:lnTo>
                  <a:lnTo>
                    <a:pt x="938" y="576"/>
                  </a:lnTo>
                  <a:lnTo>
                    <a:pt x="816" y="576"/>
                  </a:lnTo>
                  <a:lnTo>
                    <a:pt x="816" y="576"/>
                  </a:lnTo>
                  <a:lnTo>
                    <a:pt x="814" y="592"/>
                  </a:lnTo>
                  <a:lnTo>
                    <a:pt x="814" y="592"/>
                  </a:lnTo>
                  <a:lnTo>
                    <a:pt x="828" y="622"/>
                  </a:lnTo>
                  <a:lnTo>
                    <a:pt x="828" y="622"/>
                  </a:lnTo>
                  <a:lnTo>
                    <a:pt x="844" y="618"/>
                  </a:lnTo>
                  <a:lnTo>
                    <a:pt x="844" y="618"/>
                  </a:lnTo>
                  <a:close/>
                  <a:moveTo>
                    <a:pt x="860" y="482"/>
                  </a:moveTo>
                  <a:lnTo>
                    <a:pt x="860" y="482"/>
                  </a:lnTo>
                  <a:lnTo>
                    <a:pt x="848" y="458"/>
                  </a:lnTo>
                  <a:lnTo>
                    <a:pt x="848" y="458"/>
                  </a:lnTo>
                  <a:lnTo>
                    <a:pt x="848" y="458"/>
                  </a:lnTo>
                  <a:lnTo>
                    <a:pt x="958" y="458"/>
                  </a:lnTo>
                  <a:lnTo>
                    <a:pt x="958" y="458"/>
                  </a:lnTo>
                  <a:lnTo>
                    <a:pt x="960" y="440"/>
                  </a:lnTo>
                  <a:lnTo>
                    <a:pt x="830" y="440"/>
                  </a:lnTo>
                  <a:lnTo>
                    <a:pt x="830" y="440"/>
                  </a:lnTo>
                  <a:lnTo>
                    <a:pt x="828" y="456"/>
                  </a:lnTo>
                  <a:lnTo>
                    <a:pt x="828" y="456"/>
                  </a:lnTo>
                  <a:lnTo>
                    <a:pt x="844" y="486"/>
                  </a:lnTo>
                  <a:lnTo>
                    <a:pt x="844" y="486"/>
                  </a:lnTo>
                  <a:lnTo>
                    <a:pt x="860" y="482"/>
                  </a:lnTo>
                  <a:lnTo>
                    <a:pt x="860" y="482"/>
                  </a:lnTo>
                  <a:close/>
                  <a:moveTo>
                    <a:pt x="874" y="346"/>
                  </a:moveTo>
                  <a:lnTo>
                    <a:pt x="874" y="346"/>
                  </a:lnTo>
                  <a:lnTo>
                    <a:pt x="860" y="324"/>
                  </a:lnTo>
                  <a:lnTo>
                    <a:pt x="860" y="324"/>
                  </a:lnTo>
                  <a:lnTo>
                    <a:pt x="860" y="322"/>
                  </a:lnTo>
                  <a:lnTo>
                    <a:pt x="974" y="322"/>
                  </a:lnTo>
                  <a:lnTo>
                    <a:pt x="974" y="322"/>
                  </a:lnTo>
                  <a:lnTo>
                    <a:pt x="976" y="304"/>
                  </a:lnTo>
                  <a:lnTo>
                    <a:pt x="840" y="304"/>
                  </a:lnTo>
                  <a:lnTo>
                    <a:pt x="840" y="304"/>
                  </a:lnTo>
                  <a:lnTo>
                    <a:pt x="840" y="320"/>
                  </a:lnTo>
                  <a:lnTo>
                    <a:pt x="840" y="320"/>
                  </a:lnTo>
                  <a:lnTo>
                    <a:pt x="856" y="350"/>
                  </a:lnTo>
                  <a:lnTo>
                    <a:pt x="856" y="350"/>
                  </a:lnTo>
                  <a:lnTo>
                    <a:pt x="874" y="346"/>
                  </a:lnTo>
                  <a:lnTo>
                    <a:pt x="874" y="346"/>
                  </a:lnTo>
                  <a:close/>
                  <a:moveTo>
                    <a:pt x="922" y="228"/>
                  </a:moveTo>
                  <a:lnTo>
                    <a:pt x="922" y="228"/>
                  </a:lnTo>
                  <a:lnTo>
                    <a:pt x="938" y="228"/>
                  </a:lnTo>
                  <a:lnTo>
                    <a:pt x="952" y="226"/>
                  </a:lnTo>
                  <a:lnTo>
                    <a:pt x="962" y="222"/>
                  </a:lnTo>
                  <a:lnTo>
                    <a:pt x="972" y="216"/>
                  </a:lnTo>
                  <a:lnTo>
                    <a:pt x="978" y="210"/>
                  </a:lnTo>
                  <a:lnTo>
                    <a:pt x="984" y="202"/>
                  </a:lnTo>
                  <a:lnTo>
                    <a:pt x="988" y="194"/>
                  </a:lnTo>
                  <a:lnTo>
                    <a:pt x="988" y="184"/>
                  </a:lnTo>
                  <a:lnTo>
                    <a:pt x="988" y="184"/>
                  </a:lnTo>
                  <a:lnTo>
                    <a:pt x="988" y="174"/>
                  </a:lnTo>
                  <a:lnTo>
                    <a:pt x="986" y="164"/>
                  </a:lnTo>
                  <a:lnTo>
                    <a:pt x="982" y="156"/>
                  </a:lnTo>
                  <a:lnTo>
                    <a:pt x="976" y="148"/>
                  </a:lnTo>
                  <a:lnTo>
                    <a:pt x="968" y="144"/>
                  </a:lnTo>
                  <a:lnTo>
                    <a:pt x="956" y="140"/>
                  </a:lnTo>
                  <a:lnTo>
                    <a:pt x="942" y="138"/>
                  </a:lnTo>
                  <a:lnTo>
                    <a:pt x="926" y="136"/>
                  </a:lnTo>
                  <a:lnTo>
                    <a:pt x="926" y="136"/>
                  </a:lnTo>
                  <a:lnTo>
                    <a:pt x="910" y="138"/>
                  </a:lnTo>
                  <a:lnTo>
                    <a:pt x="894" y="140"/>
                  </a:lnTo>
                  <a:lnTo>
                    <a:pt x="880" y="144"/>
                  </a:lnTo>
                  <a:lnTo>
                    <a:pt x="868" y="148"/>
                  </a:lnTo>
                  <a:lnTo>
                    <a:pt x="858" y="154"/>
                  </a:lnTo>
                  <a:lnTo>
                    <a:pt x="850" y="162"/>
                  </a:lnTo>
                  <a:lnTo>
                    <a:pt x="846" y="172"/>
                  </a:lnTo>
                  <a:lnTo>
                    <a:pt x="844" y="182"/>
                  </a:lnTo>
                  <a:lnTo>
                    <a:pt x="844" y="182"/>
                  </a:lnTo>
                  <a:lnTo>
                    <a:pt x="844" y="192"/>
                  </a:lnTo>
                  <a:lnTo>
                    <a:pt x="850" y="200"/>
                  </a:lnTo>
                  <a:lnTo>
                    <a:pt x="856" y="208"/>
                  </a:lnTo>
                  <a:lnTo>
                    <a:pt x="866" y="216"/>
                  </a:lnTo>
                  <a:lnTo>
                    <a:pt x="878" y="220"/>
                  </a:lnTo>
                  <a:lnTo>
                    <a:pt x="892" y="226"/>
                  </a:lnTo>
                  <a:lnTo>
                    <a:pt x="906" y="228"/>
                  </a:lnTo>
                  <a:lnTo>
                    <a:pt x="922" y="228"/>
                  </a:lnTo>
                  <a:lnTo>
                    <a:pt x="922" y="228"/>
                  </a:lnTo>
                  <a:close/>
                  <a:moveTo>
                    <a:pt x="926" y="156"/>
                  </a:moveTo>
                  <a:lnTo>
                    <a:pt x="926" y="156"/>
                  </a:lnTo>
                  <a:lnTo>
                    <a:pt x="950" y="156"/>
                  </a:lnTo>
                  <a:lnTo>
                    <a:pt x="958" y="158"/>
                  </a:lnTo>
                  <a:lnTo>
                    <a:pt x="966" y="162"/>
                  </a:lnTo>
                  <a:lnTo>
                    <a:pt x="970" y="166"/>
                  </a:lnTo>
                  <a:lnTo>
                    <a:pt x="974" y="170"/>
                  </a:lnTo>
                  <a:lnTo>
                    <a:pt x="976" y="176"/>
                  </a:lnTo>
                  <a:lnTo>
                    <a:pt x="976" y="182"/>
                  </a:lnTo>
                  <a:lnTo>
                    <a:pt x="976" y="182"/>
                  </a:lnTo>
                  <a:lnTo>
                    <a:pt x="976" y="188"/>
                  </a:lnTo>
                  <a:lnTo>
                    <a:pt x="974" y="194"/>
                  </a:lnTo>
                  <a:lnTo>
                    <a:pt x="970" y="198"/>
                  </a:lnTo>
                  <a:lnTo>
                    <a:pt x="964" y="202"/>
                  </a:lnTo>
                  <a:lnTo>
                    <a:pt x="956" y="206"/>
                  </a:lnTo>
                  <a:lnTo>
                    <a:pt x="948" y="208"/>
                  </a:lnTo>
                  <a:lnTo>
                    <a:pt x="924" y="210"/>
                  </a:lnTo>
                  <a:lnTo>
                    <a:pt x="924" y="210"/>
                  </a:lnTo>
                  <a:lnTo>
                    <a:pt x="898" y="208"/>
                  </a:lnTo>
                  <a:lnTo>
                    <a:pt x="888" y="206"/>
                  </a:lnTo>
                  <a:lnTo>
                    <a:pt x="880" y="202"/>
                  </a:lnTo>
                  <a:lnTo>
                    <a:pt x="872" y="198"/>
                  </a:lnTo>
                  <a:lnTo>
                    <a:pt x="866" y="194"/>
                  </a:lnTo>
                  <a:lnTo>
                    <a:pt x="862" y="188"/>
                  </a:lnTo>
                  <a:lnTo>
                    <a:pt x="862" y="182"/>
                  </a:lnTo>
                  <a:lnTo>
                    <a:pt x="862" y="182"/>
                  </a:lnTo>
                  <a:lnTo>
                    <a:pt x="864" y="176"/>
                  </a:lnTo>
                  <a:lnTo>
                    <a:pt x="868" y="170"/>
                  </a:lnTo>
                  <a:lnTo>
                    <a:pt x="874" y="166"/>
                  </a:lnTo>
                  <a:lnTo>
                    <a:pt x="882" y="162"/>
                  </a:lnTo>
                  <a:lnTo>
                    <a:pt x="902" y="156"/>
                  </a:lnTo>
                  <a:lnTo>
                    <a:pt x="926" y="156"/>
                  </a:lnTo>
                  <a:lnTo>
                    <a:pt x="926" y="156"/>
                  </a:lnTo>
                  <a:close/>
                  <a:moveTo>
                    <a:pt x="888" y="74"/>
                  </a:moveTo>
                  <a:lnTo>
                    <a:pt x="888" y="74"/>
                  </a:lnTo>
                  <a:lnTo>
                    <a:pt x="872" y="52"/>
                  </a:lnTo>
                  <a:lnTo>
                    <a:pt x="872" y="52"/>
                  </a:lnTo>
                  <a:lnTo>
                    <a:pt x="872" y="52"/>
                  </a:lnTo>
                  <a:lnTo>
                    <a:pt x="992" y="52"/>
                  </a:lnTo>
                  <a:lnTo>
                    <a:pt x="992" y="52"/>
                  </a:lnTo>
                  <a:lnTo>
                    <a:pt x="992" y="34"/>
                  </a:lnTo>
                  <a:lnTo>
                    <a:pt x="850" y="34"/>
                  </a:lnTo>
                  <a:lnTo>
                    <a:pt x="850" y="34"/>
                  </a:lnTo>
                  <a:lnTo>
                    <a:pt x="850" y="48"/>
                  </a:lnTo>
                  <a:lnTo>
                    <a:pt x="850" y="48"/>
                  </a:lnTo>
                  <a:lnTo>
                    <a:pt x="870" y="78"/>
                  </a:lnTo>
                  <a:lnTo>
                    <a:pt x="870" y="78"/>
                  </a:lnTo>
                  <a:lnTo>
                    <a:pt x="888" y="74"/>
                  </a:lnTo>
                  <a:lnTo>
                    <a:pt x="888" y="74"/>
                  </a:lnTo>
                  <a:close/>
                  <a:moveTo>
                    <a:pt x="0" y="3446"/>
                  </a:moveTo>
                  <a:lnTo>
                    <a:pt x="118" y="3446"/>
                  </a:lnTo>
                  <a:lnTo>
                    <a:pt x="118" y="3446"/>
                  </a:lnTo>
                  <a:lnTo>
                    <a:pt x="118" y="3446"/>
                  </a:lnTo>
                  <a:lnTo>
                    <a:pt x="118" y="3446"/>
                  </a:lnTo>
                  <a:lnTo>
                    <a:pt x="106" y="3470"/>
                  </a:lnTo>
                  <a:lnTo>
                    <a:pt x="106" y="3470"/>
                  </a:lnTo>
                  <a:lnTo>
                    <a:pt x="118" y="3474"/>
                  </a:lnTo>
                  <a:lnTo>
                    <a:pt x="118" y="3474"/>
                  </a:lnTo>
                  <a:lnTo>
                    <a:pt x="136" y="3444"/>
                  </a:lnTo>
                  <a:lnTo>
                    <a:pt x="136" y="3444"/>
                  </a:lnTo>
                  <a:lnTo>
                    <a:pt x="136" y="3428"/>
                  </a:lnTo>
                  <a:lnTo>
                    <a:pt x="0" y="3428"/>
                  </a:lnTo>
                  <a:lnTo>
                    <a:pt x="0" y="3428"/>
                  </a:lnTo>
                  <a:lnTo>
                    <a:pt x="0" y="3446"/>
                  </a:lnTo>
                  <a:lnTo>
                    <a:pt x="0" y="3446"/>
                  </a:lnTo>
                  <a:close/>
                  <a:moveTo>
                    <a:pt x="8" y="3310"/>
                  </a:moveTo>
                  <a:lnTo>
                    <a:pt x="124" y="3310"/>
                  </a:lnTo>
                  <a:lnTo>
                    <a:pt x="124" y="3310"/>
                  </a:lnTo>
                  <a:lnTo>
                    <a:pt x="124" y="3312"/>
                  </a:lnTo>
                  <a:lnTo>
                    <a:pt x="124" y="3312"/>
                  </a:lnTo>
                  <a:lnTo>
                    <a:pt x="110" y="3334"/>
                  </a:lnTo>
                  <a:lnTo>
                    <a:pt x="110" y="3334"/>
                  </a:lnTo>
                  <a:lnTo>
                    <a:pt x="124" y="3338"/>
                  </a:lnTo>
                  <a:lnTo>
                    <a:pt x="124" y="3338"/>
                  </a:lnTo>
                  <a:lnTo>
                    <a:pt x="142" y="3308"/>
                  </a:lnTo>
                  <a:lnTo>
                    <a:pt x="142" y="3308"/>
                  </a:lnTo>
                  <a:lnTo>
                    <a:pt x="142" y="3294"/>
                  </a:lnTo>
                  <a:lnTo>
                    <a:pt x="10" y="3294"/>
                  </a:lnTo>
                  <a:lnTo>
                    <a:pt x="10" y="3294"/>
                  </a:lnTo>
                  <a:lnTo>
                    <a:pt x="8" y="3310"/>
                  </a:lnTo>
                  <a:lnTo>
                    <a:pt x="8" y="3310"/>
                  </a:lnTo>
                  <a:close/>
                  <a:moveTo>
                    <a:pt x="100" y="3124"/>
                  </a:moveTo>
                  <a:lnTo>
                    <a:pt x="100" y="3124"/>
                  </a:lnTo>
                  <a:lnTo>
                    <a:pt x="84" y="3126"/>
                  </a:lnTo>
                  <a:lnTo>
                    <a:pt x="72" y="3128"/>
                  </a:lnTo>
                  <a:lnTo>
                    <a:pt x="60" y="3132"/>
                  </a:lnTo>
                  <a:lnTo>
                    <a:pt x="48" y="3138"/>
                  </a:lnTo>
                  <a:lnTo>
                    <a:pt x="40" y="3144"/>
                  </a:lnTo>
                  <a:lnTo>
                    <a:pt x="34" y="3152"/>
                  </a:lnTo>
                  <a:lnTo>
                    <a:pt x="28" y="3162"/>
                  </a:lnTo>
                  <a:lnTo>
                    <a:pt x="26" y="3172"/>
                  </a:lnTo>
                  <a:lnTo>
                    <a:pt x="26" y="3172"/>
                  </a:lnTo>
                  <a:lnTo>
                    <a:pt x="26" y="3182"/>
                  </a:lnTo>
                  <a:lnTo>
                    <a:pt x="28" y="3190"/>
                  </a:lnTo>
                  <a:lnTo>
                    <a:pt x="32" y="3198"/>
                  </a:lnTo>
                  <a:lnTo>
                    <a:pt x="38" y="3204"/>
                  </a:lnTo>
                  <a:lnTo>
                    <a:pt x="46" y="3210"/>
                  </a:lnTo>
                  <a:lnTo>
                    <a:pt x="56" y="3214"/>
                  </a:lnTo>
                  <a:lnTo>
                    <a:pt x="70" y="3216"/>
                  </a:lnTo>
                  <a:lnTo>
                    <a:pt x="84" y="3216"/>
                  </a:lnTo>
                  <a:lnTo>
                    <a:pt x="84" y="3216"/>
                  </a:lnTo>
                  <a:lnTo>
                    <a:pt x="100" y="3216"/>
                  </a:lnTo>
                  <a:lnTo>
                    <a:pt x="114" y="3214"/>
                  </a:lnTo>
                  <a:lnTo>
                    <a:pt x="126" y="3208"/>
                  </a:lnTo>
                  <a:lnTo>
                    <a:pt x="136" y="3204"/>
                  </a:lnTo>
                  <a:lnTo>
                    <a:pt x="146" y="3196"/>
                  </a:lnTo>
                  <a:lnTo>
                    <a:pt x="152" y="3188"/>
                  </a:lnTo>
                  <a:lnTo>
                    <a:pt x="156" y="3180"/>
                  </a:lnTo>
                  <a:lnTo>
                    <a:pt x="158" y="3170"/>
                  </a:lnTo>
                  <a:lnTo>
                    <a:pt x="158" y="3170"/>
                  </a:lnTo>
                  <a:lnTo>
                    <a:pt x="158" y="3160"/>
                  </a:lnTo>
                  <a:lnTo>
                    <a:pt x="156" y="3150"/>
                  </a:lnTo>
                  <a:lnTo>
                    <a:pt x="152" y="3142"/>
                  </a:lnTo>
                  <a:lnTo>
                    <a:pt x="146" y="3136"/>
                  </a:lnTo>
                  <a:lnTo>
                    <a:pt x="138" y="3132"/>
                  </a:lnTo>
                  <a:lnTo>
                    <a:pt x="126" y="3128"/>
                  </a:lnTo>
                  <a:lnTo>
                    <a:pt x="114" y="3126"/>
                  </a:lnTo>
                  <a:lnTo>
                    <a:pt x="100" y="3124"/>
                  </a:lnTo>
                  <a:lnTo>
                    <a:pt x="100" y="3124"/>
                  </a:lnTo>
                  <a:close/>
                  <a:moveTo>
                    <a:pt x="144" y="3170"/>
                  </a:moveTo>
                  <a:lnTo>
                    <a:pt x="144" y="3170"/>
                  </a:lnTo>
                  <a:lnTo>
                    <a:pt x="144" y="3176"/>
                  </a:lnTo>
                  <a:lnTo>
                    <a:pt x="140" y="3182"/>
                  </a:lnTo>
                  <a:lnTo>
                    <a:pt x="134" y="3186"/>
                  </a:lnTo>
                  <a:lnTo>
                    <a:pt x="128" y="3190"/>
                  </a:lnTo>
                  <a:lnTo>
                    <a:pt x="120" y="3194"/>
                  </a:lnTo>
                  <a:lnTo>
                    <a:pt x="110" y="3196"/>
                  </a:lnTo>
                  <a:lnTo>
                    <a:pt x="86" y="3198"/>
                  </a:lnTo>
                  <a:lnTo>
                    <a:pt x="86" y="3198"/>
                  </a:lnTo>
                  <a:lnTo>
                    <a:pt x="64" y="3196"/>
                  </a:lnTo>
                  <a:lnTo>
                    <a:pt x="56" y="3194"/>
                  </a:lnTo>
                  <a:lnTo>
                    <a:pt x="50" y="3190"/>
                  </a:lnTo>
                  <a:lnTo>
                    <a:pt x="44" y="3186"/>
                  </a:lnTo>
                  <a:lnTo>
                    <a:pt x="40" y="3182"/>
                  </a:lnTo>
                  <a:lnTo>
                    <a:pt x="38" y="3176"/>
                  </a:lnTo>
                  <a:lnTo>
                    <a:pt x="40" y="3170"/>
                  </a:lnTo>
                  <a:lnTo>
                    <a:pt x="40" y="3170"/>
                  </a:lnTo>
                  <a:lnTo>
                    <a:pt x="42" y="3164"/>
                  </a:lnTo>
                  <a:lnTo>
                    <a:pt x="44" y="3158"/>
                  </a:lnTo>
                  <a:lnTo>
                    <a:pt x="50" y="3154"/>
                  </a:lnTo>
                  <a:lnTo>
                    <a:pt x="56" y="3150"/>
                  </a:lnTo>
                  <a:lnTo>
                    <a:pt x="64" y="3146"/>
                  </a:lnTo>
                  <a:lnTo>
                    <a:pt x="74" y="3144"/>
                  </a:lnTo>
                  <a:lnTo>
                    <a:pt x="96" y="3144"/>
                  </a:lnTo>
                  <a:lnTo>
                    <a:pt x="96" y="3144"/>
                  </a:lnTo>
                  <a:lnTo>
                    <a:pt x="118" y="3144"/>
                  </a:lnTo>
                  <a:lnTo>
                    <a:pt x="126" y="3146"/>
                  </a:lnTo>
                  <a:lnTo>
                    <a:pt x="134" y="3150"/>
                  </a:lnTo>
                  <a:lnTo>
                    <a:pt x="138" y="3154"/>
                  </a:lnTo>
                  <a:lnTo>
                    <a:pt x="142" y="3158"/>
                  </a:lnTo>
                  <a:lnTo>
                    <a:pt x="144" y="3164"/>
                  </a:lnTo>
                  <a:lnTo>
                    <a:pt x="144" y="3170"/>
                  </a:lnTo>
                  <a:lnTo>
                    <a:pt x="144" y="3170"/>
                  </a:lnTo>
                  <a:close/>
                  <a:moveTo>
                    <a:pt x="56" y="3040"/>
                  </a:moveTo>
                  <a:lnTo>
                    <a:pt x="162" y="3040"/>
                  </a:lnTo>
                  <a:lnTo>
                    <a:pt x="162" y="3040"/>
                  </a:lnTo>
                  <a:lnTo>
                    <a:pt x="162" y="3040"/>
                  </a:lnTo>
                  <a:lnTo>
                    <a:pt x="162" y="3040"/>
                  </a:lnTo>
                  <a:lnTo>
                    <a:pt x="146" y="3062"/>
                  </a:lnTo>
                  <a:lnTo>
                    <a:pt x="146" y="3062"/>
                  </a:lnTo>
                  <a:lnTo>
                    <a:pt x="158" y="3066"/>
                  </a:lnTo>
                  <a:lnTo>
                    <a:pt x="158" y="3066"/>
                  </a:lnTo>
                  <a:lnTo>
                    <a:pt x="178" y="3036"/>
                  </a:lnTo>
                  <a:lnTo>
                    <a:pt x="178" y="3036"/>
                  </a:lnTo>
                  <a:lnTo>
                    <a:pt x="180" y="3022"/>
                  </a:lnTo>
                  <a:lnTo>
                    <a:pt x="60" y="3022"/>
                  </a:lnTo>
                  <a:lnTo>
                    <a:pt x="60" y="3022"/>
                  </a:lnTo>
                  <a:lnTo>
                    <a:pt x="56" y="3040"/>
                  </a:lnTo>
                  <a:lnTo>
                    <a:pt x="56" y="3040"/>
                  </a:lnTo>
                  <a:close/>
                  <a:moveTo>
                    <a:pt x="162" y="2854"/>
                  </a:moveTo>
                  <a:lnTo>
                    <a:pt x="162" y="2854"/>
                  </a:lnTo>
                  <a:lnTo>
                    <a:pt x="148" y="2854"/>
                  </a:lnTo>
                  <a:lnTo>
                    <a:pt x="136" y="2856"/>
                  </a:lnTo>
                  <a:lnTo>
                    <a:pt x="124" y="2860"/>
                  </a:lnTo>
                  <a:lnTo>
                    <a:pt x="116" y="2866"/>
                  </a:lnTo>
                  <a:lnTo>
                    <a:pt x="106" y="2872"/>
                  </a:lnTo>
                  <a:lnTo>
                    <a:pt x="100" y="2880"/>
                  </a:lnTo>
                  <a:lnTo>
                    <a:pt x="94" y="2890"/>
                  </a:lnTo>
                  <a:lnTo>
                    <a:pt x="90" y="2900"/>
                  </a:lnTo>
                  <a:lnTo>
                    <a:pt x="90" y="2900"/>
                  </a:lnTo>
                  <a:lnTo>
                    <a:pt x="88" y="2910"/>
                  </a:lnTo>
                  <a:lnTo>
                    <a:pt x="88" y="2918"/>
                  </a:lnTo>
                  <a:lnTo>
                    <a:pt x="92" y="2926"/>
                  </a:lnTo>
                  <a:lnTo>
                    <a:pt x="96" y="2932"/>
                  </a:lnTo>
                  <a:lnTo>
                    <a:pt x="102" y="2938"/>
                  </a:lnTo>
                  <a:lnTo>
                    <a:pt x="112" y="2942"/>
                  </a:lnTo>
                  <a:lnTo>
                    <a:pt x="122" y="2944"/>
                  </a:lnTo>
                  <a:lnTo>
                    <a:pt x="136" y="2944"/>
                  </a:lnTo>
                  <a:lnTo>
                    <a:pt x="136" y="2944"/>
                  </a:lnTo>
                  <a:lnTo>
                    <a:pt x="150" y="2944"/>
                  </a:lnTo>
                  <a:lnTo>
                    <a:pt x="162" y="2942"/>
                  </a:lnTo>
                  <a:lnTo>
                    <a:pt x="174" y="2938"/>
                  </a:lnTo>
                  <a:lnTo>
                    <a:pt x="184" y="2932"/>
                  </a:lnTo>
                  <a:lnTo>
                    <a:pt x="192" y="2924"/>
                  </a:lnTo>
                  <a:lnTo>
                    <a:pt x="200" y="2916"/>
                  </a:lnTo>
                  <a:lnTo>
                    <a:pt x="206" y="2908"/>
                  </a:lnTo>
                  <a:lnTo>
                    <a:pt x="208" y="2898"/>
                  </a:lnTo>
                  <a:lnTo>
                    <a:pt x="208" y="2898"/>
                  </a:lnTo>
                  <a:lnTo>
                    <a:pt x="210" y="2888"/>
                  </a:lnTo>
                  <a:lnTo>
                    <a:pt x="208" y="2878"/>
                  </a:lnTo>
                  <a:lnTo>
                    <a:pt x="206" y="2872"/>
                  </a:lnTo>
                  <a:lnTo>
                    <a:pt x="200" y="2864"/>
                  </a:lnTo>
                  <a:lnTo>
                    <a:pt x="194" y="2860"/>
                  </a:lnTo>
                  <a:lnTo>
                    <a:pt x="184" y="2856"/>
                  </a:lnTo>
                  <a:lnTo>
                    <a:pt x="174" y="2854"/>
                  </a:lnTo>
                  <a:lnTo>
                    <a:pt x="162" y="2854"/>
                  </a:lnTo>
                  <a:lnTo>
                    <a:pt x="162" y="2854"/>
                  </a:lnTo>
                  <a:close/>
                  <a:moveTo>
                    <a:pt x="196" y="2898"/>
                  </a:moveTo>
                  <a:lnTo>
                    <a:pt x="196" y="2898"/>
                  </a:lnTo>
                  <a:lnTo>
                    <a:pt x="194" y="2904"/>
                  </a:lnTo>
                  <a:lnTo>
                    <a:pt x="190" y="2910"/>
                  </a:lnTo>
                  <a:lnTo>
                    <a:pt x="184" y="2914"/>
                  </a:lnTo>
                  <a:lnTo>
                    <a:pt x="178" y="2918"/>
                  </a:lnTo>
                  <a:lnTo>
                    <a:pt x="170" y="2922"/>
                  </a:lnTo>
                  <a:lnTo>
                    <a:pt x="162" y="2924"/>
                  </a:lnTo>
                  <a:lnTo>
                    <a:pt x="140" y="2926"/>
                  </a:lnTo>
                  <a:lnTo>
                    <a:pt x="140" y="2926"/>
                  </a:lnTo>
                  <a:lnTo>
                    <a:pt x="120" y="2924"/>
                  </a:lnTo>
                  <a:lnTo>
                    <a:pt x="114" y="2922"/>
                  </a:lnTo>
                  <a:lnTo>
                    <a:pt x="108" y="2920"/>
                  </a:lnTo>
                  <a:lnTo>
                    <a:pt x="104" y="2916"/>
                  </a:lnTo>
                  <a:lnTo>
                    <a:pt x="102" y="2910"/>
                  </a:lnTo>
                  <a:lnTo>
                    <a:pt x="100" y="2906"/>
                  </a:lnTo>
                  <a:lnTo>
                    <a:pt x="102" y="2900"/>
                  </a:lnTo>
                  <a:lnTo>
                    <a:pt x="102" y="2900"/>
                  </a:lnTo>
                  <a:lnTo>
                    <a:pt x="104" y="2892"/>
                  </a:lnTo>
                  <a:lnTo>
                    <a:pt x="108" y="2886"/>
                  </a:lnTo>
                  <a:lnTo>
                    <a:pt x="114" y="2882"/>
                  </a:lnTo>
                  <a:lnTo>
                    <a:pt x="120" y="2878"/>
                  </a:lnTo>
                  <a:lnTo>
                    <a:pt x="136" y="2874"/>
                  </a:lnTo>
                  <a:lnTo>
                    <a:pt x="156" y="2872"/>
                  </a:lnTo>
                  <a:lnTo>
                    <a:pt x="156" y="2872"/>
                  </a:lnTo>
                  <a:lnTo>
                    <a:pt x="174" y="2874"/>
                  </a:lnTo>
                  <a:lnTo>
                    <a:pt x="182" y="2876"/>
                  </a:lnTo>
                  <a:lnTo>
                    <a:pt x="188" y="2878"/>
                  </a:lnTo>
                  <a:lnTo>
                    <a:pt x="192" y="2882"/>
                  </a:lnTo>
                  <a:lnTo>
                    <a:pt x="196" y="2886"/>
                  </a:lnTo>
                  <a:lnTo>
                    <a:pt x="196" y="2892"/>
                  </a:lnTo>
                  <a:lnTo>
                    <a:pt x="196" y="2898"/>
                  </a:lnTo>
                  <a:lnTo>
                    <a:pt x="196" y="2898"/>
                  </a:lnTo>
                  <a:close/>
                  <a:moveTo>
                    <a:pt x="134" y="2768"/>
                  </a:moveTo>
                  <a:lnTo>
                    <a:pt x="226" y="2768"/>
                  </a:lnTo>
                  <a:lnTo>
                    <a:pt x="226" y="2768"/>
                  </a:lnTo>
                  <a:lnTo>
                    <a:pt x="224" y="2768"/>
                  </a:lnTo>
                  <a:lnTo>
                    <a:pt x="224" y="2768"/>
                  </a:lnTo>
                  <a:lnTo>
                    <a:pt x="208" y="2792"/>
                  </a:lnTo>
                  <a:lnTo>
                    <a:pt x="208" y="2792"/>
                  </a:lnTo>
                  <a:lnTo>
                    <a:pt x="218" y="2794"/>
                  </a:lnTo>
                  <a:lnTo>
                    <a:pt x="218" y="2794"/>
                  </a:lnTo>
                  <a:lnTo>
                    <a:pt x="240" y="2766"/>
                  </a:lnTo>
                  <a:lnTo>
                    <a:pt x="240" y="2766"/>
                  </a:lnTo>
                  <a:lnTo>
                    <a:pt x="244" y="2750"/>
                  </a:lnTo>
                  <a:lnTo>
                    <a:pt x="140" y="2750"/>
                  </a:lnTo>
                  <a:lnTo>
                    <a:pt x="140" y="2750"/>
                  </a:lnTo>
                  <a:lnTo>
                    <a:pt x="134" y="2768"/>
                  </a:lnTo>
                  <a:lnTo>
                    <a:pt x="134" y="2768"/>
                  </a:lnTo>
                  <a:close/>
                  <a:moveTo>
                    <a:pt x="214" y="2674"/>
                  </a:moveTo>
                  <a:lnTo>
                    <a:pt x="214" y="2674"/>
                  </a:lnTo>
                  <a:lnTo>
                    <a:pt x="226" y="2672"/>
                  </a:lnTo>
                  <a:lnTo>
                    <a:pt x="238" y="2670"/>
                  </a:lnTo>
                  <a:lnTo>
                    <a:pt x="248" y="2666"/>
                  </a:lnTo>
                  <a:lnTo>
                    <a:pt x="256" y="2660"/>
                  </a:lnTo>
                  <a:lnTo>
                    <a:pt x="264" y="2654"/>
                  </a:lnTo>
                  <a:lnTo>
                    <a:pt x="272" y="2646"/>
                  </a:lnTo>
                  <a:lnTo>
                    <a:pt x="278" y="2636"/>
                  </a:lnTo>
                  <a:lnTo>
                    <a:pt x="280" y="2626"/>
                  </a:lnTo>
                  <a:lnTo>
                    <a:pt x="280" y="2626"/>
                  </a:lnTo>
                  <a:lnTo>
                    <a:pt x="284" y="2616"/>
                  </a:lnTo>
                  <a:lnTo>
                    <a:pt x="284" y="2608"/>
                  </a:lnTo>
                  <a:lnTo>
                    <a:pt x="282" y="2600"/>
                  </a:lnTo>
                  <a:lnTo>
                    <a:pt x="278" y="2594"/>
                  </a:lnTo>
                  <a:lnTo>
                    <a:pt x="272" y="2588"/>
                  </a:lnTo>
                  <a:lnTo>
                    <a:pt x="266" y="2584"/>
                  </a:lnTo>
                  <a:lnTo>
                    <a:pt x="258" y="2582"/>
                  </a:lnTo>
                  <a:lnTo>
                    <a:pt x="248" y="2582"/>
                  </a:lnTo>
                  <a:lnTo>
                    <a:pt x="248" y="2582"/>
                  </a:lnTo>
                  <a:lnTo>
                    <a:pt x="236" y="2582"/>
                  </a:lnTo>
                  <a:lnTo>
                    <a:pt x="226" y="2584"/>
                  </a:lnTo>
                  <a:lnTo>
                    <a:pt x="218" y="2588"/>
                  </a:lnTo>
                  <a:lnTo>
                    <a:pt x="210" y="2594"/>
                  </a:lnTo>
                  <a:lnTo>
                    <a:pt x="202" y="2600"/>
                  </a:lnTo>
                  <a:lnTo>
                    <a:pt x="196" y="2608"/>
                  </a:lnTo>
                  <a:lnTo>
                    <a:pt x="190" y="2618"/>
                  </a:lnTo>
                  <a:lnTo>
                    <a:pt x="184" y="2628"/>
                  </a:lnTo>
                  <a:lnTo>
                    <a:pt x="184" y="2628"/>
                  </a:lnTo>
                  <a:lnTo>
                    <a:pt x="182" y="2638"/>
                  </a:lnTo>
                  <a:lnTo>
                    <a:pt x="180" y="2646"/>
                  </a:lnTo>
                  <a:lnTo>
                    <a:pt x="182" y="2654"/>
                  </a:lnTo>
                  <a:lnTo>
                    <a:pt x="184" y="2660"/>
                  </a:lnTo>
                  <a:lnTo>
                    <a:pt x="188" y="2666"/>
                  </a:lnTo>
                  <a:lnTo>
                    <a:pt x="196" y="2670"/>
                  </a:lnTo>
                  <a:lnTo>
                    <a:pt x="204" y="2672"/>
                  </a:lnTo>
                  <a:lnTo>
                    <a:pt x="214" y="2674"/>
                  </a:lnTo>
                  <a:lnTo>
                    <a:pt x="214" y="2674"/>
                  </a:lnTo>
                  <a:close/>
                  <a:moveTo>
                    <a:pt x="194" y="2628"/>
                  </a:moveTo>
                  <a:lnTo>
                    <a:pt x="194" y="2628"/>
                  </a:lnTo>
                  <a:lnTo>
                    <a:pt x="200" y="2616"/>
                  </a:lnTo>
                  <a:lnTo>
                    <a:pt x="212" y="2606"/>
                  </a:lnTo>
                  <a:lnTo>
                    <a:pt x="224" y="2602"/>
                  </a:lnTo>
                  <a:lnTo>
                    <a:pt x="240" y="2600"/>
                  </a:lnTo>
                  <a:lnTo>
                    <a:pt x="240" y="2600"/>
                  </a:lnTo>
                  <a:lnTo>
                    <a:pt x="256" y="2602"/>
                  </a:lnTo>
                  <a:lnTo>
                    <a:pt x="262" y="2604"/>
                  </a:lnTo>
                  <a:lnTo>
                    <a:pt x="266" y="2606"/>
                  </a:lnTo>
                  <a:lnTo>
                    <a:pt x="270" y="2610"/>
                  </a:lnTo>
                  <a:lnTo>
                    <a:pt x="272" y="2614"/>
                  </a:lnTo>
                  <a:lnTo>
                    <a:pt x="272" y="2620"/>
                  </a:lnTo>
                  <a:lnTo>
                    <a:pt x="270" y="2628"/>
                  </a:lnTo>
                  <a:lnTo>
                    <a:pt x="270" y="2628"/>
                  </a:lnTo>
                  <a:lnTo>
                    <a:pt x="268" y="2634"/>
                  </a:lnTo>
                  <a:lnTo>
                    <a:pt x="264" y="2638"/>
                  </a:lnTo>
                  <a:lnTo>
                    <a:pt x="254" y="2648"/>
                  </a:lnTo>
                  <a:lnTo>
                    <a:pt x="238" y="2652"/>
                  </a:lnTo>
                  <a:lnTo>
                    <a:pt x="220" y="2654"/>
                  </a:lnTo>
                  <a:lnTo>
                    <a:pt x="220" y="2654"/>
                  </a:lnTo>
                  <a:lnTo>
                    <a:pt x="206" y="2652"/>
                  </a:lnTo>
                  <a:lnTo>
                    <a:pt x="200" y="2650"/>
                  </a:lnTo>
                  <a:lnTo>
                    <a:pt x="196" y="2648"/>
                  </a:lnTo>
                  <a:lnTo>
                    <a:pt x="192" y="2644"/>
                  </a:lnTo>
                  <a:lnTo>
                    <a:pt x="192" y="2638"/>
                  </a:lnTo>
                  <a:lnTo>
                    <a:pt x="192" y="2634"/>
                  </a:lnTo>
                  <a:lnTo>
                    <a:pt x="194" y="2628"/>
                  </a:lnTo>
                  <a:lnTo>
                    <a:pt x="194" y="2628"/>
                  </a:lnTo>
                  <a:close/>
                  <a:moveTo>
                    <a:pt x="310" y="2496"/>
                  </a:moveTo>
                  <a:lnTo>
                    <a:pt x="310" y="2496"/>
                  </a:lnTo>
                  <a:lnTo>
                    <a:pt x="294" y="2520"/>
                  </a:lnTo>
                  <a:lnTo>
                    <a:pt x="294" y="2520"/>
                  </a:lnTo>
                  <a:lnTo>
                    <a:pt x="302" y="2524"/>
                  </a:lnTo>
                  <a:lnTo>
                    <a:pt x="302" y="2524"/>
                  </a:lnTo>
                  <a:lnTo>
                    <a:pt x="322" y="2494"/>
                  </a:lnTo>
                  <a:lnTo>
                    <a:pt x="322" y="2494"/>
                  </a:lnTo>
                  <a:lnTo>
                    <a:pt x="326" y="2478"/>
                  </a:lnTo>
                  <a:lnTo>
                    <a:pt x="248" y="2478"/>
                  </a:lnTo>
                  <a:lnTo>
                    <a:pt x="248" y="2478"/>
                  </a:lnTo>
                  <a:lnTo>
                    <a:pt x="240" y="2496"/>
                  </a:lnTo>
                  <a:lnTo>
                    <a:pt x="310" y="2496"/>
                  </a:lnTo>
                  <a:lnTo>
                    <a:pt x="310" y="2496"/>
                  </a:lnTo>
                  <a:lnTo>
                    <a:pt x="310" y="2496"/>
                  </a:lnTo>
                  <a:lnTo>
                    <a:pt x="310" y="2496"/>
                  </a:lnTo>
                  <a:close/>
                  <a:moveTo>
                    <a:pt x="358" y="2360"/>
                  </a:moveTo>
                  <a:lnTo>
                    <a:pt x="358" y="2360"/>
                  </a:lnTo>
                  <a:lnTo>
                    <a:pt x="342" y="2384"/>
                  </a:lnTo>
                  <a:lnTo>
                    <a:pt x="342" y="2384"/>
                  </a:lnTo>
                  <a:lnTo>
                    <a:pt x="350" y="2388"/>
                  </a:lnTo>
                  <a:lnTo>
                    <a:pt x="350" y="2388"/>
                  </a:lnTo>
                  <a:lnTo>
                    <a:pt x="368" y="2358"/>
                  </a:lnTo>
                  <a:lnTo>
                    <a:pt x="368" y="2358"/>
                  </a:lnTo>
                  <a:lnTo>
                    <a:pt x="374" y="2342"/>
                  </a:lnTo>
                  <a:lnTo>
                    <a:pt x="310" y="2342"/>
                  </a:lnTo>
                  <a:lnTo>
                    <a:pt x="310" y="2342"/>
                  </a:lnTo>
                  <a:lnTo>
                    <a:pt x="302" y="2360"/>
                  </a:lnTo>
                  <a:lnTo>
                    <a:pt x="358" y="2360"/>
                  </a:lnTo>
                  <a:lnTo>
                    <a:pt x="358" y="2360"/>
                  </a:lnTo>
                  <a:lnTo>
                    <a:pt x="358" y="2360"/>
                  </a:lnTo>
                  <a:lnTo>
                    <a:pt x="358" y="2360"/>
                  </a:lnTo>
                  <a:close/>
                  <a:moveTo>
                    <a:pt x="370" y="2266"/>
                  </a:moveTo>
                  <a:lnTo>
                    <a:pt x="370" y="2266"/>
                  </a:lnTo>
                  <a:lnTo>
                    <a:pt x="378" y="2264"/>
                  </a:lnTo>
                  <a:lnTo>
                    <a:pt x="386" y="2262"/>
                  </a:lnTo>
                  <a:lnTo>
                    <a:pt x="392" y="2258"/>
                  </a:lnTo>
                  <a:lnTo>
                    <a:pt x="400" y="2252"/>
                  </a:lnTo>
                  <a:lnTo>
                    <a:pt x="412" y="2238"/>
                  </a:lnTo>
                  <a:lnTo>
                    <a:pt x="422" y="2218"/>
                  </a:lnTo>
                  <a:lnTo>
                    <a:pt x="422" y="2218"/>
                  </a:lnTo>
                  <a:lnTo>
                    <a:pt x="426" y="2200"/>
                  </a:lnTo>
                  <a:lnTo>
                    <a:pt x="426" y="2192"/>
                  </a:lnTo>
                  <a:lnTo>
                    <a:pt x="426" y="2186"/>
                  </a:lnTo>
                  <a:lnTo>
                    <a:pt x="424" y="2180"/>
                  </a:lnTo>
                  <a:lnTo>
                    <a:pt x="420" y="2178"/>
                  </a:lnTo>
                  <a:lnTo>
                    <a:pt x="416" y="2174"/>
                  </a:lnTo>
                  <a:lnTo>
                    <a:pt x="410" y="2174"/>
                  </a:lnTo>
                  <a:lnTo>
                    <a:pt x="410" y="2174"/>
                  </a:lnTo>
                  <a:lnTo>
                    <a:pt x="404" y="2174"/>
                  </a:lnTo>
                  <a:lnTo>
                    <a:pt x="400" y="2178"/>
                  </a:lnTo>
                  <a:lnTo>
                    <a:pt x="394" y="2182"/>
                  </a:lnTo>
                  <a:lnTo>
                    <a:pt x="388" y="2186"/>
                  </a:lnTo>
                  <a:lnTo>
                    <a:pt x="378" y="2202"/>
                  </a:lnTo>
                  <a:lnTo>
                    <a:pt x="366" y="2222"/>
                  </a:lnTo>
                  <a:lnTo>
                    <a:pt x="366" y="2222"/>
                  </a:lnTo>
                  <a:lnTo>
                    <a:pt x="360" y="2240"/>
                  </a:lnTo>
                  <a:lnTo>
                    <a:pt x="358" y="2246"/>
                  </a:lnTo>
                  <a:lnTo>
                    <a:pt x="356" y="2254"/>
                  </a:lnTo>
                  <a:lnTo>
                    <a:pt x="358" y="2258"/>
                  </a:lnTo>
                  <a:lnTo>
                    <a:pt x="360" y="2262"/>
                  </a:lnTo>
                  <a:lnTo>
                    <a:pt x="364" y="2264"/>
                  </a:lnTo>
                  <a:lnTo>
                    <a:pt x="370" y="2266"/>
                  </a:lnTo>
                  <a:lnTo>
                    <a:pt x="370" y="2266"/>
                  </a:lnTo>
                  <a:close/>
                  <a:moveTo>
                    <a:pt x="372" y="2220"/>
                  </a:moveTo>
                  <a:lnTo>
                    <a:pt x="372" y="2220"/>
                  </a:lnTo>
                  <a:lnTo>
                    <a:pt x="378" y="2208"/>
                  </a:lnTo>
                  <a:lnTo>
                    <a:pt x="386" y="2200"/>
                  </a:lnTo>
                  <a:lnTo>
                    <a:pt x="394" y="2194"/>
                  </a:lnTo>
                  <a:lnTo>
                    <a:pt x="402" y="2192"/>
                  </a:lnTo>
                  <a:lnTo>
                    <a:pt x="402" y="2192"/>
                  </a:lnTo>
                  <a:lnTo>
                    <a:pt x="410" y="2194"/>
                  </a:lnTo>
                  <a:lnTo>
                    <a:pt x="414" y="2196"/>
                  </a:lnTo>
                  <a:lnTo>
                    <a:pt x="416" y="2198"/>
                  </a:lnTo>
                  <a:lnTo>
                    <a:pt x="418" y="2208"/>
                  </a:lnTo>
                  <a:lnTo>
                    <a:pt x="414" y="2220"/>
                  </a:lnTo>
                  <a:lnTo>
                    <a:pt x="414" y="2220"/>
                  </a:lnTo>
                  <a:lnTo>
                    <a:pt x="408" y="2230"/>
                  </a:lnTo>
                  <a:lnTo>
                    <a:pt x="400" y="2240"/>
                  </a:lnTo>
                  <a:lnTo>
                    <a:pt x="390" y="2246"/>
                  </a:lnTo>
                  <a:lnTo>
                    <a:pt x="378" y="2248"/>
                  </a:lnTo>
                  <a:lnTo>
                    <a:pt x="378" y="2248"/>
                  </a:lnTo>
                  <a:lnTo>
                    <a:pt x="374" y="2246"/>
                  </a:lnTo>
                  <a:lnTo>
                    <a:pt x="370" y="2246"/>
                  </a:lnTo>
                  <a:lnTo>
                    <a:pt x="368" y="2244"/>
                  </a:lnTo>
                  <a:lnTo>
                    <a:pt x="366" y="2240"/>
                  </a:lnTo>
                  <a:lnTo>
                    <a:pt x="366" y="2232"/>
                  </a:lnTo>
                  <a:lnTo>
                    <a:pt x="372" y="2220"/>
                  </a:lnTo>
                  <a:lnTo>
                    <a:pt x="372" y="2220"/>
                  </a:lnTo>
                  <a:close/>
                  <a:moveTo>
                    <a:pt x="430" y="2130"/>
                  </a:moveTo>
                  <a:lnTo>
                    <a:pt x="430" y="2130"/>
                  </a:lnTo>
                  <a:lnTo>
                    <a:pt x="436" y="2130"/>
                  </a:lnTo>
                  <a:lnTo>
                    <a:pt x="442" y="2126"/>
                  </a:lnTo>
                  <a:lnTo>
                    <a:pt x="452" y="2116"/>
                  </a:lnTo>
                  <a:lnTo>
                    <a:pt x="464" y="2102"/>
                  </a:lnTo>
                  <a:lnTo>
                    <a:pt x="474" y="2082"/>
                  </a:lnTo>
                  <a:lnTo>
                    <a:pt x="474" y="2082"/>
                  </a:lnTo>
                  <a:lnTo>
                    <a:pt x="480" y="2064"/>
                  </a:lnTo>
                  <a:lnTo>
                    <a:pt x="480" y="2050"/>
                  </a:lnTo>
                  <a:lnTo>
                    <a:pt x="480" y="2044"/>
                  </a:lnTo>
                  <a:lnTo>
                    <a:pt x="478" y="2042"/>
                  </a:lnTo>
                  <a:lnTo>
                    <a:pt x="474" y="2038"/>
                  </a:lnTo>
                  <a:lnTo>
                    <a:pt x="472" y="2038"/>
                  </a:lnTo>
                  <a:lnTo>
                    <a:pt x="472" y="2038"/>
                  </a:lnTo>
                  <a:lnTo>
                    <a:pt x="468" y="2038"/>
                  </a:lnTo>
                  <a:lnTo>
                    <a:pt x="462" y="2042"/>
                  </a:lnTo>
                  <a:lnTo>
                    <a:pt x="454" y="2050"/>
                  </a:lnTo>
                  <a:lnTo>
                    <a:pt x="444" y="2066"/>
                  </a:lnTo>
                  <a:lnTo>
                    <a:pt x="434" y="2086"/>
                  </a:lnTo>
                  <a:lnTo>
                    <a:pt x="434" y="2086"/>
                  </a:lnTo>
                  <a:lnTo>
                    <a:pt x="426" y="2104"/>
                  </a:lnTo>
                  <a:lnTo>
                    <a:pt x="422" y="2118"/>
                  </a:lnTo>
                  <a:lnTo>
                    <a:pt x="422" y="2122"/>
                  </a:lnTo>
                  <a:lnTo>
                    <a:pt x="422" y="2126"/>
                  </a:lnTo>
                  <a:lnTo>
                    <a:pt x="426" y="2130"/>
                  </a:lnTo>
                  <a:lnTo>
                    <a:pt x="430" y="2130"/>
                  </a:lnTo>
                  <a:lnTo>
                    <a:pt x="430" y="2130"/>
                  </a:lnTo>
                  <a:close/>
                  <a:moveTo>
                    <a:pt x="438" y="2084"/>
                  </a:moveTo>
                  <a:lnTo>
                    <a:pt x="438" y="2084"/>
                  </a:lnTo>
                  <a:lnTo>
                    <a:pt x="444" y="2072"/>
                  </a:lnTo>
                  <a:lnTo>
                    <a:pt x="450" y="2064"/>
                  </a:lnTo>
                  <a:lnTo>
                    <a:pt x="456" y="2058"/>
                  </a:lnTo>
                  <a:lnTo>
                    <a:pt x="462" y="2056"/>
                  </a:lnTo>
                  <a:lnTo>
                    <a:pt x="462" y="2056"/>
                  </a:lnTo>
                  <a:lnTo>
                    <a:pt x="468" y="2058"/>
                  </a:lnTo>
                  <a:lnTo>
                    <a:pt x="472" y="2064"/>
                  </a:lnTo>
                  <a:lnTo>
                    <a:pt x="472" y="2072"/>
                  </a:lnTo>
                  <a:lnTo>
                    <a:pt x="468" y="2084"/>
                  </a:lnTo>
                  <a:lnTo>
                    <a:pt x="468" y="2084"/>
                  </a:lnTo>
                  <a:lnTo>
                    <a:pt x="462" y="2096"/>
                  </a:lnTo>
                  <a:lnTo>
                    <a:pt x="454" y="2104"/>
                  </a:lnTo>
                  <a:lnTo>
                    <a:pt x="446" y="2110"/>
                  </a:lnTo>
                  <a:lnTo>
                    <a:pt x="438" y="2112"/>
                  </a:lnTo>
                  <a:lnTo>
                    <a:pt x="438" y="2112"/>
                  </a:lnTo>
                  <a:lnTo>
                    <a:pt x="434" y="2112"/>
                  </a:lnTo>
                  <a:lnTo>
                    <a:pt x="432" y="2110"/>
                  </a:lnTo>
                  <a:lnTo>
                    <a:pt x="430" y="2104"/>
                  </a:lnTo>
                  <a:lnTo>
                    <a:pt x="432" y="2096"/>
                  </a:lnTo>
                  <a:lnTo>
                    <a:pt x="438" y="2084"/>
                  </a:lnTo>
                  <a:lnTo>
                    <a:pt x="438" y="2084"/>
                  </a:lnTo>
                  <a:close/>
                  <a:moveTo>
                    <a:pt x="520" y="1952"/>
                  </a:moveTo>
                  <a:lnTo>
                    <a:pt x="520" y="1952"/>
                  </a:lnTo>
                  <a:lnTo>
                    <a:pt x="508" y="1976"/>
                  </a:lnTo>
                  <a:lnTo>
                    <a:pt x="508" y="1976"/>
                  </a:lnTo>
                  <a:lnTo>
                    <a:pt x="510" y="1980"/>
                  </a:lnTo>
                  <a:lnTo>
                    <a:pt x="510" y="1980"/>
                  </a:lnTo>
                  <a:lnTo>
                    <a:pt x="526" y="1950"/>
                  </a:lnTo>
                  <a:lnTo>
                    <a:pt x="526" y="1950"/>
                  </a:lnTo>
                  <a:lnTo>
                    <a:pt x="532" y="1934"/>
                  </a:lnTo>
                  <a:lnTo>
                    <a:pt x="512" y="1934"/>
                  </a:lnTo>
                  <a:lnTo>
                    <a:pt x="512" y="1934"/>
                  </a:lnTo>
                  <a:lnTo>
                    <a:pt x="502" y="1952"/>
                  </a:lnTo>
                  <a:lnTo>
                    <a:pt x="520" y="1952"/>
                  </a:lnTo>
                  <a:lnTo>
                    <a:pt x="520" y="1952"/>
                  </a:lnTo>
                  <a:lnTo>
                    <a:pt x="520" y="1952"/>
                  </a:lnTo>
                  <a:lnTo>
                    <a:pt x="520" y="1952"/>
                  </a:lnTo>
                  <a:close/>
                  <a:moveTo>
                    <a:pt x="588" y="1788"/>
                  </a:moveTo>
                  <a:lnTo>
                    <a:pt x="588" y="1788"/>
                  </a:lnTo>
                  <a:lnTo>
                    <a:pt x="588" y="1784"/>
                  </a:lnTo>
                  <a:lnTo>
                    <a:pt x="588" y="1784"/>
                  </a:lnTo>
                  <a:lnTo>
                    <a:pt x="584" y="1792"/>
                  </a:lnTo>
                  <a:lnTo>
                    <a:pt x="576" y="1812"/>
                  </a:lnTo>
                  <a:lnTo>
                    <a:pt x="576" y="1812"/>
                  </a:lnTo>
                  <a:lnTo>
                    <a:pt x="566" y="1830"/>
                  </a:lnTo>
                  <a:lnTo>
                    <a:pt x="562" y="1840"/>
                  </a:lnTo>
                  <a:lnTo>
                    <a:pt x="562" y="1840"/>
                  </a:lnTo>
                  <a:lnTo>
                    <a:pt x="576" y="1814"/>
                  </a:lnTo>
                  <a:lnTo>
                    <a:pt x="576" y="1814"/>
                  </a:lnTo>
                  <a:lnTo>
                    <a:pt x="588" y="1788"/>
                  </a:lnTo>
                  <a:lnTo>
                    <a:pt x="588" y="1788"/>
                  </a:lnTo>
                  <a:close/>
                  <a:moveTo>
                    <a:pt x="588" y="1788"/>
                  </a:moveTo>
                  <a:lnTo>
                    <a:pt x="588" y="1788"/>
                  </a:lnTo>
                  <a:lnTo>
                    <a:pt x="586" y="1798"/>
                  </a:lnTo>
                  <a:lnTo>
                    <a:pt x="580" y="1812"/>
                  </a:lnTo>
                  <a:lnTo>
                    <a:pt x="580" y="1812"/>
                  </a:lnTo>
                  <a:lnTo>
                    <a:pt x="574" y="1824"/>
                  </a:lnTo>
                  <a:lnTo>
                    <a:pt x="570" y="1832"/>
                  </a:lnTo>
                  <a:lnTo>
                    <a:pt x="564" y="1838"/>
                  </a:lnTo>
                  <a:lnTo>
                    <a:pt x="562" y="1840"/>
                  </a:lnTo>
                  <a:lnTo>
                    <a:pt x="562" y="1840"/>
                  </a:lnTo>
                  <a:lnTo>
                    <a:pt x="562" y="1840"/>
                  </a:lnTo>
                  <a:lnTo>
                    <a:pt x="562" y="1840"/>
                  </a:lnTo>
                  <a:lnTo>
                    <a:pt x="554" y="1854"/>
                  </a:lnTo>
                  <a:lnTo>
                    <a:pt x="552" y="1856"/>
                  </a:lnTo>
                  <a:lnTo>
                    <a:pt x="554" y="1858"/>
                  </a:lnTo>
                  <a:lnTo>
                    <a:pt x="554" y="1858"/>
                  </a:lnTo>
                  <a:lnTo>
                    <a:pt x="558" y="1854"/>
                  </a:lnTo>
                  <a:lnTo>
                    <a:pt x="566" y="1846"/>
                  </a:lnTo>
                  <a:lnTo>
                    <a:pt x="574" y="1830"/>
                  </a:lnTo>
                  <a:lnTo>
                    <a:pt x="582" y="1812"/>
                  </a:lnTo>
                  <a:lnTo>
                    <a:pt x="582" y="1812"/>
                  </a:lnTo>
                  <a:lnTo>
                    <a:pt x="590" y="1792"/>
                  </a:lnTo>
                  <a:lnTo>
                    <a:pt x="594" y="1778"/>
                  </a:lnTo>
                  <a:lnTo>
                    <a:pt x="596" y="1766"/>
                  </a:lnTo>
                  <a:lnTo>
                    <a:pt x="596" y="1766"/>
                  </a:lnTo>
                  <a:lnTo>
                    <a:pt x="588" y="1788"/>
                  </a:lnTo>
                  <a:lnTo>
                    <a:pt x="588" y="1788"/>
                  </a:lnTo>
                  <a:close/>
                  <a:moveTo>
                    <a:pt x="660" y="1630"/>
                  </a:moveTo>
                  <a:lnTo>
                    <a:pt x="660" y="1630"/>
                  </a:lnTo>
                  <a:lnTo>
                    <a:pt x="656" y="1632"/>
                  </a:lnTo>
                  <a:lnTo>
                    <a:pt x="654" y="1638"/>
                  </a:lnTo>
                  <a:lnTo>
                    <a:pt x="646" y="1656"/>
                  </a:lnTo>
                  <a:lnTo>
                    <a:pt x="646" y="1656"/>
                  </a:lnTo>
                  <a:lnTo>
                    <a:pt x="648" y="1650"/>
                  </a:lnTo>
                  <a:lnTo>
                    <a:pt x="650" y="1650"/>
                  </a:lnTo>
                  <a:lnTo>
                    <a:pt x="650" y="1650"/>
                  </a:lnTo>
                  <a:lnTo>
                    <a:pt x="652" y="1650"/>
                  </a:lnTo>
                  <a:lnTo>
                    <a:pt x="652" y="1656"/>
                  </a:lnTo>
                  <a:lnTo>
                    <a:pt x="650" y="1664"/>
                  </a:lnTo>
                  <a:lnTo>
                    <a:pt x="646" y="1676"/>
                  </a:lnTo>
                  <a:lnTo>
                    <a:pt x="646" y="1676"/>
                  </a:lnTo>
                  <a:lnTo>
                    <a:pt x="638" y="1688"/>
                  </a:lnTo>
                  <a:lnTo>
                    <a:pt x="632" y="1698"/>
                  </a:lnTo>
                  <a:lnTo>
                    <a:pt x="632" y="1698"/>
                  </a:lnTo>
                  <a:lnTo>
                    <a:pt x="630" y="1704"/>
                  </a:lnTo>
                  <a:lnTo>
                    <a:pt x="630" y="1704"/>
                  </a:lnTo>
                  <a:lnTo>
                    <a:pt x="628" y="1708"/>
                  </a:lnTo>
                  <a:lnTo>
                    <a:pt x="628" y="1708"/>
                  </a:lnTo>
                  <a:lnTo>
                    <a:pt x="628" y="1702"/>
                  </a:lnTo>
                  <a:lnTo>
                    <a:pt x="628" y="1702"/>
                  </a:lnTo>
                  <a:lnTo>
                    <a:pt x="626" y="1704"/>
                  </a:lnTo>
                  <a:lnTo>
                    <a:pt x="626" y="1704"/>
                  </a:lnTo>
                  <a:lnTo>
                    <a:pt x="626" y="1704"/>
                  </a:lnTo>
                  <a:lnTo>
                    <a:pt x="626" y="1704"/>
                  </a:lnTo>
                  <a:lnTo>
                    <a:pt x="616" y="1722"/>
                  </a:lnTo>
                  <a:lnTo>
                    <a:pt x="616" y="1722"/>
                  </a:lnTo>
                  <a:lnTo>
                    <a:pt x="628" y="1710"/>
                  </a:lnTo>
                  <a:lnTo>
                    <a:pt x="638" y="1696"/>
                  </a:lnTo>
                  <a:lnTo>
                    <a:pt x="648" y="1678"/>
                  </a:lnTo>
                  <a:lnTo>
                    <a:pt x="648" y="1678"/>
                  </a:lnTo>
                  <a:lnTo>
                    <a:pt x="656" y="1658"/>
                  </a:lnTo>
                  <a:lnTo>
                    <a:pt x="662" y="1644"/>
                  </a:lnTo>
                  <a:lnTo>
                    <a:pt x="662" y="1634"/>
                  </a:lnTo>
                  <a:lnTo>
                    <a:pt x="660" y="1632"/>
                  </a:lnTo>
                  <a:lnTo>
                    <a:pt x="660" y="1630"/>
                  </a:lnTo>
                  <a:lnTo>
                    <a:pt x="660" y="1630"/>
                  </a:lnTo>
                  <a:close/>
                  <a:moveTo>
                    <a:pt x="630" y="1694"/>
                  </a:moveTo>
                  <a:lnTo>
                    <a:pt x="630" y="1694"/>
                  </a:lnTo>
                  <a:lnTo>
                    <a:pt x="626" y="1704"/>
                  </a:lnTo>
                  <a:lnTo>
                    <a:pt x="626" y="1704"/>
                  </a:lnTo>
                  <a:lnTo>
                    <a:pt x="630" y="1696"/>
                  </a:lnTo>
                  <a:lnTo>
                    <a:pt x="630" y="1696"/>
                  </a:lnTo>
                  <a:lnTo>
                    <a:pt x="630" y="1694"/>
                  </a:lnTo>
                  <a:lnTo>
                    <a:pt x="630" y="1694"/>
                  </a:lnTo>
                  <a:close/>
                  <a:moveTo>
                    <a:pt x="646" y="1656"/>
                  </a:moveTo>
                  <a:lnTo>
                    <a:pt x="646" y="1656"/>
                  </a:lnTo>
                  <a:lnTo>
                    <a:pt x="642" y="1664"/>
                  </a:lnTo>
                  <a:lnTo>
                    <a:pt x="642" y="1664"/>
                  </a:lnTo>
                  <a:lnTo>
                    <a:pt x="642" y="1664"/>
                  </a:lnTo>
                  <a:lnTo>
                    <a:pt x="646" y="1656"/>
                  </a:lnTo>
                  <a:lnTo>
                    <a:pt x="646" y="1656"/>
                  </a:lnTo>
                  <a:close/>
                  <a:moveTo>
                    <a:pt x="636" y="1680"/>
                  </a:moveTo>
                  <a:lnTo>
                    <a:pt x="636" y="1680"/>
                  </a:lnTo>
                  <a:lnTo>
                    <a:pt x="634" y="1684"/>
                  </a:lnTo>
                  <a:lnTo>
                    <a:pt x="634" y="1684"/>
                  </a:lnTo>
                  <a:lnTo>
                    <a:pt x="634" y="1686"/>
                  </a:lnTo>
                  <a:lnTo>
                    <a:pt x="634" y="1686"/>
                  </a:lnTo>
                  <a:lnTo>
                    <a:pt x="636" y="1680"/>
                  </a:lnTo>
                  <a:lnTo>
                    <a:pt x="636" y="1680"/>
                  </a:lnTo>
                  <a:close/>
                  <a:moveTo>
                    <a:pt x="722" y="1494"/>
                  </a:moveTo>
                  <a:lnTo>
                    <a:pt x="722" y="1494"/>
                  </a:lnTo>
                  <a:lnTo>
                    <a:pt x="718" y="1496"/>
                  </a:lnTo>
                  <a:lnTo>
                    <a:pt x="714" y="1498"/>
                  </a:lnTo>
                  <a:lnTo>
                    <a:pt x="708" y="1506"/>
                  </a:lnTo>
                  <a:lnTo>
                    <a:pt x="700" y="1520"/>
                  </a:lnTo>
                  <a:lnTo>
                    <a:pt x="692" y="1540"/>
                  </a:lnTo>
                  <a:lnTo>
                    <a:pt x="692" y="1540"/>
                  </a:lnTo>
                  <a:lnTo>
                    <a:pt x="680" y="1574"/>
                  </a:lnTo>
                  <a:lnTo>
                    <a:pt x="678" y="1584"/>
                  </a:lnTo>
                  <a:lnTo>
                    <a:pt x="678" y="1586"/>
                  </a:lnTo>
                  <a:lnTo>
                    <a:pt x="680" y="1586"/>
                  </a:lnTo>
                  <a:lnTo>
                    <a:pt x="680" y="1586"/>
                  </a:lnTo>
                  <a:lnTo>
                    <a:pt x="686" y="1584"/>
                  </a:lnTo>
                  <a:lnTo>
                    <a:pt x="696" y="1574"/>
                  </a:lnTo>
                  <a:lnTo>
                    <a:pt x="708" y="1560"/>
                  </a:lnTo>
                  <a:lnTo>
                    <a:pt x="720" y="1542"/>
                  </a:lnTo>
                  <a:lnTo>
                    <a:pt x="720" y="1542"/>
                  </a:lnTo>
                  <a:lnTo>
                    <a:pt x="728" y="1522"/>
                  </a:lnTo>
                  <a:lnTo>
                    <a:pt x="730" y="1508"/>
                  </a:lnTo>
                  <a:lnTo>
                    <a:pt x="730" y="1502"/>
                  </a:lnTo>
                  <a:lnTo>
                    <a:pt x="728" y="1498"/>
                  </a:lnTo>
                  <a:lnTo>
                    <a:pt x="724" y="1496"/>
                  </a:lnTo>
                  <a:lnTo>
                    <a:pt x="722" y="1494"/>
                  </a:lnTo>
                  <a:lnTo>
                    <a:pt x="722" y="1494"/>
                  </a:lnTo>
                  <a:close/>
                  <a:moveTo>
                    <a:pt x="714" y="1540"/>
                  </a:moveTo>
                  <a:lnTo>
                    <a:pt x="714" y="1540"/>
                  </a:lnTo>
                  <a:lnTo>
                    <a:pt x="708" y="1552"/>
                  </a:lnTo>
                  <a:lnTo>
                    <a:pt x="700" y="1560"/>
                  </a:lnTo>
                  <a:lnTo>
                    <a:pt x="694" y="1566"/>
                  </a:lnTo>
                  <a:lnTo>
                    <a:pt x="688" y="1568"/>
                  </a:lnTo>
                  <a:lnTo>
                    <a:pt x="688" y="1568"/>
                  </a:lnTo>
                  <a:lnTo>
                    <a:pt x="686" y="1568"/>
                  </a:lnTo>
                  <a:lnTo>
                    <a:pt x="686" y="1566"/>
                  </a:lnTo>
                  <a:lnTo>
                    <a:pt x="686" y="1560"/>
                  </a:lnTo>
                  <a:lnTo>
                    <a:pt x="694" y="1540"/>
                  </a:lnTo>
                  <a:lnTo>
                    <a:pt x="694" y="1540"/>
                  </a:lnTo>
                  <a:lnTo>
                    <a:pt x="700" y="1528"/>
                  </a:lnTo>
                  <a:lnTo>
                    <a:pt x="704" y="1520"/>
                  </a:lnTo>
                  <a:lnTo>
                    <a:pt x="708" y="1514"/>
                  </a:lnTo>
                  <a:lnTo>
                    <a:pt x="714" y="1514"/>
                  </a:lnTo>
                  <a:lnTo>
                    <a:pt x="714" y="1514"/>
                  </a:lnTo>
                  <a:lnTo>
                    <a:pt x="718" y="1514"/>
                  </a:lnTo>
                  <a:lnTo>
                    <a:pt x="720" y="1520"/>
                  </a:lnTo>
                  <a:lnTo>
                    <a:pt x="720" y="1528"/>
                  </a:lnTo>
                  <a:lnTo>
                    <a:pt x="714" y="1540"/>
                  </a:lnTo>
                  <a:lnTo>
                    <a:pt x="714" y="1540"/>
                  </a:lnTo>
                  <a:close/>
                  <a:moveTo>
                    <a:pt x="782" y="1360"/>
                  </a:moveTo>
                  <a:lnTo>
                    <a:pt x="782" y="1360"/>
                  </a:lnTo>
                  <a:lnTo>
                    <a:pt x="778" y="1360"/>
                  </a:lnTo>
                  <a:lnTo>
                    <a:pt x="772" y="1362"/>
                  </a:lnTo>
                  <a:lnTo>
                    <a:pt x="764" y="1370"/>
                  </a:lnTo>
                  <a:lnTo>
                    <a:pt x="756" y="1384"/>
                  </a:lnTo>
                  <a:lnTo>
                    <a:pt x="746" y="1404"/>
                  </a:lnTo>
                  <a:lnTo>
                    <a:pt x="746" y="1404"/>
                  </a:lnTo>
                  <a:lnTo>
                    <a:pt x="740" y="1422"/>
                  </a:lnTo>
                  <a:lnTo>
                    <a:pt x="736" y="1438"/>
                  </a:lnTo>
                  <a:lnTo>
                    <a:pt x="736" y="1444"/>
                  </a:lnTo>
                  <a:lnTo>
                    <a:pt x="736" y="1448"/>
                  </a:lnTo>
                  <a:lnTo>
                    <a:pt x="738" y="1450"/>
                  </a:lnTo>
                  <a:lnTo>
                    <a:pt x="742" y="1450"/>
                  </a:lnTo>
                  <a:lnTo>
                    <a:pt x="742" y="1450"/>
                  </a:lnTo>
                  <a:lnTo>
                    <a:pt x="746" y="1450"/>
                  </a:lnTo>
                  <a:lnTo>
                    <a:pt x="752" y="1448"/>
                  </a:lnTo>
                  <a:lnTo>
                    <a:pt x="764" y="1438"/>
                  </a:lnTo>
                  <a:lnTo>
                    <a:pt x="778" y="1424"/>
                  </a:lnTo>
                  <a:lnTo>
                    <a:pt x="790" y="1406"/>
                  </a:lnTo>
                  <a:lnTo>
                    <a:pt x="790" y="1406"/>
                  </a:lnTo>
                  <a:lnTo>
                    <a:pt x="794" y="1396"/>
                  </a:lnTo>
                  <a:lnTo>
                    <a:pt x="796" y="1386"/>
                  </a:lnTo>
                  <a:lnTo>
                    <a:pt x="798" y="1378"/>
                  </a:lnTo>
                  <a:lnTo>
                    <a:pt x="798" y="1372"/>
                  </a:lnTo>
                  <a:lnTo>
                    <a:pt x="796" y="1366"/>
                  </a:lnTo>
                  <a:lnTo>
                    <a:pt x="792" y="1362"/>
                  </a:lnTo>
                  <a:lnTo>
                    <a:pt x="788" y="1360"/>
                  </a:lnTo>
                  <a:lnTo>
                    <a:pt x="782" y="1360"/>
                  </a:lnTo>
                  <a:lnTo>
                    <a:pt x="782" y="1360"/>
                  </a:lnTo>
                  <a:close/>
                  <a:moveTo>
                    <a:pt x="784" y="1406"/>
                  </a:moveTo>
                  <a:lnTo>
                    <a:pt x="784" y="1406"/>
                  </a:lnTo>
                  <a:lnTo>
                    <a:pt x="776" y="1416"/>
                  </a:lnTo>
                  <a:lnTo>
                    <a:pt x="768" y="1426"/>
                  </a:lnTo>
                  <a:lnTo>
                    <a:pt x="758" y="1430"/>
                  </a:lnTo>
                  <a:lnTo>
                    <a:pt x="750" y="1432"/>
                  </a:lnTo>
                  <a:lnTo>
                    <a:pt x="750" y="1432"/>
                  </a:lnTo>
                  <a:lnTo>
                    <a:pt x="748" y="1432"/>
                  </a:lnTo>
                  <a:lnTo>
                    <a:pt x="746" y="1430"/>
                  </a:lnTo>
                  <a:lnTo>
                    <a:pt x="744" y="1424"/>
                  </a:lnTo>
                  <a:lnTo>
                    <a:pt x="746" y="1416"/>
                  </a:lnTo>
                  <a:lnTo>
                    <a:pt x="750" y="1404"/>
                  </a:lnTo>
                  <a:lnTo>
                    <a:pt x="750" y="1404"/>
                  </a:lnTo>
                  <a:lnTo>
                    <a:pt x="754" y="1392"/>
                  </a:lnTo>
                  <a:lnTo>
                    <a:pt x="760" y="1384"/>
                  </a:lnTo>
                  <a:lnTo>
                    <a:pt x="768" y="1380"/>
                  </a:lnTo>
                  <a:lnTo>
                    <a:pt x="774" y="1378"/>
                  </a:lnTo>
                  <a:lnTo>
                    <a:pt x="774" y="1378"/>
                  </a:lnTo>
                  <a:lnTo>
                    <a:pt x="782" y="1380"/>
                  </a:lnTo>
                  <a:lnTo>
                    <a:pt x="784" y="1382"/>
                  </a:lnTo>
                  <a:lnTo>
                    <a:pt x="786" y="1384"/>
                  </a:lnTo>
                  <a:lnTo>
                    <a:pt x="788" y="1388"/>
                  </a:lnTo>
                  <a:lnTo>
                    <a:pt x="788" y="1392"/>
                  </a:lnTo>
                  <a:lnTo>
                    <a:pt x="784" y="1406"/>
                  </a:lnTo>
                  <a:lnTo>
                    <a:pt x="784" y="1406"/>
                  </a:lnTo>
                  <a:close/>
                  <a:moveTo>
                    <a:pt x="798" y="1272"/>
                  </a:moveTo>
                  <a:lnTo>
                    <a:pt x="798" y="1272"/>
                  </a:lnTo>
                  <a:lnTo>
                    <a:pt x="792" y="1300"/>
                  </a:lnTo>
                  <a:lnTo>
                    <a:pt x="792" y="1300"/>
                  </a:lnTo>
                  <a:lnTo>
                    <a:pt x="798" y="1298"/>
                  </a:lnTo>
                  <a:lnTo>
                    <a:pt x="798" y="1298"/>
                  </a:lnTo>
                  <a:lnTo>
                    <a:pt x="802" y="1274"/>
                  </a:lnTo>
                  <a:lnTo>
                    <a:pt x="802" y="1274"/>
                  </a:lnTo>
                  <a:lnTo>
                    <a:pt x="802" y="1274"/>
                  </a:lnTo>
                  <a:lnTo>
                    <a:pt x="854" y="1274"/>
                  </a:lnTo>
                  <a:lnTo>
                    <a:pt x="854" y="1274"/>
                  </a:lnTo>
                  <a:lnTo>
                    <a:pt x="862" y="1256"/>
                  </a:lnTo>
                  <a:lnTo>
                    <a:pt x="804" y="1256"/>
                  </a:lnTo>
                  <a:lnTo>
                    <a:pt x="804" y="1256"/>
                  </a:lnTo>
                  <a:lnTo>
                    <a:pt x="798" y="1272"/>
                  </a:lnTo>
                  <a:lnTo>
                    <a:pt x="798" y="1272"/>
                  </a:lnTo>
                  <a:close/>
                  <a:moveTo>
                    <a:pt x="898" y="1088"/>
                  </a:moveTo>
                  <a:lnTo>
                    <a:pt x="898" y="1088"/>
                  </a:lnTo>
                  <a:lnTo>
                    <a:pt x="888" y="1088"/>
                  </a:lnTo>
                  <a:lnTo>
                    <a:pt x="882" y="1090"/>
                  </a:lnTo>
                  <a:lnTo>
                    <a:pt x="874" y="1094"/>
                  </a:lnTo>
                  <a:lnTo>
                    <a:pt x="868" y="1100"/>
                  </a:lnTo>
                  <a:lnTo>
                    <a:pt x="862" y="1106"/>
                  </a:lnTo>
                  <a:lnTo>
                    <a:pt x="858" y="1114"/>
                  </a:lnTo>
                  <a:lnTo>
                    <a:pt x="850" y="1132"/>
                  </a:lnTo>
                  <a:lnTo>
                    <a:pt x="850" y="1132"/>
                  </a:lnTo>
                  <a:lnTo>
                    <a:pt x="844" y="1152"/>
                  </a:lnTo>
                  <a:lnTo>
                    <a:pt x="842" y="1160"/>
                  </a:lnTo>
                  <a:lnTo>
                    <a:pt x="844" y="1166"/>
                  </a:lnTo>
                  <a:lnTo>
                    <a:pt x="846" y="1172"/>
                  </a:lnTo>
                  <a:lnTo>
                    <a:pt x="848" y="1176"/>
                  </a:lnTo>
                  <a:lnTo>
                    <a:pt x="854" y="1178"/>
                  </a:lnTo>
                  <a:lnTo>
                    <a:pt x="860" y="1180"/>
                  </a:lnTo>
                  <a:lnTo>
                    <a:pt x="860" y="1180"/>
                  </a:lnTo>
                  <a:lnTo>
                    <a:pt x="868" y="1178"/>
                  </a:lnTo>
                  <a:lnTo>
                    <a:pt x="878" y="1176"/>
                  </a:lnTo>
                  <a:lnTo>
                    <a:pt x="886" y="1172"/>
                  </a:lnTo>
                  <a:lnTo>
                    <a:pt x="894" y="1166"/>
                  </a:lnTo>
                  <a:lnTo>
                    <a:pt x="902" y="1160"/>
                  </a:lnTo>
                  <a:lnTo>
                    <a:pt x="910" y="1152"/>
                  </a:lnTo>
                  <a:lnTo>
                    <a:pt x="916" y="1144"/>
                  </a:lnTo>
                  <a:lnTo>
                    <a:pt x="922" y="1134"/>
                  </a:lnTo>
                  <a:lnTo>
                    <a:pt x="922" y="1134"/>
                  </a:lnTo>
                  <a:lnTo>
                    <a:pt x="926" y="1124"/>
                  </a:lnTo>
                  <a:lnTo>
                    <a:pt x="928" y="1114"/>
                  </a:lnTo>
                  <a:lnTo>
                    <a:pt x="926" y="1106"/>
                  </a:lnTo>
                  <a:lnTo>
                    <a:pt x="924" y="1100"/>
                  </a:lnTo>
                  <a:lnTo>
                    <a:pt x="920" y="1094"/>
                  </a:lnTo>
                  <a:lnTo>
                    <a:pt x="914" y="1090"/>
                  </a:lnTo>
                  <a:lnTo>
                    <a:pt x="906" y="1088"/>
                  </a:lnTo>
                  <a:lnTo>
                    <a:pt x="898" y="1088"/>
                  </a:lnTo>
                  <a:lnTo>
                    <a:pt x="898" y="1088"/>
                  </a:lnTo>
                  <a:close/>
                  <a:moveTo>
                    <a:pt x="912" y="1134"/>
                  </a:moveTo>
                  <a:lnTo>
                    <a:pt x="912" y="1134"/>
                  </a:lnTo>
                  <a:lnTo>
                    <a:pt x="904" y="1144"/>
                  </a:lnTo>
                  <a:lnTo>
                    <a:pt x="894" y="1154"/>
                  </a:lnTo>
                  <a:lnTo>
                    <a:pt x="882" y="1158"/>
                  </a:lnTo>
                  <a:lnTo>
                    <a:pt x="868" y="1160"/>
                  </a:lnTo>
                  <a:lnTo>
                    <a:pt x="868" y="1160"/>
                  </a:lnTo>
                  <a:lnTo>
                    <a:pt x="862" y="1160"/>
                  </a:lnTo>
                  <a:lnTo>
                    <a:pt x="858" y="1158"/>
                  </a:lnTo>
                  <a:lnTo>
                    <a:pt x="854" y="1156"/>
                  </a:lnTo>
                  <a:lnTo>
                    <a:pt x="852" y="1154"/>
                  </a:lnTo>
                  <a:lnTo>
                    <a:pt x="852" y="1144"/>
                  </a:lnTo>
                  <a:lnTo>
                    <a:pt x="854" y="1134"/>
                  </a:lnTo>
                  <a:lnTo>
                    <a:pt x="854" y="1134"/>
                  </a:lnTo>
                  <a:lnTo>
                    <a:pt x="860" y="1120"/>
                  </a:lnTo>
                  <a:lnTo>
                    <a:pt x="868" y="1112"/>
                  </a:lnTo>
                  <a:lnTo>
                    <a:pt x="878" y="1108"/>
                  </a:lnTo>
                  <a:lnTo>
                    <a:pt x="890" y="1106"/>
                  </a:lnTo>
                  <a:lnTo>
                    <a:pt x="890" y="1106"/>
                  </a:lnTo>
                  <a:lnTo>
                    <a:pt x="902" y="1108"/>
                  </a:lnTo>
                  <a:lnTo>
                    <a:pt x="908" y="1110"/>
                  </a:lnTo>
                  <a:lnTo>
                    <a:pt x="912" y="1112"/>
                  </a:lnTo>
                  <a:lnTo>
                    <a:pt x="914" y="1116"/>
                  </a:lnTo>
                  <a:lnTo>
                    <a:pt x="916" y="1122"/>
                  </a:lnTo>
                  <a:lnTo>
                    <a:pt x="914" y="1126"/>
                  </a:lnTo>
                  <a:lnTo>
                    <a:pt x="912" y="1134"/>
                  </a:lnTo>
                  <a:lnTo>
                    <a:pt x="912" y="1134"/>
                  </a:lnTo>
                  <a:close/>
                  <a:moveTo>
                    <a:pt x="950" y="952"/>
                  </a:moveTo>
                  <a:lnTo>
                    <a:pt x="950" y="952"/>
                  </a:lnTo>
                  <a:lnTo>
                    <a:pt x="940" y="952"/>
                  </a:lnTo>
                  <a:lnTo>
                    <a:pt x="930" y="954"/>
                  </a:lnTo>
                  <a:lnTo>
                    <a:pt x="922" y="958"/>
                  </a:lnTo>
                  <a:lnTo>
                    <a:pt x="916" y="964"/>
                  </a:lnTo>
                  <a:lnTo>
                    <a:pt x="910" y="970"/>
                  </a:lnTo>
                  <a:lnTo>
                    <a:pt x="904" y="978"/>
                  </a:lnTo>
                  <a:lnTo>
                    <a:pt x="896" y="996"/>
                  </a:lnTo>
                  <a:lnTo>
                    <a:pt x="896" y="996"/>
                  </a:lnTo>
                  <a:lnTo>
                    <a:pt x="892" y="1016"/>
                  </a:lnTo>
                  <a:lnTo>
                    <a:pt x="892" y="1024"/>
                  </a:lnTo>
                  <a:lnTo>
                    <a:pt x="892" y="1030"/>
                  </a:lnTo>
                  <a:lnTo>
                    <a:pt x="896" y="1036"/>
                  </a:lnTo>
                  <a:lnTo>
                    <a:pt x="900" y="1040"/>
                  </a:lnTo>
                  <a:lnTo>
                    <a:pt x="906" y="1042"/>
                  </a:lnTo>
                  <a:lnTo>
                    <a:pt x="916" y="1044"/>
                  </a:lnTo>
                  <a:lnTo>
                    <a:pt x="916" y="1044"/>
                  </a:lnTo>
                  <a:lnTo>
                    <a:pt x="926" y="1042"/>
                  </a:lnTo>
                  <a:lnTo>
                    <a:pt x="936" y="1040"/>
                  </a:lnTo>
                  <a:lnTo>
                    <a:pt x="946" y="1036"/>
                  </a:lnTo>
                  <a:lnTo>
                    <a:pt x="954" y="1030"/>
                  </a:lnTo>
                  <a:lnTo>
                    <a:pt x="964" y="1024"/>
                  </a:lnTo>
                  <a:lnTo>
                    <a:pt x="972" y="1016"/>
                  </a:lnTo>
                  <a:lnTo>
                    <a:pt x="978" y="1008"/>
                  </a:lnTo>
                  <a:lnTo>
                    <a:pt x="984" y="998"/>
                  </a:lnTo>
                  <a:lnTo>
                    <a:pt x="984" y="998"/>
                  </a:lnTo>
                  <a:lnTo>
                    <a:pt x="986" y="988"/>
                  </a:lnTo>
                  <a:lnTo>
                    <a:pt x="988" y="978"/>
                  </a:lnTo>
                  <a:lnTo>
                    <a:pt x="986" y="970"/>
                  </a:lnTo>
                  <a:lnTo>
                    <a:pt x="982" y="964"/>
                  </a:lnTo>
                  <a:lnTo>
                    <a:pt x="976" y="958"/>
                  </a:lnTo>
                  <a:lnTo>
                    <a:pt x="968" y="954"/>
                  </a:lnTo>
                  <a:lnTo>
                    <a:pt x="960" y="952"/>
                  </a:lnTo>
                  <a:lnTo>
                    <a:pt x="950" y="952"/>
                  </a:lnTo>
                  <a:lnTo>
                    <a:pt x="950" y="952"/>
                  </a:lnTo>
                  <a:close/>
                  <a:moveTo>
                    <a:pt x="972" y="998"/>
                  </a:moveTo>
                  <a:lnTo>
                    <a:pt x="972" y="998"/>
                  </a:lnTo>
                  <a:lnTo>
                    <a:pt x="968" y="1004"/>
                  </a:lnTo>
                  <a:lnTo>
                    <a:pt x="964" y="1008"/>
                  </a:lnTo>
                  <a:lnTo>
                    <a:pt x="952" y="1018"/>
                  </a:lnTo>
                  <a:lnTo>
                    <a:pt x="938" y="1024"/>
                  </a:lnTo>
                  <a:lnTo>
                    <a:pt x="922" y="1026"/>
                  </a:lnTo>
                  <a:lnTo>
                    <a:pt x="922" y="1026"/>
                  </a:lnTo>
                  <a:lnTo>
                    <a:pt x="916" y="1024"/>
                  </a:lnTo>
                  <a:lnTo>
                    <a:pt x="910" y="1024"/>
                  </a:lnTo>
                  <a:lnTo>
                    <a:pt x="906" y="1020"/>
                  </a:lnTo>
                  <a:lnTo>
                    <a:pt x="902" y="1018"/>
                  </a:lnTo>
                  <a:lnTo>
                    <a:pt x="900" y="1014"/>
                  </a:lnTo>
                  <a:lnTo>
                    <a:pt x="900" y="1008"/>
                  </a:lnTo>
                  <a:lnTo>
                    <a:pt x="902" y="998"/>
                  </a:lnTo>
                  <a:lnTo>
                    <a:pt x="902" y="998"/>
                  </a:lnTo>
                  <a:lnTo>
                    <a:pt x="908" y="986"/>
                  </a:lnTo>
                  <a:lnTo>
                    <a:pt x="918" y="976"/>
                  </a:lnTo>
                  <a:lnTo>
                    <a:pt x="928" y="972"/>
                  </a:lnTo>
                  <a:lnTo>
                    <a:pt x="942" y="970"/>
                  </a:lnTo>
                  <a:lnTo>
                    <a:pt x="942" y="970"/>
                  </a:lnTo>
                  <a:lnTo>
                    <a:pt x="958" y="972"/>
                  </a:lnTo>
                  <a:lnTo>
                    <a:pt x="964" y="974"/>
                  </a:lnTo>
                  <a:lnTo>
                    <a:pt x="968" y="976"/>
                  </a:lnTo>
                  <a:lnTo>
                    <a:pt x="972" y="980"/>
                  </a:lnTo>
                  <a:lnTo>
                    <a:pt x="974" y="986"/>
                  </a:lnTo>
                  <a:lnTo>
                    <a:pt x="974" y="992"/>
                  </a:lnTo>
                  <a:lnTo>
                    <a:pt x="972" y="998"/>
                  </a:lnTo>
                  <a:lnTo>
                    <a:pt x="972" y="998"/>
                  </a:lnTo>
                  <a:close/>
                  <a:moveTo>
                    <a:pt x="996" y="816"/>
                  </a:moveTo>
                  <a:lnTo>
                    <a:pt x="996" y="816"/>
                  </a:lnTo>
                  <a:lnTo>
                    <a:pt x="986" y="816"/>
                  </a:lnTo>
                  <a:lnTo>
                    <a:pt x="976" y="818"/>
                  </a:lnTo>
                  <a:lnTo>
                    <a:pt x="968" y="822"/>
                  </a:lnTo>
                  <a:lnTo>
                    <a:pt x="960" y="828"/>
                  </a:lnTo>
                  <a:lnTo>
                    <a:pt x="952" y="834"/>
                  </a:lnTo>
                  <a:lnTo>
                    <a:pt x="948" y="842"/>
                  </a:lnTo>
                  <a:lnTo>
                    <a:pt x="942" y="850"/>
                  </a:lnTo>
                  <a:lnTo>
                    <a:pt x="940" y="860"/>
                  </a:lnTo>
                  <a:lnTo>
                    <a:pt x="940" y="860"/>
                  </a:lnTo>
                  <a:lnTo>
                    <a:pt x="936" y="870"/>
                  </a:lnTo>
                  <a:lnTo>
                    <a:pt x="936" y="880"/>
                  </a:lnTo>
                  <a:lnTo>
                    <a:pt x="936" y="888"/>
                  </a:lnTo>
                  <a:lnTo>
                    <a:pt x="938" y="894"/>
                  </a:lnTo>
                  <a:lnTo>
                    <a:pt x="942" y="900"/>
                  </a:lnTo>
                  <a:lnTo>
                    <a:pt x="948" y="904"/>
                  </a:lnTo>
                  <a:lnTo>
                    <a:pt x="956" y="906"/>
                  </a:lnTo>
                  <a:lnTo>
                    <a:pt x="966" y="908"/>
                  </a:lnTo>
                  <a:lnTo>
                    <a:pt x="966" y="908"/>
                  </a:lnTo>
                  <a:lnTo>
                    <a:pt x="978" y="906"/>
                  </a:lnTo>
                  <a:lnTo>
                    <a:pt x="988" y="904"/>
                  </a:lnTo>
                  <a:lnTo>
                    <a:pt x="1000" y="900"/>
                  </a:lnTo>
                  <a:lnTo>
                    <a:pt x="1010" y="896"/>
                  </a:lnTo>
                  <a:lnTo>
                    <a:pt x="1020" y="888"/>
                  </a:lnTo>
                  <a:lnTo>
                    <a:pt x="1028" y="880"/>
                  </a:lnTo>
                  <a:lnTo>
                    <a:pt x="1034" y="872"/>
                  </a:lnTo>
                  <a:lnTo>
                    <a:pt x="1040" y="862"/>
                  </a:lnTo>
                  <a:lnTo>
                    <a:pt x="1040" y="862"/>
                  </a:lnTo>
                  <a:lnTo>
                    <a:pt x="1042" y="852"/>
                  </a:lnTo>
                  <a:lnTo>
                    <a:pt x="1042" y="842"/>
                  </a:lnTo>
                  <a:lnTo>
                    <a:pt x="1040" y="834"/>
                  </a:lnTo>
                  <a:lnTo>
                    <a:pt x="1034" y="828"/>
                  </a:lnTo>
                  <a:lnTo>
                    <a:pt x="1028" y="822"/>
                  </a:lnTo>
                  <a:lnTo>
                    <a:pt x="1020" y="818"/>
                  </a:lnTo>
                  <a:lnTo>
                    <a:pt x="1008" y="816"/>
                  </a:lnTo>
                  <a:lnTo>
                    <a:pt x="996" y="816"/>
                  </a:lnTo>
                  <a:lnTo>
                    <a:pt x="996" y="816"/>
                  </a:lnTo>
                  <a:close/>
                  <a:moveTo>
                    <a:pt x="1026" y="862"/>
                  </a:moveTo>
                  <a:lnTo>
                    <a:pt x="1026" y="862"/>
                  </a:lnTo>
                  <a:lnTo>
                    <a:pt x="1024" y="868"/>
                  </a:lnTo>
                  <a:lnTo>
                    <a:pt x="1018" y="874"/>
                  </a:lnTo>
                  <a:lnTo>
                    <a:pt x="1006" y="882"/>
                  </a:lnTo>
                  <a:lnTo>
                    <a:pt x="990" y="888"/>
                  </a:lnTo>
                  <a:lnTo>
                    <a:pt x="974" y="890"/>
                  </a:lnTo>
                  <a:lnTo>
                    <a:pt x="974" y="890"/>
                  </a:lnTo>
                  <a:lnTo>
                    <a:pt x="964" y="888"/>
                  </a:lnTo>
                  <a:lnTo>
                    <a:pt x="958" y="888"/>
                  </a:lnTo>
                  <a:lnTo>
                    <a:pt x="952" y="884"/>
                  </a:lnTo>
                  <a:lnTo>
                    <a:pt x="948" y="882"/>
                  </a:lnTo>
                  <a:lnTo>
                    <a:pt x="946" y="878"/>
                  </a:lnTo>
                  <a:lnTo>
                    <a:pt x="946" y="872"/>
                  </a:lnTo>
                  <a:lnTo>
                    <a:pt x="946" y="862"/>
                  </a:lnTo>
                  <a:lnTo>
                    <a:pt x="946" y="862"/>
                  </a:lnTo>
                  <a:lnTo>
                    <a:pt x="952" y="850"/>
                  </a:lnTo>
                  <a:lnTo>
                    <a:pt x="958" y="844"/>
                  </a:lnTo>
                  <a:lnTo>
                    <a:pt x="962" y="840"/>
                  </a:lnTo>
                  <a:lnTo>
                    <a:pt x="976" y="836"/>
                  </a:lnTo>
                  <a:lnTo>
                    <a:pt x="992" y="834"/>
                  </a:lnTo>
                  <a:lnTo>
                    <a:pt x="992" y="834"/>
                  </a:lnTo>
                  <a:lnTo>
                    <a:pt x="1008" y="836"/>
                  </a:lnTo>
                  <a:lnTo>
                    <a:pt x="1016" y="838"/>
                  </a:lnTo>
                  <a:lnTo>
                    <a:pt x="1020" y="840"/>
                  </a:lnTo>
                  <a:lnTo>
                    <a:pt x="1024" y="844"/>
                  </a:lnTo>
                  <a:lnTo>
                    <a:pt x="1028" y="850"/>
                  </a:lnTo>
                  <a:lnTo>
                    <a:pt x="1028" y="856"/>
                  </a:lnTo>
                  <a:lnTo>
                    <a:pt x="1026" y="862"/>
                  </a:lnTo>
                  <a:lnTo>
                    <a:pt x="1026" y="862"/>
                  </a:lnTo>
                  <a:close/>
                  <a:moveTo>
                    <a:pt x="1038" y="680"/>
                  </a:moveTo>
                  <a:lnTo>
                    <a:pt x="1038" y="680"/>
                  </a:lnTo>
                  <a:lnTo>
                    <a:pt x="1026" y="680"/>
                  </a:lnTo>
                  <a:lnTo>
                    <a:pt x="1016" y="682"/>
                  </a:lnTo>
                  <a:lnTo>
                    <a:pt x="1006" y="686"/>
                  </a:lnTo>
                  <a:lnTo>
                    <a:pt x="998" y="692"/>
                  </a:lnTo>
                  <a:lnTo>
                    <a:pt x="992" y="698"/>
                  </a:lnTo>
                  <a:lnTo>
                    <a:pt x="986" y="706"/>
                  </a:lnTo>
                  <a:lnTo>
                    <a:pt x="982" y="714"/>
                  </a:lnTo>
                  <a:lnTo>
                    <a:pt x="978" y="724"/>
                  </a:lnTo>
                  <a:lnTo>
                    <a:pt x="978" y="724"/>
                  </a:lnTo>
                  <a:lnTo>
                    <a:pt x="976" y="734"/>
                  </a:lnTo>
                  <a:lnTo>
                    <a:pt x="976" y="744"/>
                  </a:lnTo>
                  <a:lnTo>
                    <a:pt x="976" y="752"/>
                  </a:lnTo>
                  <a:lnTo>
                    <a:pt x="980" y="758"/>
                  </a:lnTo>
                  <a:lnTo>
                    <a:pt x="984" y="764"/>
                  </a:lnTo>
                  <a:lnTo>
                    <a:pt x="992" y="768"/>
                  </a:lnTo>
                  <a:lnTo>
                    <a:pt x="1000" y="770"/>
                  </a:lnTo>
                  <a:lnTo>
                    <a:pt x="1012" y="772"/>
                  </a:lnTo>
                  <a:lnTo>
                    <a:pt x="1012" y="772"/>
                  </a:lnTo>
                  <a:lnTo>
                    <a:pt x="1026" y="770"/>
                  </a:lnTo>
                  <a:lnTo>
                    <a:pt x="1038" y="768"/>
                  </a:lnTo>
                  <a:lnTo>
                    <a:pt x="1050" y="764"/>
                  </a:lnTo>
                  <a:lnTo>
                    <a:pt x="1060" y="760"/>
                  </a:lnTo>
                  <a:lnTo>
                    <a:pt x="1070" y="752"/>
                  </a:lnTo>
                  <a:lnTo>
                    <a:pt x="1078" y="746"/>
                  </a:lnTo>
                  <a:lnTo>
                    <a:pt x="1086" y="736"/>
                  </a:lnTo>
                  <a:lnTo>
                    <a:pt x="1090" y="726"/>
                  </a:lnTo>
                  <a:lnTo>
                    <a:pt x="1090" y="726"/>
                  </a:lnTo>
                  <a:lnTo>
                    <a:pt x="1092" y="716"/>
                  </a:lnTo>
                  <a:lnTo>
                    <a:pt x="1092" y="708"/>
                  </a:lnTo>
                  <a:lnTo>
                    <a:pt x="1088" y="698"/>
                  </a:lnTo>
                  <a:lnTo>
                    <a:pt x="1082" y="692"/>
                  </a:lnTo>
                  <a:lnTo>
                    <a:pt x="1074" y="686"/>
                  </a:lnTo>
                  <a:lnTo>
                    <a:pt x="1064" y="684"/>
                  </a:lnTo>
                  <a:lnTo>
                    <a:pt x="1052" y="680"/>
                  </a:lnTo>
                  <a:lnTo>
                    <a:pt x="1038" y="680"/>
                  </a:lnTo>
                  <a:lnTo>
                    <a:pt x="1038" y="680"/>
                  </a:lnTo>
                  <a:close/>
                  <a:moveTo>
                    <a:pt x="1076" y="726"/>
                  </a:moveTo>
                  <a:lnTo>
                    <a:pt x="1076" y="726"/>
                  </a:lnTo>
                  <a:lnTo>
                    <a:pt x="1072" y="732"/>
                  </a:lnTo>
                  <a:lnTo>
                    <a:pt x="1068" y="738"/>
                  </a:lnTo>
                  <a:lnTo>
                    <a:pt x="1062" y="742"/>
                  </a:lnTo>
                  <a:lnTo>
                    <a:pt x="1056" y="746"/>
                  </a:lnTo>
                  <a:lnTo>
                    <a:pt x="1038" y="752"/>
                  </a:lnTo>
                  <a:lnTo>
                    <a:pt x="1018" y="754"/>
                  </a:lnTo>
                  <a:lnTo>
                    <a:pt x="1018" y="754"/>
                  </a:lnTo>
                  <a:lnTo>
                    <a:pt x="1008" y="752"/>
                  </a:lnTo>
                  <a:lnTo>
                    <a:pt x="1000" y="752"/>
                  </a:lnTo>
                  <a:lnTo>
                    <a:pt x="994" y="748"/>
                  </a:lnTo>
                  <a:lnTo>
                    <a:pt x="990" y="746"/>
                  </a:lnTo>
                  <a:lnTo>
                    <a:pt x="988" y="742"/>
                  </a:lnTo>
                  <a:lnTo>
                    <a:pt x="986" y="736"/>
                  </a:lnTo>
                  <a:lnTo>
                    <a:pt x="986" y="732"/>
                  </a:lnTo>
                  <a:lnTo>
                    <a:pt x="986" y="726"/>
                  </a:lnTo>
                  <a:lnTo>
                    <a:pt x="986" y="726"/>
                  </a:lnTo>
                  <a:lnTo>
                    <a:pt x="990" y="720"/>
                  </a:lnTo>
                  <a:lnTo>
                    <a:pt x="992" y="714"/>
                  </a:lnTo>
                  <a:lnTo>
                    <a:pt x="998" y="708"/>
                  </a:lnTo>
                  <a:lnTo>
                    <a:pt x="1002" y="704"/>
                  </a:lnTo>
                  <a:lnTo>
                    <a:pt x="1016" y="700"/>
                  </a:lnTo>
                  <a:lnTo>
                    <a:pt x="1034" y="698"/>
                  </a:lnTo>
                  <a:lnTo>
                    <a:pt x="1034" y="698"/>
                  </a:lnTo>
                  <a:lnTo>
                    <a:pt x="1054" y="700"/>
                  </a:lnTo>
                  <a:lnTo>
                    <a:pt x="1062" y="702"/>
                  </a:lnTo>
                  <a:lnTo>
                    <a:pt x="1068" y="706"/>
                  </a:lnTo>
                  <a:lnTo>
                    <a:pt x="1072" y="708"/>
                  </a:lnTo>
                  <a:lnTo>
                    <a:pt x="1076" y="714"/>
                  </a:lnTo>
                  <a:lnTo>
                    <a:pt x="1076" y="720"/>
                  </a:lnTo>
                  <a:lnTo>
                    <a:pt x="1076" y="726"/>
                  </a:lnTo>
                  <a:lnTo>
                    <a:pt x="1076" y="726"/>
                  </a:lnTo>
                  <a:close/>
                  <a:moveTo>
                    <a:pt x="1076" y="544"/>
                  </a:moveTo>
                  <a:lnTo>
                    <a:pt x="1076" y="544"/>
                  </a:lnTo>
                  <a:lnTo>
                    <a:pt x="1062" y="544"/>
                  </a:lnTo>
                  <a:lnTo>
                    <a:pt x="1050" y="548"/>
                  </a:lnTo>
                  <a:lnTo>
                    <a:pt x="1040" y="550"/>
                  </a:lnTo>
                  <a:lnTo>
                    <a:pt x="1032" y="556"/>
                  </a:lnTo>
                  <a:lnTo>
                    <a:pt x="1024" y="562"/>
                  </a:lnTo>
                  <a:lnTo>
                    <a:pt x="1020" y="570"/>
                  </a:lnTo>
                  <a:lnTo>
                    <a:pt x="1014" y="578"/>
                  </a:lnTo>
                  <a:lnTo>
                    <a:pt x="1012" y="588"/>
                  </a:lnTo>
                  <a:lnTo>
                    <a:pt x="1012" y="588"/>
                  </a:lnTo>
                  <a:lnTo>
                    <a:pt x="1010" y="598"/>
                  </a:lnTo>
                  <a:lnTo>
                    <a:pt x="1010" y="608"/>
                  </a:lnTo>
                  <a:lnTo>
                    <a:pt x="1012" y="616"/>
                  </a:lnTo>
                  <a:lnTo>
                    <a:pt x="1016" y="622"/>
                  </a:lnTo>
                  <a:lnTo>
                    <a:pt x="1022" y="628"/>
                  </a:lnTo>
                  <a:lnTo>
                    <a:pt x="1030" y="632"/>
                  </a:lnTo>
                  <a:lnTo>
                    <a:pt x="1040" y="636"/>
                  </a:lnTo>
                  <a:lnTo>
                    <a:pt x="1054" y="636"/>
                  </a:lnTo>
                  <a:lnTo>
                    <a:pt x="1054" y="636"/>
                  </a:lnTo>
                  <a:lnTo>
                    <a:pt x="1066" y="636"/>
                  </a:lnTo>
                  <a:lnTo>
                    <a:pt x="1080" y="632"/>
                  </a:lnTo>
                  <a:lnTo>
                    <a:pt x="1092" y="628"/>
                  </a:lnTo>
                  <a:lnTo>
                    <a:pt x="1104" y="624"/>
                  </a:lnTo>
                  <a:lnTo>
                    <a:pt x="1114" y="616"/>
                  </a:lnTo>
                  <a:lnTo>
                    <a:pt x="1124" y="610"/>
                  </a:lnTo>
                  <a:lnTo>
                    <a:pt x="1130" y="600"/>
                  </a:lnTo>
                  <a:lnTo>
                    <a:pt x="1134" y="592"/>
                  </a:lnTo>
                  <a:lnTo>
                    <a:pt x="1134" y="592"/>
                  </a:lnTo>
                  <a:lnTo>
                    <a:pt x="1136" y="580"/>
                  </a:lnTo>
                  <a:lnTo>
                    <a:pt x="1134" y="572"/>
                  </a:lnTo>
                  <a:lnTo>
                    <a:pt x="1130" y="564"/>
                  </a:lnTo>
                  <a:lnTo>
                    <a:pt x="1122" y="556"/>
                  </a:lnTo>
                  <a:lnTo>
                    <a:pt x="1114" y="552"/>
                  </a:lnTo>
                  <a:lnTo>
                    <a:pt x="1102" y="548"/>
                  </a:lnTo>
                  <a:lnTo>
                    <a:pt x="1090" y="544"/>
                  </a:lnTo>
                  <a:lnTo>
                    <a:pt x="1076" y="544"/>
                  </a:lnTo>
                  <a:lnTo>
                    <a:pt x="1076" y="544"/>
                  </a:lnTo>
                  <a:close/>
                  <a:moveTo>
                    <a:pt x="1118" y="590"/>
                  </a:moveTo>
                  <a:lnTo>
                    <a:pt x="1118" y="590"/>
                  </a:lnTo>
                  <a:lnTo>
                    <a:pt x="1116" y="596"/>
                  </a:lnTo>
                  <a:lnTo>
                    <a:pt x="1112" y="602"/>
                  </a:lnTo>
                  <a:lnTo>
                    <a:pt x="1106" y="606"/>
                  </a:lnTo>
                  <a:lnTo>
                    <a:pt x="1098" y="610"/>
                  </a:lnTo>
                  <a:lnTo>
                    <a:pt x="1080" y="616"/>
                  </a:lnTo>
                  <a:lnTo>
                    <a:pt x="1058" y="618"/>
                  </a:lnTo>
                  <a:lnTo>
                    <a:pt x="1058" y="618"/>
                  </a:lnTo>
                  <a:lnTo>
                    <a:pt x="1048" y="618"/>
                  </a:lnTo>
                  <a:lnTo>
                    <a:pt x="1038" y="616"/>
                  </a:lnTo>
                  <a:lnTo>
                    <a:pt x="1032" y="614"/>
                  </a:lnTo>
                  <a:lnTo>
                    <a:pt x="1026" y="610"/>
                  </a:lnTo>
                  <a:lnTo>
                    <a:pt x="1024" y="606"/>
                  </a:lnTo>
                  <a:lnTo>
                    <a:pt x="1022" y="602"/>
                  </a:lnTo>
                  <a:lnTo>
                    <a:pt x="1020" y="596"/>
                  </a:lnTo>
                  <a:lnTo>
                    <a:pt x="1022" y="590"/>
                  </a:lnTo>
                  <a:lnTo>
                    <a:pt x="1022" y="590"/>
                  </a:lnTo>
                  <a:lnTo>
                    <a:pt x="1024" y="584"/>
                  </a:lnTo>
                  <a:lnTo>
                    <a:pt x="1028" y="578"/>
                  </a:lnTo>
                  <a:lnTo>
                    <a:pt x="1032" y="572"/>
                  </a:lnTo>
                  <a:lnTo>
                    <a:pt x="1038" y="570"/>
                  </a:lnTo>
                  <a:lnTo>
                    <a:pt x="1052" y="564"/>
                  </a:lnTo>
                  <a:lnTo>
                    <a:pt x="1072" y="562"/>
                  </a:lnTo>
                  <a:lnTo>
                    <a:pt x="1072" y="562"/>
                  </a:lnTo>
                  <a:lnTo>
                    <a:pt x="1092" y="564"/>
                  </a:lnTo>
                  <a:lnTo>
                    <a:pt x="1100" y="566"/>
                  </a:lnTo>
                  <a:lnTo>
                    <a:pt x="1108" y="570"/>
                  </a:lnTo>
                  <a:lnTo>
                    <a:pt x="1114" y="574"/>
                  </a:lnTo>
                  <a:lnTo>
                    <a:pt x="1118" y="578"/>
                  </a:lnTo>
                  <a:lnTo>
                    <a:pt x="1120" y="584"/>
                  </a:lnTo>
                  <a:lnTo>
                    <a:pt x="1118" y="590"/>
                  </a:lnTo>
                  <a:lnTo>
                    <a:pt x="1118" y="590"/>
                  </a:lnTo>
                  <a:close/>
                  <a:moveTo>
                    <a:pt x="1104" y="408"/>
                  </a:moveTo>
                  <a:lnTo>
                    <a:pt x="1104" y="408"/>
                  </a:lnTo>
                  <a:lnTo>
                    <a:pt x="1090" y="410"/>
                  </a:lnTo>
                  <a:lnTo>
                    <a:pt x="1078" y="412"/>
                  </a:lnTo>
                  <a:lnTo>
                    <a:pt x="1068" y="414"/>
                  </a:lnTo>
                  <a:lnTo>
                    <a:pt x="1060" y="420"/>
                  </a:lnTo>
                  <a:lnTo>
                    <a:pt x="1052" y="426"/>
                  </a:lnTo>
                  <a:lnTo>
                    <a:pt x="1046" y="434"/>
                  </a:lnTo>
                  <a:lnTo>
                    <a:pt x="1042" y="442"/>
                  </a:lnTo>
                  <a:lnTo>
                    <a:pt x="1040" y="454"/>
                  </a:lnTo>
                  <a:lnTo>
                    <a:pt x="1040" y="454"/>
                  </a:lnTo>
                  <a:lnTo>
                    <a:pt x="1038" y="462"/>
                  </a:lnTo>
                  <a:lnTo>
                    <a:pt x="1040" y="472"/>
                  </a:lnTo>
                  <a:lnTo>
                    <a:pt x="1042" y="480"/>
                  </a:lnTo>
                  <a:lnTo>
                    <a:pt x="1046" y="486"/>
                  </a:lnTo>
                  <a:lnTo>
                    <a:pt x="1054" y="492"/>
                  </a:lnTo>
                  <a:lnTo>
                    <a:pt x="1062" y="496"/>
                  </a:lnTo>
                  <a:lnTo>
                    <a:pt x="1074" y="500"/>
                  </a:lnTo>
                  <a:lnTo>
                    <a:pt x="1088" y="500"/>
                  </a:lnTo>
                  <a:lnTo>
                    <a:pt x="1088" y="500"/>
                  </a:lnTo>
                  <a:lnTo>
                    <a:pt x="1102" y="500"/>
                  </a:lnTo>
                  <a:lnTo>
                    <a:pt x="1116" y="496"/>
                  </a:lnTo>
                  <a:lnTo>
                    <a:pt x="1130" y="492"/>
                  </a:lnTo>
                  <a:lnTo>
                    <a:pt x="1142" y="488"/>
                  </a:lnTo>
                  <a:lnTo>
                    <a:pt x="1152" y="482"/>
                  </a:lnTo>
                  <a:lnTo>
                    <a:pt x="1160" y="474"/>
                  </a:lnTo>
                  <a:lnTo>
                    <a:pt x="1166" y="464"/>
                  </a:lnTo>
                  <a:lnTo>
                    <a:pt x="1170" y="456"/>
                  </a:lnTo>
                  <a:lnTo>
                    <a:pt x="1170" y="456"/>
                  </a:lnTo>
                  <a:lnTo>
                    <a:pt x="1172" y="444"/>
                  </a:lnTo>
                  <a:lnTo>
                    <a:pt x="1170" y="436"/>
                  </a:lnTo>
                  <a:lnTo>
                    <a:pt x="1164" y="428"/>
                  </a:lnTo>
                  <a:lnTo>
                    <a:pt x="1156" y="420"/>
                  </a:lnTo>
                  <a:lnTo>
                    <a:pt x="1146" y="416"/>
                  </a:lnTo>
                  <a:lnTo>
                    <a:pt x="1134" y="412"/>
                  </a:lnTo>
                  <a:lnTo>
                    <a:pt x="1120" y="410"/>
                  </a:lnTo>
                  <a:lnTo>
                    <a:pt x="1104" y="408"/>
                  </a:lnTo>
                  <a:lnTo>
                    <a:pt x="1104" y="408"/>
                  </a:lnTo>
                  <a:close/>
                  <a:moveTo>
                    <a:pt x="1154" y="454"/>
                  </a:moveTo>
                  <a:lnTo>
                    <a:pt x="1154" y="454"/>
                  </a:lnTo>
                  <a:lnTo>
                    <a:pt x="1152" y="460"/>
                  </a:lnTo>
                  <a:lnTo>
                    <a:pt x="1146" y="466"/>
                  </a:lnTo>
                  <a:lnTo>
                    <a:pt x="1140" y="470"/>
                  </a:lnTo>
                  <a:lnTo>
                    <a:pt x="1134" y="474"/>
                  </a:lnTo>
                  <a:lnTo>
                    <a:pt x="1114" y="480"/>
                  </a:lnTo>
                  <a:lnTo>
                    <a:pt x="1092" y="482"/>
                  </a:lnTo>
                  <a:lnTo>
                    <a:pt x="1092" y="482"/>
                  </a:lnTo>
                  <a:lnTo>
                    <a:pt x="1080" y="482"/>
                  </a:lnTo>
                  <a:lnTo>
                    <a:pt x="1070" y="480"/>
                  </a:lnTo>
                  <a:lnTo>
                    <a:pt x="1062" y="478"/>
                  </a:lnTo>
                  <a:lnTo>
                    <a:pt x="1058" y="474"/>
                  </a:lnTo>
                  <a:lnTo>
                    <a:pt x="1054" y="470"/>
                  </a:lnTo>
                  <a:lnTo>
                    <a:pt x="1050" y="466"/>
                  </a:lnTo>
                  <a:lnTo>
                    <a:pt x="1050" y="460"/>
                  </a:lnTo>
                  <a:lnTo>
                    <a:pt x="1050" y="454"/>
                  </a:lnTo>
                  <a:lnTo>
                    <a:pt x="1050" y="454"/>
                  </a:lnTo>
                  <a:lnTo>
                    <a:pt x="1052" y="448"/>
                  </a:lnTo>
                  <a:lnTo>
                    <a:pt x="1056" y="442"/>
                  </a:lnTo>
                  <a:lnTo>
                    <a:pt x="1060" y="438"/>
                  </a:lnTo>
                  <a:lnTo>
                    <a:pt x="1066" y="434"/>
                  </a:lnTo>
                  <a:lnTo>
                    <a:pt x="1072" y="430"/>
                  </a:lnTo>
                  <a:lnTo>
                    <a:pt x="1082" y="428"/>
                  </a:lnTo>
                  <a:lnTo>
                    <a:pt x="1102" y="426"/>
                  </a:lnTo>
                  <a:lnTo>
                    <a:pt x="1102" y="426"/>
                  </a:lnTo>
                  <a:lnTo>
                    <a:pt x="1124" y="428"/>
                  </a:lnTo>
                  <a:lnTo>
                    <a:pt x="1134" y="430"/>
                  </a:lnTo>
                  <a:lnTo>
                    <a:pt x="1142" y="434"/>
                  </a:lnTo>
                  <a:lnTo>
                    <a:pt x="1148" y="438"/>
                  </a:lnTo>
                  <a:lnTo>
                    <a:pt x="1152" y="442"/>
                  </a:lnTo>
                  <a:lnTo>
                    <a:pt x="1154" y="448"/>
                  </a:lnTo>
                  <a:lnTo>
                    <a:pt x="1154" y="454"/>
                  </a:lnTo>
                  <a:lnTo>
                    <a:pt x="1154" y="454"/>
                  </a:lnTo>
                  <a:close/>
                  <a:moveTo>
                    <a:pt x="1062" y="320"/>
                  </a:moveTo>
                  <a:lnTo>
                    <a:pt x="1062" y="320"/>
                  </a:lnTo>
                  <a:lnTo>
                    <a:pt x="1070" y="350"/>
                  </a:lnTo>
                  <a:lnTo>
                    <a:pt x="1070" y="350"/>
                  </a:lnTo>
                  <a:lnTo>
                    <a:pt x="1084" y="346"/>
                  </a:lnTo>
                  <a:lnTo>
                    <a:pt x="1084" y="346"/>
                  </a:lnTo>
                  <a:lnTo>
                    <a:pt x="1076" y="324"/>
                  </a:lnTo>
                  <a:lnTo>
                    <a:pt x="1076" y="324"/>
                  </a:lnTo>
                  <a:lnTo>
                    <a:pt x="1076" y="322"/>
                  </a:lnTo>
                  <a:lnTo>
                    <a:pt x="1196" y="322"/>
                  </a:lnTo>
                  <a:lnTo>
                    <a:pt x="1196" y="322"/>
                  </a:lnTo>
                  <a:lnTo>
                    <a:pt x="1198" y="304"/>
                  </a:lnTo>
                  <a:lnTo>
                    <a:pt x="1064" y="304"/>
                  </a:lnTo>
                  <a:lnTo>
                    <a:pt x="1064" y="304"/>
                  </a:lnTo>
                  <a:lnTo>
                    <a:pt x="1062" y="320"/>
                  </a:lnTo>
                  <a:lnTo>
                    <a:pt x="1062" y="320"/>
                  </a:lnTo>
                  <a:close/>
                  <a:moveTo>
                    <a:pt x="1078" y="184"/>
                  </a:moveTo>
                  <a:lnTo>
                    <a:pt x="1078" y="184"/>
                  </a:lnTo>
                  <a:lnTo>
                    <a:pt x="1088" y="214"/>
                  </a:lnTo>
                  <a:lnTo>
                    <a:pt x="1088" y="214"/>
                  </a:lnTo>
                  <a:lnTo>
                    <a:pt x="1100" y="210"/>
                  </a:lnTo>
                  <a:lnTo>
                    <a:pt x="1100" y="210"/>
                  </a:lnTo>
                  <a:lnTo>
                    <a:pt x="1092" y="188"/>
                  </a:lnTo>
                  <a:lnTo>
                    <a:pt x="1092" y="188"/>
                  </a:lnTo>
                  <a:lnTo>
                    <a:pt x="1092" y="186"/>
                  </a:lnTo>
                  <a:lnTo>
                    <a:pt x="1092" y="186"/>
                  </a:lnTo>
                  <a:lnTo>
                    <a:pt x="1214" y="186"/>
                  </a:lnTo>
                  <a:lnTo>
                    <a:pt x="1214" y="186"/>
                  </a:lnTo>
                  <a:lnTo>
                    <a:pt x="1216" y="170"/>
                  </a:lnTo>
                  <a:lnTo>
                    <a:pt x="1078" y="170"/>
                  </a:lnTo>
                  <a:lnTo>
                    <a:pt x="1078" y="170"/>
                  </a:lnTo>
                  <a:lnTo>
                    <a:pt x="1078" y="184"/>
                  </a:lnTo>
                  <a:lnTo>
                    <a:pt x="1078" y="184"/>
                  </a:lnTo>
                  <a:close/>
                  <a:moveTo>
                    <a:pt x="1144" y="0"/>
                  </a:moveTo>
                  <a:lnTo>
                    <a:pt x="1144" y="0"/>
                  </a:lnTo>
                  <a:lnTo>
                    <a:pt x="1130" y="2"/>
                  </a:lnTo>
                  <a:lnTo>
                    <a:pt x="1116" y="4"/>
                  </a:lnTo>
                  <a:lnTo>
                    <a:pt x="1106" y="8"/>
                  </a:lnTo>
                  <a:lnTo>
                    <a:pt x="1098" y="12"/>
                  </a:lnTo>
                  <a:lnTo>
                    <a:pt x="1090" y="18"/>
                  </a:lnTo>
                  <a:lnTo>
                    <a:pt x="1086" y="26"/>
                  </a:lnTo>
                  <a:lnTo>
                    <a:pt x="1084" y="36"/>
                  </a:lnTo>
                  <a:lnTo>
                    <a:pt x="1082" y="46"/>
                  </a:lnTo>
                  <a:lnTo>
                    <a:pt x="1082" y="46"/>
                  </a:lnTo>
                  <a:lnTo>
                    <a:pt x="1082" y="56"/>
                  </a:lnTo>
                  <a:lnTo>
                    <a:pt x="1086" y="64"/>
                  </a:lnTo>
                  <a:lnTo>
                    <a:pt x="1090" y="72"/>
                  </a:lnTo>
                  <a:lnTo>
                    <a:pt x="1096" y="80"/>
                  </a:lnTo>
                  <a:lnTo>
                    <a:pt x="1104" y="86"/>
                  </a:lnTo>
                  <a:lnTo>
                    <a:pt x="1116" y="90"/>
                  </a:lnTo>
                  <a:lnTo>
                    <a:pt x="1128" y="92"/>
                  </a:lnTo>
                  <a:lnTo>
                    <a:pt x="1144" y="92"/>
                  </a:lnTo>
                  <a:lnTo>
                    <a:pt x="1144" y="92"/>
                  </a:lnTo>
                  <a:lnTo>
                    <a:pt x="1160" y="92"/>
                  </a:lnTo>
                  <a:lnTo>
                    <a:pt x="1176" y="90"/>
                  </a:lnTo>
                  <a:lnTo>
                    <a:pt x="1190" y="86"/>
                  </a:lnTo>
                  <a:lnTo>
                    <a:pt x="1202" y="80"/>
                  </a:lnTo>
                  <a:lnTo>
                    <a:pt x="1212" y="74"/>
                  </a:lnTo>
                  <a:lnTo>
                    <a:pt x="1220" y="66"/>
                  </a:lnTo>
                  <a:lnTo>
                    <a:pt x="1224" y="58"/>
                  </a:lnTo>
                  <a:lnTo>
                    <a:pt x="1226" y="48"/>
                  </a:lnTo>
                  <a:lnTo>
                    <a:pt x="1226" y="48"/>
                  </a:lnTo>
                  <a:lnTo>
                    <a:pt x="1226" y="38"/>
                  </a:lnTo>
                  <a:lnTo>
                    <a:pt x="1220" y="28"/>
                  </a:lnTo>
                  <a:lnTo>
                    <a:pt x="1214" y="20"/>
                  </a:lnTo>
                  <a:lnTo>
                    <a:pt x="1204" y="14"/>
                  </a:lnTo>
                  <a:lnTo>
                    <a:pt x="1190" y="8"/>
                  </a:lnTo>
                  <a:lnTo>
                    <a:pt x="1176" y="4"/>
                  </a:lnTo>
                  <a:lnTo>
                    <a:pt x="1162" y="2"/>
                  </a:lnTo>
                  <a:lnTo>
                    <a:pt x="1144" y="0"/>
                  </a:lnTo>
                  <a:lnTo>
                    <a:pt x="1144" y="0"/>
                  </a:lnTo>
                  <a:close/>
                  <a:moveTo>
                    <a:pt x="1146" y="74"/>
                  </a:moveTo>
                  <a:lnTo>
                    <a:pt x="1146" y="74"/>
                  </a:lnTo>
                  <a:lnTo>
                    <a:pt x="1132" y="74"/>
                  </a:lnTo>
                  <a:lnTo>
                    <a:pt x="1122" y="72"/>
                  </a:lnTo>
                  <a:lnTo>
                    <a:pt x="1112" y="70"/>
                  </a:lnTo>
                  <a:lnTo>
                    <a:pt x="1106" y="66"/>
                  </a:lnTo>
                  <a:lnTo>
                    <a:pt x="1100" y="62"/>
                  </a:lnTo>
                  <a:lnTo>
                    <a:pt x="1096" y="58"/>
                  </a:lnTo>
                  <a:lnTo>
                    <a:pt x="1094" y="52"/>
                  </a:lnTo>
                  <a:lnTo>
                    <a:pt x="1094" y="46"/>
                  </a:lnTo>
                  <a:lnTo>
                    <a:pt x="1094" y="46"/>
                  </a:lnTo>
                  <a:lnTo>
                    <a:pt x="1094" y="40"/>
                  </a:lnTo>
                  <a:lnTo>
                    <a:pt x="1098" y="34"/>
                  </a:lnTo>
                  <a:lnTo>
                    <a:pt x="1102" y="30"/>
                  </a:lnTo>
                  <a:lnTo>
                    <a:pt x="1106" y="26"/>
                  </a:lnTo>
                  <a:lnTo>
                    <a:pt x="1114" y="22"/>
                  </a:lnTo>
                  <a:lnTo>
                    <a:pt x="1122" y="20"/>
                  </a:lnTo>
                  <a:lnTo>
                    <a:pt x="1144" y="20"/>
                  </a:lnTo>
                  <a:lnTo>
                    <a:pt x="1144" y="20"/>
                  </a:lnTo>
                  <a:lnTo>
                    <a:pt x="1170" y="20"/>
                  </a:lnTo>
                  <a:lnTo>
                    <a:pt x="1180" y="24"/>
                  </a:lnTo>
                  <a:lnTo>
                    <a:pt x="1190" y="26"/>
                  </a:lnTo>
                  <a:lnTo>
                    <a:pt x="1198" y="30"/>
                  </a:lnTo>
                  <a:lnTo>
                    <a:pt x="1204" y="34"/>
                  </a:lnTo>
                  <a:lnTo>
                    <a:pt x="1208" y="40"/>
                  </a:lnTo>
                  <a:lnTo>
                    <a:pt x="1208" y="46"/>
                  </a:lnTo>
                  <a:lnTo>
                    <a:pt x="1208" y="46"/>
                  </a:lnTo>
                  <a:lnTo>
                    <a:pt x="1206" y="52"/>
                  </a:lnTo>
                  <a:lnTo>
                    <a:pt x="1204" y="58"/>
                  </a:lnTo>
                  <a:lnTo>
                    <a:pt x="1198" y="62"/>
                  </a:lnTo>
                  <a:lnTo>
                    <a:pt x="1190" y="66"/>
                  </a:lnTo>
                  <a:lnTo>
                    <a:pt x="1170" y="72"/>
                  </a:lnTo>
                  <a:lnTo>
                    <a:pt x="1146" y="74"/>
                  </a:lnTo>
                  <a:lnTo>
                    <a:pt x="1146" y="74"/>
                  </a:lnTo>
                  <a:close/>
                </a:path>
              </a:pathLst>
            </a:custGeom>
            <a:solidFill>
              <a:srgbClr val="000000"/>
            </a:solidFill>
            <a:ln w="9525">
              <a:solidFill>
                <a:srgbClr val="000000"/>
              </a:solidFill>
              <a:round/>
              <a:headEnd/>
              <a:tailEnd/>
            </a:ln>
          </p:spPr>
          <p:txBody>
            <a:bodyPr/>
            <a:lstStyle/>
            <a:p>
              <a:endParaRPr lang="en-US" sz="2000" dirty="0">
                <a:latin typeface="微软雅黑" pitchFamily="34" charset="-122"/>
                <a:ea typeface="微软雅黑" pitchFamily="34" charset="-122"/>
              </a:endParaRPr>
            </a:p>
          </p:txBody>
        </p:sp>
        <p:grpSp>
          <p:nvGrpSpPr>
            <p:cNvPr id="258" name="Group 257"/>
            <p:cNvGrpSpPr/>
            <p:nvPr/>
          </p:nvGrpSpPr>
          <p:grpSpPr>
            <a:xfrm>
              <a:off x="3340173" y="3803720"/>
              <a:ext cx="1296987" cy="321945"/>
              <a:chOff x="171035" y="954157"/>
              <a:chExt cx="390949" cy="387626"/>
            </a:xfrm>
          </p:grpSpPr>
          <p:sp>
            <p:nvSpPr>
              <p:cNvPr id="260" name="Round Diagonal Corner Rectangle 259"/>
              <p:cNvSpPr/>
              <p:nvPr/>
            </p:nvSpPr>
            <p:spPr>
              <a:xfrm flipV="1">
                <a:off x="171035" y="954157"/>
                <a:ext cx="387626" cy="387626"/>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dirty="0">
                  <a:latin typeface="微软雅黑" pitchFamily="34" charset="-122"/>
                  <a:ea typeface="微软雅黑" pitchFamily="34" charset="-122"/>
                </a:endParaRPr>
              </a:p>
            </p:txBody>
          </p:sp>
          <p:sp>
            <p:nvSpPr>
              <p:cNvPr id="261" name="Round Diagonal Corner Rectangle 260"/>
              <p:cNvSpPr/>
              <p:nvPr/>
            </p:nvSpPr>
            <p:spPr>
              <a:xfrm>
                <a:off x="174358" y="954157"/>
                <a:ext cx="387626" cy="387626"/>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2300" dirty="0">
                    <a:latin typeface="微软雅黑" pitchFamily="34" charset="-122"/>
                    <a:ea typeface="微软雅黑" pitchFamily="34" charset="-122"/>
                  </a:rPr>
                  <a:t>外泄</a:t>
                </a:r>
                <a:endParaRPr lang="en-US" sz="2300" dirty="0">
                  <a:latin typeface="微软雅黑" pitchFamily="34" charset="-122"/>
                  <a:ea typeface="微软雅黑" pitchFamily="34" charset="-122"/>
                </a:endParaRPr>
              </a:p>
            </p:txBody>
          </p:sp>
        </p:grpSp>
      </p:grpSp>
      <p:grpSp>
        <p:nvGrpSpPr>
          <p:cNvPr id="207" name="Group 206"/>
          <p:cNvGrpSpPr/>
          <p:nvPr/>
        </p:nvGrpSpPr>
        <p:grpSpPr>
          <a:xfrm>
            <a:off x="2464160" y="1236387"/>
            <a:ext cx="2812559" cy="763129"/>
            <a:chOff x="270108" y="3859212"/>
            <a:chExt cx="1980724" cy="536575"/>
          </a:xfrm>
        </p:grpSpPr>
        <p:sp>
          <p:nvSpPr>
            <p:cNvPr id="208" name="Round Diagonal Corner Rectangle 207"/>
            <p:cNvSpPr/>
            <p:nvPr/>
          </p:nvSpPr>
          <p:spPr>
            <a:xfrm flipV="1">
              <a:off x="270108" y="3859212"/>
              <a:ext cx="1840046" cy="536575"/>
            </a:xfrm>
            <a:prstGeom prst="round2Diag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00" dirty="0">
                <a:latin typeface="微软雅黑" pitchFamily="34" charset="-122"/>
                <a:ea typeface="微软雅黑" pitchFamily="34" charset="-122"/>
              </a:endParaRPr>
            </a:p>
          </p:txBody>
        </p:sp>
        <p:sp>
          <p:nvSpPr>
            <p:cNvPr id="209" name="Round Diagonal Corner Rectangle 208"/>
            <p:cNvSpPr/>
            <p:nvPr/>
          </p:nvSpPr>
          <p:spPr>
            <a:xfrm>
              <a:off x="281355" y="3912208"/>
              <a:ext cx="1969477" cy="430585"/>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zh-CN" altLang="en-US" sz="2300" dirty="0">
                  <a:solidFill>
                    <a:srgbClr val="000000"/>
                  </a:solidFill>
                  <a:latin typeface="微软雅黑" pitchFamily="34" charset="-122"/>
                  <a:ea typeface="微软雅黑" pitchFamily="34" charset="-122"/>
                </a:rPr>
                <a:t>安全情报研究</a:t>
              </a:r>
              <a:endParaRPr lang="en-US" sz="2300" dirty="0">
                <a:solidFill>
                  <a:srgbClr val="000000"/>
                </a:solidFill>
                <a:latin typeface="微软雅黑" pitchFamily="34" charset="-122"/>
                <a:ea typeface="微软雅黑" pitchFamily="34" charset="-122"/>
              </a:endParaRPr>
            </a:p>
          </p:txBody>
        </p:sp>
      </p:grpSp>
      <p:grpSp>
        <p:nvGrpSpPr>
          <p:cNvPr id="210" name="Group 209"/>
          <p:cNvGrpSpPr/>
          <p:nvPr/>
        </p:nvGrpSpPr>
        <p:grpSpPr>
          <a:xfrm>
            <a:off x="3969976" y="1916701"/>
            <a:ext cx="2812559" cy="763129"/>
            <a:chOff x="270108" y="3859212"/>
            <a:chExt cx="1980724" cy="536575"/>
          </a:xfrm>
        </p:grpSpPr>
        <p:sp>
          <p:nvSpPr>
            <p:cNvPr id="211" name="Round Diagonal Corner Rectangle 210"/>
            <p:cNvSpPr/>
            <p:nvPr/>
          </p:nvSpPr>
          <p:spPr>
            <a:xfrm flipV="1">
              <a:off x="270108" y="3859212"/>
              <a:ext cx="1840046" cy="536575"/>
            </a:xfrm>
            <a:prstGeom prst="round2Diag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00" dirty="0">
                <a:latin typeface="微软雅黑" pitchFamily="34" charset="-122"/>
                <a:ea typeface="微软雅黑" pitchFamily="34" charset="-122"/>
              </a:endParaRPr>
            </a:p>
          </p:txBody>
        </p:sp>
        <p:sp>
          <p:nvSpPr>
            <p:cNvPr id="212" name="Round Diagonal Corner Rectangle 211"/>
            <p:cNvSpPr/>
            <p:nvPr/>
          </p:nvSpPr>
          <p:spPr>
            <a:xfrm>
              <a:off x="281355" y="3912208"/>
              <a:ext cx="1969477" cy="430585"/>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zh-CN" altLang="en-US" sz="2300" dirty="0">
                  <a:solidFill>
                    <a:srgbClr val="000000"/>
                  </a:solidFill>
                  <a:latin typeface="微软雅黑" pitchFamily="34" charset="-122"/>
                  <a:ea typeface="微软雅黑" pitchFamily="34" charset="-122"/>
                </a:rPr>
                <a:t>阻断访问</a:t>
              </a:r>
              <a:endParaRPr lang="en-US" sz="2300" dirty="0">
                <a:solidFill>
                  <a:srgbClr val="000000"/>
                </a:solidFill>
                <a:latin typeface="微软雅黑" pitchFamily="34" charset="-122"/>
                <a:ea typeface="微软雅黑" pitchFamily="34" charset="-122"/>
              </a:endParaRPr>
            </a:p>
          </p:txBody>
        </p:sp>
      </p:grpSp>
      <p:grpSp>
        <p:nvGrpSpPr>
          <p:cNvPr id="213" name="Group 212"/>
          <p:cNvGrpSpPr/>
          <p:nvPr/>
        </p:nvGrpSpPr>
        <p:grpSpPr>
          <a:xfrm>
            <a:off x="5988164" y="2716802"/>
            <a:ext cx="2812559" cy="792654"/>
            <a:chOff x="270108" y="3859210"/>
            <a:chExt cx="1980724" cy="536575"/>
          </a:xfrm>
        </p:grpSpPr>
        <p:sp>
          <p:nvSpPr>
            <p:cNvPr id="214" name="Round Diagonal Corner Rectangle 213"/>
            <p:cNvSpPr/>
            <p:nvPr/>
          </p:nvSpPr>
          <p:spPr>
            <a:xfrm flipV="1">
              <a:off x="270108" y="3859210"/>
              <a:ext cx="1840046" cy="536575"/>
            </a:xfrm>
            <a:prstGeom prst="round2Diag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00" dirty="0">
                <a:latin typeface="微软雅黑" pitchFamily="34" charset="-122"/>
                <a:ea typeface="微软雅黑" pitchFamily="34" charset="-122"/>
              </a:endParaRPr>
            </a:p>
          </p:txBody>
        </p:sp>
        <p:sp>
          <p:nvSpPr>
            <p:cNvPr id="215" name="Round Diagonal Corner Rectangle 214"/>
            <p:cNvSpPr/>
            <p:nvPr/>
          </p:nvSpPr>
          <p:spPr>
            <a:xfrm>
              <a:off x="281355" y="3912208"/>
              <a:ext cx="1969477" cy="430585"/>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zh-CN" altLang="en-US" sz="2300" dirty="0">
                  <a:solidFill>
                    <a:srgbClr val="000000"/>
                  </a:solidFill>
                  <a:latin typeface="微软雅黑" pitchFamily="34" charset="-122"/>
                  <a:ea typeface="微软雅黑" pitchFamily="34" charset="-122"/>
                </a:rPr>
                <a:t>发现异常</a:t>
              </a:r>
              <a:endParaRPr lang="en-US" sz="2300" dirty="0">
                <a:solidFill>
                  <a:srgbClr val="000000"/>
                </a:solidFill>
                <a:latin typeface="微软雅黑" pitchFamily="34" charset="-122"/>
                <a:ea typeface="微软雅黑" pitchFamily="34" charset="-122"/>
              </a:endParaRPr>
            </a:p>
          </p:txBody>
        </p:sp>
      </p:grpSp>
    </p:spTree>
    <p:extLst>
      <p:ext uri="{BB962C8B-B14F-4D97-AF65-F5344CB8AC3E}">
        <p14:creationId xmlns:p14="http://schemas.microsoft.com/office/powerpoint/2010/main" val="2119304886"/>
      </p:ext>
    </p:extLst>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262"/>
                                        </p:tgtEl>
                                        <p:attrNameLst>
                                          <p:attrName>style.visibility</p:attrName>
                                        </p:attrNameLst>
                                      </p:cBhvr>
                                      <p:to>
                                        <p:strVal val="visible"/>
                                      </p:to>
                                    </p:set>
                                    <p:animEffect transition="in" filter="fade">
                                      <p:cBhvr>
                                        <p:cTn id="10" dur="500"/>
                                        <p:tgtEl>
                                          <p:spTgt spid="262"/>
                                        </p:tgtEl>
                                      </p:cBhvr>
                                    </p:animEffect>
                                  </p:childTnLst>
                                </p:cTn>
                              </p:par>
                              <p:par>
                                <p:cTn id="11" presetID="22" presetClass="entr" presetSubtype="8"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wipe(left)">
                                      <p:cBhvr>
                                        <p:cTn id="13" dur="500"/>
                                        <p:tgtEl>
                                          <p:spTgt spid="10"/>
                                        </p:tgtEl>
                                      </p:cBhvr>
                                    </p:animEffect>
                                  </p:childTnLst>
                                </p:cTn>
                              </p:par>
                              <p:par>
                                <p:cTn id="14" presetID="22" presetClass="entr" presetSubtype="1"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wipe(up)">
                                      <p:cBhvr>
                                        <p:cTn id="16" dur="500"/>
                                        <p:tgtEl>
                                          <p:spTgt spid="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71"/>
                                        </p:tgtEl>
                                        <p:attrNameLst>
                                          <p:attrName>style.visibility</p:attrName>
                                        </p:attrNameLst>
                                      </p:cBhvr>
                                      <p:to>
                                        <p:strVal val="visible"/>
                                      </p:to>
                                    </p:set>
                                    <p:animEffect transition="in" filter="fade">
                                      <p:cBhvr>
                                        <p:cTn id="19" dur="250"/>
                                        <p:tgtEl>
                                          <p:spTgt spid="271"/>
                                        </p:tgtEl>
                                      </p:cBhvr>
                                    </p:animEffect>
                                  </p:childTnLst>
                                </p:cTn>
                              </p:par>
                              <p:par>
                                <p:cTn id="20" presetID="10" presetClass="entr" presetSubtype="0" fill="hold" nodeType="withEffect">
                                  <p:stCondLst>
                                    <p:cond delay="0"/>
                                  </p:stCondLst>
                                  <p:childTnLst>
                                    <p:set>
                                      <p:cBhvr>
                                        <p:cTn id="21" dur="1" fill="hold">
                                          <p:stCondLst>
                                            <p:cond delay="0"/>
                                          </p:stCondLst>
                                        </p:cTn>
                                        <p:tgtEl>
                                          <p:spTgt spid="268"/>
                                        </p:tgtEl>
                                        <p:attrNameLst>
                                          <p:attrName>style.visibility</p:attrName>
                                        </p:attrNameLst>
                                      </p:cBhvr>
                                      <p:to>
                                        <p:strVal val="visible"/>
                                      </p:to>
                                    </p:set>
                                    <p:animEffect transition="in" filter="fade">
                                      <p:cBhvr>
                                        <p:cTn id="22" dur="500"/>
                                        <p:tgtEl>
                                          <p:spTgt spid="268"/>
                                        </p:tgtEl>
                                      </p:cBhvr>
                                    </p:animEffect>
                                  </p:childTnLst>
                                </p:cTn>
                              </p:par>
                              <p:par>
                                <p:cTn id="23" presetID="22" presetClass="entr" presetSubtype="2" fill="hold" nodeType="withEffect">
                                  <p:stCondLst>
                                    <p:cond delay="0"/>
                                  </p:stCondLst>
                                  <p:childTnLst>
                                    <p:set>
                                      <p:cBhvr>
                                        <p:cTn id="24" dur="1" fill="hold">
                                          <p:stCondLst>
                                            <p:cond delay="0"/>
                                          </p:stCondLst>
                                        </p:cTn>
                                        <p:tgtEl>
                                          <p:spTgt spid="9"/>
                                        </p:tgtEl>
                                        <p:attrNameLst>
                                          <p:attrName>style.visibility</p:attrName>
                                        </p:attrNameLst>
                                      </p:cBhvr>
                                      <p:to>
                                        <p:strVal val="visible"/>
                                      </p:to>
                                    </p:set>
                                    <p:animEffect transition="in" filter="wipe(right)">
                                      <p:cBhvr>
                                        <p:cTn id="25" dur="500"/>
                                        <p:tgtEl>
                                          <p:spTgt spid="9"/>
                                        </p:tgtEl>
                                      </p:cBhvr>
                                    </p:animEffect>
                                  </p:childTnLst>
                                </p:cTn>
                              </p:par>
                              <p:par>
                                <p:cTn id="26" presetID="10" presetClass="entr" presetSubtype="0" fill="hold" nodeType="withEffect">
                                  <p:stCondLst>
                                    <p:cond delay="0"/>
                                  </p:stCondLst>
                                  <p:childTnLst>
                                    <p:set>
                                      <p:cBhvr>
                                        <p:cTn id="27" dur="1" fill="hold">
                                          <p:stCondLst>
                                            <p:cond delay="0"/>
                                          </p:stCondLst>
                                        </p:cTn>
                                        <p:tgtEl>
                                          <p:spTgt spid="452"/>
                                        </p:tgtEl>
                                        <p:attrNameLst>
                                          <p:attrName>style.visibility</p:attrName>
                                        </p:attrNameLst>
                                      </p:cBhvr>
                                      <p:to>
                                        <p:strVal val="visible"/>
                                      </p:to>
                                    </p:set>
                                    <p:animEffect transition="in" filter="fade">
                                      <p:cBhvr>
                                        <p:cTn id="28" dur="500"/>
                                        <p:tgtEl>
                                          <p:spTgt spid="452"/>
                                        </p:tgtEl>
                                      </p:cBhvr>
                                    </p:animEffect>
                                  </p:childTnLst>
                                </p:cTn>
                              </p:par>
                              <p:par>
                                <p:cTn id="29" presetID="10" presetClass="entr" presetSubtype="0" fill="hold" nodeType="withEffect">
                                  <p:stCondLst>
                                    <p:cond delay="0"/>
                                  </p:stCondLst>
                                  <p:childTnLst>
                                    <p:set>
                                      <p:cBhvr>
                                        <p:cTn id="30" dur="1" fill="hold">
                                          <p:stCondLst>
                                            <p:cond delay="0"/>
                                          </p:stCondLst>
                                        </p:cTn>
                                        <p:tgtEl>
                                          <p:spTgt spid="432"/>
                                        </p:tgtEl>
                                        <p:attrNameLst>
                                          <p:attrName>style.visibility</p:attrName>
                                        </p:attrNameLst>
                                      </p:cBhvr>
                                      <p:to>
                                        <p:strVal val="visible"/>
                                      </p:to>
                                    </p:set>
                                    <p:animEffect transition="in" filter="fade">
                                      <p:cBhvr>
                                        <p:cTn id="31" dur="500"/>
                                        <p:tgtEl>
                                          <p:spTgt spid="432"/>
                                        </p:tgtEl>
                                      </p:cBhvr>
                                    </p:animEffect>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nodeType="clickEffect">
                                  <p:stCondLst>
                                    <p:cond delay="0"/>
                                  </p:stCondLst>
                                  <p:childTnLst>
                                    <p:set>
                                      <p:cBhvr>
                                        <p:cTn id="35" dur="1" fill="hold">
                                          <p:stCondLst>
                                            <p:cond delay="0"/>
                                          </p:stCondLst>
                                        </p:cTn>
                                        <p:tgtEl>
                                          <p:spTgt spid="207"/>
                                        </p:tgtEl>
                                        <p:attrNameLst>
                                          <p:attrName>style.visibility</p:attrName>
                                        </p:attrNameLst>
                                      </p:cBhvr>
                                      <p:to>
                                        <p:strVal val="visible"/>
                                      </p:to>
                                    </p:se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210"/>
                                        </p:tgtEl>
                                        <p:attrNameLst>
                                          <p:attrName>style.visibility</p:attrName>
                                        </p:attrNameLst>
                                      </p:cBhvr>
                                      <p:to>
                                        <p:strVal val="visible"/>
                                      </p:to>
                                    </p:set>
                                    <p:animEffect transition="in" filter="fade">
                                      <p:cBhvr>
                                        <p:cTn id="40" dur="500"/>
                                        <p:tgtEl>
                                          <p:spTgt spid="210"/>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213"/>
                                        </p:tgtEl>
                                        <p:attrNameLst>
                                          <p:attrName>style.visibility</p:attrName>
                                        </p:attrNameLst>
                                      </p:cBhvr>
                                      <p:to>
                                        <p:strVal val="visible"/>
                                      </p:to>
                                    </p:set>
                                    <p:animEffect transition="in" filter="fade">
                                      <p:cBhvr>
                                        <p:cTn id="45" dur="500"/>
                                        <p:tgtEl>
                                          <p:spTgt spid="2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1"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3"/>
          <p:cNvSpPr>
            <a:spLocks noGrp="1"/>
          </p:cNvSpPr>
          <p:nvPr>
            <p:ph type="title"/>
          </p:nvPr>
        </p:nvSpPr>
        <p:spPr>
          <a:xfrm>
            <a:off x="470675" y="334312"/>
            <a:ext cx="12013056" cy="587284"/>
          </a:xfrm>
        </p:spPr>
        <p:txBody>
          <a:bodyPr/>
          <a:lstStyle/>
          <a:p>
            <a:r>
              <a:rPr lang="zh-CN" altLang="en-US" b="1" dirty="0" smtClean="0">
                <a:latin typeface="微软雅黑" pitchFamily="34" charset="-122"/>
                <a:ea typeface="微软雅黑" pitchFamily="34" charset="-122"/>
              </a:rPr>
              <a:t>信息安全是个复杂的工程</a:t>
            </a:r>
            <a:r>
              <a:rPr lang="en-US" b="1" dirty="0" smtClean="0">
                <a:latin typeface="微软雅黑" pitchFamily="34" charset="-122"/>
                <a:ea typeface="微软雅黑" pitchFamily="34" charset="-122"/>
              </a:rPr>
              <a:t>, </a:t>
            </a:r>
            <a:r>
              <a:rPr lang="en-US" b="1" dirty="0" err="1" smtClean="0">
                <a:latin typeface="微软雅黑" pitchFamily="34" charset="-122"/>
                <a:ea typeface="微软雅黑" pitchFamily="34" charset="-122"/>
              </a:rPr>
              <a:t>ArcSight</a:t>
            </a:r>
            <a:r>
              <a:rPr lang="en-US" b="1" dirty="0" smtClean="0">
                <a:latin typeface="微软雅黑" pitchFamily="34" charset="-122"/>
                <a:ea typeface="微软雅黑" pitchFamily="34" charset="-122"/>
              </a:rPr>
              <a:t> </a:t>
            </a:r>
            <a:r>
              <a:rPr lang="zh-CN" altLang="en-US" b="1" dirty="0" smtClean="0">
                <a:latin typeface="微软雅黑" pitchFamily="34" charset="-122"/>
                <a:ea typeface="微软雅黑" pitchFamily="34" charset="-122"/>
              </a:rPr>
              <a:t>可以帮你</a:t>
            </a:r>
            <a:r>
              <a:rPr lang="en-US" b="1" dirty="0" smtClean="0">
                <a:latin typeface="微软雅黑" pitchFamily="34" charset="-122"/>
                <a:ea typeface="微软雅黑" pitchFamily="34" charset="-122"/>
              </a:rPr>
              <a:t>….</a:t>
            </a:r>
            <a:endParaRPr lang="en-US" b="1" dirty="0">
              <a:latin typeface="微软雅黑" pitchFamily="34" charset="-122"/>
              <a:ea typeface="微软雅黑" pitchFamily="34" charset="-122"/>
            </a:endParaRPr>
          </a:p>
        </p:txBody>
      </p:sp>
      <p:sp>
        <p:nvSpPr>
          <p:cNvPr id="10" name="Round Diagonal Corner Rectangle 9"/>
          <p:cNvSpPr/>
          <p:nvPr/>
        </p:nvSpPr>
        <p:spPr>
          <a:xfrm>
            <a:off x="925385" y="1387762"/>
            <a:ext cx="2935998" cy="5255524"/>
          </a:xfrm>
          <a:prstGeom prst="round2DiagRect">
            <a:avLst>
              <a:gd name="adj1" fmla="val 0"/>
              <a:gd name="adj2" fmla="val 5754"/>
            </a:avLst>
          </a:prstGeom>
          <a:solidFill>
            <a:srgbClr val="E5E8E8"/>
          </a:solidFill>
          <a:ln>
            <a:noFill/>
          </a:ln>
          <a:effectLst/>
        </p:spPr>
        <p:style>
          <a:lnRef idx="1">
            <a:schemeClr val="accent1"/>
          </a:lnRef>
          <a:fillRef idx="3">
            <a:schemeClr val="accent1"/>
          </a:fillRef>
          <a:effectRef idx="2">
            <a:schemeClr val="accent1"/>
          </a:effectRef>
          <a:fontRef idx="minor">
            <a:schemeClr val="lt1"/>
          </a:fontRef>
        </p:style>
        <p:txBody>
          <a:bodyPr lIns="129909" tIns="64954" rIns="129909" bIns="64954" rtlCol="0" anchor="t" anchorCtr="0"/>
          <a:lstStyle/>
          <a:p>
            <a:pPr algn="ctr">
              <a:spcAft>
                <a:spcPts val="1705"/>
              </a:spcAft>
            </a:pPr>
            <a:r>
              <a:rPr lang="zh-CN" altLang="en-US" sz="2800" dirty="0">
                <a:solidFill>
                  <a:schemeClr val="tx2"/>
                </a:solidFill>
                <a:latin typeface="微软雅黑" pitchFamily="34" charset="-122"/>
                <a:ea typeface="微软雅黑" pitchFamily="34" charset="-122"/>
              </a:rPr>
              <a:t>更加可控</a:t>
            </a:r>
            <a:endParaRPr lang="en-US" sz="2300" dirty="0">
              <a:solidFill>
                <a:schemeClr val="tx2"/>
              </a:solidFill>
              <a:latin typeface="微软雅黑" pitchFamily="34" charset="-122"/>
              <a:ea typeface="微软雅黑" pitchFamily="34" charset="-122"/>
            </a:endParaRPr>
          </a:p>
          <a:p>
            <a:pPr algn="ctr">
              <a:spcAft>
                <a:spcPts val="1705"/>
              </a:spcAft>
            </a:pPr>
            <a:endParaRPr lang="en-US" sz="2300" dirty="0">
              <a:solidFill>
                <a:schemeClr val="tx2"/>
              </a:solidFill>
              <a:latin typeface="微软雅黑" pitchFamily="34" charset="-122"/>
              <a:ea typeface="微软雅黑" pitchFamily="34" charset="-122"/>
            </a:endParaRPr>
          </a:p>
          <a:p>
            <a:pPr algn="ctr">
              <a:spcAft>
                <a:spcPts val="1705"/>
              </a:spcAft>
            </a:pPr>
            <a:endParaRPr lang="en-US" sz="2300" dirty="0">
              <a:solidFill>
                <a:schemeClr val="tx2"/>
              </a:solidFill>
              <a:latin typeface="微软雅黑" pitchFamily="34" charset="-122"/>
              <a:ea typeface="微软雅黑" pitchFamily="34" charset="-122"/>
            </a:endParaRPr>
          </a:p>
          <a:p>
            <a:pPr algn="ctr">
              <a:spcAft>
                <a:spcPts val="1705"/>
              </a:spcAft>
            </a:pPr>
            <a:endParaRPr lang="en-US" sz="2300" dirty="0">
              <a:solidFill>
                <a:schemeClr val="tx2"/>
              </a:solidFill>
              <a:latin typeface="微软雅黑" pitchFamily="34" charset="-122"/>
              <a:ea typeface="微软雅黑" pitchFamily="34" charset="-122"/>
            </a:endParaRPr>
          </a:p>
          <a:p>
            <a:pPr algn="ctr">
              <a:spcAft>
                <a:spcPts val="1705"/>
              </a:spcAft>
            </a:pPr>
            <a:endParaRPr lang="en-US" sz="2300" dirty="0">
              <a:solidFill>
                <a:schemeClr val="tx2"/>
              </a:solidFill>
              <a:latin typeface="微软雅黑" pitchFamily="34" charset="-122"/>
              <a:ea typeface="微软雅黑" pitchFamily="34" charset="-122"/>
            </a:endParaRPr>
          </a:p>
          <a:p>
            <a:pPr algn="ctr">
              <a:spcAft>
                <a:spcPts val="1705"/>
              </a:spcAft>
            </a:pPr>
            <a:r>
              <a:rPr lang="zh-CN" altLang="en-US" sz="2300" dirty="0">
                <a:solidFill>
                  <a:srgbClr val="0070C0"/>
                </a:solidFill>
                <a:latin typeface="微软雅黑" pitchFamily="34" charset="-122"/>
                <a:ea typeface="微软雅黑" pitchFamily="34" charset="-122"/>
              </a:rPr>
              <a:t>利用安全智能</a:t>
            </a:r>
            <a:endParaRPr lang="en-US" altLang="zh-CN" sz="2300" dirty="0">
              <a:solidFill>
                <a:srgbClr val="0070C0"/>
              </a:solidFill>
              <a:latin typeface="微软雅黑" pitchFamily="34" charset="-122"/>
              <a:ea typeface="微软雅黑" pitchFamily="34" charset="-122"/>
            </a:endParaRPr>
          </a:p>
          <a:p>
            <a:pPr algn="ctr">
              <a:spcAft>
                <a:spcPts val="1705"/>
              </a:spcAft>
            </a:pPr>
            <a:r>
              <a:rPr lang="zh-CN" altLang="en-US" sz="2300" dirty="0">
                <a:solidFill>
                  <a:srgbClr val="0070C0"/>
                </a:solidFill>
                <a:latin typeface="微软雅黑" pitchFamily="34" charset="-122"/>
                <a:ea typeface="微软雅黑" pitchFamily="34" charset="-122"/>
              </a:rPr>
              <a:t>更加有效地</a:t>
            </a:r>
            <a:endParaRPr lang="en-US" altLang="zh-CN" sz="2300" dirty="0">
              <a:solidFill>
                <a:srgbClr val="0070C0"/>
              </a:solidFill>
              <a:latin typeface="微软雅黑" pitchFamily="34" charset="-122"/>
              <a:ea typeface="微软雅黑" pitchFamily="34" charset="-122"/>
            </a:endParaRPr>
          </a:p>
          <a:p>
            <a:pPr algn="ctr">
              <a:spcAft>
                <a:spcPts val="1705"/>
              </a:spcAft>
            </a:pPr>
            <a:r>
              <a:rPr lang="zh-CN" altLang="en-US" sz="2300" dirty="0">
                <a:solidFill>
                  <a:srgbClr val="0070C0"/>
                </a:solidFill>
                <a:latin typeface="微软雅黑" pitchFamily="34" charset="-122"/>
                <a:ea typeface="微软雅黑" pitchFamily="34" charset="-122"/>
              </a:rPr>
              <a:t>保护大数据资产</a:t>
            </a:r>
            <a:endParaRPr lang="en-US" sz="2300" dirty="0">
              <a:solidFill>
                <a:srgbClr val="0070C0"/>
              </a:solidFill>
              <a:latin typeface="微软雅黑" pitchFamily="34" charset="-122"/>
              <a:ea typeface="微软雅黑" pitchFamily="34" charset="-122"/>
            </a:endParaRPr>
          </a:p>
          <a:p>
            <a:pPr>
              <a:spcAft>
                <a:spcPts val="1705"/>
              </a:spcAft>
            </a:pPr>
            <a:endParaRPr lang="en-US" sz="2300" dirty="0">
              <a:solidFill>
                <a:schemeClr val="tx2"/>
              </a:solidFill>
              <a:latin typeface="微软雅黑" pitchFamily="34" charset="-122"/>
              <a:ea typeface="微软雅黑" pitchFamily="34" charset="-122"/>
              <a:cs typeface="HP Simplified"/>
            </a:endParaRPr>
          </a:p>
          <a:p>
            <a:pPr>
              <a:spcAft>
                <a:spcPts val="1705"/>
              </a:spcAft>
            </a:pPr>
            <a:endParaRPr lang="en-US" dirty="0">
              <a:solidFill>
                <a:schemeClr val="tx2"/>
              </a:solidFill>
              <a:latin typeface="微软雅黑" pitchFamily="34" charset="-122"/>
              <a:ea typeface="微软雅黑" pitchFamily="34" charset="-122"/>
              <a:cs typeface="HP Simplified"/>
            </a:endParaRPr>
          </a:p>
          <a:p>
            <a:pPr>
              <a:spcAft>
                <a:spcPts val="1705"/>
              </a:spcAft>
            </a:pPr>
            <a:endParaRPr lang="en-US" sz="2000" dirty="0">
              <a:solidFill>
                <a:prstClr val="black"/>
              </a:solidFill>
              <a:latin typeface="微软雅黑" pitchFamily="34" charset="-122"/>
              <a:ea typeface="微软雅黑" pitchFamily="34" charset="-122"/>
            </a:endParaRPr>
          </a:p>
          <a:p>
            <a:pPr algn="ctr">
              <a:spcAft>
                <a:spcPts val="1705"/>
              </a:spcAft>
            </a:pPr>
            <a:r>
              <a:rPr lang="en-US" sz="2000" dirty="0">
                <a:solidFill>
                  <a:schemeClr val="tx2"/>
                </a:solidFill>
                <a:latin typeface="微软雅黑" pitchFamily="34" charset="-122"/>
                <a:ea typeface="微软雅黑" pitchFamily="34" charset="-122"/>
                <a:cs typeface="HP Simplified"/>
              </a:rPr>
              <a:t> </a:t>
            </a:r>
          </a:p>
        </p:txBody>
      </p:sp>
      <p:sp>
        <p:nvSpPr>
          <p:cNvPr id="27" name="Round Diagonal Corner Rectangle 26"/>
          <p:cNvSpPr/>
          <p:nvPr/>
        </p:nvSpPr>
        <p:spPr>
          <a:xfrm>
            <a:off x="4667135" y="1387762"/>
            <a:ext cx="2935998" cy="5255524"/>
          </a:xfrm>
          <a:prstGeom prst="round2DiagRect">
            <a:avLst>
              <a:gd name="adj1" fmla="val 0"/>
              <a:gd name="adj2" fmla="val 5754"/>
            </a:avLst>
          </a:prstGeom>
          <a:solidFill>
            <a:srgbClr val="E5E8E8"/>
          </a:solidFill>
          <a:ln>
            <a:noFill/>
          </a:ln>
          <a:effectLst/>
        </p:spPr>
        <p:style>
          <a:lnRef idx="1">
            <a:schemeClr val="accent1"/>
          </a:lnRef>
          <a:fillRef idx="3">
            <a:schemeClr val="accent1"/>
          </a:fillRef>
          <a:effectRef idx="2">
            <a:schemeClr val="accent1"/>
          </a:effectRef>
          <a:fontRef idx="minor">
            <a:schemeClr val="lt1"/>
          </a:fontRef>
        </p:style>
        <p:txBody>
          <a:bodyPr lIns="129909" tIns="64954" rIns="129909" bIns="64954" rtlCol="0" anchor="t" anchorCtr="0"/>
          <a:lstStyle/>
          <a:p>
            <a:pPr algn="ctr">
              <a:spcAft>
                <a:spcPts val="1705"/>
              </a:spcAft>
            </a:pPr>
            <a:r>
              <a:rPr lang="zh-CN" altLang="en-US" sz="2800" dirty="0">
                <a:solidFill>
                  <a:schemeClr val="tx2"/>
                </a:solidFill>
                <a:latin typeface="微软雅黑" pitchFamily="34" charset="-122"/>
                <a:ea typeface="微软雅黑" pitchFamily="34" charset="-122"/>
              </a:rPr>
              <a:t>更有效率</a:t>
            </a:r>
            <a:endParaRPr lang="en-US" sz="2300" dirty="0">
              <a:solidFill>
                <a:schemeClr val="tx2"/>
              </a:solidFill>
              <a:latin typeface="微软雅黑" pitchFamily="34" charset="-122"/>
              <a:ea typeface="微软雅黑" pitchFamily="34" charset="-122"/>
            </a:endParaRPr>
          </a:p>
          <a:p>
            <a:pPr algn="ctr">
              <a:spcAft>
                <a:spcPts val="1705"/>
              </a:spcAft>
            </a:pPr>
            <a:endParaRPr lang="en-US" sz="2300" dirty="0">
              <a:solidFill>
                <a:schemeClr val="tx2"/>
              </a:solidFill>
              <a:latin typeface="微软雅黑" pitchFamily="34" charset="-122"/>
              <a:ea typeface="微软雅黑" pitchFamily="34" charset="-122"/>
            </a:endParaRPr>
          </a:p>
          <a:p>
            <a:pPr algn="ctr">
              <a:spcAft>
                <a:spcPts val="1705"/>
              </a:spcAft>
            </a:pPr>
            <a:endParaRPr lang="en-US" sz="2300" dirty="0">
              <a:solidFill>
                <a:schemeClr val="tx2"/>
              </a:solidFill>
              <a:latin typeface="微软雅黑" pitchFamily="34" charset="-122"/>
              <a:ea typeface="微软雅黑" pitchFamily="34" charset="-122"/>
            </a:endParaRPr>
          </a:p>
          <a:p>
            <a:pPr algn="ctr">
              <a:spcAft>
                <a:spcPts val="1705"/>
              </a:spcAft>
            </a:pPr>
            <a:endParaRPr lang="en-US" sz="2300" dirty="0">
              <a:solidFill>
                <a:schemeClr val="tx2"/>
              </a:solidFill>
              <a:latin typeface="微软雅黑" pitchFamily="34" charset="-122"/>
              <a:ea typeface="微软雅黑" pitchFamily="34" charset="-122"/>
            </a:endParaRPr>
          </a:p>
          <a:p>
            <a:pPr algn="ctr">
              <a:spcAft>
                <a:spcPts val="1705"/>
              </a:spcAft>
            </a:pPr>
            <a:endParaRPr lang="en-US" sz="2300" dirty="0">
              <a:solidFill>
                <a:schemeClr val="tx2"/>
              </a:solidFill>
              <a:latin typeface="微软雅黑" pitchFamily="34" charset="-122"/>
              <a:ea typeface="微软雅黑" pitchFamily="34" charset="-122"/>
            </a:endParaRPr>
          </a:p>
          <a:p>
            <a:pPr algn="ctr">
              <a:spcAft>
                <a:spcPts val="1705"/>
              </a:spcAft>
            </a:pPr>
            <a:r>
              <a:rPr lang="zh-CN" altLang="en-US" sz="2300" dirty="0">
                <a:solidFill>
                  <a:srgbClr val="0070C0"/>
                </a:solidFill>
                <a:latin typeface="微软雅黑" pitchFamily="34" charset="-122"/>
                <a:ea typeface="微软雅黑" pitchFamily="34" charset="-122"/>
              </a:rPr>
              <a:t>更加快速简便地</a:t>
            </a:r>
            <a:endParaRPr lang="en-US" altLang="zh-CN" sz="2300" dirty="0">
              <a:solidFill>
                <a:srgbClr val="0070C0"/>
              </a:solidFill>
              <a:latin typeface="微软雅黑" pitchFamily="34" charset="-122"/>
              <a:ea typeface="微软雅黑" pitchFamily="34" charset="-122"/>
            </a:endParaRPr>
          </a:p>
          <a:p>
            <a:pPr algn="ctr">
              <a:spcAft>
                <a:spcPts val="1705"/>
              </a:spcAft>
            </a:pPr>
            <a:r>
              <a:rPr lang="zh-CN" altLang="en-US" sz="2300" dirty="0">
                <a:solidFill>
                  <a:srgbClr val="0070C0"/>
                </a:solidFill>
                <a:latin typeface="微软雅黑" pitchFamily="34" charset="-122"/>
                <a:ea typeface="微软雅黑" pitchFamily="34" charset="-122"/>
              </a:rPr>
              <a:t>判别系统中</a:t>
            </a:r>
            <a:endParaRPr lang="en-US" altLang="zh-CN" sz="2300" dirty="0">
              <a:solidFill>
                <a:srgbClr val="0070C0"/>
              </a:solidFill>
              <a:latin typeface="微软雅黑" pitchFamily="34" charset="-122"/>
              <a:ea typeface="微软雅黑" pitchFamily="34" charset="-122"/>
            </a:endParaRPr>
          </a:p>
          <a:p>
            <a:pPr algn="ctr">
              <a:spcAft>
                <a:spcPts val="1705"/>
              </a:spcAft>
            </a:pPr>
            <a:r>
              <a:rPr lang="zh-CN" altLang="en-US" sz="2300" dirty="0">
                <a:solidFill>
                  <a:srgbClr val="0070C0"/>
                </a:solidFill>
                <a:latin typeface="微软雅黑" pitchFamily="34" charset="-122"/>
                <a:ea typeface="微软雅黑" pitchFamily="34" charset="-122"/>
              </a:rPr>
              <a:t>存在的风险</a:t>
            </a:r>
            <a:r>
              <a:rPr lang="en-US" sz="2300" dirty="0">
                <a:solidFill>
                  <a:srgbClr val="0070C0"/>
                </a:solidFill>
                <a:latin typeface="微软雅黑" pitchFamily="34" charset="-122"/>
                <a:ea typeface="微软雅黑" pitchFamily="34" charset="-122"/>
              </a:rPr>
              <a:t> </a:t>
            </a:r>
          </a:p>
          <a:p>
            <a:pPr>
              <a:spcAft>
                <a:spcPts val="1705"/>
              </a:spcAft>
            </a:pPr>
            <a:endParaRPr lang="en-US" sz="2300" dirty="0">
              <a:solidFill>
                <a:schemeClr val="tx2"/>
              </a:solidFill>
              <a:latin typeface="微软雅黑" pitchFamily="34" charset="-122"/>
              <a:ea typeface="微软雅黑" pitchFamily="34" charset="-122"/>
              <a:cs typeface="HP Simplified"/>
            </a:endParaRPr>
          </a:p>
          <a:p>
            <a:pPr>
              <a:spcAft>
                <a:spcPts val="1705"/>
              </a:spcAft>
            </a:pPr>
            <a:endParaRPr lang="en-US" dirty="0">
              <a:solidFill>
                <a:schemeClr val="tx2"/>
              </a:solidFill>
              <a:latin typeface="微软雅黑" pitchFamily="34" charset="-122"/>
              <a:ea typeface="微软雅黑" pitchFamily="34" charset="-122"/>
              <a:cs typeface="HP Simplified"/>
            </a:endParaRPr>
          </a:p>
          <a:p>
            <a:pPr>
              <a:spcAft>
                <a:spcPts val="1705"/>
              </a:spcAft>
            </a:pPr>
            <a:endParaRPr lang="en-US" sz="100" dirty="0">
              <a:solidFill>
                <a:schemeClr val="tx2"/>
              </a:solidFill>
              <a:latin typeface="微软雅黑" pitchFamily="34" charset="-122"/>
              <a:ea typeface="微软雅黑" pitchFamily="34" charset="-122"/>
              <a:cs typeface="HP Simplified"/>
            </a:endParaRPr>
          </a:p>
          <a:p>
            <a:pPr algn="ctr">
              <a:spcAft>
                <a:spcPts val="1705"/>
              </a:spcAft>
            </a:pPr>
            <a:r>
              <a:rPr lang="en-US" sz="2000" dirty="0">
                <a:solidFill>
                  <a:schemeClr val="tx2"/>
                </a:solidFill>
                <a:latin typeface="微软雅黑" pitchFamily="34" charset="-122"/>
                <a:ea typeface="微软雅黑" pitchFamily="34" charset="-122"/>
                <a:cs typeface="HP Simplified"/>
              </a:rPr>
              <a:t> </a:t>
            </a:r>
          </a:p>
        </p:txBody>
      </p:sp>
      <p:sp>
        <p:nvSpPr>
          <p:cNvPr id="28" name="Round Diagonal Corner Rectangle 27"/>
          <p:cNvSpPr/>
          <p:nvPr/>
        </p:nvSpPr>
        <p:spPr>
          <a:xfrm>
            <a:off x="8348545" y="1354837"/>
            <a:ext cx="2935998" cy="5255524"/>
          </a:xfrm>
          <a:prstGeom prst="round2DiagRect">
            <a:avLst>
              <a:gd name="adj1" fmla="val 0"/>
              <a:gd name="adj2" fmla="val 5754"/>
            </a:avLst>
          </a:prstGeom>
          <a:solidFill>
            <a:srgbClr val="E5E8E8"/>
          </a:solidFill>
          <a:ln>
            <a:noFill/>
          </a:ln>
          <a:effectLst/>
        </p:spPr>
        <p:style>
          <a:lnRef idx="1">
            <a:schemeClr val="accent1"/>
          </a:lnRef>
          <a:fillRef idx="3">
            <a:schemeClr val="accent1"/>
          </a:fillRef>
          <a:effectRef idx="2">
            <a:schemeClr val="accent1"/>
          </a:effectRef>
          <a:fontRef idx="minor">
            <a:schemeClr val="lt1"/>
          </a:fontRef>
        </p:style>
        <p:txBody>
          <a:bodyPr lIns="129909" tIns="64954" rIns="129909" bIns="64954" rtlCol="0" anchor="t" anchorCtr="0"/>
          <a:lstStyle/>
          <a:p>
            <a:pPr algn="ctr">
              <a:spcAft>
                <a:spcPts val="1705"/>
              </a:spcAft>
            </a:pPr>
            <a:r>
              <a:rPr lang="zh-CN" altLang="en-US" sz="2800" dirty="0">
                <a:solidFill>
                  <a:schemeClr val="tx2"/>
                </a:solidFill>
                <a:latin typeface="微软雅黑" pitchFamily="34" charset="-122"/>
                <a:ea typeface="微软雅黑" pitchFamily="34" charset="-122"/>
              </a:rPr>
              <a:t>更加合规</a:t>
            </a:r>
            <a:endParaRPr lang="en-US" sz="2300" dirty="0">
              <a:solidFill>
                <a:schemeClr val="tx2"/>
              </a:solidFill>
              <a:latin typeface="微软雅黑" pitchFamily="34" charset="-122"/>
              <a:ea typeface="微软雅黑" pitchFamily="34" charset="-122"/>
              <a:cs typeface="HP Simplified"/>
            </a:endParaRPr>
          </a:p>
          <a:p>
            <a:pPr algn="ctr">
              <a:spcAft>
                <a:spcPts val="1705"/>
              </a:spcAft>
            </a:pPr>
            <a:endParaRPr lang="en-US" sz="2300" dirty="0">
              <a:solidFill>
                <a:schemeClr val="tx2"/>
              </a:solidFill>
              <a:latin typeface="微软雅黑" pitchFamily="34" charset="-122"/>
              <a:ea typeface="微软雅黑" pitchFamily="34" charset="-122"/>
              <a:cs typeface="HP Simplified"/>
            </a:endParaRPr>
          </a:p>
          <a:p>
            <a:pPr algn="ctr">
              <a:spcAft>
                <a:spcPts val="1705"/>
              </a:spcAft>
            </a:pPr>
            <a:endParaRPr lang="en-US" sz="2300" dirty="0">
              <a:solidFill>
                <a:schemeClr val="tx2"/>
              </a:solidFill>
              <a:latin typeface="微软雅黑" pitchFamily="34" charset="-122"/>
              <a:ea typeface="微软雅黑" pitchFamily="34" charset="-122"/>
              <a:cs typeface="HP Simplified"/>
            </a:endParaRPr>
          </a:p>
          <a:p>
            <a:pPr algn="ctr">
              <a:spcAft>
                <a:spcPts val="1705"/>
              </a:spcAft>
            </a:pPr>
            <a:endParaRPr lang="en-US" sz="2300" dirty="0">
              <a:solidFill>
                <a:schemeClr val="tx2"/>
              </a:solidFill>
              <a:latin typeface="微软雅黑" pitchFamily="34" charset="-122"/>
              <a:ea typeface="微软雅黑" pitchFamily="34" charset="-122"/>
              <a:cs typeface="HP Simplified"/>
            </a:endParaRPr>
          </a:p>
          <a:p>
            <a:pPr algn="ctr">
              <a:spcAft>
                <a:spcPts val="1705"/>
              </a:spcAft>
            </a:pPr>
            <a:endParaRPr lang="en-US" sz="2300" dirty="0">
              <a:solidFill>
                <a:schemeClr val="tx2"/>
              </a:solidFill>
              <a:latin typeface="微软雅黑" pitchFamily="34" charset="-122"/>
              <a:ea typeface="微软雅黑" pitchFamily="34" charset="-122"/>
              <a:cs typeface="HP Simplified"/>
            </a:endParaRPr>
          </a:p>
          <a:p>
            <a:pPr algn="ctr">
              <a:spcAft>
                <a:spcPts val="1705"/>
              </a:spcAft>
            </a:pPr>
            <a:r>
              <a:rPr lang="zh-CN" altLang="en-US" sz="2300" dirty="0">
                <a:solidFill>
                  <a:srgbClr val="0070C0"/>
                </a:solidFill>
                <a:latin typeface="微软雅黑" pitchFamily="34" charset="-122"/>
                <a:ea typeface="微软雅黑" pitchFamily="34" charset="-122"/>
                <a:cs typeface="HP Simplified"/>
              </a:rPr>
              <a:t>自动进行</a:t>
            </a:r>
            <a:endParaRPr lang="en-US" altLang="zh-CN" sz="2300" dirty="0">
              <a:solidFill>
                <a:srgbClr val="0070C0"/>
              </a:solidFill>
              <a:latin typeface="微软雅黑" pitchFamily="34" charset="-122"/>
              <a:ea typeface="微软雅黑" pitchFamily="34" charset="-122"/>
              <a:cs typeface="HP Simplified"/>
            </a:endParaRPr>
          </a:p>
          <a:p>
            <a:pPr algn="ctr">
              <a:spcAft>
                <a:spcPts val="1705"/>
              </a:spcAft>
            </a:pPr>
            <a:r>
              <a:rPr lang="zh-CN" altLang="en-US" sz="2300" dirty="0">
                <a:solidFill>
                  <a:srgbClr val="0070C0"/>
                </a:solidFill>
                <a:latin typeface="微软雅黑" pitchFamily="34" charset="-122"/>
                <a:ea typeface="微软雅黑" pitchFamily="34" charset="-122"/>
                <a:cs typeface="HP Simplified"/>
              </a:rPr>
              <a:t>合规性检测</a:t>
            </a:r>
            <a:endParaRPr lang="en-US" sz="2000" dirty="0">
              <a:solidFill>
                <a:srgbClr val="0070C0"/>
              </a:solidFill>
              <a:latin typeface="微软雅黑" pitchFamily="34" charset="-122"/>
              <a:ea typeface="微软雅黑" pitchFamily="34" charset="-122"/>
            </a:endParaRPr>
          </a:p>
          <a:p>
            <a:pPr algn="ctr">
              <a:spcAft>
                <a:spcPts val="1705"/>
              </a:spcAft>
            </a:pPr>
            <a:r>
              <a:rPr lang="en-US" sz="2000" dirty="0">
                <a:solidFill>
                  <a:schemeClr val="tx2"/>
                </a:solidFill>
                <a:latin typeface="微软雅黑" pitchFamily="34" charset="-122"/>
                <a:ea typeface="微软雅黑" pitchFamily="34" charset="-122"/>
                <a:cs typeface="HP Simplified"/>
              </a:rPr>
              <a:t> </a:t>
            </a:r>
          </a:p>
        </p:txBody>
      </p:sp>
      <p:grpSp>
        <p:nvGrpSpPr>
          <p:cNvPr id="29" name="Group 28"/>
          <p:cNvGrpSpPr/>
          <p:nvPr/>
        </p:nvGrpSpPr>
        <p:grpSpPr>
          <a:xfrm>
            <a:off x="9039201" y="2630751"/>
            <a:ext cx="1528847" cy="1411419"/>
            <a:chOff x="0" y="0"/>
            <a:chExt cx="1503363" cy="1214437"/>
          </a:xfrm>
        </p:grpSpPr>
        <p:sp>
          <p:nvSpPr>
            <p:cNvPr id="30" name="Freeform 29"/>
            <p:cNvSpPr>
              <a:spLocks/>
            </p:cNvSpPr>
            <p:nvPr/>
          </p:nvSpPr>
          <p:spPr bwMode="auto">
            <a:xfrm>
              <a:off x="280987" y="338137"/>
              <a:ext cx="914400" cy="876300"/>
            </a:xfrm>
            <a:custGeom>
              <a:avLst/>
              <a:gdLst>
                <a:gd name="T0" fmla="*/ 214 w 243"/>
                <a:gd name="T1" fmla="*/ 110 h 233"/>
                <a:gd name="T2" fmla="*/ 199 w 243"/>
                <a:gd name="T3" fmla="*/ 113 h 233"/>
                <a:gd name="T4" fmla="*/ 177 w 243"/>
                <a:gd name="T5" fmla="*/ 103 h 233"/>
                <a:gd name="T6" fmla="*/ 162 w 243"/>
                <a:gd name="T7" fmla="*/ 107 h 233"/>
                <a:gd name="T8" fmla="*/ 138 w 243"/>
                <a:gd name="T9" fmla="*/ 96 h 233"/>
                <a:gd name="T10" fmla="*/ 130 w 243"/>
                <a:gd name="T11" fmla="*/ 98 h 233"/>
                <a:gd name="T12" fmla="*/ 130 w 243"/>
                <a:gd name="T13" fmla="*/ 30 h 233"/>
                <a:gd name="T14" fmla="*/ 99 w 243"/>
                <a:gd name="T15" fmla="*/ 0 h 233"/>
                <a:gd name="T16" fmla="*/ 69 w 243"/>
                <a:gd name="T17" fmla="*/ 30 h 233"/>
                <a:gd name="T18" fmla="*/ 69 w 243"/>
                <a:gd name="T19" fmla="*/ 159 h 233"/>
                <a:gd name="T20" fmla="*/ 52 w 243"/>
                <a:gd name="T21" fmla="*/ 142 h 233"/>
                <a:gd name="T22" fmla="*/ 52 w 243"/>
                <a:gd name="T23" fmla="*/ 142 h 233"/>
                <a:gd name="T24" fmla="*/ 30 w 243"/>
                <a:gd name="T25" fmla="*/ 133 h 233"/>
                <a:gd name="T26" fmla="*/ 9 w 243"/>
                <a:gd name="T27" fmla="*/ 142 h 233"/>
                <a:gd name="T28" fmla="*/ 0 w 243"/>
                <a:gd name="T29" fmla="*/ 164 h 233"/>
                <a:gd name="T30" fmla="*/ 9 w 243"/>
                <a:gd name="T31" fmla="*/ 185 h 233"/>
                <a:gd name="T32" fmla="*/ 57 w 243"/>
                <a:gd name="T33" fmla="*/ 233 h 233"/>
                <a:gd name="T34" fmla="*/ 77 w 243"/>
                <a:gd name="T35" fmla="*/ 233 h 233"/>
                <a:gd name="T36" fmla="*/ 19 w 243"/>
                <a:gd name="T37" fmla="*/ 175 h 233"/>
                <a:gd name="T38" fmla="*/ 15 w 243"/>
                <a:gd name="T39" fmla="*/ 163 h 233"/>
                <a:gd name="T40" fmla="*/ 19 w 243"/>
                <a:gd name="T41" fmla="*/ 152 h 233"/>
                <a:gd name="T42" fmla="*/ 30 w 243"/>
                <a:gd name="T43" fmla="*/ 147 h 233"/>
                <a:gd name="T44" fmla="*/ 41 w 243"/>
                <a:gd name="T45" fmla="*/ 152 h 233"/>
                <a:gd name="T46" fmla="*/ 76 w 243"/>
                <a:gd name="T47" fmla="*/ 188 h 233"/>
                <a:gd name="T48" fmla="*/ 81 w 243"/>
                <a:gd name="T49" fmla="*/ 189 h 233"/>
                <a:gd name="T50" fmla="*/ 83 w 243"/>
                <a:gd name="T51" fmla="*/ 185 h 233"/>
                <a:gd name="T52" fmla="*/ 83 w 243"/>
                <a:gd name="T53" fmla="*/ 30 h 233"/>
                <a:gd name="T54" fmla="*/ 99 w 243"/>
                <a:gd name="T55" fmla="*/ 14 h 233"/>
                <a:gd name="T56" fmla="*/ 115 w 243"/>
                <a:gd name="T57" fmla="*/ 30 h 233"/>
                <a:gd name="T58" fmla="*/ 115 w 243"/>
                <a:gd name="T59" fmla="*/ 118 h 233"/>
                <a:gd name="T60" fmla="*/ 118 w 243"/>
                <a:gd name="T61" fmla="*/ 121 h 233"/>
                <a:gd name="T62" fmla="*/ 123 w 243"/>
                <a:gd name="T63" fmla="*/ 119 h 233"/>
                <a:gd name="T64" fmla="*/ 138 w 243"/>
                <a:gd name="T65" fmla="*/ 111 h 233"/>
                <a:gd name="T66" fmla="*/ 155 w 243"/>
                <a:gd name="T67" fmla="*/ 125 h 233"/>
                <a:gd name="T68" fmla="*/ 158 w 243"/>
                <a:gd name="T69" fmla="*/ 128 h 233"/>
                <a:gd name="T70" fmla="*/ 163 w 243"/>
                <a:gd name="T71" fmla="*/ 126 h 233"/>
                <a:gd name="T72" fmla="*/ 177 w 243"/>
                <a:gd name="T73" fmla="*/ 117 h 233"/>
                <a:gd name="T74" fmla="*/ 193 w 243"/>
                <a:gd name="T75" fmla="*/ 132 h 233"/>
                <a:gd name="T76" fmla="*/ 196 w 243"/>
                <a:gd name="T77" fmla="*/ 135 h 233"/>
                <a:gd name="T78" fmla="*/ 200 w 243"/>
                <a:gd name="T79" fmla="*/ 133 h 233"/>
                <a:gd name="T80" fmla="*/ 214 w 243"/>
                <a:gd name="T81" fmla="*/ 124 h 233"/>
                <a:gd name="T82" fmla="*/ 229 w 243"/>
                <a:gd name="T83" fmla="*/ 140 h 233"/>
                <a:gd name="T84" fmla="*/ 229 w 243"/>
                <a:gd name="T85" fmla="*/ 233 h 233"/>
                <a:gd name="T86" fmla="*/ 243 w 243"/>
                <a:gd name="T87" fmla="*/ 233 h 233"/>
                <a:gd name="T88" fmla="*/ 243 w 243"/>
                <a:gd name="T89" fmla="*/ 140 h 233"/>
                <a:gd name="T90" fmla="*/ 214 w 243"/>
                <a:gd name="T91" fmla="*/ 11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3" h="233">
                  <a:moveTo>
                    <a:pt x="214" y="110"/>
                  </a:moveTo>
                  <a:cubicBezTo>
                    <a:pt x="209" y="110"/>
                    <a:pt x="204" y="111"/>
                    <a:pt x="199" y="113"/>
                  </a:cubicBezTo>
                  <a:cubicBezTo>
                    <a:pt x="194" y="107"/>
                    <a:pt x="185" y="103"/>
                    <a:pt x="177" y="103"/>
                  </a:cubicBezTo>
                  <a:cubicBezTo>
                    <a:pt x="172" y="103"/>
                    <a:pt x="166" y="104"/>
                    <a:pt x="162" y="107"/>
                  </a:cubicBezTo>
                  <a:cubicBezTo>
                    <a:pt x="156" y="100"/>
                    <a:pt x="147" y="96"/>
                    <a:pt x="138" y="96"/>
                  </a:cubicBezTo>
                  <a:cubicBezTo>
                    <a:pt x="135" y="96"/>
                    <a:pt x="132" y="97"/>
                    <a:pt x="130" y="98"/>
                  </a:cubicBezTo>
                  <a:cubicBezTo>
                    <a:pt x="130" y="30"/>
                    <a:pt x="130" y="30"/>
                    <a:pt x="130" y="30"/>
                  </a:cubicBezTo>
                  <a:cubicBezTo>
                    <a:pt x="130" y="13"/>
                    <a:pt x="116" y="0"/>
                    <a:pt x="99" y="0"/>
                  </a:cubicBezTo>
                  <a:cubicBezTo>
                    <a:pt x="82" y="0"/>
                    <a:pt x="69" y="13"/>
                    <a:pt x="69" y="30"/>
                  </a:cubicBezTo>
                  <a:cubicBezTo>
                    <a:pt x="69" y="159"/>
                    <a:pt x="69" y="159"/>
                    <a:pt x="69" y="159"/>
                  </a:cubicBezTo>
                  <a:cubicBezTo>
                    <a:pt x="52" y="142"/>
                    <a:pt x="52" y="142"/>
                    <a:pt x="52" y="142"/>
                  </a:cubicBezTo>
                  <a:cubicBezTo>
                    <a:pt x="52" y="142"/>
                    <a:pt x="52" y="142"/>
                    <a:pt x="52" y="142"/>
                  </a:cubicBezTo>
                  <a:cubicBezTo>
                    <a:pt x="46" y="136"/>
                    <a:pt x="38" y="133"/>
                    <a:pt x="30" y="133"/>
                  </a:cubicBezTo>
                  <a:cubicBezTo>
                    <a:pt x="22" y="133"/>
                    <a:pt x="15" y="136"/>
                    <a:pt x="9" y="142"/>
                  </a:cubicBezTo>
                  <a:cubicBezTo>
                    <a:pt x="3" y="148"/>
                    <a:pt x="0" y="155"/>
                    <a:pt x="0" y="164"/>
                  </a:cubicBezTo>
                  <a:cubicBezTo>
                    <a:pt x="0" y="172"/>
                    <a:pt x="4" y="179"/>
                    <a:pt x="9" y="185"/>
                  </a:cubicBezTo>
                  <a:cubicBezTo>
                    <a:pt x="57" y="233"/>
                    <a:pt x="57" y="233"/>
                    <a:pt x="57" y="233"/>
                  </a:cubicBezTo>
                  <a:cubicBezTo>
                    <a:pt x="77" y="233"/>
                    <a:pt x="77" y="233"/>
                    <a:pt x="77" y="233"/>
                  </a:cubicBezTo>
                  <a:cubicBezTo>
                    <a:pt x="19" y="175"/>
                    <a:pt x="19" y="175"/>
                    <a:pt x="19" y="175"/>
                  </a:cubicBezTo>
                  <a:cubicBezTo>
                    <a:pt x="16" y="172"/>
                    <a:pt x="15" y="168"/>
                    <a:pt x="15" y="163"/>
                  </a:cubicBezTo>
                  <a:cubicBezTo>
                    <a:pt x="14" y="159"/>
                    <a:pt x="16" y="155"/>
                    <a:pt x="19" y="152"/>
                  </a:cubicBezTo>
                  <a:cubicBezTo>
                    <a:pt x="22" y="149"/>
                    <a:pt x="26" y="147"/>
                    <a:pt x="30" y="147"/>
                  </a:cubicBezTo>
                  <a:cubicBezTo>
                    <a:pt x="34" y="147"/>
                    <a:pt x="38" y="149"/>
                    <a:pt x="41" y="152"/>
                  </a:cubicBezTo>
                  <a:cubicBezTo>
                    <a:pt x="76" y="188"/>
                    <a:pt x="76" y="188"/>
                    <a:pt x="76" y="188"/>
                  </a:cubicBezTo>
                  <a:cubicBezTo>
                    <a:pt x="77" y="189"/>
                    <a:pt x="79" y="190"/>
                    <a:pt x="81" y="189"/>
                  </a:cubicBezTo>
                  <a:cubicBezTo>
                    <a:pt x="82" y="188"/>
                    <a:pt x="83" y="187"/>
                    <a:pt x="83" y="185"/>
                  </a:cubicBezTo>
                  <a:cubicBezTo>
                    <a:pt x="83" y="30"/>
                    <a:pt x="83" y="30"/>
                    <a:pt x="83" y="30"/>
                  </a:cubicBezTo>
                  <a:cubicBezTo>
                    <a:pt x="83" y="21"/>
                    <a:pt x="90" y="14"/>
                    <a:pt x="99" y="14"/>
                  </a:cubicBezTo>
                  <a:cubicBezTo>
                    <a:pt x="108" y="14"/>
                    <a:pt x="115" y="21"/>
                    <a:pt x="115" y="30"/>
                  </a:cubicBezTo>
                  <a:cubicBezTo>
                    <a:pt x="115" y="118"/>
                    <a:pt x="115" y="118"/>
                    <a:pt x="115" y="118"/>
                  </a:cubicBezTo>
                  <a:cubicBezTo>
                    <a:pt x="115" y="119"/>
                    <a:pt x="117" y="121"/>
                    <a:pt x="118" y="121"/>
                  </a:cubicBezTo>
                  <a:cubicBezTo>
                    <a:pt x="120" y="122"/>
                    <a:pt x="122" y="121"/>
                    <a:pt x="123" y="119"/>
                  </a:cubicBezTo>
                  <a:cubicBezTo>
                    <a:pt x="125" y="114"/>
                    <a:pt x="132" y="111"/>
                    <a:pt x="138" y="111"/>
                  </a:cubicBezTo>
                  <a:cubicBezTo>
                    <a:pt x="147" y="111"/>
                    <a:pt x="154" y="117"/>
                    <a:pt x="155" y="125"/>
                  </a:cubicBezTo>
                  <a:cubicBezTo>
                    <a:pt x="155" y="127"/>
                    <a:pt x="157" y="128"/>
                    <a:pt x="158" y="128"/>
                  </a:cubicBezTo>
                  <a:cubicBezTo>
                    <a:pt x="160" y="129"/>
                    <a:pt x="162" y="128"/>
                    <a:pt x="163" y="126"/>
                  </a:cubicBezTo>
                  <a:cubicBezTo>
                    <a:pt x="165" y="121"/>
                    <a:pt x="171" y="117"/>
                    <a:pt x="177" y="117"/>
                  </a:cubicBezTo>
                  <a:cubicBezTo>
                    <a:pt x="185" y="117"/>
                    <a:pt x="192" y="123"/>
                    <a:pt x="193" y="132"/>
                  </a:cubicBezTo>
                  <a:cubicBezTo>
                    <a:pt x="193" y="133"/>
                    <a:pt x="194" y="135"/>
                    <a:pt x="196" y="135"/>
                  </a:cubicBezTo>
                  <a:cubicBezTo>
                    <a:pt x="197" y="135"/>
                    <a:pt x="199" y="135"/>
                    <a:pt x="200" y="133"/>
                  </a:cubicBezTo>
                  <a:cubicBezTo>
                    <a:pt x="203" y="127"/>
                    <a:pt x="208" y="124"/>
                    <a:pt x="214" y="124"/>
                  </a:cubicBezTo>
                  <a:cubicBezTo>
                    <a:pt x="222" y="124"/>
                    <a:pt x="229" y="131"/>
                    <a:pt x="229" y="140"/>
                  </a:cubicBezTo>
                  <a:cubicBezTo>
                    <a:pt x="229" y="233"/>
                    <a:pt x="229" y="233"/>
                    <a:pt x="229" y="233"/>
                  </a:cubicBezTo>
                  <a:cubicBezTo>
                    <a:pt x="243" y="233"/>
                    <a:pt x="243" y="233"/>
                    <a:pt x="243" y="233"/>
                  </a:cubicBezTo>
                  <a:cubicBezTo>
                    <a:pt x="243" y="140"/>
                    <a:pt x="243" y="140"/>
                    <a:pt x="243" y="140"/>
                  </a:cubicBezTo>
                  <a:cubicBezTo>
                    <a:pt x="243" y="123"/>
                    <a:pt x="230" y="110"/>
                    <a:pt x="214" y="11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31" name="Freeform 30"/>
            <p:cNvSpPr>
              <a:spLocks/>
            </p:cNvSpPr>
            <p:nvPr/>
          </p:nvSpPr>
          <p:spPr bwMode="auto">
            <a:xfrm>
              <a:off x="442912" y="233362"/>
              <a:ext cx="422275" cy="327025"/>
            </a:xfrm>
            <a:custGeom>
              <a:avLst/>
              <a:gdLst>
                <a:gd name="T0" fmla="*/ 112 w 112"/>
                <a:gd name="T1" fmla="*/ 56 h 87"/>
                <a:gd name="T2" fmla="*/ 56 w 112"/>
                <a:gd name="T3" fmla="*/ 0 h 87"/>
                <a:gd name="T4" fmla="*/ 0 w 112"/>
                <a:gd name="T5" fmla="*/ 56 h 87"/>
                <a:gd name="T6" fmla="*/ 10 w 112"/>
                <a:gd name="T7" fmla="*/ 87 h 87"/>
                <a:gd name="T8" fmla="*/ 10 w 112"/>
                <a:gd name="T9" fmla="*/ 58 h 87"/>
                <a:gd name="T10" fmla="*/ 56 w 112"/>
                <a:gd name="T11" fmla="*/ 12 h 87"/>
                <a:gd name="T12" fmla="*/ 103 w 112"/>
                <a:gd name="T13" fmla="*/ 58 h 87"/>
                <a:gd name="T14" fmla="*/ 103 w 112"/>
                <a:gd name="T15" fmla="*/ 87 h 87"/>
                <a:gd name="T16" fmla="*/ 112 w 112"/>
                <a:gd name="T17" fmla="*/ 5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87">
                  <a:moveTo>
                    <a:pt x="112" y="56"/>
                  </a:moveTo>
                  <a:cubicBezTo>
                    <a:pt x="112" y="25"/>
                    <a:pt x="87" y="0"/>
                    <a:pt x="56" y="0"/>
                  </a:cubicBezTo>
                  <a:cubicBezTo>
                    <a:pt x="25" y="0"/>
                    <a:pt x="0" y="25"/>
                    <a:pt x="0" y="56"/>
                  </a:cubicBezTo>
                  <a:cubicBezTo>
                    <a:pt x="0" y="67"/>
                    <a:pt x="4" y="78"/>
                    <a:pt x="10" y="87"/>
                  </a:cubicBezTo>
                  <a:cubicBezTo>
                    <a:pt x="10" y="58"/>
                    <a:pt x="10" y="58"/>
                    <a:pt x="10" y="58"/>
                  </a:cubicBezTo>
                  <a:cubicBezTo>
                    <a:pt x="10" y="33"/>
                    <a:pt x="30" y="12"/>
                    <a:pt x="56" y="12"/>
                  </a:cubicBezTo>
                  <a:cubicBezTo>
                    <a:pt x="82" y="12"/>
                    <a:pt x="103" y="33"/>
                    <a:pt x="103" y="58"/>
                  </a:cubicBezTo>
                  <a:cubicBezTo>
                    <a:pt x="103" y="87"/>
                    <a:pt x="103" y="87"/>
                    <a:pt x="103" y="87"/>
                  </a:cubicBezTo>
                  <a:cubicBezTo>
                    <a:pt x="109" y="78"/>
                    <a:pt x="112" y="67"/>
                    <a:pt x="112" y="5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32" name="Freeform 31"/>
            <p:cNvSpPr>
              <a:spLocks/>
            </p:cNvSpPr>
            <p:nvPr/>
          </p:nvSpPr>
          <p:spPr bwMode="auto">
            <a:xfrm>
              <a:off x="354012" y="142875"/>
              <a:ext cx="601663" cy="544513"/>
            </a:xfrm>
            <a:custGeom>
              <a:avLst/>
              <a:gdLst>
                <a:gd name="T0" fmla="*/ 80 w 160"/>
                <a:gd name="T1" fmla="*/ 0 h 145"/>
                <a:gd name="T2" fmla="*/ 0 w 160"/>
                <a:gd name="T3" fmla="*/ 80 h 145"/>
                <a:gd name="T4" fmla="*/ 34 w 160"/>
                <a:gd name="T5" fmla="*/ 145 h 145"/>
                <a:gd name="T6" fmla="*/ 34 w 160"/>
                <a:gd name="T7" fmla="*/ 129 h 145"/>
                <a:gd name="T8" fmla="*/ 12 w 160"/>
                <a:gd name="T9" fmla="*/ 80 h 145"/>
                <a:gd name="T10" fmla="*/ 80 w 160"/>
                <a:gd name="T11" fmla="*/ 12 h 145"/>
                <a:gd name="T12" fmla="*/ 148 w 160"/>
                <a:gd name="T13" fmla="*/ 80 h 145"/>
                <a:gd name="T14" fmla="*/ 127 w 160"/>
                <a:gd name="T15" fmla="*/ 129 h 145"/>
                <a:gd name="T16" fmla="*/ 127 w 160"/>
                <a:gd name="T17" fmla="*/ 133 h 145"/>
                <a:gd name="T18" fmla="*/ 137 w 160"/>
                <a:gd name="T19" fmla="*/ 136 h 145"/>
                <a:gd name="T20" fmla="*/ 160 w 160"/>
                <a:gd name="T21" fmla="*/ 80 h 145"/>
                <a:gd name="T22" fmla="*/ 80 w 160"/>
                <a:gd name="T23"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0" h="145">
                  <a:moveTo>
                    <a:pt x="80" y="0"/>
                  </a:moveTo>
                  <a:cubicBezTo>
                    <a:pt x="36" y="0"/>
                    <a:pt x="0" y="35"/>
                    <a:pt x="0" y="80"/>
                  </a:cubicBezTo>
                  <a:cubicBezTo>
                    <a:pt x="0" y="106"/>
                    <a:pt x="13" y="130"/>
                    <a:pt x="34" y="145"/>
                  </a:cubicBezTo>
                  <a:cubicBezTo>
                    <a:pt x="34" y="129"/>
                    <a:pt x="34" y="129"/>
                    <a:pt x="34" y="129"/>
                  </a:cubicBezTo>
                  <a:cubicBezTo>
                    <a:pt x="20" y="117"/>
                    <a:pt x="12" y="99"/>
                    <a:pt x="12" y="80"/>
                  </a:cubicBezTo>
                  <a:cubicBezTo>
                    <a:pt x="12" y="42"/>
                    <a:pt x="43" y="12"/>
                    <a:pt x="80" y="12"/>
                  </a:cubicBezTo>
                  <a:cubicBezTo>
                    <a:pt x="118" y="12"/>
                    <a:pt x="148" y="42"/>
                    <a:pt x="148" y="80"/>
                  </a:cubicBezTo>
                  <a:cubicBezTo>
                    <a:pt x="148" y="99"/>
                    <a:pt x="140" y="117"/>
                    <a:pt x="127" y="129"/>
                  </a:cubicBezTo>
                  <a:cubicBezTo>
                    <a:pt x="127" y="133"/>
                    <a:pt x="127" y="133"/>
                    <a:pt x="127" y="133"/>
                  </a:cubicBezTo>
                  <a:cubicBezTo>
                    <a:pt x="130" y="134"/>
                    <a:pt x="134" y="135"/>
                    <a:pt x="137" y="136"/>
                  </a:cubicBezTo>
                  <a:cubicBezTo>
                    <a:pt x="151" y="121"/>
                    <a:pt x="160" y="102"/>
                    <a:pt x="160" y="80"/>
                  </a:cubicBezTo>
                  <a:cubicBezTo>
                    <a:pt x="160" y="35"/>
                    <a:pt x="124" y="0"/>
                    <a:pt x="8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33" name="Freeform 32"/>
            <p:cNvSpPr>
              <a:spLocks/>
            </p:cNvSpPr>
            <p:nvPr/>
          </p:nvSpPr>
          <p:spPr bwMode="auto">
            <a:xfrm>
              <a:off x="0" y="0"/>
              <a:ext cx="1503363" cy="992188"/>
            </a:xfrm>
            <a:custGeom>
              <a:avLst/>
              <a:gdLst>
                <a:gd name="T0" fmla="*/ 376 w 400"/>
                <a:gd name="T1" fmla="*/ 0 h 264"/>
                <a:gd name="T2" fmla="*/ 0 w 400"/>
                <a:gd name="T3" fmla="*/ 0 h 264"/>
                <a:gd name="T4" fmla="*/ 0 w 400"/>
                <a:gd name="T5" fmla="*/ 240 h 264"/>
                <a:gd name="T6" fmla="*/ 24 w 400"/>
                <a:gd name="T7" fmla="*/ 264 h 264"/>
                <a:gd name="T8" fmla="*/ 61 w 400"/>
                <a:gd name="T9" fmla="*/ 264 h 264"/>
                <a:gd name="T10" fmla="*/ 59 w 400"/>
                <a:gd name="T11" fmla="*/ 254 h 264"/>
                <a:gd name="T12" fmla="*/ 61 w 400"/>
                <a:gd name="T13" fmla="*/ 240 h 264"/>
                <a:gd name="T14" fmla="*/ 24 w 400"/>
                <a:gd name="T15" fmla="*/ 240 h 264"/>
                <a:gd name="T16" fmla="*/ 24 w 400"/>
                <a:gd name="T17" fmla="*/ 24 h 264"/>
                <a:gd name="T18" fmla="*/ 376 w 400"/>
                <a:gd name="T19" fmla="*/ 24 h 264"/>
                <a:gd name="T20" fmla="*/ 376 w 400"/>
                <a:gd name="T21" fmla="*/ 240 h 264"/>
                <a:gd name="T22" fmla="*/ 334 w 400"/>
                <a:gd name="T23" fmla="*/ 240 h 264"/>
                <a:gd name="T24" fmla="*/ 334 w 400"/>
                <a:gd name="T25" fmla="*/ 264 h 264"/>
                <a:gd name="T26" fmla="*/ 400 w 400"/>
                <a:gd name="T27" fmla="*/ 264 h 264"/>
                <a:gd name="T28" fmla="*/ 400 w 400"/>
                <a:gd name="T29" fmla="*/ 24 h 264"/>
                <a:gd name="T30" fmla="*/ 376 w 400"/>
                <a:gd name="T31" fmla="*/ 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0" h="264">
                  <a:moveTo>
                    <a:pt x="376" y="0"/>
                  </a:moveTo>
                  <a:cubicBezTo>
                    <a:pt x="0" y="0"/>
                    <a:pt x="0" y="0"/>
                    <a:pt x="0" y="0"/>
                  </a:cubicBezTo>
                  <a:cubicBezTo>
                    <a:pt x="0" y="240"/>
                    <a:pt x="0" y="240"/>
                    <a:pt x="0" y="240"/>
                  </a:cubicBezTo>
                  <a:cubicBezTo>
                    <a:pt x="0" y="254"/>
                    <a:pt x="11" y="264"/>
                    <a:pt x="24" y="264"/>
                  </a:cubicBezTo>
                  <a:cubicBezTo>
                    <a:pt x="61" y="264"/>
                    <a:pt x="61" y="264"/>
                    <a:pt x="61" y="264"/>
                  </a:cubicBezTo>
                  <a:cubicBezTo>
                    <a:pt x="60" y="261"/>
                    <a:pt x="59" y="257"/>
                    <a:pt x="59" y="254"/>
                  </a:cubicBezTo>
                  <a:cubicBezTo>
                    <a:pt x="59" y="249"/>
                    <a:pt x="60" y="245"/>
                    <a:pt x="61" y="240"/>
                  </a:cubicBezTo>
                  <a:cubicBezTo>
                    <a:pt x="24" y="240"/>
                    <a:pt x="24" y="240"/>
                    <a:pt x="24" y="240"/>
                  </a:cubicBezTo>
                  <a:cubicBezTo>
                    <a:pt x="24" y="24"/>
                    <a:pt x="24" y="24"/>
                    <a:pt x="24" y="24"/>
                  </a:cubicBezTo>
                  <a:cubicBezTo>
                    <a:pt x="376" y="24"/>
                    <a:pt x="376" y="24"/>
                    <a:pt x="376" y="24"/>
                  </a:cubicBezTo>
                  <a:cubicBezTo>
                    <a:pt x="376" y="240"/>
                    <a:pt x="376" y="240"/>
                    <a:pt x="376" y="240"/>
                  </a:cubicBezTo>
                  <a:cubicBezTo>
                    <a:pt x="334" y="240"/>
                    <a:pt x="334" y="240"/>
                    <a:pt x="334" y="240"/>
                  </a:cubicBezTo>
                  <a:cubicBezTo>
                    <a:pt x="334" y="264"/>
                    <a:pt x="334" y="264"/>
                    <a:pt x="334" y="264"/>
                  </a:cubicBezTo>
                  <a:cubicBezTo>
                    <a:pt x="400" y="264"/>
                    <a:pt x="400" y="264"/>
                    <a:pt x="400" y="264"/>
                  </a:cubicBezTo>
                  <a:cubicBezTo>
                    <a:pt x="400" y="24"/>
                    <a:pt x="400" y="24"/>
                    <a:pt x="400" y="24"/>
                  </a:cubicBezTo>
                  <a:cubicBezTo>
                    <a:pt x="400" y="11"/>
                    <a:pt x="389" y="0"/>
                    <a:pt x="376"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grpSp>
      <p:sp>
        <p:nvSpPr>
          <p:cNvPr id="11" name="Freeform 10"/>
          <p:cNvSpPr>
            <a:spLocks noEditPoints="1"/>
          </p:cNvSpPr>
          <p:nvPr/>
        </p:nvSpPr>
        <p:spPr bwMode="auto">
          <a:xfrm>
            <a:off x="1869359" y="2571403"/>
            <a:ext cx="951512" cy="1598551"/>
          </a:xfrm>
          <a:custGeom>
            <a:avLst/>
            <a:gdLst>
              <a:gd name="T0" fmla="*/ 0 w 228"/>
              <a:gd name="T1" fmla="*/ 0 h 400"/>
              <a:gd name="T2" fmla="*/ 24 w 228"/>
              <a:gd name="T3" fmla="*/ 400 h 400"/>
              <a:gd name="T4" fmla="*/ 228 w 228"/>
              <a:gd name="T5" fmla="*/ 24 h 400"/>
              <a:gd name="T6" fmla="*/ 52 w 228"/>
              <a:gd name="T7" fmla="*/ 34 h 400"/>
              <a:gd name="T8" fmla="*/ 52 w 228"/>
              <a:gd name="T9" fmla="*/ 66 h 400"/>
              <a:gd name="T10" fmla="*/ 52 w 228"/>
              <a:gd name="T11" fmla="*/ 34 h 400"/>
              <a:gd name="T12" fmla="*/ 68 w 228"/>
              <a:gd name="T13" fmla="*/ 110 h 400"/>
              <a:gd name="T14" fmla="*/ 36 w 228"/>
              <a:gd name="T15" fmla="*/ 110 h 400"/>
              <a:gd name="T16" fmla="*/ 36 w 228"/>
              <a:gd name="T17" fmla="*/ 170 h 400"/>
              <a:gd name="T18" fmla="*/ 68 w 228"/>
              <a:gd name="T19" fmla="*/ 170 h 400"/>
              <a:gd name="T20" fmla="*/ 36 w 228"/>
              <a:gd name="T21" fmla="*/ 170 h 400"/>
              <a:gd name="T22" fmla="*/ 69 w 228"/>
              <a:gd name="T23" fmla="*/ 305 h 400"/>
              <a:gd name="T24" fmla="*/ 52 w 228"/>
              <a:gd name="T25" fmla="*/ 287 h 400"/>
              <a:gd name="T26" fmla="*/ 76 w 228"/>
              <a:gd name="T27" fmla="*/ 281 h 400"/>
              <a:gd name="T28" fmla="*/ 130 w 228"/>
              <a:gd name="T29" fmla="*/ 338 h 400"/>
              <a:gd name="T30" fmla="*/ 112 w 228"/>
              <a:gd name="T31" fmla="*/ 355 h 400"/>
              <a:gd name="T32" fmla="*/ 106 w 228"/>
              <a:gd name="T33" fmla="*/ 331 h 400"/>
              <a:gd name="T34" fmla="*/ 130 w 228"/>
              <a:gd name="T35" fmla="*/ 338 h 400"/>
              <a:gd name="T36" fmla="*/ 100 w 228"/>
              <a:gd name="T37" fmla="*/ 291 h 400"/>
              <a:gd name="T38" fmla="*/ 132 w 228"/>
              <a:gd name="T39" fmla="*/ 291 h 400"/>
              <a:gd name="T40" fmla="*/ 102 w 228"/>
              <a:gd name="T41" fmla="*/ 244 h 400"/>
              <a:gd name="T42" fmla="*/ 120 w 228"/>
              <a:gd name="T43" fmla="*/ 227 h 400"/>
              <a:gd name="T44" fmla="*/ 126 w 228"/>
              <a:gd name="T45" fmla="*/ 251 h 400"/>
              <a:gd name="T46" fmla="*/ 102 w 228"/>
              <a:gd name="T47" fmla="*/ 244 h 400"/>
              <a:gd name="T48" fmla="*/ 100 w 228"/>
              <a:gd name="T49" fmla="*/ 170 h 400"/>
              <a:gd name="T50" fmla="*/ 132 w 228"/>
              <a:gd name="T51" fmla="*/ 170 h 400"/>
              <a:gd name="T52" fmla="*/ 116 w 228"/>
              <a:gd name="T53" fmla="*/ 126 h 400"/>
              <a:gd name="T54" fmla="*/ 116 w 228"/>
              <a:gd name="T55" fmla="*/ 94 h 400"/>
              <a:gd name="T56" fmla="*/ 116 w 228"/>
              <a:gd name="T57" fmla="*/ 126 h 400"/>
              <a:gd name="T58" fmla="*/ 100 w 228"/>
              <a:gd name="T59" fmla="*/ 50 h 400"/>
              <a:gd name="T60" fmla="*/ 132 w 228"/>
              <a:gd name="T61" fmla="*/ 50 h 400"/>
              <a:gd name="T62" fmla="*/ 180 w 228"/>
              <a:gd name="T63" fmla="*/ 295 h 400"/>
              <a:gd name="T64" fmla="*/ 156 w 228"/>
              <a:gd name="T65" fmla="*/ 301 h 400"/>
              <a:gd name="T66" fmla="*/ 163 w 228"/>
              <a:gd name="T67" fmla="*/ 277 h 400"/>
              <a:gd name="T68" fmla="*/ 180 w 228"/>
              <a:gd name="T69" fmla="*/ 295 h 400"/>
              <a:gd name="T70" fmla="*/ 164 w 228"/>
              <a:gd name="T71" fmla="*/ 170 h 400"/>
              <a:gd name="T72" fmla="*/ 196 w 228"/>
              <a:gd name="T73" fmla="*/ 170 h 400"/>
              <a:gd name="T74" fmla="*/ 180 w 228"/>
              <a:gd name="T75" fmla="*/ 126 h 400"/>
              <a:gd name="T76" fmla="*/ 180 w 228"/>
              <a:gd name="T77" fmla="*/ 94 h 400"/>
              <a:gd name="T78" fmla="*/ 180 w 228"/>
              <a:gd name="T79" fmla="*/ 126 h 400"/>
              <a:gd name="T80" fmla="*/ 164 w 228"/>
              <a:gd name="T81" fmla="*/ 50 h 400"/>
              <a:gd name="T82" fmla="*/ 196 w 228"/>
              <a:gd name="T83" fmla="*/ 5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8" h="400">
                <a:moveTo>
                  <a:pt x="204" y="0"/>
                </a:moveTo>
                <a:cubicBezTo>
                  <a:pt x="0" y="0"/>
                  <a:pt x="0" y="0"/>
                  <a:pt x="0" y="0"/>
                </a:cubicBezTo>
                <a:cubicBezTo>
                  <a:pt x="0" y="376"/>
                  <a:pt x="0" y="376"/>
                  <a:pt x="0" y="376"/>
                </a:cubicBezTo>
                <a:cubicBezTo>
                  <a:pt x="0" y="389"/>
                  <a:pt x="11" y="400"/>
                  <a:pt x="24" y="400"/>
                </a:cubicBezTo>
                <a:cubicBezTo>
                  <a:pt x="228" y="400"/>
                  <a:pt x="228" y="400"/>
                  <a:pt x="228" y="400"/>
                </a:cubicBezTo>
                <a:cubicBezTo>
                  <a:pt x="228" y="24"/>
                  <a:pt x="228" y="24"/>
                  <a:pt x="228" y="24"/>
                </a:cubicBezTo>
                <a:cubicBezTo>
                  <a:pt x="228" y="11"/>
                  <a:pt x="217" y="0"/>
                  <a:pt x="204" y="0"/>
                </a:cubicBezTo>
                <a:close/>
                <a:moveTo>
                  <a:pt x="52" y="34"/>
                </a:moveTo>
                <a:cubicBezTo>
                  <a:pt x="61" y="34"/>
                  <a:pt x="68" y="41"/>
                  <a:pt x="68" y="50"/>
                </a:cubicBezTo>
                <a:cubicBezTo>
                  <a:pt x="68" y="58"/>
                  <a:pt x="61" y="66"/>
                  <a:pt x="52" y="66"/>
                </a:cubicBezTo>
                <a:cubicBezTo>
                  <a:pt x="43" y="66"/>
                  <a:pt x="36" y="58"/>
                  <a:pt x="36" y="50"/>
                </a:cubicBezTo>
                <a:cubicBezTo>
                  <a:pt x="36" y="41"/>
                  <a:pt x="43" y="34"/>
                  <a:pt x="52" y="34"/>
                </a:cubicBezTo>
                <a:close/>
                <a:moveTo>
                  <a:pt x="52" y="94"/>
                </a:moveTo>
                <a:cubicBezTo>
                  <a:pt x="61" y="94"/>
                  <a:pt x="68" y="101"/>
                  <a:pt x="68" y="110"/>
                </a:cubicBezTo>
                <a:cubicBezTo>
                  <a:pt x="68" y="118"/>
                  <a:pt x="61" y="126"/>
                  <a:pt x="52" y="126"/>
                </a:cubicBezTo>
                <a:cubicBezTo>
                  <a:pt x="43" y="126"/>
                  <a:pt x="36" y="118"/>
                  <a:pt x="36" y="110"/>
                </a:cubicBezTo>
                <a:cubicBezTo>
                  <a:pt x="36" y="101"/>
                  <a:pt x="43" y="94"/>
                  <a:pt x="52" y="94"/>
                </a:cubicBezTo>
                <a:close/>
                <a:moveTo>
                  <a:pt x="36" y="170"/>
                </a:moveTo>
                <a:cubicBezTo>
                  <a:pt x="36" y="161"/>
                  <a:pt x="43" y="154"/>
                  <a:pt x="52" y="154"/>
                </a:cubicBezTo>
                <a:cubicBezTo>
                  <a:pt x="61" y="154"/>
                  <a:pt x="68" y="161"/>
                  <a:pt x="68" y="170"/>
                </a:cubicBezTo>
                <a:cubicBezTo>
                  <a:pt x="68" y="178"/>
                  <a:pt x="61" y="186"/>
                  <a:pt x="52" y="186"/>
                </a:cubicBezTo>
                <a:cubicBezTo>
                  <a:pt x="43" y="186"/>
                  <a:pt x="36" y="178"/>
                  <a:pt x="36" y="170"/>
                </a:cubicBezTo>
                <a:close/>
                <a:moveTo>
                  <a:pt x="76" y="301"/>
                </a:moveTo>
                <a:cubicBezTo>
                  <a:pt x="76" y="306"/>
                  <a:pt x="73" y="307"/>
                  <a:pt x="69" y="305"/>
                </a:cubicBezTo>
                <a:cubicBezTo>
                  <a:pt x="52" y="295"/>
                  <a:pt x="52" y="295"/>
                  <a:pt x="52" y="295"/>
                </a:cubicBezTo>
                <a:cubicBezTo>
                  <a:pt x="48" y="293"/>
                  <a:pt x="48" y="289"/>
                  <a:pt x="52" y="287"/>
                </a:cubicBezTo>
                <a:cubicBezTo>
                  <a:pt x="69" y="277"/>
                  <a:pt x="69" y="277"/>
                  <a:pt x="69" y="277"/>
                </a:cubicBezTo>
                <a:cubicBezTo>
                  <a:pt x="73" y="275"/>
                  <a:pt x="76" y="277"/>
                  <a:pt x="76" y="281"/>
                </a:cubicBezTo>
                <a:lnTo>
                  <a:pt x="76" y="301"/>
                </a:lnTo>
                <a:close/>
                <a:moveTo>
                  <a:pt x="130" y="338"/>
                </a:moveTo>
                <a:cubicBezTo>
                  <a:pt x="120" y="355"/>
                  <a:pt x="120" y="355"/>
                  <a:pt x="120" y="355"/>
                </a:cubicBezTo>
                <a:cubicBezTo>
                  <a:pt x="118" y="359"/>
                  <a:pt x="114" y="359"/>
                  <a:pt x="112" y="355"/>
                </a:cubicBezTo>
                <a:cubicBezTo>
                  <a:pt x="102" y="338"/>
                  <a:pt x="102" y="338"/>
                  <a:pt x="102" y="338"/>
                </a:cubicBezTo>
                <a:cubicBezTo>
                  <a:pt x="100" y="334"/>
                  <a:pt x="102" y="331"/>
                  <a:pt x="106" y="331"/>
                </a:cubicBezTo>
                <a:cubicBezTo>
                  <a:pt x="126" y="331"/>
                  <a:pt x="126" y="331"/>
                  <a:pt x="126" y="331"/>
                </a:cubicBezTo>
                <a:cubicBezTo>
                  <a:pt x="131" y="331"/>
                  <a:pt x="132" y="334"/>
                  <a:pt x="130" y="338"/>
                </a:cubicBezTo>
                <a:close/>
                <a:moveTo>
                  <a:pt x="116" y="307"/>
                </a:moveTo>
                <a:cubicBezTo>
                  <a:pt x="107" y="307"/>
                  <a:pt x="100" y="300"/>
                  <a:pt x="100" y="291"/>
                </a:cubicBezTo>
                <a:cubicBezTo>
                  <a:pt x="100" y="282"/>
                  <a:pt x="107" y="275"/>
                  <a:pt x="116" y="275"/>
                </a:cubicBezTo>
                <a:cubicBezTo>
                  <a:pt x="125" y="275"/>
                  <a:pt x="132" y="282"/>
                  <a:pt x="132" y="291"/>
                </a:cubicBezTo>
                <a:cubicBezTo>
                  <a:pt x="132" y="300"/>
                  <a:pt x="125" y="307"/>
                  <a:pt x="116" y="307"/>
                </a:cubicBezTo>
                <a:close/>
                <a:moveTo>
                  <a:pt x="102" y="244"/>
                </a:moveTo>
                <a:cubicBezTo>
                  <a:pt x="112" y="227"/>
                  <a:pt x="112" y="227"/>
                  <a:pt x="112" y="227"/>
                </a:cubicBezTo>
                <a:cubicBezTo>
                  <a:pt x="114" y="223"/>
                  <a:pt x="118" y="223"/>
                  <a:pt x="120" y="227"/>
                </a:cubicBezTo>
                <a:cubicBezTo>
                  <a:pt x="130" y="244"/>
                  <a:pt x="130" y="244"/>
                  <a:pt x="130" y="244"/>
                </a:cubicBezTo>
                <a:cubicBezTo>
                  <a:pt x="132" y="248"/>
                  <a:pt x="131" y="251"/>
                  <a:pt x="126" y="251"/>
                </a:cubicBezTo>
                <a:cubicBezTo>
                  <a:pt x="106" y="251"/>
                  <a:pt x="106" y="251"/>
                  <a:pt x="106" y="251"/>
                </a:cubicBezTo>
                <a:cubicBezTo>
                  <a:pt x="102" y="251"/>
                  <a:pt x="100" y="248"/>
                  <a:pt x="102" y="244"/>
                </a:cubicBezTo>
                <a:close/>
                <a:moveTo>
                  <a:pt x="116" y="186"/>
                </a:moveTo>
                <a:cubicBezTo>
                  <a:pt x="107" y="186"/>
                  <a:pt x="100" y="178"/>
                  <a:pt x="100" y="170"/>
                </a:cubicBezTo>
                <a:cubicBezTo>
                  <a:pt x="100" y="161"/>
                  <a:pt x="107" y="154"/>
                  <a:pt x="116" y="154"/>
                </a:cubicBezTo>
                <a:cubicBezTo>
                  <a:pt x="125" y="154"/>
                  <a:pt x="132" y="161"/>
                  <a:pt x="132" y="170"/>
                </a:cubicBezTo>
                <a:cubicBezTo>
                  <a:pt x="132" y="178"/>
                  <a:pt x="125" y="186"/>
                  <a:pt x="116" y="186"/>
                </a:cubicBezTo>
                <a:close/>
                <a:moveTo>
                  <a:pt x="116" y="126"/>
                </a:moveTo>
                <a:cubicBezTo>
                  <a:pt x="107" y="126"/>
                  <a:pt x="100" y="118"/>
                  <a:pt x="100" y="110"/>
                </a:cubicBezTo>
                <a:cubicBezTo>
                  <a:pt x="100" y="101"/>
                  <a:pt x="107" y="94"/>
                  <a:pt x="116" y="94"/>
                </a:cubicBezTo>
                <a:cubicBezTo>
                  <a:pt x="125" y="94"/>
                  <a:pt x="132" y="101"/>
                  <a:pt x="132" y="110"/>
                </a:cubicBezTo>
                <a:cubicBezTo>
                  <a:pt x="132" y="118"/>
                  <a:pt x="125" y="126"/>
                  <a:pt x="116" y="126"/>
                </a:cubicBezTo>
                <a:close/>
                <a:moveTo>
                  <a:pt x="116" y="66"/>
                </a:moveTo>
                <a:cubicBezTo>
                  <a:pt x="107" y="66"/>
                  <a:pt x="100" y="58"/>
                  <a:pt x="100" y="50"/>
                </a:cubicBezTo>
                <a:cubicBezTo>
                  <a:pt x="100" y="41"/>
                  <a:pt x="107" y="34"/>
                  <a:pt x="116" y="34"/>
                </a:cubicBezTo>
                <a:cubicBezTo>
                  <a:pt x="125" y="34"/>
                  <a:pt x="132" y="41"/>
                  <a:pt x="132" y="50"/>
                </a:cubicBezTo>
                <a:cubicBezTo>
                  <a:pt x="132" y="58"/>
                  <a:pt x="125" y="66"/>
                  <a:pt x="116" y="66"/>
                </a:cubicBezTo>
                <a:close/>
                <a:moveTo>
                  <a:pt x="180" y="295"/>
                </a:moveTo>
                <a:cubicBezTo>
                  <a:pt x="163" y="305"/>
                  <a:pt x="163" y="305"/>
                  <a:pt x="163" y="305"/>
                </a:cubicBezTo>
                <a:cubicBezTo>
                  <a:pt x="159" y="307"/>
                  <a:pt x="156" y="306"/>
                  <a:pt x="156" y="301"/>
                </a:cubicBezTo>
                <a:cubicBezTo>
                  <a:pt x="156" y="281"/>
                  <a:pt x="156" y="281"/>
                  <a:pt x="156" y="281"/>
                </a:cubicBezTo>
                <a:cubicBezTo>
                  <a:pt x="156" y="277"/>
                  <a:pt x="159" y="275"/>
                  <a:pt x="163" y="277"/>
                </a:cubicBezTo>
                <a:cubicBezTo>
                  <a:pt x="180" y="287"/>
                  <a:pt x="180" y="287"/>
                  <a:pt x="180" y="287"/>
                </a:cubicBezTo>
                <a:cubicBezTo>
                  <a:pt x="184" y="289"/>
                  <a:pt x="184" y="293"/>
                  <a:pt x="180" y="295"/>
                </a:cubicBezTo>
                <a:close/>
                <a:moveTo>
                  <a:pt x="180" y="186"/>
                </a:moveTo>
                <a:cubicBezTo>
                  <a:pt x="171" y="186"/>
                  <a:pt x="164" y="178"/>
                  <a:pt x="164" y="170"/>
                </a:cubicBezTo>
                <a:cubicBezTo>
                  <a:pt x="164" y="161"/>
                  <a:pt x="171" y="154"/>
                  <a:pt x="180" y="154"/>
                </a:cubicBezTo>
                <a:cubicBezTo>
                  <a:pt x="189" y="154"/>
                  <a:pt x="196" y="161"/>
                  <a:pt x="196" y="170"/>
                </a:cubicBezTo>
                <a:cubicBezTo>
                  <a:pt x="196" y="178"/>
                  <a:pt x="189" y="186"/>
                  <a:pt x="180" y="186"/>
                </a:cubicBezTo>
                <a:close/>
                <a:moveTo>
                  <a:pt x="180" y="126"/>
                </a:moveTo>
                <a:cubicBezTo>
                  <a:pt x="171" y="126"/>
                  <a:pt x="164" y="118"/>
                  <a:pt x="164" y="110"/>
                </a:cubicBezTo>
                <a:cubicBezTo>
                  <a:pt x="164" y="101"/>
                  <a:pt x="171" y="94"/>
                  <a:pt x="180" y="94"/>
                </a:cubicBezTo>
                <a:cubicBezTo>
                  <a:pt x="189" y="94"/>
                  <a:pt x="196" y="101"/>
                  <a:pt x="196" y="110"/>
                </a:cubicBezTo>
                <a:cubicBezTo>
                  <a:pt x="196" y="118"/>
                  <a:pt x="189" y="126"/>
                  <a:pt x="180" y="126"/>
                </a:cubicBezTo>
                <a:close/>
                <a:moveTo>
                  <a:pt x="180" y="66"/>
                </a:moveTo>
                <a:cubicBezTo>
                  <a:pt x="171" y="66"/>
                  <a:pt x="164" y="58"/>
                  <a:pt x="164" y="50"/>
                </a:cubicBezTo>
                <a:cubicBezTo>
                  <a:pt x="164" y="41"/>
                  <a:pt x="171" y="34"/>
                  <a:pt x="180" y="34"/>
                </a:cubicBezTo>
                <a:cubicBezTo>
                  <a:pt x="189" y="34"/>
                  <a:pt x="196" y="41"/>
                  <a:pt x="196" y="50"/>
                </a:cubicBezTo>
                <a:cubicBezTo>
                  <a:pt x="196" y="58"/>
                  <a:pt x="189" y="66"/>
                  <a:pt x="180" y="66"/>
                </a:cubicBezTo>
                <a:close/>
              </a:path>
            </a:pathLst>
          </a:custGeom>
          <a:solidFill>
            <a:schemeClr val="accent1"/>
          </a:solidFill>
          <a:ln>
            <a:noFill/>
          </a:ln>
        </p:spPr>
        <p:txBody>
          <a:bodyPr vert="horz" wrap="square" lIns="129909" tIns="64954" rIns="129909" bIns="64954"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grpSp>
        <p:nvGrpSpPr>
          <p:cNvPr id="12" name="Group 11"/>
          <p:cNvGrpSpPr/>
          <p:nvPr/>
        </p:nvGrpSpPr>
        <p:grpSpPr>
          <a:xfrm>
            <a:off x="5533665" y="2549523"/>
            <a:ext cx="1258771" cy="1390079"/>
            <a:chOff x="0" y="0"/>
            <a:chExt cx="1484312" cy="1236663"/>
          </a:xfrm>
        </p:grpSpPr>
        <p:sp>
          <p:nvSpPr>
            <p:cNvPr id="13" name="Freeform 12"/>
            <p:cNvSpPr>
              <a:spLocks noEditPoints="1"/>
            </p:cNvSpPr>
            <p:nvPr/>
          </p:nvSpPr>
          <p:spPr bwMode="auto">
            <a:xfrm>
              <a:off x="269875" y="693738"/>
              <a:ext cx="195263" cy="269875"/>
            </a:xfrm>
            <a:custGeom>
              <a:avLst/>
              <a:gdLst>
                <a:gd name="T0" fmla="*/ 52 w 52"/>
                <a:gd name="T1" fmla="*/ 36 h 72"/>
                <a:gd name="T2" fmla="*/ 50 w 52"/>
                <a:gd name="T3" fmla="*/ 55 h 72"/>
                <a:gd name="T4" fmla="*/ 45 w 52"/>
                <a:gd name="T5" fmla="*/ 66 h 72"/>
                <a:gd name="T6" fmla="*/ 36 w 52"/>
                <a:gd name="T7" fmla="*/ 71 h 72"/>
                <a:gd name="T8" fmla="*/ 26 w 52"/>
                <a:gd name="T9" fmla="*/ 72 h 72"/>
                <a:gd name="T10" fmla="*/ 15 w 52"/>
                <a:gd name="T11" fmla="*/ 71 h 72"/>
                <a:gd name="T12" fmla="*/ 7 w 52"/>
                <a:gd name="T13" fmla="*/ 66 h 72"/>
                <a:gd name="T14" fmla="*/ 2 w 52"/>
                <a:gd name="T15" fmla="*/ 55 h 72"/>
                <a:gd name="T16" fmla="*/ 0 w 52"/>
                <a:gd name="T17" fmla="*/ 36 h 72"/>
                <a:gd name="T18" fmla="*/ 2 w 52"/>
                <a:gd name="T19" fmla="*/ 18 h 72"/>
                <a:gd name="T20" fmla="*/ 7 w 52"/>
                <a:gd name="T21" fmla="*/ 7 h 72"/>
                <a:gd name="T22" fmla="*/ 15 w 52"/>
                <a:gd name="T23" fmla="*/ 1 h 72"/>
                <a:gd name="T24" fmla="*/ 26 w 52"/>
                <a:gd name="T25" fmla="*/ 0 h 72"/>
                <a:gd name="T26" fmla="*/ 36 w 52"/>
                <a:gd name="T27" fmla="*/ 1 h 72"/>
                <a:gd name="T28" fmla="*/ 45 w 52"/>
                <a:gd name="T29" fmla="*/ 7 h 72"/>
                <a:gd name="T30" fmla="*/ 50 w 52"/>
                <a:gd name="T31" fmla="*/ 18 h 72"/>
                <a:gd name="T32" fmla="*/ 52 w 52"/>
                <a:gd name="T33" fmla="*/ 36 h 72"/>
                <a:gd name="T34" fmla="*/ 18 w 52"/>
                <a:gd name="T35" fmla="*/ 36 h 72"/>
                <a:gd name="T36" fmla="*/ 18 w 52"/>
                <a:gd name="T37" fmla="*/ 48 h 72"/>
                <a:gd name="T38" fmla="*/ 19 w 52"/>
                <a:gd name="T39" fmla="*/ 54 h 72"/>
                <a:gd name="T40" fmla="*/ 22 w 52"/>
                <a:gd name="T41" fmla="*/ 58 h 72"/>
                <a:gd name="T42" fmla="*/ 26 w 52"/>
                <a:gd name="T43" fmla="*/ 58 h 72"/>
                <a:gd name="T44" fmla="*/ 30 w 52"/>
                <a:gd name="T45" fmla="*/ 58 h 72"/>
                <a:gd name="T46" fmla="*/ 33 w 52"/>
                <a:gd name="T47" fmla="*/ 54 h 72"/>
                <a:gd name="T48" fmla="*/ 34 w 52"/>
                <a:gd name="T49" fmla="*/ 48 h 72"/>
                <a:gd name="T50" fmla="*/ 34 w 52"/>
                <a:gd name="T51" fmla="*/ 36 h 72"/>
                <a:gd name="T52" fmla="*/ 34 w 52"/>
                <a:gd name="T53" fmla="*/ 25 h 72"/>
                <a:gd name="T54" fmla="*/ 33 w 52"/>
                <a:gd name="T55" fmla="*/ 18 h 72"/>
                <a:gd name="T56" fmla="*/ 30 w 52"/>
                <a:gd name="T57" fmla="*/ 15 h 72"/>
                <a:gd name="T58" fmla="*/ 26 w 52"/>
                <a:gd name="T59" fmla="*/ 14 h 72"/>
                <a:gd name="T60" fmla="*/ 22 w 52"/>
                <a:gd name="T61" fmla="*/ 15 h 72"/>
                <a:gd name="T62" fmla="*/ 19 w 52"/>
                <a:gd name="T63" fmla="*/ 18 h 72"/>
                <a:gd name="T64" fmla="*/ 18 w 52"/>
                <a:gd name="T65" fmla="*/ 25 h 72"/>
                <a:gd name="T66" fmla="*/ 18 w 52"/>
                <a:gd name="T67" fmla="*/ 3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2" h="72">
                  <a:moveTo>
                    <a:pt x="52" y="36"/>
                  </a:moveTo>
                  <a:cubicBezTo>
                    <a:pt x="52" y="44"/>
                    <a:pt x="51" y="50"/>
                    <a:pt x="50" y="55"/>
                  </a:cubicBezTo>
                  <a:cubicBezTo>
                    <a:pt x="49" y="60"/>
                    <a:pt x="47" y="63"/>
                    <a:pt x="45" y="66"/>
                  </a:cubicBezTo>
                  <a:cubicBezTo>
                    <a:pt x="42" y="69"/>
                    <a:pt x="40" y="70"/>
                    <a:pt x="36" y="71"/>
                  </a:cubicBezTo>
                  <a:cubicBezTo>
                    <a:pt x="33" y="72"/>
                    <a:pt x="30" y="72"/>
                    <a:pt x="26" y="72"/>
                  </a:cubicBezTo>
                  <a:cubicBezTo>
                    <a:pt x="22" y="72"/>
                    <a:pt x="18" y="72"/>
                    <a:pt x="15" y="71"/>
                  </a:cubicBezTo>
                  <a:cubicBezTo>
                    <a:pt x="12" y="70"/>
                    <a:pt x="9" y="69"/>
                    <a:pt x="7" y="66"/>
                  </a:cubicBezTo>
                  <a:cubicBezTo>
                    <a:pt x="5" y="63"/>
                    <a:pt x="3" y="60"/>
                    <a:pt x="2" y="55"/>
                  </a:cubicBezTo>
                  <a:cubicBezTo>
                    <a:pt x="1" y="50"/>
                    <a:pt x="0" y="44"/>
                    <a:pt x="0" y="36"/>
                  </a:cubicBezTo>
                  <a:cubicBezTo>
                    <a:pt x="0" y="29"/>
                    <a:pt x="1" y="22"/>
                    <a:pt x="2" y="18"/>
                  </a:cubicBezTo>
                  <a:cubicBezTo>
                    <a:pt x="3" y="13"/>
                    <a:pt x="5" y="9"/>
                    <a:pt x="7" y="7"/>
                  </a:cubicBezTo>
                  <a:cubicBezTo>
                    <a:pt x="9" y="4"/>
                    <a:pt x="12" y="2"/>
                    <a:pt x="15" y="1"/>
                  </a:cubicBezTo>
                  <a:cubicBezTo>
                    <a:pt x="18" y="1"/>
                    <a:pt x="22" y="0"/>
                    <a:pt x="26" y="0"/>
                  </a:cubicBezTo>
                  <a:cubicBezTo>
                    <a:pt x="30" y="0"/>
                    <a:pt x="33" y="1"/>
                    <a:pt x="36" y="1"/>
                  </a:cubicBezTo>
                  <a:cubicBezTo>
                    <a:pt x="40" y="2"/>
                    <a:pt x="42" y="4"/>
                    <a:pt x="45" y="7"/>
                  </a:cubicBezTo>
                  <a:cubicBezTo>
                    <a:pt x="47" y="9"/>
                    <a:pt x="49" y="13"/>
                    <a:pt x="50" y="18"/>
                  </a:cubicBezTo>
                  <a:cubicBezTo>
                    <a:pt x="51" y="22"/>
                    <a:pt x="52" y="29"/>
                    <a:pt x="52" y="36"/>
                  </a:cubicBezTo>
                  <a:close/>
                  <a:moveTo>
                    <a:pt x="18" y="36"/>
                  </a:moveTo>
                  <a:cubicBezTo>
                    <a:pt x="18" y="41"/>
                    <a:pt x="18" y="45"/>
                    <a:pt x="18" y="48"/>
                  </a:cubicBezTo>
                  <a:cubicBezTo>
                    <a:pt x="18" y="51"/>
                    <a:pt x="19" y="53"/>
                    <a:pt x="19" y="54"/>
                  </a:cubicBezTo>
                  <a:cubicBezTo>
                    <a:pt x="20" y="56"/>
                    <a:pt x="21" y="57"/>
                    <a:pt x="22" y="58"/>
                  </a:cubicBezTo>
                  <a:cubicBezTo>
                    <a:pt x="23" y="58"/>
                    <a:pt x="24" y="58"/>
                    <a:pt x="26" y="58"/>
                  </a:cubicBezTo>
                  <a:cubicBezTo>
                    <a:pt x="28" y="58"/>
                    <a:pt x="29" y="58"/>
                    <a:pt x="30" y="58"/>
                  </a:cubicBezTo>
                  <a:cubicBezTo>
                    <a:pt x="31" y="57"/>
                    <a:pt x="32" y="56"/>
                    <a:pt x="33" y="54"/>
                  </a:cubicBezTo>
                  <a:cubicBezTo>
                    <a:pt x="33" y="53"/>
                    <a:pt x="34" y="51"/>
                    <a:pt x="34" y="48"/>
                  </a:cubicBezTo>
                  <a:cubicBezTo>
                    <a:pt x="34" y="45"/>
                    <a:pt x="34" y="41"/>
                    <a:pt x="34" y="36"/>
                  </a:cubicBezTo>
                  <a:cubicBezTo>
                    <a:pt x="34" y="32"/>
                    <a:pt x="34" y="28"/>
                    <a:pt x="34" y="25"/>
                  </a:cubicBezTo>
                  <a:cubicBezTo>
                    <a:pt x="34" y="22"/>
                    <a:pt x="33" y="20"/>
                    <a:pt x="33" y="18"/>
                  </a:cubicBezTo>
                  <a:cubicBezTo>
                    <a:pt x="32" y="17"/>
                    <a:pt x="31" y="15"/>
                    <a:pt x="30" y="15"/>
                  </a:cubicBezTo>
                  <a:cubicBezTo>
                    <a:pt x="29" y="14"/>
                    <a:pt x="28" y="14"/>
                    <a:pt x="26" y="14"/>
                  </a:cubicBezTo>
                  <a:cubicBezTo>
                    <a:pt x="24" y="14"/>
                    <a:pt x="23" y="14"/>
                    <a:pt x="22" y="15"/>
                  </a:cubicBezTo>
                  <a:cubicBezTo>
                    <a:pt x="21" y="15"/>
                    <a:pt x="20" y="17"/>
                    <a:pt x="19" y="18"/>
                  </a:cubicBezTo>
                  <a:cubicBezTo>
                    <a:pt x="19" y="20"/>
                    <a:pt x="18" y="22"/>
                    <a:pt x="18" y="25"/>
                  </a:cubicBezTo>
                  <a:cubicBezTo>
                    <a:pt x="18" y="28"/>
                    <a:pt x="18" y="32"/>
                    <a:pt x="18" y="36"/>
                  </a:cubicBez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14" name="Freeform 13"/>
            <p:cNvSpPr>
              <a:spLocks noEditPoints="1"/>
            </p:cNvSpPr>
            <p:nvPr/>
          </p:nvSpPr>
          <p:spPr bwMode="auto">
            <a:xfrm>
              <a:off x="501650" y="696913"/>
              <a:ext cx="173038" cy="263525"/>
            </a:xfrm>
            <a:custGeom>
              <a:avLst/>
              <a:gdLst>
                <a:gd name="T0" fmla="*/ 4 w 46"/>
                <a:gd name="T1" fmla="*/ 70 h 70"/>
                <a:gd name="T2" fmla="*/ 0 w 46"/>
                <a:gd name="T3" fmla="*/ 66 h 70"/>
                <a:gd name="T4" fmla="*/ 0 w 46"/>
                <a:gd name="T5" fmla="*/ 2 h 70"/>
                <a:gd name="T6" fmla="*/ 12 w 46"/>
                <a:gd name="T7" fmla="*/ 0 h 70"/>
                <a:gd name="T8" fmla="*/ 22 w 46"/>
                <a:gd name="T9" fmla="*/ 0 h 70"/>
                <a:gd name="T10" fmla="*/ 33 w 46"/>
                <a:gd name="T11" fmla="*/ 1 h 70"/>
                <a:gd name="T12" fmla="*/ 40 w 46"/>
                <a:gd name="T13" fmla="*/ 5 h 70"/>
                <a:gd name="T14" fmla="*/ 45 w 46"/>
                <a:gd name="T15" fmla="*/ 12 h 70"/>
                <a:gd name="T16" fmla="*/ 46 w 46"/>
                <a:gd name="T17" fmla="*/ 23 h 70"/>
                <a:gd name="T18" fmla="*/ 41 w 46"/>
                <a:gd name="T19" fmla="*/ 41 h 70"/>
                <a:gd name="T20" fmla="*/ 26 w 46"/>
                <a:gd name="T21" fmla="*/ 46 h 70"/>
                <a:gd name="T22" fmla="*/ 21 w 46"/>
                <a:gd name="T23" fmla="*/ 46 h 70"/>
                <a:gd name="T24" fmla="*/ 17 w 46"/>
                <a:gd name="T25" fmla="*/ 45 h 70"/>
                <a:gd name="T26" fmla="*/ 17 w 46"/>
                <a:gd name="T27" fmla="*/ 70 h 70"/>
                <a:gd name="T28" fmla="*/ 4 w 46"/>
                <a:gd name="T29" fmla="*/ 70 h 70"/>
                <a:gd name="T30" fmla="*/ 17 w 46"/>
                <a:gd name="T31" fmla="*/ 33 h 70"/>
                <a:gd name="T32" fmla="*/ 19 w 46"/>
                <a:gd name="T33" fmla="*/ 33 h 70"/>
                <a:gd name="T34" fmla="*/ 21 w 46"/>
                <a:gd name="T35" fmla="*/ 33 h 70"/>
                <a:gd name="T36" fmla="*/ 25 w 46"/>
                <a:gd name="T37" fmla="*/ 33 h 70"/>
                <a:gd name="T38" fmla="*/ 27 w 46"/>
                <a:gd name="T39" fmla="*/ 31 h 70"/>
                <a:gd name="T40" fmla="*/ 29 w 46"/>
                <a:gd name="T41" fmla="*/ 28 h 70"/>
                <a:gd name="T42" fmla="*/ 29 w 46"/>
                <a:gd name="T43" fmla="*/ 22 h 70"/>
                <a:gd name="T44" fmla="*/ 29 w 46"/>
                <a:gd name="T45" fmla="*/ 17 h 70"/>
                <a:gd name="T46" fmla="*/ 28 w 46"/>
                <a:gd name="T47" fmla="*/ 14 h 70"/>
                <a:gd name="T48" fmla="*/ 25 w 46"/>
                <a:gd name="T49" fmla="*/ 13 h 70"/>
                <a:gd name="T50" fmla="*/ 22 w 46"/>
                <a:gd name="T51" fmla="*/ 12 h 70"/>
                <a:gd name="T52" fmla="*/ 20 w 46"/>
                <a:gd name="T53" fmla="*/ 12 h 70"/>
                <a:gd name="T54" fmla="*/ 17 w 46"/>
                <a:gd name="T55" fmla="*/ 12 h 70"/>
                <a:gd name="T56" fmla="*/ 17 w 46"/>
                <a:gd name="T57"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6" h="70">
                  <a:moveTo>
                    <a:pt x="4" y="70"/>
                  </a:moveTo>
                  <a:cubicBezTo>
                    <a:pt x="2" y="70"/>
                    <a:pt x="0" y="69"/>
                    <a:pt x="0" y="66"/>
                  </a:cubicBezTo>
                  <a:cubicBezTo>
                    <a:pt x="0" y="2"/>
                    <a:pt x="0" y="2"/>
                    <a:pt x="0" y="2"/>
                  </a:cubicBezTo>
                  <a:cubicBezTo>
                    <a:pt x="4" y="1"/>
                    <a:pt x="8" y="0"/>
                    <a:pt x="12" y="0"/>
                  </a:cubicBezTo>
                  <a:cubicBezTo>
                    <a:pt x="15" y="0"/>
                    <a:pt x="19" y="0"/>
                    <a:pt x="22" y="0"/>
                  </a:cubicBezTo>
                  <a:cubicBezTo>
                    <a:pt x="26" y="0"/>
                    <a:pt x="30" y="0"/>
                    <a:pt x="33" y="1"/>
                  </a:cubicBezTo>
                  <a:cubicBezTo>
                    <a:pt x="36" y="2"/>
                    <a:pt x="38" y="3"/>
                    <a:pt x="40" y="5"/>
                  </a:cubicBezTo>
                  <a:cubicBezTo>
                    <a:pt x="42" y="6"/>
                    <a:pt x="44" y="9"/>
                    <a:pt x="45" y="12"/>
                  </a:cubicBezTo>
                  <a:cubicBezTo>
                    <a:pt x="46" y="15"/>
                    <a:pt x="46" y="18"/>
                    <a:pt x="46" y="23"/>
                  </a:cubicBezTo>
                  <a:cubicBezTo>
                    <a:pt x="46" y="31"/>
                    <a:pt x="44" y="37"/>
                    <a:pt x="41" y="41"/>
                  </a:cubicBezTo>
                  <a:cubicBezTo>
                    <a:pt x="37" y="44"/>
                    <a:pt x="32" y="46"/>
                    <a:pt x="26" y="46"/>
                  </a:cubicBezTo>
                  <a:cubicBezTo>
                    <a:pt x="24" y="46"/>
                    <a:pt x="22" y="46"/>
                    <a:pt x="21" y="46"/>
                  </a:cubicBezTo>
                  <a:cubicBezTo>
                    <a:pt x="19" y="46"/>
                    <a:pt x="18" y="45"/>
                    <a:pt x="17" y="45"/>
                  </a:cubicBezTo>
                  <a:cubicBezTo>
                    <a:pt x="17" y="70"/>
                    <a:pt x="17" y="70"/>
                    <a:pt x="17" y="70"/>
                  </a:cubicBezTo>
                  <a:lnTo>
                    <a:pt x="4" y="70"/>
                  </a:lnTo>
                  <a:close/>
                  <a:moveTo>
                    <a:pt x="17" y="33"/>
                  </a:moveTo>
                  <a:cubicBezTo>
                    <a:pt x="18" y="33"/>
                    <a:pt x="19" y="33"/>
                    <a:pt x="19" y="33"/>
                  </a:cubicBezTo>
                  <a:cubicBezTo>
                    <a:pt x="20" y="33"/>
                    <a:pt x="21" y="33"/>
                    <a:pt x="21" y="33"/>
                  </a:cubicBezTo>
                  <a:cubicBezTo>
                    <a:pt x="23" y="33"/>
                    <a:pt x="24" y="33"/>
                    <a:pt x="25" y="33"/>
                  </a:cubicBezTo>
                  <a:cubicBezTo>
                    <a:pt x="26" y="33"/>
                    <a:pt x="27" y="32"/>
                    <a:pt x="27" y="31"/>
                  </a:cubicBezTo>
                  <a:cubicBezTo>
                    <a:pt x="28" y="30"/>
                    <a:pt x="29" y="29"/>
                    <a:pt x="29" y="28"/>
                  </a:cubicBezTo>
                  <a:cubicBezTo>
                    <a:pt x="29" y="26"/>
                    <a:pt x="29" y="25"/>
                    <a:pt x="29" y="22"/>
                  </a:cubicBezTo>
                  <a:cubicBezTo>
                    <a:pt x="29" y="20"/>
                    <a:pt x="29" y="19"/>
                    <a:pt x="29" y="17"/>
                  </a:cubicBezTo>
                  <a:cubicBezTo>
                    <a:pt x="29" y="16"/>
                    <a:pt x="28" y="15"/>
                    <a:pt x="28" y="14"/>
                  </a:cubicBezTo>
                  <a:cubicBezTo>
                    <a:pt x="27" y="13"/>
                    <a:pt x="26" y="13"/>
                    <a:pt x="25" y="13"/>
                  </a:cubicBezTo>
                  <a:cubicBezTo>
                    <a:pt x="24" y="12"/>
                    <a:pt x="23" y="12"/>
                    <a:pt x="22" y="12"/>
                  </a:cubicBezTo>
                  <a:cubicBezTo>
                    <a:pt x="21" y="12"/>
                    <a:pt x="21" y="12"/>
                    <a:pt x="20" y="12"/>
                  </a:cubicBezTo>
                  <a:cubicBezTo>
                    <a:pt x="19" y="12"/>
                    <a:pt x="18" y="12"/>
                    <a:pt x="17" y="12"/>
                  </a:cubicBezTo>
                  <a:lnTo>
                    <a:pt x="17" y="33"/>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15" name="Freeform 14"/>
            <p:cNvSpPr>
              <a:spLocks/>
            </p:cNvSpPr>
            <p:nvPr/>
          </p:nvSpPr>
          <p:spPr bwMode="auto">
            <a:xfrm>
              <a:off x="712787" y="700088"/>
              <a:ext cx="152400" cy="260350"/>
            </a:xfrm>
            <a:custGeom>
              <a:avLst/>
              <a:gdLst>
                <a:gd name="T0" fmla="*/ 37 w 41"/>
                <a:gd name="T1" fmla="*/ 0 h 69"/>
                <a:gd name="T2" fmla="*/ 40 w 41"/>
                <a:gd name="T3" fmla="*/ 3 h 69"/>
                <a:gd name="T4" fmla="*/ 40 w 41"/>
                <a:gd name="T5" fmla="*/ 13 h 69"/>
                <a:gd name="T6" fmla="*/ 16 w 41"/>
                <a:gd name="T7" fmla="*/ 13 h 69"/>
                <a:gd name="T8" fmla="*/ 16 w 41"/>
                <a:gd name="T9" fmla="*/ 27 h 69"/>
                <a:gd name="T10" fmla="*/ 34 w 41"/>
                <a:gd name="T11" fmla="*/ 27 h 69"/>
                <a:gd name="T12" fmla="*/ 38 w 41"/>
                <a:gd name="T13" fmla="*/ 30 h 69"/>
                <a:gd name="T14" fmla="*/ 38 w 41"/>
                <a:gd name="T15" fmla="*/ 40 h 69"/>
                <a:gd name="T16" fmla="*/ 16 w 41"/>
                <a:gd name="T17" fmla="*/ 40 h 69"/>
                <a:gd name="T18" fmla="*/ 16 w 41"/>
                <a:gd name="T19" fmla="*/ 55 h 69"/>
                <a:gd name="T20" fmla="*/ 38 w 41"/>
                <a:gd name="T21" fmla="*/ 55 h 69"/>
                <a:gd name="T22" fmla="*/ 41 w 41"/>
                <a:gd name="T23" fmla="*/ 59 h 69"/>
                <a:gd name="T24" fmla="*/ 41 w 41"/>
                <a:gd name="T25" fmla="*/ 69 h 69"/>
                <a:gd name="T26" fmla="*/ 3 w 41"/>
                <a:gd name="T27" fmla="*/ 69 h 69"/>
                <a:gd name="T28" fmla="*/ 0 w 41"/>
                <a:gd name="T29" fmla="*/ 65 h 69"/>
                <a:gd name="T30" fmla="*/ 0 w 41"/>
                <a:gd name="T31" fmla="*/ 0 h 69"/>
                <a:gd name="T32" fmla="*/ 37 w 41"/>
                <a:gd name="T33"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 h="69">
                  <a:moveTo>
                    <a:pt x="37" y="0"/>
                  </a:moveTo>
                  <a:cubicBezTo>
                    <a:pt x="39" y="0"/>
                    <a:pt x="40" y="1"/>
                    <a:pt x="40" y="3"/>
                  </a:cubicBezTo>
                  <a:cubicBezTo>
                    <a:pt x="40" y="13"/>
                    <a:pt x="40" y="13"/>
                    <a:pt x="40" y="13"/>
                  </a:cubicBezTo>
                  <a:cubicBezTo>
                    <a:pt x="16" y="13"/>
                    <a:pt x="16" y="13"/>
                    <a:pt x="16" y="13"/>
                  </a:cubicBezTo>
                  <a:cubicBezTo>
                    <a:pt x="16" y="27"/>
                    <a:pt x="16" y="27"/>
                    <a:pt x="16" y="27"/>
                  </a:cubicBezTo>
                  <a:cubicBezTo>
                    <a:pt x="34" y="27"/>
                    <a:pt x="34" y="27"/>
                    <a:pt x="34" y="27"/>
                  </a:cubicBezTo>
                  <a:cubicBezTo>
                    <a:pt x="36" y="27"/>
                    <a:pt x="38" y="28"/>
                    <a:pt x="38" y="30"/>
                  </a:cubicBezTo>
                  <a:cubicBezTo>
                    <a:pt x="38" y="40"/>
                    <a:pt x="38" y="40"/>
                    <a:pt x="38" y="40"/>
                  </a:cubicBezTo>
                  <a:cubicBezTo>
                    <a:pt x="16" y="40"/>
                    <a:pt x="16" y="40"/>
                    <a:pt x="16" y="40"/>
                  </a:cubicBezTo>
                  <a:cubicBezTo>
                    <a:pt x="16" y="55"/>
                    <a:pt x="16" y="55"/>
                    <a:pt x="16" y="55"/>
                  </a:cubicBezTo>
                  <a:cubicBezTo>
                    <a:pt x="38" y="55"/>
                    <a:pt x="38" y="55"/>
                    <a:pt x="38" y="55"/>
                  </a:cubicBezTo>
                  <a:cubicBezTo>
                    <a:pt x="40" y="55"/>
                    <a:pt x="41" y="56"/>
                    <a:pt x="41" y="59"/>
                  </a:cubicBezTo>
                  <a:cubicBezTo>
                    <a:pt x="41" y="69"/>
                    <a:pt x="41" y="69"/>
                    <a:pt x="41" y="69"/>
                  </a:cubicBezTo>
                  <a:cubicBezTo>
                    <a:pt x="3" y="69"/>
                    <a:pt x="3" y="69"/>
                    <a:pt x="3" y="69"/>
                  </a:cubicBezTo>
                  <a:cubicBezTo>
                    <a:pt x="1" y="69"/>
                    <a:pt x="0" y="68"/>
                    <a:pt x="0" y="65"/>
                  </a:cubicBezTo>
                  <a:cubicBezTo>
                    <a:pt x="0" y="0"/>
                    <a:pt x="0" y="0"/>
                    <a:pt x="0" y="0"/>
                  </a:cubicBezTo>
                  <a:lnTo>
                    <a:pt x="37" y="0"/>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16" name="Freeform 15"/>
            <p:cNvSpPr>
              <a:spLocks/>
            </p:cNvSpPr>
            <p:nvPr/>
          </p:nvSpPr>
          <p:spPr bwMode="auto">
            <a:xfrm>
              <a:off x="892175" y="700088"/>
              <a:ext cx="195263" cy="260350"/>
            </a:xfrm>
            <a:custGeom>
              <a:avLst/>
              <a:gdLst>
                <a:gd name="T0" fmla="*/ 3 w 52"/>
                <a:gd name="T1" fmla="*/ 69 h 69"/>
                <a:gd name="T2" fmla="*/ 1 w 52"/>
                <a:gd name="T3" fmla="*/ 68 h 69"/>
                <a:gd name="T4" fmla="*/ 0 w 52"/>
                <a:gd name="T5" fmla="*/ 65 h 69"/>
                <a:gd name="T6" fmla="*/ 0 w 52"/>
                <a:gd name="T7" fmla="*/ 64 h 69"/>
                <a:gd name="T8" fmla="*/ 1 w 52"/>
                <a:gd name="T9" fmla="*/ 63 h 69"/>
                <a:gd name="T10" fmla="*/ 7 w 52"/>
                <a:gd name="T11" fmla="*/ 47 h 69"/>
                <a:gd name="T12" fmla="*/ 15 w 52"/>
                <a:gd name="T13" fmla="*/ 33 h 69"/>
                <a:gd name="T14" fmla="*/ 6 w 52"/>
                <a:gd name="T15" fmla="*/ 17 h 69"/>
                <a:gd name="T16" fmla="*/ 0 w 52"/>
                <a:gd name="T17" fmla="*/ 0 h 69"/>
                <a:gd name="T18" fmla="*/ 16 w 52"/>
                <a:gd name="T19" fmla="*/ 0 h 69"/>
                <a:gd name="T20" fmla="*/ 18 w 52"/>
                <a:gd name="T21" fmla="*/ 0 h 69"/>
                <a:gd name="T22" fmla="*/ 19 w 52"/>
                <a:gd name="T23" fmla="*/ 3 h 69"/>
                <a:gd name="T24" fmla="*/ 23 w 52"/>
                <a:gd name="T25" fmla="*/ 14 h 69"/>
                <a:gd name="T26" fmla="*/ 26 w 52"/>
                <a:gd name="T27" fmla="*/ 24 h 69"/>
                <a:gd name="T28" fmla="*/ 30 w 52"/>
                <a:gd name="T29" fmla="*/ 13 h 69"/>
                <a:gd name="T30" fmla="*/ 33 w 52"/>
                <a:gd name="T31" fmla="*/ 0 h 69"/>
                <a:gd name="T32" fmla="*/ 47 w 52"/>
                <a:gd name="T33" fmla="*/ 0 h 69"/>
                <a:gd name="T34" fmla="*/ 49 w 52"/>
                <a:gd name="T35" fmla="*/ 0 h 69"/>
                <a:gd name="T36" fmla="*/ 50 w 52"/>
                <a:gd name="T37" fmla="*/ 3 h 69"/>
                <a:gd name="T38" fmla="*/ 50 w 52"/>
                <a:gd name="T39" fmla="*/ 5 h 69"/>
                <a:gd name="T40" fmla="*/ 50 w 52"/>
                <a:gd name="T41" fmla="*/ 6 h 69"/>
                <a:gd name="T42" fmla="*/ 44 w 52"/>
                <a:gd name="T43" fmla="*/ 19 h 69"/>
                <a:gd name="T44" fmla="*/ 37 w 52"/>
                <a:gd name="T45" fmla="*/ 33 h 69"/>
                <a:gd name="T46" fmla="*/ 46 w 52"/>
                <a:gd name="T47" fmla="*/ 50 h 69"/>
                <a:gd name="T48" fmla="*/ 52 w 52"/>
                <a:gd name="T49" fmla="*/ 69 h 69"/>
                <a:gd name="T50" fmla="*/ 37 w 52"/>
                <a:gd name="T51" fmla="*/ 69 h 69"/>
                <a:gd name="T52" fmla="*/ 34 w 52"/>
                <a:gd name="T53" fmla="*/ 68 h 69"/>
                <a:gd name="T54" fmla="*/ 32 w 52"/>
                <a:gd name="T55" fmla="*/ 64 h 69"/>
                <a:gd name="T56" fmla="*/ 29 w 52"/>
                <a:gd name="T57" fmla="*/ 54 h 69"/>
                <a:gd name="T58" fmla="*/ 25 w 52"/>
                <a:gd name="T59" fmla="*/ 43 h 69"/>
                <a:gd name="T60" fmla="*/ 23 w 52"/>
                <a:gd name="T61" fmla="*/ 50 h 69"/>
                <a:gd name="T62" fmla="*/ 21 w 52"/>
                <a:gd name="T63" fmla="*/ 57 h 69"/>
                <a:gd name="T64" fmla="*/ 19 w 52"/>
                <a:gd name="T65" fmla="*/ 63 h 69"/>
                <a:gd name="T66" fmla="*/ 17 w 52"/>
                <a:gd name="T67" fmla="*/ 69 h 69"/>
                <a:gd name="T68" fmla="*/ 3 w 52"/>
                <a:gd name="T6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69">
                  <a:moveTo>
                    <a:pt x="3" y="69"/>
                  </a:moveTo>
                  <a:cubicBezTo>
                    <a:pt x="2" y="69"/>
                    <a:pt x="1" y="69"/>
                    <a:pt x="1" y="68"/>
                  </a:cubicBezTo>
                  <a:cubicBezTo>
                    <a:pt x="0" y="67"/>
                    <a:pt x="0" y="66"/>
                    <a:pt x="0" y="65"/>
                  </a:cubicBezTo>
                  <a:cubicBezTo>
                    <a:pt x="0" y="65"/>
                    <a:pt x="0" y="65"/>
                    <a:pt x="0" y="64"/>
                  </a:cubicBezTo>
                  <a:cubicBezTo>
                    <a:pt x="0" y="64"/>
                    <a:pt x="0" y="64"/>
                    <a:pt x="1" y="63"/>
                  </a:cubicBezTo>
                  <a:cubicBezTo>
                    <a:pt x="2" y="57"/>
                    <a:pt x="4" y="52"/>
                    <a:pt x="7" y="47"/>
                  </a:cubicBezTo>
                  <a:cubicBezTo>
                    <a:pt x="9" y="42"/>
                    <a:pt x="12" y="38"/>
                    <a:pt x="15" y="33"/>
                  </a:cubicBezTo>
                  <a:cubicBezTo>
                    <a:pt x="12" y="28"/>
                    <a:pt x="9" y="23"/>
                    <a:pt x="6" y="17"/>
                  </a:cubicBezTo>
                  <a:cubicBezTo>
                    <a:pt x="4" y="11"/>
                    <a:pt x="2" y="6"/>
                    <a:pt x="0" y="0"/>
                  </a:cubicBezTo>
                  <a:cubicBezTo>
                    <a:pt x="16" y="0"/>
                    <a:pt x="16" y="0"/>
                    <a:pt x="16" y="0"/>
                  </a:cubicBezTo>
                  <a:cubicBezTo>
                    <a:pt x="17" y="0"/>
                    <a:pt x="18" y="0"/>
                    <a:pt x="18" y="0"/>
                  </a:cubicBezTo>
                  <a:cubicBezTo>
                    <a:pt x="19" y="1"/>
                    <a:pt x="19" y="2"/>
                    <a:pt x="19" y="3"/>
                  </a:cubicBezTo>
                  <a:cubicBezTo>
                    <a:pt x="20" y="7"/>
                    <a:pt x="21" y="10"/>
                    <a:pt x="23" y="14"/>
                  </a:cubicBezTo>
                  <a:cubicBezTo>
                    <a:pt x="24" y="17"/>
                    <a:pt x="25" y="21"/>
                    <a:pt x="26" y="24"/>
                  </a:cubicBezTo>
                  <a:cubicBezTo>
                    <a:pt x="27" y="21"/>
                    <a:pt x="29" y="17"/>
                    <a:pt x="30" y="13"/>
                  </a:cubicBezTo>
                  <a:cubicBezTo>
                    <a:pt x="31" y="9"/>
                    <a:pt x="32" y="5"/>
                    <a:pt x="33" y="0"/>
                  </a:cubicBezTo>
                  <a:cubicBezTo>
                    <a:pt x="47" y="0"/>
                    <a:pt x="47" y="0"/>
                    <a:pt x="47" y="0"/>
                  </a:cubicBezTo>
                  <a:cubicBezTo>
                    <a:pt x="48" y="0"/>
                    <a:pt x="49" y="0"/>
                    <a:pt x="49" y="0"/>
                  </a:cubicBezTo>
                  <a:cubicBezTo>
                    <a:pt x="50" y="1"/>
                    <a:pt x="50" y="2"/>
                    <a:pt x="50" y="3"/>
                  </a:cubicBezTo>
                  <a:cubicBezTo>
                    <a:pt x="50" y="3"/>
                    <a:pt x="50" y="4"/>
                    <a:pt x="50" y="5"/>
                  </a:cubicBezTo>
                  <a:cubicBezTo>
                    <a:pt x="50" y="5"/>
                    <a:pt x="50" y="6"/>
                    <a:pt x="50" y="6"/>
                  </a:cubicBezTo>
                  <a:cubicBezTo>
                    <a:pt x="48" y="10"/>
                    <a:pt x="47" y="14"/>
                    <a:pt x="44" y="19"/>
                  </a:cubicBezTo>
                  <a:cubicBezTo>
                    <a:pt x="42" y="24"/>
                    <a:pt x="40" y="28"/>
                    <a:pt x="37" y="33"/>
                  </a:cubicBezTo>
                  <a:cubicBezTo>
                    <a:pt x="40" y="38"/>
                    <a:pt x="43" y="44"/>
                    <a:pt x="46" y="50"/>
                  </a:cubicBezTo>
                  <a:cubicBezTo>
                    <a:pt x="48" y="56"/>
                    <a:pt x="51" y="62"/>
                    <a:pt x="52" y="69"/>
                  </a:cubicBezTo>
                  <a:cubicBezTo>
                    <a:pt x="37" y="69"/>
                    <a:pt x="37" y="69"/>
                    <a:pt x="37" y="69"/>
                  </a:cubicBezTo>
                  <a:cubicBezTo>
                    <a:pt x="35" y="69"/>
                    <a:pt x="34" y="69"/>
                    <a:pt x="34" y="68"/>
                  </a:cubicBezTo>
                  <a:cubicBezTo>
                    <a:pt x="33" y="67"/>
                    <a:pt x="33" y="66"/>
                    <a:pt x="32" y="64"/>
                  </a:cubicBezTo>
                  <a:cubicBezTo>
                    <a:pt x="32" y="61"/>
                    <a:pt x="31" y="58"/>
                    <a:pt x="29" y="54"/>
                  </a:cubicBezTo>
                  <a:cubicBezTo>
                    <a:pt x="28" y="51"/>
                    <a:pt x="27" y="47"/>
                    <a:pt x="25" y="43"/>
                  </a:cubicBezTo>
                  <a:cubicBezTo>
                    <a:pt x="25" y="45"/>
                    <a:pt x="24" y="48"/>
                    <a:pt x="23" y="50"/>
                  </a:cubicBezTo>
                  <a:cubicBezTo>
                    <a:pt x="22" y="52"/>
                    <a:pt x="21" y="55"/>
                    <a:pt x="21" y="57"/>
                  </a:cubicBezTo>
                  <a:cubicBezTo>
                    <a:pt x="20" y="59"/>
                    <a:pt x="19" y="61"/>
                    <a:pt x="19" y="63"/>
                  </a:cubicBezTo>
                  <a:cubicBezTo>
                    <a:pt x="18" y="65"/>
                    <a:pt x="18" y="67"/>
                    <a:pt x="17" y="69"/>
                  </a:cubicBezTo>
                  <a:lnTo>
                    <a:pt x="3" y="69"/>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17" name="Freeform 16"/>
            <p:cNvSpPr>
              <a:spLocks/>
            </p:cNvSpPr>
            <p:nvPr/>
          </p:nvSpPr>
          <p:spPr bwMode="auto">
            <a:xfrm>
              <a:off x="0" y="341313"/>
              <a:ext cx="1346200" cy="895350"/>
            </a:xfrm>
            <a:custGeom>
              <a:avLst/>
              <a:gdLst>
                <a:gd name="T0" fmla="*/ 333 w 359"/>
                <a:gd name="T1" fmla="*/ 79 h 239"/>
                <a:gd name="T2" fmla="*/ 333 w 359"/>
                <a:gd name="T3" fmla="*/ 212 h 239"/>
                <a:gd name="T4" fmla="*/ 27 w 359"/>
                <a:gd name="T5" fmla="*/ 212 h 239"/>
                <a:gd name="T6" fmla="*/ 27 w 359"/>
                <a:gd name="T7" fmla="*/ 27 h 239"/>
                <a:gd name="T8" fmla="*/ 226 w 359"/>
                <a:gd name="T9" fmla="*/ 27 h 239"/>
                <a:gd name="T10" fmla="*/ 226 w 359"/>
                <a:gd name="T11" fmla="*/ 0 h 239"/>
                <a:gd name="T12" fmla="*/ 0 w 359"/>
                <a:gd name="T13" fmla="*/ 0 h 239"/>
                <a:gd name="T14" fmla="*/ 0 w 359"/>
                <a:gd name="T15" fmla="*/ 212 h 239"/>
                <a:gd name="T16" fmla="*/ 27 w 359"/>
                <a:gd name="T17" fmla="*/ 239 h 239"/>
                <a:gd name="T18" fmla="*/ 359 w 359"/>
                <a:gd name="T19" fmla="*/ 239 h 239"/>
                <a:gd name="T20" fmla="*/ 359 w 359"/>
                <a:gd name="T21" fmla="*/ 79 h 239"/>
                <a:gd name="T22" fmla="*/ 333 w 359"/>
                <a:gd name="T23" fmla="*/ 7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9" h="239">
                  <a:moveTo>
                    <a:pt x="333" y="79"/>
                  </a:moveTo>
                  <a:cubicBezTo>
                    <a:pt x="333" y="212"/>
                    <a:pt x="333" y="212"/>
                    <a:pt x="333" y="212"/>
                  </a:cubicBezTo>
                  <a:cubicBezTo>
                    <a:pt x="27" y="212"/>
                    <a:pt x="27" y="212"/>
                    <a:pt x="27" y="212"/>
                  </a:cubicBezTo>
                  <a:cubicBezTo>
                    <a:pt x="27" y="27"/>
                    <a:pt x="27" y="27"/>
                    <a:pt x="27" y="27"/>
                  </a:cubicBezTo>
                  <a:cubicBezTo>
                    <a:pt x="226" y="27"/>
                    <a:pt x="226" y="27"/>
                    <a:pt x="226" y="27"/>
                  </a:cubicBezTo>
                  <a:cubicBezTo>
                    <a:pt x="226" y="0"/>
                    <a:pt x="226" y="0"/>
                    <a:pt x="226" y="0"/>
                  </a:cubicBezTo>
                  <a:cubicBezTo>
                    <a:pt x="0" y="0"/>
                    <a:pt x="0" y="0"/>
                    <a:pt x="0" y="0"/>
                  </a:cubicBezTo>
                  <a:cubicBezTo>
                    <a:pt x="0" y="212"/>
                    <a:pt x="0" y="212"/>
                    <a:pt x="0" y="212"/>
                  </a:cubicBezTo>
                  <a:cubicBezTo>
                    <a:pt x="0" y="227"/>
                    <a:pt x="12" y="239"/>
                    <a:pt x="27" y="239"/>
                  </a:cubicBezTo>
                  <a:cubicBezTo>
                    <a:pt x="359" y="239"/>
                    <a:pt x="359" y="239"/>
                    <a:pt x="359" y="239"/>
                  </a:cubicBezTo>
                  <a:cubicBezTo>
                    <a:pt x="359" y="79"/>
                    <a:pt x="359" y="79"/>
                    <a:pt x="359" y="79"/>
                  </a:cubicBezTo>
                  <a:lnTo>
                    <a:pt x="333" y="79"/>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18" name="Freeform 17"/>
            <p:cNvSpPr>
              <a:spLocks noEditPoints="1"/>
            </p:cNvSpPr>
            <p:nvPr/>
          </p:nvSpPr>
          <p:spPr bwMode="auto">
            <a:xfrm>
              <a:off x="906462" y="0"/>
              <a:ext cx="577850" cy="577850"/>
            </a:xfrm>
            <a:custGeom>
              <a:avLst/>
              <a:gdLst>
                <a:gd name="T0" fmla="*/ 68 w 154"/>
                <a:gd name="T1" fmla="*/ 63 h 154"/>
                <a:gd name="T2" fmla="*/ 75 w 154"/>
                <a:gd name="T3" fmla="*/ 47 h 154"/>
                <a:gd name="T4" fmla="*/ 66 w 154"/>
                <a:gd name="T5" fmla="*/ 57 h 154"/>
                <a:gd name="T6" fmla="*/ 82 w 154"/>
                <a:gd name="T7" fmla="*/ 107 h 154"/>
                <a:gd name="T8" fmla="*/ 91 w 154"/>
                <a:gd name="T9" fmla="*/ 97 h 154"/>
                <a:gd name="T10" fmla="*/ 83 w 154"/>
                <a:gd name="T11" fmla="*/ 88 h 154"/>
                <a:gd name="T12" fmla="*/ 0 w 154"/>
                <a:gd name="T13" fmla="*/ 0 h 154"/>
                <a:gd name="T14" fmla="*/ 23 w 154"/>
                <a:gd name="T15" fmla="*/ 154 h 154"/>
                <a:gd name="T16" fmla="*/ 154 w 154"/>
                <a:gd name="T17" fmla="*/ 26 h 154"/>
                <a:gd name="T18" fmla="*/ 109 w 154"/>
                <a:gd name="T19" fmla="*/ 110 h 154"/>
                <a:gd name="T20" fmla="*/ 93 w 154"/>
                <a:gd name="T21" fmla="*/ 124 h 154"/>
                <a:gd name="T22" fmla="*/ 79 w 154"/>
                <a:gd name="T23" fmla="*/ 140 h 154"/>
                <a:gd name="T24" fmla="*/ 69 w 154"/>
                <a:gd name="T25" fmla="*/ 139 h 154"/>
                <a:gd name="T26" fmla="*/ 69 w 154"/>
                <a:gd name="T27" fmla="*/ 126 h 154"/>
                <a:gd name="T28" fmla="*/ 53 w 154"/>
                <a:gd name="T29" fmla="*/ 123 h 154"/>
                <a:gd name="T30" fmla="*/ 48 w 154"/>
                <a:gd name="T31" fmla="*/ 116 h 154"/>
                <a:gd name="T32" fmla="*/ 53 w 154"/>
                <a:gd name="T33" fmla="*/ 107 h 154"/>
                <a:gd name="T34" fmla="*/ 65 w 154"/>
                <a:gd name="T35" fmla="*/ 107 h 154"/>
                <a:gd name="T36" fmla="*/ 72 w 154"/>
                <a:gd name="T37" fmla="*/ 85 h 154"/>
                <a:gd name="T38" fmla="*/ 53 w 154"/>
                <a:gd name="T39" fmla="*/ 75 h 154"/>
                <a:gd name="T40" fmla="*/ 47 w 154"/>
                <a:gd name="T41" fmla="*/ 58 h 154"/>
                <a:gd name="T42" fmla="*/ 55 w 154"/>
                <a:gd name="T43" fmla="*/ 36 h 154"/>
                <a:gd name="T44" fmla="*/ 76 w 154"/>
                <a:gd name="T45" fmla="*/ 29 h 154"/>
                <a:gd name="T46" fmla="*/ 85 w 154"/>
                <a:gd name="T47" fmla="*/ 15 h 154"/>
                <a:gd name="T48" fmla="*/ 88 w 154"/>
                <a:gd name="T49" fmla="*/ 20 h 154"/>
                <a:gd name="T50" fmla="*/ 96 w 154"/>
                <a:gd name="T51" fmla="*/ 30 h 154"/>
                <a:gd name="T52" fmla="*/ 106 w 154"/>
                <a:gd name="T53" fmla="*/ 35 h 154"/>
                <a:gd name="T54" fmla="*/ 107 w 154"/>
                <a:gd name="T55" fmla="*/ 48 h 154"/>
                <a:gd name="T56" fmla="*/ 86 w 154"/>
                <a:gd name="T57" fmla="*/ 47 h 154"/>
                <a:gd name="T58" fmla="*/ 97 w 154"/>
                <a:gd name="T59" fmla="*/ 73 h 154"/>
                <a:gd name="T60" fmla="*/ 109 w 154"/>
                <a:gd name="T61" fmla="*/ 86 h 154"/>
                <a:gd name="T62" fmla="*/ 109 w 154"/>
                <a:gd name="T63" fmla="*/ 11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4" h="154">
                  <a:moveTo>
                    <a:pt x="66" y="57"/>
                  </a:moveTo>
                  <a:cubicBezTo>
                    <a:pt x="66" y="59"/>
                    <a:pt x="67" y="61"/>
                    <a:pt x="68" y="63"/>
                  </a:cubicBezTo>
                  <a:cubicBezTo>
                    <a:pt x="69" y="64"/>
                    <a:pt x="71" y="65"/>
                    <a:pt x="73" y="66"/>
                  </a:cubicBezTo>
                  <a:cubicBezTo>
                    <a:pt x="75" y="47"/>
                    <a:pt x="75" y="47"/>
                    <a:pt x="75" y="47"/>
                  </a:cubicBezTo>
                  <a:cubicBezTo>
                    <a:pt x="71" y="47"/>
                    <a:pt x="69" y="48"/>
                    <a:pt x="68" y="50"/>
                  </a:cubicBezTo>
                  <a:cubicBezTo>
                    <a:pt x="67" y="52"/>
                    <a:pt x="66" y="54"/>
                    <a:pt x="66" y="57"/>
                  </a:cubicBezTo>
                  <a:close/>
                  <a:moveTo>
                    <a:pt x="83" y="88"/>
                  </a:moveTo>
                  <a:cubicBezTo>
                    <a:pt x="82" y="107"/>
                    <a:pt x="82" y="107"/>
                    <a:pt x="82" y="107"/>
                  </a:cubicBezTo>
                  <a:cubicBezTo>
                    <a:pt x="85" y="107"/>
                    <a:pt x="88" y="106"/>
                    <a:pt x="89" y="104"/>
                  </a:cubicBezTo>
                  <a:cubicBezTo>
                    <a:pt x="90" y="103"/>
                    <a:pt x="91" y="100"/>
                    <a:pt x="91" y="97"/>
                  </a:cubicBezTo>
                  <a:cubicBezTo>
                    <a:pt x="91" y="94"/>
                    <a:pt x="90" y="92"/>
                    <a:pt x="89" y="91"/>
                  </a:cubicBezTo>
                  <a:cubicBezTo>
                    <a:pt x="88" y="90"/>
                    <a:pt x="86" y="89"/>
                    <a:pt x="83" y="88"/>
                  </a:cubicBezTo>
                  <a:close/>
                  <a:moveTo>
                    <a:pt x="131" y="0"/>
                  </a:moveTo>
                  <a:cubicBezTo>
                    <a:pt x="0" y="0"/>
                    <a:pt x="0" y="0"/>
                    <a:pt x="0" y="0"/>
                  </a:cubicBezTo>
                  <a:cubicBezTo>
                    <a:pt x="0" y="130"/>
                    <a:pt x="0" y="130"/>
                    <a:pt x="0" y="130"/>
                  </a:cubicBezTo>
                  <a:cubicBezTo>
                    <a:pt x="0" y="144"/>
                    <a:pt x="10" y="154"/>
                    <a:pt x="23" y="154"/>
                  </a:cubicBezTo>
                  <a:cubicBezTo>
                    <a:pt x="154" y="154"/>
                    <a:pt x="154" y="154"/>
                    <a:pt x="154" y="154"/>
                  </a:cubicBezTo>
                  <a:cubicBezTo>
                    <a:pt x="154" y="26"/>
                    <a:pt x="154" y="26"/>
                    <a:pt x="154" y="26"/>
                  </a:cubicBezTo>
                  <a:cubicBezTo>
                    <a:pt x="154" y="12"/>
                    <a:pt x="144" y="0"/>
                    <a:pt x="131" y="0"/>
                  </a:cubicBezTo>
                  <a:close/>
                  <a:moveTo>
                    <a:pt x="109" y="110"/>
                  </a:moveTo>
                  <a:cubicBezTo>
                    <a:pt x="107" y="113"/>
                    <a:pt x="105" y="116"/>
                    <a:pt x="103" y="118"/>
                  </a:cubicBezTo>
                  <a:cubicBezTo>
                    <a:pt x="100" y="121"/>
                    <a:pt x="97" y="122"/>
                    <a:pt x="93" y="124"/>
                  </a:cubicBezTo>
                  <a:cubicBezTo>
                    <a:pt x="90" y="125"/>
                    <a:pt x="85" y="125"/>
                    <a:pt x="80" y="126"/>
                  </a:cubicBezTo>
                  <a:cubicBezTo>
                    <a:pt x="79" y="140"/>
                    <a:pt x="79" y="140"/>
                    <a:pt x="79" y="140"/>
                  </a:cubicBezTo>
                  <a:cubicBezTo>
                    <a:pt x="72" y="140"/>
                    <a:pt x="72" y="140"/>
                    <a:pt x="72" y="140"/>
                  </a:cubicBezTo>
                  <a:cubicBezTo>
                    <a:pt x="70" y="140"/>
                    <a:pt x="69" y="140"/>
                    <a:pt x="69" y="139"/>
                  </a:cubicBezTo>
                  <a:cubicBezTo>
                    <a:pt x="68" y="138"/>
                    <a:pt x="68" y="137"/>
                    <a:pt x="68" y="136"/>
                  </a:cubicBezTo>
                  <a:cubicBezTo>
                    <a:pt x="69" y="126"/>
                    <a:pt x="69" y="126"/>
                    <a:pt x="69" y="126"/>
                  </a:cubicBezTo>
                  <a:cubicBezTo>
                    <a:pt x="66" y="125"/>
                    <a:pt x="63" y="125"/>
                    <a:pt x="60" y="125"/>
                  </a:cubicBezTo>
                  <a:cubicBezTo>
                    <a:pt x="57" y="124"/>
                    <a:pt x="55" y="124"/>
                    <a:pt x="53" y="123"/>
                  </a:cubicBezTo>
                  <a:cubicBezTo>
                    <a:pt x="51" y="122"/>
                    <a:pt x="50" y="121"/>
                    <a:pt x="49" y="120"/>
                  </a:cubicBezTo>
                  <a:cubicBezTo>
                    <a:pt x="48" y="119"/>
                    <a:pt x="48" y="118"/>
                    <a:pt x="48" y="116"/>
                  </a:cubicBezTo>
                  <a:cubicBezTo>
                    <a:pt x="48" y="106"/>
                    <a:pt x="48" y="106"/>
                    <a:pt x="48" y="106"/>
                  </a:cubicBezTo>
                  <a:cubicBezTo>
                    <a:pt x="50" y="106"/>
                    <a:pt x="51" y="106"/>
                    <a:pt x="53" y="107"/>
                  </a:cubicBezTo>
                  <a:cubicBezTo>
                    <a:pt x="55" y="107"/>
                    <a:pt x="57" y="107"/>
                    <a:pt x="59" y="107"/>
                  </a:cubicBezTo>
                  <a:cubicBezTo>
                    <a:pt x="61" y="107"/>
                    <a:pt x="63" y="107"/>
                    <a:pt x="65" y="107"/>
                  </a:cubicBezTo>
                  <a:cubicBezTo>
                    <a:pt x="67" y="107"/>
                    <a:pt x="69" y="107"/>
                    <a:pt x="70" y="107"/>
                  </a:cubicBezTo>
                  <a:cubicBezTo>
                    <a:pt x="72" y="85"/>
                    <a:pt x="72" y="85"/>
                    <a:pt x="72" y="85"/>
                  </a:cubicBezTo>
                  <a:cubicBezTo>
                    <a:pt x="68" y="84"/>
                    <a:pt x="64" y="82"/>
                    <a:pt x="60" y="81"/>
                  </a:cubicBezTo>
                  <a:cubicBezTo>
                    <a:pt x="57" y="79"/>
                    <a:pt x="55" y="77"/>
                    <a:pt x="53" y="75"/>
                  </a:cubicBezTo>
                  <a:cubicBezTo>
                    <a:pt x="51" y="72"/>
                    <a:pt x="49" y="70"/>
                    <a:pt x="48" y="67"/>
                  </a:cubicBezTo>
                  <a:cubicBezTo>
                    <a:pt x="47" y="64"/>
                    <a:pt x="47" y="61"/>
                    <a:pt x="47" y="58"/>
                  </a:cubicBezTo>
                  <a:cubicBezTo>
                    <a:pt x="47" y="52"/>
                    <a:pt x="48" y="48"/>
                    <a:pt x="49" y="44"/>
                  </a:cubicBezTo>
                  <a:cubicBezTo>
                    <a:pt x="50" y="41"/>
                    <a:pt x="52" y="38"/>
                    <a:pt x="55" y="36"/>
                  </a:cubicBezTo>
                  <a:cubicBezTo>
                    <a:pt x="58" y="34"/>
                    <a:pt x="61" y="32"/>
                    <a:pt x="64" y="31"/>
                  </a:cubicBezTo>
                  <a:cubicBezTo>
                    <a:pt x="68" y="30"/>
                    <a:pt x="72" y="29"/>
                    <a:pt x="76" y="29"/>
                  </a:cubicBezTo>
                  <a:cubicBezTo>
                    <a:pt x="77" y="15"/>
                    <a:pt x="77" y="15"/>
                    <a:pt x="77" y="15"/>
                  </a:cubicBezTo>
                  <a:cubicBezTo>
                    <a:pt x="85" y="15"/>
                    <a:pt x="85" y="15"/>
                    <a:pt x="85" y="15"/>
                  </a:cubicBezTo>
                  <a:cubicBezTo>
                    <a:pt x="86" y="15"/>
                    <a:pt x="87" y="16"/>
                    <a:pt x="88" y="17"/>
                  </a:cubicBezTo>
                  <a:cubicBezTo>
                    <a:pt x="88" y="18"/>
                    <a:pt x="88" y="19"/>
                    <a:pt x="88" y="20"/>
                  </a:cubicBezTo>
                  <a:cubicBezTo>
                    <a:pt x="88" y="29"/>
                    <a:pt x="88" y="29"/>
                    <a:pt x="88" y="29"/>
                  </a:cubicBezTo>
                  <a:cubicBezTo>
                    <a:pt x="91" y="29"/>
                    <a:pt x="94" y="29"/>
                    <a:pt x="96" y="30"/>
                  </a:cubicBezTo>
                  <a:cubicBezTo>
                    <a:pt x="99" y="31"/>
                    <a:pt x="100" y="31"/>
                    <a:pt x="102" y="32"/>
                  </a:cubicBezTo>
                  <a:cubicBezTo>
                    <a:pt x="104" y="33"/>
                    <a:pt x="106" y="34"/>
                    <a:pt x="106" y="35"/>
                  </a:cubicBezTo>
                  <a:cubicBezTo>
                    <a:pt x="107" y="36"/>
                    <a:pt x="107" y="38"/>
                    <a:pt x="107" y="39"/>
                  </a:cubicBezTo>
                  <a:cubicBezTo>
                    <a:pt x="107" y="48"/>
                    <a:pt x="107" y="48"/>
                    <a:pt x="107" y="48"/>
                  </a:cubicBezTo>
                  <a:cubicBezTo>
                    <a:pt x="104" y="48"/>
                    <a:pt x="100" y="47"/>
                    <a:pt x="97" y="47"/>
                  </a:cubicBezTo>
                  <a:cubicBezTo>
                    <a:pt x="93" y="47"/>
                    <a:pt x="90" y="47"/>
                    <a:pt x="86" y="47"/>
                  </a:cubicBezTo>
                  <a:cubicBezTo>
                    <a:pt x="85" y="68"/>
                    <a:pt x="85" y="68"/>
                    <a:pt x="85" y="68"/>
                  </a:cubicBezTo>
                  <a:cubicBezTo>
                    <a:pt x="89" y="70"/>
                    <a:pt x="93" y="71"/>
                    <a:pt x="97" y="73"/>
                  </a:cubicBezTo>
                  <a:cubicBezTo>
                    <a:pt x="100" y="75"/>
                    <a:pt x="102" y="76"/>
                    <a:pt x="105" y="78"/>
                  </a:cubicBezTo>
                  <a:cubicBezTo>
                    <a:pt x="107" y="80"/>
                    <a:pt x="108" y="83"/>
                    <a:pt x="109" y="86"/>
                  </a:cubicBezTo>
                  <a:cubicBezTo>
                    <a:pt x="110" y="89"/>
                    <a:pt x="110" y="92"/>
                    <a:pt x="110" y="96"/>
                  </a:cubicBezTo>
                  <a:cubicBezTo>
                    <a:pt x="110" y="101"/>
                    <a:pt x="110" y="106"/>
                    <a:pt x="109" y="110"/>
                  </a:cubicBez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grpSp>
    </p:spTree>
    <p:extLst>
      <p:ext uri="{BB962C8B-B14F-4D97-AF65-F5344CB8AC3E}">
        <p14:creationId xmlns:p14="http://schemas.microsoft.com/office/powerpoint/2010/main" val="3141412044"/>
      </p:ext>
    </p:extLst>
  </p:cSld>
  <p:clrMapOvr>
    <a:masterClrMapping/>
  </p:clrMapOvr>
  <p:transition spd="slow">
    <p:randomBar dir="vert"/>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7" name="Freeform 575"/>
          <p:cNvSpPr>
            <a:spLocks noEditPoints="1"/>
          </p:cNvSpPr>
          <p:nvPr/>
        </p:nvSpPr>
        <p:spPr bwMode="auto">
          <a:xfrm>
            <a:off x="5707947" y="1382790"/>
            <a:ext cx="2573849" cy="5204176"/>
          </a:xfrm>
          <a:custGeom>
            <a:avLst/>
            <a:gdLst>
              <a:gd name="T0" fmla="*/ 156 w 180"/>
              <a:gd name="T1" fmla="*/ 0 h 364"/>
              <a:gd name="T2" fmla="*/ 0 w 180"/>
              <a:gd name="T3" fmla="*/ 0 h 364"/>
              <a:gd name="T4" fmla="*/ 0 w 180"/>
              <a:gd name="T5" fmla="*/ 340 h 364"/>
              <a:gd name="T6" fmla="*/ 24 w 180"/>
              <a:gd name="T7" fmla="*/ 364 h 364"/>
              <a:gd name="T8" fmla="*/ 180 w 180"/>
              <a:gd name="T9" fmla="*/ 364 h 364"/>
              <a:gd name="T10" fmla="*/ 180 w 180"/>
              <a:gd name="T11" fmla="*/ 24 h 364"/>
              <a:gd name="T12" fmla="*/ 156 w 180"/>
              <a:gd name="T13" fmla="*/ 0 h 364"/>
              <a:gd name="T14" fmla="*/ 76 w 180"/>
              <a:gd name="T15" fmla="*/ 292 h 364"/>
              <a:gd name="T16" fmla="*/ 28 w 180"/>
              <a:gd name="T17" fmla="*/ 292 h 364"/>
              <a:gd name="T18" fmla="*/ 28 w 180"/>
              <a:gd name="T19" fmla="*/ 244 h 364"/>
              <a:gd name="T20" fmla="*/ 76 w 180"/>
              <a:gd name="T21" fmla="*/ 244 h 364"/>
              <a:gd name="T22" fmla="*/ 76 w 180"/>
              <a:gd name="T23" fmla="*/ 292 h 364"/>
              <a:gd name="T24" fmla="*/ 76 w 180"/>
              <a:gd name="T25" fmla="*/ 220 h 364"/>
              <a:gd name="T26" fmla="*/ 28 w 180"/>
              <a:gd name="T27" fmla="*/ 220 h 364"/>
              <a:gd name="T28" fmla="*/ 28 w 180"/>
              <a:gd name="T29" fmla="*/ 172 h 364"/>
              <a:gd name="T30" fmla="*/ 76 w 180"/>
              <a:gd name="T31" fmla="*/ 172 h 364"/>
              <a:gd name="T32" fmla="*/ 76 w 180"/>
              <a:gd name="T33" fmla="*/ 220 h 364"/>
              <a:gd name="T34" fmla="*/ 76 w 180"/>
              <a:gd name="T35" fmla="*/ 148 h 364"/>
              <a:gd name="T36" fmla="*/ 28 w 180"/>
              <a:gd name="T37" fmla="*/ 148 h 364"/>
              <a:gd name="T38" fmla="*/ 28 w 180"/>
              <a:gd name="T39" fmla="*/ 100 h 364"/>
              <a:gd name="T40" fmla="*/ 76 w 180"/>
              <a:gd name="T41" fmla="*/ 100 h 364"/>
              <a:gd name="T42" fmla="*/ 76 w 180"/>
              <a:gd name="T43" fmla="*/ 148 h 364"/>
              <a:gd name="T44" fmla="*/ 76 w 180"/>
              <a:gd name="T45" fmla="*/ 76 h 364"/>
              <a:gd name="T46" fmla="*/ 28 w 180"/>
              <a:gd name="T47" fmla="*/ 76 h 364"/>
              <a:gd name="T48" fmla="*/ 28 w 180"/>
              <a:gd name="T49" fmla="*/ 28 h 364"/>
              <a:gd name="T50" fmla="*/ 76 w 180"/>
              <a:gd name="T51" fmla="*/ 28 h 364"/>
              <a:gd name="T52" fmla="*/ 76 w 180"/>
              <a:gd name="T53" fmla="*/ 76 h 364"/>
              <a:gd name="T54" fmla="*/ 152 w 180"/>
              <a:gd name="T55" fmla="*/ 220 h 364"/>
              <a:gd name="T56" fmla="*/ 104 w 180"/>
              <a:gd name="T57" fmla="*/ 220 h 364"/>
              <a:gd name="T58" fmla="*/ 104 w 180"/>
              <a:gd name="T59" fmla="*/ 172 h 364"/>
              <a:gd name="T60" fmla="*/ 152 w 180"/>
              <a:gd name="T61" fmla="*/ 172 h 364"/>
              <a:gd name="T62" fmla="*/ 152 w 180"/>
              <a:gd name="T63" fmla="*/ 220 h 364"/>
              <a:gd name="T64" fmla="*/ 152 w 180"/>
              <a:gd name="T65" fmla="*/ 148 h 364"/>
              <a:gd name="T66" fmla="*/ 104 w 180"/>
              <a:gd name="T67" fmla="*/ 148 h 364"/>
              <a:gd name="T68" fmla="*/ 104 w 180"/>
              <a:gd name="T69" fmla="*/ 100 h 364"/>
              <a:gd name="T70" fmla="*/ 152 w 180"/>
              <a:gd name="T71" fmla="*/ 100 h 364"/>
              <a:gd name="T72" fmla="*/ 152 w 180"/>
              <a:gd name="T73" fmla="*/ 148 h 364"/>
              <a:gd name="T74" fmla="*/ 152 w 180"/>
              <a:gd name="T75" fmla="*/ 76 h 364"/>
              <a:gd name="T76" fmla="*/ 104 w 180"/>
              <a:gd name="T77" fmla="*/ 76 h 364"/>
              <a:gd name="T78" fmla="*/ 104 w 180"/>
              <a:gd name="T79" fmla="*/ 28 h 364"/>
              <a:gd name="T80" fmla="*/ 152 w 180"/>
              <a:gd name="T81" fmla="*/ 28 h 364"/>
              <a:gd name="T82" fmla="*/ 152 w 180"/>
              <a:gd name="T83" fmla="*/ 76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0" h="364">
                <a:moveTo>
                  <a:pt x="156" y="0"/>
                </a:moveTo>
                <a:cubicBezTo>
                  <a:pt x="0" y="0"/>
                  <a:pt x="0" y="0"/>
                  <a:pt x="0" y="0"/>
                </a:cubicBezTo>
                <a:cubicBezTo>
                  <a:pt x="0" y="340"/>
                  <a:pt x="0" y="340"/>
                  <a:pt x="0" y="340"/>
                </a:cubicBezTo>
                <a:cubicBezTo>
                  <a:pt x="0" y="353"/>
                  <a:pt x="10" y="364"/>
                  <a:pt x="24" y="364"/>
                </a:cubicBezTo>
                <a:cubicBezTo>
                  <a:pt x="180" y="364"/>
                  <a:pt x="180" y="364"/>
                  <a:pt x="180" y="364"/>
                </a:cubicBezTo>
                <a:cubicBezTo>
                  <a:pt x="180" y="24"/>
                  <a:pt x="180" y="24"/>
                  <a:pt x="180" y="24"/>
                </a:cubicBezTo>
                <a:cubicBezTo>
                  <a:pt x="180" y="11"/>
                  <a:pt x="169" y="0"/>
                  <a:pt x="156" y="0"/>
                </a:cubicBezTo>
                <a:moveTo>
                  <a:pt x="76" y="292"/>
                </a:moveTo>
                <a:cubicBezTo>
                  <a:pt x="28" y="292"/>
                  <a:pt x="28" y="292"/>
                  <a:pt x="28" y="292"/>
                </a:cubicBezTo>
                <a:cubicBezTo>
                  <a:pt x="28" y="244"/>
                  <a:pt x="28" y="244"/>
                  <a:pt x="28" y="244"/>
                </a:cubicBezTo>
                <a:cubicBezTo>
                  <a:pt x="76" y="244"/>
                  <a:pt x="76" y="244"/>
                  <a:pt x="76" y="244"/>
                </a:cubicBezTo>
                <a:lnTo>
                  <a:pt x="76" y="292"/>
                </a:lnTo>
                <a:close/>
                <a:moveTo>
                  <a:pt x="76" y="220"/>
                </a:moveTo>
                <a:cubicBezTo>
                  <a:pt x="28" y="220"/>
                  <a:pt x="28" y="220"/>
                  <a:pt x="28" y="220"/>
                </a:cubicBezTo>
                <a:cubicBezTo>
                  <a:pt x="28" y="172"/>
                  <a:pt x="28" y="172"/>
                  <a:pt x="28" y="172"/>
                </a:cubicBezTo>
                <a:cubicBezTo>
                  <a:pt x="76" y="172"/>
                  <a:pt x="76" y="172"/>
                  <a:pt x="76" y="172"/>
                </a:cubicBezTo>
                <a:lnTo>
                  <a:pt x="76" y="220"/>
                </a:lnTo>
                <a:close/>
                <a:moveTo>
                  <a:pt x="76" y="148"/>
                </a:moveTo>
                <a:cubicBezTo>
                  <a:pt x="28" y="148"/>
                  <a:pt x="28" y="148"/>
                  <a:pt x="28" y="148"/>
                </a:cubicBezTo>
                <a:cubicBezTo>
                  <a:pt x="28" y="100"/>
                  <a:pt x="28" y="100"/>
                  <a:pt x="28" y="100"/>
                </a:cubicBezTo>
                <a:cubicBezTo>
                  <a:pt x="76" y="100"/>
                  <a:pt x="76" y="100"/>
                  <a:pt x="76" y="100"/>
                </a:cubicBezTo>
                <a:lnTo>
                  <a:pt x="76" y="148"/>
                </a:lnTo>
                <a:close/>
                <a:moveTo>
                  <a:pt x="76" y="76"/>
                </a:moveTo>
                <a:cubicBezTo>
                  <a:pt x="28" y="76"/>
                  <a:pt x="28" y="76"/>
                  <a:pt x="28" y="76"/>
                </a:cubicBezTo>
                <a:cubicBezTo>
                  <a:pt x="28" y="28"/>
                  <a:pt x="28" y="28"/>
                  <a:pt x="28" y="28"/>
                </a:cubicBezTo>
                <a:cubicBezTo>
                  <a:pt x="76" y="28"/>
                  <a:pt x="76" y="28"/>
                  <a:pt x="76" y="28"/>
                </a:cubicBezTo>
                <a:lnTo>
                  <a:pt x="76" y="76"/>
                </a:lnTo>
                <a:close/>
                <a:moveTo>
                  <a:pt x="152" y="220"/>
                </a:moveTo>
                <a:cubicBezTo>
                  <a:pt x="104" y="220"/>
                  <a:pt x="104" y="220"/>
                  <a:pt x="104" y="220"/>
                </a:cubicBezTo>
                <a:cubicBezTo>
                  <a:pt x="104" y="172"/>
                  <a:pt x="104" y="172"/>
                  <a:pt x="104" y="172"/>
                </a:cubicBezTo>
                <a:cubicBezTo>
                  <a:pt x="152" y="172"/>
                  <a:pt x="152" y="172"/>
                  <a:pt x="152" y="172"/>
                </a:cubicBezTo>
                <a:lnTo>
                  <a:pt x="152" y="220"/>
                </a:lnTo>
                <a:close/>
                <a:moveTo>
                  <a:pt x="152" y="148"/>
                </a:moveTo>
                <a:cubicBezTo>
                  <a:pt x="104" y="148"/>
                  <a:pt x="104" y="148"/>
                  <a:pt x="104" y="148"/>
                </a:cubicBezTo>
                <a:cubicBezTo>
                  <a:pt x="104" y="100"/>
                  <a:pt x="104" y="100"/>
                  <a:pt x="104" y="100"/>
                </a:cubicBezTo>
                <a:cubicBezTo>
                  <a:pt x="152" y="100"/>
                  <a:pt x="152" y="100"/>
                  <a:pt x="152" y="100"/>
                </a:cubicBezTo>
                <a:lnTo>
                  <a:pt x="152" y="148"/>
                </a:lnTo>
                <a:close/>
                <a:moveTo>
                  <a:pt x="152" y="76"/>
                </a:moveTo>
                <a:cubicBezTo>
                  <a:pt x="104" y="76"/>
                  <a:pt x="104" y="76"/>
                  <a:pt x="104" y="76"/>
                </a:cubicBezTo>
                <a:cubicBezTo>
                  <a:pt x="104" y="28"/>
                  <a:pt x="104" y="28"/>
                  <a:pt x="104" y="28"/>
                </a:cubicBezTo>
                <a:cubicBezTo>
                  <a:pt x="152" y="28"/>
                  <a:pt x="152" y="28"/>
                  <a:pt x="152" y="28"/>
                </a:cubicBezTo>
                <a:lnTo>
                  <a:pt x="152" y="76"/>
                </a:lnTo>
                <a:close/>
              </a:path>
            </a:pathLst>
          </a:custGeom>
          <a:solidFill>
            <a:schemeClr val="accent4">
              <a:lumMod val="40000"/>
              <a:lumOff val="60000"/>
            </a:schemeClr>
          </a:solidFill>
          <a:ln>
            <a:noFill/>
          </a:ln>
        </p:spPr>
        <p:txBody>
          <a:bodyPr vert="horz" wrap="square" lIns="129909" tIns="64954" rIns="129909" bIns="64954" numCol="1" anchor="t" anchorCtr="0" compatLnSpc="1">
            <a:prstTxWarp prst="textNoShape">
              <a:avLst/>
            </a:prstTxWarp>
          </a:bodyPr>
          <a:lstStyle/>
          <a:p>
            <a:endParaRPr lang="en-US">
              <a:latin typeface="微软雅黑" pitchFamily="34" charset="-122"/>
              <a:ea typeface="微软雅黑" pitchFamily="34" charset="-122"/>
            </a:endParaRPr>
          </a:p>
        </p:txBody>
      </p:sp>
      <p:grpSp>
        <p:nvGrpSpPr>
          <p:cNvPr id="8" name="Group 7"/>
          <p:cNvGrpSpPr/>
          <p:nvPr/>
        </p:nvGrpSpPr>
        <p:grpSpPr>
          <a:xfrm>
            <a:off x="6521830" y="2476623"/>
            <a:ext cx="1481740" cy="2674644"/>
            <a:chOff x="4592950" y="1741375"/>
            <a:chExt cx="1043504" cy="1880609"/>
          </a:xfrm>
        </p:grpSpPr>
        <p:grpSp>
          <p:nvGrpSpPr>
            <p:cNvPr id="297" name="Group 322"/>
            <p:cNvGrpSpPr/>
            <p:nvPr/>
          </p:nvGrpSpPr>
          <p:grpSpPr>
            <a:xfrm>
              <a:off x="4756914" y="2780883"/>
              <a:ext cx="738382" cy="841101"/>
              <a:chOff x="2344975" y="3326629"/>
              <a:chExt cx="809388" cy="921985"/>
            </a:xfrm>
            <a:solidFill>
              <a:srgbClr val="000000"/>
            </a:solidFill>
          </p:grpSpPr>
          <p:sp>
            <p:nvSpPr>
              <p:cNvPr id="298" name="Freeform 158"/>
              <p:cNvSpPr>
                <a:spLocks/>
              </p:cNvSpPr>
              <p:nvPr/>
            </p:nvSpPr>
            <p:spPr bwMode="auto">
              <a:xfrm>
                <a:off x="2354350" y="3326629"/>
                <a:ext cx="32813" cy="89224"/>
              </a:xfrm>
              <a:custGeom>
                <a:avLst/>
                <a:gdLst/>
                <a:ahLst/>
                <a:cxnLst>
                  <a:cxn ang="0">
                    <a:pos x="21" y="57"/>
                  </a:cxn>
                  <a:cxn ang="0">
                    <a:pos x="11" y="57"/>
                  </a:cxn>
                  <a:cxn ang="0">
                    <a:pos x="11" y="10"/>
                  </a:cxn>
                  <a:cxn ang="0">
                    <a:pos x="0" y="10"/>
                  </a:cxn>
                  <a:cxn ang="0">
                    <a:pos x="4" y="0"/>
                  </a:cxn>
                  <a:cxn ang="0">
                    <a:pos x="21" y="0"/>
                  </a:cxn>
                  <a:cxn ang="0">
                    <a:pos x="21" y="57"/>
                  </a:cxn>
                </a:cxnLst>
                <a:rect l="0" t="0" r="r" b="b"/>
                <a:pathLst>
                  <a:path w="21" h="57">
                    <a:moveTo>
                      <a:pt x="21" y="57"/>
                    </a:moveTo>
                    <a:lnTo>
                      <a:pt x="11" y="57"/>
                    </a:lnTo>
                    <a:lnTo>
                      <a:pt x="11" y="10"/>
                    </a:lnTo>
                    <a:lnTo>
                      <a:pt x="0" y="10"/>
                    </a:lnTo>
                    <a:lnTo>
                      <a:pt x="4" y="0"/>
                    </a:lnTo>
                    <a:lnTo>
                      <a:pt x="21" y="0"/>
                    </a:lnTo>
                    <a:lnTo>
                      <a:pt x="21"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299" name="Freeform 159"/>
              <p:cNvSpPr>
                <a:spLocks noEditPoints="1"/>
              </p:cNvSpPr>
              <p:nvPr/>
            </p:nvSpPr>
            <p:spPr bwMode="auto">
              <a:xfrm>
                <a:off x="2402789" y="3326629"/>
                <a:ext cx="60938" cy="89224"/>
              </a:xfrm>
              <a:custGeom>
                <a:avLst/>
                <a:gdLst/>
                <a:ahLst/>
                <a:cxnLst>
                  <a:cxn ang="0">
                    <a:pos x="51" y="37"/>
                  </a:cxn>
                  <a:cxn ang="0">
                    <a:pos x="44" y="65"/>
                  </a:cxn>
                  <a:cxn ang="0">
                    <a:pos x="25" y="75"/>
                  </a:cxn>
                  <a:cxn ang="0">
                    <a:pos x="7" y="65"/>
                  </a:cxn>
                  <a:cxn ang="0">
                    <a:pos x="0" y="37"/>
                  </a:cxn>
                  <a:cxn ang="0">
                    <a:pos x="7" y="10"/>
                  </a:cxn>
                  <a:cxn ang="0">
                    <a:pos x="25" y="0"/>
                  </a:cxn>
                  <a:cxn ang="0">
                    <a:pos x="44" y="10"/>
                  </a:cxn>
                  <a:cxn ang="0">
                    <a:pos x="51" y="37"/>
                  </a:cxn>
                  <a:cxn ang="0">
                    <a:pos x="37" y="37"/>
                  </a:cxn>
                  <a:cxn ang="0">
                    <a:pos x="34" y="19"/>
                  </a:cxn>
                  <a:cxn ang="0">
                    <a:pos x="25" y="12"/>
                  </a:cxn>
                  <a:cxn ang="0">
                    <a:pos x="17" y="19"/>
                  </a:cxn>
                  <a:cxn ang="0">
                    <a:pos x="13" y="37"/>
                  </a:cxn>
                  <a:cxn ang="0">
                    <a:pos x="17" y="56"/>
                  </a:cxn>
                  <a:cxn ang="0">
                    <a:pos x="25" y="63"/>
                  </a:cxn>
                  <a:cxn ang="0">
                    <a:pos x="34" y="56"/>
                  </a:cxn>
                  <a:cxn ang="0">
                    <a:pos x="37" y="37"/>
                  </a:cxn>
                </a:cxnLst>
                <a:rect l="0" t="0" r="r" b="b"/>
                <a:pathLst>
                  <a:path w="51" h="75">
                    <a:moveTo>
                      <a:pt x="51" y="37"/>
                    </a:moveTo>
                    <a:cubicBezTo>
                      <a:pt x="51" y="49"/>
                      <a:pt x="49" y="58"/>
                      <a:pt x="44" y="65"/>
                    </a:cubicBezTo>
                    <a:cubicBezTo>
                      <a:pt x="39" y="72"/>
                      <a:pt x="33" y="75"/>
                      <a:pt x="25" y="75"/>
                    </a:cubicBezTo>
                    <a:cubicBezTo>
                      <a:pt x="18" y="75"/>
                      <a:pt x="11" y="72"/>
                      <a:pt x="7" y="65"/>
                    </a:cubicBezTo>
                    <a:cubicBezTo>
                      <a:pt x="2" y="58"/>
                      <a:pt x="0" y="49"/>
                      <a:pt x="0" y="37"/>
                    </a:cubicBezTo>
                    <a:cubicBezTo>
                      <a:pt x="0" y="26"/>
                      <a:pt x="2" y="17"/>
                      <a:pt x="7" y="10"/>
                    </a:cubicBezTo>
                    <a:cubicBezTo>
                      <a:pt x="11" y="3"/>
                      <a:pt x="18" y="0"/>
                      <a:pt x="25" y="0"/>
                    </a:cubicBezTo>
                    <a:cubicBezTo>
                      <a:pt x="33" y="0"/>
                      <a:pt x="40" y="3"/>
                      <a:pt x="44" y="10"/>
                    </a:cubicBezTo>
                    <a:cubicBezTo>
                      <a:pt x="49" y="17"/>
                      <a:pt x="51" y="26"/>
                      <a:pt x="51" y="37"/>
                    </a:cubicBezTo>
                    <a:close/>
                    <a:moveTo>
                      <a:pt x="37" y="37"/>
                    </a:moveTo>
                    <a:cubicBezTo>
                      <a:pt x="37" y="30"/>
                      <a:pt x="36" y="24"/>
                      <a:pt x="34" y="19"/>
                    </a:cubicBezTo>
                    <a:cubicBezTo>
                      <a:pt x="32" y="14"/>
                      <a:pt x="29" y="12"/>
                      <a:pt x="25" y="12"/>
                    </a:cubicBezTo>
                    <a:cubicBezTo>
                      <a:pt x="22" y="12"/>
                      <a:pt x="19" y="14"/>
                      <a:pt x="17" y="19"/>
                    </a:cubicBezTo>
                    <a:cubicBezTo>
                      <a:pt x="15" y="24"/>
                      <a:pt x="13" y="30"/>
                      <a:pt x="13" y="37"/>
                    </a:cubicBezTo>
                    <a:cubicBezTo>
                      <a:pt x="13" y="45"/>
                      <a:pt x="15" y="51"/>
                      <a:pt x="17" y="56"/>
                    </a:cubicBezTo>
                    <a:cubicBezTo>
                      <a:pt x="19" y="60"/>
                      <a:pt x="22" y="63"/>
                      <a:pt x="25" y="63"/>
                    </a:cubicBezTo>
                    <a:cubicBezTo>
                      <a:pt x="29" y="63"/>
                      <a:pt x="32" y="61"/>
                      <a:pt x="34" y="56"/>
                    </a:cubicBezTo>
                    <a:cubicBezTo>
                      <a:pt x="36" y="51"/>
                      <a:pt x="37" y="45"/>
                      <a:pt x="37"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0" name="Freeform 160"/>
              <p:cNvSpPr>
                <a:spLocks/>
              </p:cNvSpPr>
              <p:nvPr/>
            </p:nvSpPr>
            <p:spPr bwMode="auto">
              <a:xfrm>
                <a:off x="2465290" y="3326629"/>
                <a:ext cx="32813" cy="89224"/>
              </a:xfrm>
              <a:custGeom>
                <a:avLst/>
                <a:gdLst/>
                <a:ahLst/>
                <a:cxnLst>
                  <a:cxn ang="0">
                    <a:pos x="21" y="57"/>
                  </a:cxn>
                  <a:cxn ang="0">
                    <a:pos x="10" y="57"/>
                  </a:cxn>
                  <a:cxn ang="0">
                    <a:pos x="10" y="10"/>
                  </a:cxn>
                  <a:cxn ang="0">
                    <a:pos x="0" y="10"/>
                  </a:cxn>
                  <a:cxn ang="0">
                    <a:pos x="4" y="0"/>
                  </a:cxn>
                  <a:cxn ang="0">
                    <a:pos x="21" y="0"/>
                  </a:cxn>
                  <a:cxn ang="0">
                    <a:pos x="21" y="57"/>
                  </a:cxn>
                </a:cxnLst>
                <a:rect l="0" t="0" r="r" b="b"/>
                <a:pathLst>
                  <a:path w="21" h="57">
                    <a:moveTo>
                      <a:pt x="21" y="57"/>
                    </a:moveTo>
                    <a:lnTo>
                      <a:pt x="10" y="57"/>
                    </a:lnTo>
                    <a:lnTo>
                      <a:pt x="10" y="10"/>
                    </a:lnTo>
                    <a:lnTo>
                      <a:pt x="0" y="10"/>
                    </a:lnTo>
                    <a:lnTo>
                      <a:pt x="4" y="0"/>
                    </a:lnTo>
                    <a:lnTo>
                      <a:pt x="21" y="0"/>
                    </a:lnTo>
                    <a:lnTo>
                      <a:pt x="21"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1" name="Freeform 161"/>
              <p:cNvSpPr>
                <a:spLocks/>
              </p:cNvSpPr>
              <p:nvPr/>
            </p:nvSpPr>
            <p:spPr bwMode="auto">
              <a:xfrm>
                <a:off x="2505915" y="3326629"/>
                <a:ext cx="32813" cy="89224"/>
              </a:xfrm>
              <a:custGeom>
                <a:avLst/>
                <a:gdLst/>
                <a:ahLst/>
                <a:cxnLst>
                  <a:cxn ang="0">
                    <a:pos x="21" y="57"/>
                  </a:cxn>
                  <a:cxn ang="0">
                    <a:pos x="11" y="57"/>
                  </a:cxn>
                  <a:cxn ang="0">
                    <a:pos x="11" y="10"/>
                  </a:cxn>
                  <a:cxn ang="0">
                    <a:pos x="0" y="10"/>
                  </a:cxn>
                  <a:cxn ang="0">
                    <a:pos x="4" y="0"/>
                  </a:cxn>
                  <a:cxn ang="0">
                    <a:pos x="21" y="0"/>
                  </a:cxn>
                  <a:cxn ang="0">
                    <a:pos x="21" y="57"/>
                  </a:cxn>
                </a:cxnLst>
                <a:rect l="0" t="0" r="r" b="b"/>
                <a:pathLst>
                  <a:path w="21" h="57">
                    <a:moveTo>
                      <a:pt x="21" y="57"/>
                    </a:moveTo>
                    <a:lnTo>
                      <a:pt x="11" y="57"/>
                    </a:lnTo>
                    <a:lnTo>
                      <a:pt x="11" y="10"/>
                    </a:lnTo>
                    <a:lnTo>
                      <a:pt x="0" y="10"/>
                    </a:lnTo>
                    <a:lnTo>
                      <a:pt x="4" y="0"/>
                    </a:lnTo>
                    <a:lnTo>
                      <a:pt x="21" y="0"/>
                    </a:lnTo>
                    <a:lnTo>
                      <a:pt x="21"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2" name="Freeform 162"/>
              <p:cNvSpPr>
                <a:spLocks/>
              </p:cNvSpPr>
              <p:nvPr/>
            </p:nvSpPr>
            <p:spPr bwMode="auto">
              <a:xfrm>
                <a:off x="2546541" y="3326629"/>
                <a:ext cx="32813" cy="89224"/>
              </a:xfrm>
              <a:custGeom>
                <a:avLst/>
                <a:gdLst/>
                <a:ahLst/>
                <a:cxnLst>
                  <a:cxn ang="0">
                    <a:pos x="21" y="57"/>
                  </a:cxn>
                  <a:cxn ang="0">
                    <a:pos x="11" y="57"/>
                  </a:cxn>
                  <a:cxn ang="0">
                    <a:pos x="11" y="10"/>
                  </a:cxn>
                  <a:cxn ang="0">
                    <a:pos x="0" y="10"/>
                  </a:cxn>
                  <a:cxn ang="0">
                    <a:pos x="5" y="0"/>
                  </a:cxn>
                  <a:cxn ang="0">
                    <a:pos x="21" y="0"/>
                  </a:cxn>
                  <a:cxn ang="0">
                    <a:pos x="21" y="57"/>
                  </a:cxn>
                </a:cxnLst>
                <a:rect l="0" t="0" r="r" b="b"/>
                <a:pathLst>
                  <a:path w="21" h="57">
                    <a:moveTo>
                      <a:pt x="21" y="57"/>
                    </a:moveTo>
                    <a:lnTo>
                      <a:pt x="11" y="57"/>
                    </a:lnTo>
                    <a:lnTo>
                      <a:pt x="11" y="10"/>
                    </a:lnTo>
                    <a:lnTo>
                      <a:pt x="0" y="10"/>
                    </a:lnTo>
                    <a:lnTo>
                      <a:pt x="5" y="0"/>
                    </a:lnTo>
                    <a:lnTo>
                      <a:pt x="21" y="0"/>
                    </a:lnTo>
                    <a:lnTo>
                      <a:pt x="21"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3" name="Freeform 163"/>
              <p:cNvSpPr>
                <a:spLocks/>
              </p:cNvSpPr>
              <p:nvPr/>
            </p:nvSpPr>
            <p:spPr bwMode="auto">
              <a:xfrm>
                <a:off x="2587167" y="3326629"/>
                <a:ext cx="34376" cy="89224"/>
              </a:xfrm>
              <a:custGeom>
                <a:avLst/>
                <a:gdLst/>
                <a:ahLst/>
                <a:cxnLst>
                  <a:cxn ang="0">
                    <a:pos x="22" y="57"/>
                  </a:cxn>
                  <a:cxn ang="0">
                    <a:pos x="11" y="57"/>
                  </a:cxn>
                  <a:cxn ang="0">
                    <a:pos x="11" y="10"/>
                  </a:cxn>
                  <a:cxn ang="0">
                    <a:pos x="0" y="10"/>
                  </a:cxn>
                  <a:cxn ang="0">
                    <a:pos x="5" y="0"/>
                  </a:cxn>
                  <a:cxn ang="0">
                    <a:pos x="22" y="0"/>
                  </a:cxn>
                  <a:cxn ang="0">
                    <a:pos x="22" y="57"/>
                  </a:cxn>
                </a:cxnLst>
                <a:rect l="0" t="0" r="r" b="b"/>
                <a:pathLst>
                  <a:path w="22" h="57">
                    <a:moveTo>
                      <a:pt x="22" y="57"/>
                    </a:moveTo>
                    <a:lnTo>
                      <a:pt x="11" y="57"/>
                    </a:lnTo>
                    <a:lnTo>
                      <a:pt x="11" y="10"/>
                    </a:lnTo>
                    <a:lnTo>
                      <a:pt x="0" y="10"/>
                    </a:lnTo>
                    <a:lnTo>
                      <a:pt x="5" y="0"/>
                    </a:lnTo>
                    <a:lnTo>
                      <a:pt x="22" y="0"/>
                    </a:lnTo>
                    <a:lnTo>
                      <a:pt x="22"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4" name="Freeform 164"/>
              <p:cNvSpPr>
                <a:spLocks noEditPoints="1"/>
              </p:cNvSpPr>
              <p:nvPr/>
            </p:nvSpPr>
            <p:spPr bwMode="auto">
              <a:xfrm>
                <a:off x="2635605" y="3326629"/>
                <a:ext cx="60938" cy="89224"/>
              </a:xfrm>
              <a:custGeom>
                <a:avLst/>
                <a:gdLst/>
                <a:ahLst/>
                <a:cxnLst>
                  <a:cxn ang="0">
                    <a:pos x="51" y="37"/>
                  </a:cxn>
                  <a:cxn ang="0">
                    <a:pos x="44" y="65"/>
                  </a:cxn>
                  <a:cxn ang="0">
                    <a:pos x="25" y="75"/>
                  </a:cxn>
                  <a:cxn ang="0">
                    <a:pos x="7" y="65"/>
                  </a:cxn>
                  <a:cxn ang="0">
                    <a:pos x="0" y="37"/>
                  </a:cxn>
                  <a:cxn ang="0">
                    <a:pos x="7" y="10"/>
                  </a:cxn>
                  <a:cxn ang="0">
                    <a:pos x="25" y="0"/>
                  </a:cxn>
                  <a:cxn ang="0">
                    <a:pos x="44" y="10"/>
                  </a:cxn>
                  <a:cxn ang="0">
                    <a:pos x="51" y="37"/>
                  </a:cxn>
                  <a:cxn ang="0">
                    <a:pos x="37" y="37"/>
                  </a:cxn>
                  <a:cxn ang="0">
                    <a:pos x="34" y="19"/>
                  </a:cxn>
                  <a:cxn ang="0">
                    <a:pos x="25" y="12"/>
                  </a:cxn>
                  <a:cxn ang="0">
                    <a:pos x="17" y="19"/>
                  </a:cxn>
                  <a:cxn ang="0">
                    <a:pos x="13" y="37"/>
                  </a:cxn>
                  <a:cxn ang="0">
                    <a:pos x="17" y="56"/>
                  </a:cxn>
                  <a:cxn ang="0">
                    <a:pos x="25" y="63"/>
                  </a:cxn>
                  <a:cxn ang="0">
                    <a:pos x="34" y="56"/>
                  </a:cxn>
                  <a:cxn ang="0">
                    <a:pos x="37" y="37"/>
                  </a:cxn>
                </a:cxnLst>
                <a:rect l="0" t="0" r="r" b="b"/>
                <a:pathLst>
                  <a:path w="51" h="75">
                    <a:moveTo>
                      <a:pt x="51" y="37"/>
                    </a:moveTo>
                    <a:cubicBezTo>
                      <a:pt x="51" y="49"/>
                      <a:pt x="49" y="58"/>
                      <a:pt x="44" y="65"/>
                    </a:cubicBezTo>
                    <a:cubicBezTo>
                      <a:pt x="39" y="72"/>
                      <a:pt x="33" y="75"/>
                      <a:pt x="25" y="75"/>
                    </a:cubicBezTo>
                    <a:cubicBezTo>
                      <a:pt x="17" y="75"/>
                      <a:pt x="11" y="72"/>
                      <a:pt x="7" y="65"/>
                    </a:cubicBezTo>
                    <a:cubicBezTo>
                      <a:pt x="2" y="58"/>
                      <a:pt x="0" y="49"/>
                      <a:pt x="0" y="37"/>
                    </a:cubicBezTo>
                    <a:cubicBezTo>
                      <a:pt x="0" y="26"/>
                      <a:pt x="2" y="17"/>
                      <a:pt x="7" y="10"/>
                    </a:cubicBezTo>
                    <a:cubicBezTo>
                      <a:pt x="11" y="3"/>
                      <a:pt x="18" y="0"/>
                      <a:pt x="25" y="0"/>
                    </a:cubicBezTo>
                    <a:cubicBezTo>
                      <a:pt x="33" y="0"/>
                      <a:pt x="39" y="3"/>
                      <a:pt x="44" y="10"/>
                    </a:cubicBezTo>
                    <a:cubicBezTo>
                      <a:pt x="49" y="17"/>
                      <a:pt x="51" y="26"/>
                      <a:pt x="51" y="37"/>
                    </a:cubicBezTo>
                    <a:close/>
                    <a:moveTo>
                      <a:pt x="37" y="37"/>
                    </a:moveTo>
                    <a:cubicBezTo>
                      <a:pt x="37" y="30"/>
                      <a:pt x="36" y="24"/>
                      <a:pt x="34" y="19"/>
                    </a:cubicBezTo>
                    <a:cubicBezTo>
                      <a:pt x="32" y="14"/>
                      <a:pt x="29" y="12"/>
                      <a:pt x="25" y="12"/>
                    </a:cubicBezTo>
                    <a:cubicBezTo>
                      <a:pt x="22" y="12"/>
                      <a:pt x="19" y="14"/>
                      <a:pt x="17" y="19"/>
                    </a:cubicBezTo>
                    <a:cubicBezTo>
                      <a:pt x="15" y="24"/>
                      <a:pt x="13" y="30"/>
                      <a:pt x="13" y="37"/>
                    </a:cubicBezTo>
                    <a:cubicBezTo>
                      <a:pt x="13" y="45"/>
                      <a:pt x="15" y="51"/>
                      <a:pt x="17" y="56"/>
                    </a:cubicBezTo>
                    <a:cubicBezTo>
                      <a:pt x="19" y="60"/>
                      <a:pt x="22" y="63"/>
                      <a:pt x="25" y="63"/>
                    </a:cubicBezTo>
                    <a:cubicBezTo>
                      <a:pt x="29" y="63"/>
                      <a:pt x="32" y="61"/>
                      <a:pt x="34" y="56"/>
                    </a:cubicBezTo>
                    <a:cubicBezTo>
                      <a:pt x="36" y="51"/>
                      <a:pt x="37" y="45"/>
                      <a:pt x="37"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5" name="Freeform 165"/>
              <p:cNvSpPr>
                <a:spLocks noEditPoints="1"/>
              </p:cNvSpPr>
              <p:nvPr/>
            </p:nvSpPr>
            <p:spPr bwMode="auto">
              <a:xfrm>
                <a:off x="2701231" y="3326629"/>
                <a:ext cx="62501" cy="89224"/>
              </a:xfrm>
              <a:custGeom>
                <a:avLst/>
                <a:gdLst/>
                <a:ahLst/>
                <a:cxnLst>
                  <a:cxn ang="0">
                    <a:pos x="52" y="37"/>
                  </a:cxn>
                  <a:cxn ang="0">
                    <a:pos x="45" y="65"/>
                  </a:cxn>
                  <a:cxn ang="0">
                    <a:pos x="26" y="75"/>
                  </a:cxn>
                  <a:cxn ang="0">
                    <a:pos x="7" y="65"/>
                  </a:cxn>
                  <a:cxn ang="0">
                    <a:pos x="0" y="37"/>
                  </a:cxn>
                  <a:cxn ang="0">
                    <a:pos x="7" y="10"/>
                  </a:cxn>
                  <a:cxn ang="0">
                    <a:pos x="26" y="0"/>
                  </a:cxn>
                  <a:cxn ang="0">
                    <a:pos x="45" y="10"/>
                  </a:cxn>
                  <a:cxn ang="0">
                    <a:pos x="52" y="37"/>
                  </a:cxn>
                  <a:cxn ang="0">
                    <a:pos x="38" y="37"/>
                  </a:cxn>
                  <a:cxn ang="0">
                    <a:pos x="35" y="19"/>
                  </a:cxn>
                  <a:cxn ang="0">
                    <a:pos x="26" y="12"/>
                  </a:cxn>
                  <a:cxn ang="0">
                    <a:pos x="17" y="19"/>
                  </a:cxn>
                  <a:cxn ang="0">
                    <a:pos x="14" y="37"/>
                  </a:cxn>
                  <a:cxn ang="0">
                    <a:pos x="17" y="56"/>
                  </a:cxn>
                  <a:cxn ang="0">
                    <a:pos x="26" y="63"/>
                  </a:cxn>
                  <a:cxn ang="0">
                    <a:pos x="35" y="56"/>
                  </a:cxn>
                  <a:cxn ang="0">
                    <a:pos x="38" y="37"/>
                  </a:cxn>
                </a:cxnLst>
                <a:rect l="0" t="0" r="r" b="b"/>
                <a:pathLst>
                  <a:path w="52" h="75">
                    <a:moveTo>
                      <a:pt x="52" y="37"/>
                    </a:moveTo>
                    <a:cubicBezTo>
                      <a:pt x="52" y="49"/>
                      <a:pt x="49" y="58"/>
                      <a:pt x="45" y="65"/>
                    </a:cubicBezTo>
                    <a:cubicBezTo>
                      <a:pt x="40" y="72"/>
                      <a:pt x="34" y="75"/>
                      <a:pt x="26" y="75"/>
                    </a:cubicBezTo>
                    <a:cubicBezTo>
                      <a:pt x="18" y="75"/>
                      <a:pt x="12" y="72"/>
                      <a:pt x="7" y="65"/>
                    </a:cubicBezTo>
                    <a:cubicBezTo>
                      <a:pt x="2" y="58"/>
                      <a:pt x="0" y="49"/>
                      <a:pt x="0" y="37"/>
                    </a:cubicBezTo>
                    <a:cubicBezTo>
                      <a:pt x="0" y="26"/>
                      <a:pt x="2" y="17"/>
                      <a:pt x="7" y="10"/>
                    </a:cubicBezTo>
                    <a:cubicBezTo>
                      <a:pt x="12" y="3"/>
                      <a:pt x="18" y="0"/>
                      <a:pt x="26" y="0"/>
                    </a:cubicBezTo>
                    <a:cubicBezTo>
                      <a:pt x="34" y="0"/>
                      <a:pt x="40" y="3"/>
                      <a:pt x="45" y="10"/>
                    </a:cubicBezTo>
                    <a:cubicBezTo>
                      <a:pt x="49" y="17"/>
                      <a:pt x="52" y="26"/>
                      <a:pt x="52" y="37"/>
                    </a:cubicBezTo>
                    <a:close/>
                    <a:moveTo>
                      <a:pt x="38" y="37"/>
                    </a:moveTo>
                    <a:cubicBezTo>
                      <a:pt x="38" y="30"/>
                      <a:pt x="37" y="24"/>
                      <a:pt x="35" y="19"/>
                    </a:cubicBezTo>
                    <a:cubicBezTo>
                      <a:pt x="32" y="14"/>
                      <a:pt x="29" y="12"/>
                      <a:pt x="26" y="12"/>
                    </a:cubicBezTo>
                    <a:cubicBezTo>
                      <a:pt x="22" y="12"/>
                      <a:pt x="19" y="14"/>
                      <a:pt x="17" y="19"/>
                    </a:cubicBezTo>
                    <a:cubicBezTo>
                      <a:pt x="15" y="24"/>
                      <a:pt x="14" y="30"/>
                      <a:pt x="14" y="37"/>
                    </a:cubicBezTo>
                    <a:cubicBezTo>
                      <a:pt x="14" y="45"/>
                      <a:pt x="15" y="51"/>
                      <a:pt x="17" y="56"/>
                    </a:cubicBezTo>
                    <a:cubicBezTo>
                      <a:pt x="19" y="60"/>
                      <a:pt x="22" y="63"/>
                      <a:pt x="26" y="63"/>
                    </a:cubicBezTo>
                    <a:cubicBezTo>
                      <a:pt x="29" y="63"/>
                      <a:pt x="32" y="61"/>
                      <a:pt x="35"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6" name="Freeform 166"/>
              <p:cNvSpPr>
                <a:spLocks/>
              </p:cNvSpPr>
              <p:nvPr/>
            </p:nvSpPr>
            <p:spPr bwMode="auto">
              <a:xfrm>
                <a:off x="2765294" y="3326629"/>
                <a:ext cx="32813" cy="89224"/>
              </a:xfrm>
              <a:custGeom>
                <a:avLst/>
                <a:gdLst/>
                <a:ahLst/>
                <a:cxnLst>
                  <a:cxn ang="0">
                    <a:pos x="21" y="57"/>
                  </a:cxn>
                  <a:cxn ang="0">
                    <a:pos x="11" y="57"/>
                  </a:cxn>
                  <a:cxn ang="0">
                    <a:pos x="11" y="10"/>
                  </a:cxn>
                  <a:cxn ang="0">
                    <a:pos x="0" y="10"/>
                  </a:cxn>
                  <a:cxn ang="0">
                    <a:pos x="5" y="0"/>
                  </a:cxn>
                  <a:cxn ang="0">
                    <a:pos x="21" y="0"/>
                  </a:cxn>
                  <a:cxn ang="0">
                    <a:pos x="21" y="57"/>
                  </a:cxn>
                </a:cxnLst>
                <a:rect l="0" t="0" r="r" b="b"/>
                <a:pathLst>
                  <a:path w="21" h="57">
                    <a:moveTo>
                      <a:pt x="21" y="57"/>
                    </a:moveTo>
                    <a:lnTo>
                      <a:pt x="11" y="57"/>
                    </a:lnTo>
                    <a:lnTo>
                      <a:pt x="11" y="10"/>
                    </a:lnTo>
                    <a:lnTo>
                      <a:pt x="0" y="10"/>
                    </a:lnTo>
                    <a:lnTo>
                      <a:pt x="5" y="0"/>
                    </a:lnTo>
                    <a:lnTo>
                      <a:pt x="21" y="0"/>
                    </a:lnTo>
                    <a:lnTo>
                      <a:pt x="21"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7" name="Freeform 167"/>
              <p:cNvSpPr>
                <a:spLocks/>
              </p:cNvSpPr>
              <p:nvPr/>
            </p:nvSpPr>
            <p:spPr bwMode="auto">
              <a:xfrm>
                <a:off x="2805920" y="3326629"/>
                <a:ext cx="32813" cy="89224"/>
              </a:xfrm>
              <a:custGeom>
                <a:avLst/>
                <a:gdLst/>
                <a:ahLst/>
                <a:cxnLst>
                  <a:cxn ang="0">
                    <a:pos x="21" y="57"/>
                  </a:cxn>
                  <a:cxn ang="0">
                    <a:pos x="10" y="57"/>
                  </a:cxn>
                  <a:cxn ang="0">
                    <a:pos x="10" y="10"/>
                  </a:cxn>
                  <a:cxn ang="0">
                    <a:pos x="0" y="10"/>
                  </a:cxn>
                  <a:cxn ang="0">
                    <a:pos x="5" y="0"/>
                  </a:cxn>
                  <a:cxn ang="0">
                    <a:pos x="21" y="0"/>
                  </a:cxn>
                  <a:cxn ang="0">
                    <a:pos x="21" y="57"/>
                  </a:cxn>
                </a:cxnLst>
                <a:rect l="0" t="0" r="r" b="b"/>
                <a:pathLst>
                  <a:path w="21" h="57">
                    <a:moveTo>
                      <a:pt x="21" y="57"/>
                    </a:moveTo>
                    <a:lnTo>
                      <a:pt x="10" y="57"/>
                    </a:lnTo>
                    <a:lnTo>
                      <a:pt x="10" y="10"/>
                    </a:lnTo>
                    <a:lnTo>
                      <a:pt x="0" y="10"/>
                    </a:lnTo>
                    <a:lnTo>
                      <a:pt x="5" y="0"/>
                    </a:lnTo>
                    <a:lnTo>
                      <a:pt x="21" y="0"/>
                    </a:lnTo>
                    <a:lnTo>
                      <a:pt x="21"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8" name="Freeform 168"/>
              <p:cNvSpPr>
                <a:spLocks noEditPoints="1"/>
              </p:cNvSpPr>
              <p:nvPr/>
            </p:nvSpPr>
            <p:spPr bwMode="auto">
              <a:xfrm>
                <a:off x="2852796" y="3326629"/>
                <a:ext cx="62501" cy="89224"/>
              </a:xfrm>
              <a:custGeom>
                <a:avLst/>
                <a:gdLst/>
                <a:ahLst/>
                <a:cxnLst>
                  <a:cxn ang="0">
                    <a:pos x="52" y="37"/>
                  </a:cxn>
                  <a:cxn ang="0">
                    <a:pos x="45" y="65"/>
                  </a:cxn>
                  <a:cxn ang="0">
                    <a:pos x="26" y="75"/>
                  </a:cxn>
                  <a:cxn ang="0">
                    <a:pos x="7" y="65"/>
                  </a:cxn>
                  <a:cxn ang="0">
                    <a:pos x="0" y="37"/>
                  </a:cxn>
                  <a:cxn ang="0">
                    <a:pos x="7" y="10"/>
                  </a:cxn>
                  <a:cxn ang="0">
                    <a:pos x="26" y="0"/>
                  </a:cxn>
                  <a:cxn ang="0">
                    <a:pos x="45" y="10"/>
                  </a:cxn>
                  <a:cxn ang="0">
                    <a:pos x="52" y="37"/>
                  </a:cxn>
                  <a:cxn ang="0">
                    <a:pos x="38" y="37"/>
                  </a:cxn>
                  <a:cxn ang="0">
                    <a:pos x="35" y="19"/>
                  </a:cxn>
                  <a:cxn ang="0">
                    <a:pos x="26" y="12"/>
                  </a:cxn>
                  <a:cxn ang="0">
                    <a:pos x="17" y="19"/>
                  </a:cxn>
                  <a:cxn ang="0">
                    <a:pos x="14" y="37"/>
                  </a:cxn>
                  <a:cxn ang="0">
                    <a:pos x="17" y="56"/>
                  </a:cxn>
                  <a:cxn ang="0">
                    <a:pos x="26" y="63"/>
                  </a:cxn>
                  <a:cxn ang="0">
                    <a:pos x="35" y="56"/>
                  </a:cxn>
                  <a:cxn ang="0">
                    <a:pos x="38" y="37"/>
                  </a:cxn>
                </a:cxnLst>
                <a:rect l="0" t="0" r="r" b="b"/>
                <a:pathLst>
                  <a:path w="52" h="75">
                    <a:moveTo>
                      <a:pt x="52" y="37"/>
                    </a:moveTo>
                    <a:cubicBezTo>
                      <a:pt x="52" y="49"/>
                      <a:pt x="50" y="58"/>
                      <a:pt x="45" y="65"/>
                    </a:cubicBezTo>
                    <a:cubicBezTo>
                      <a:pt x="40" y="72"/>
                      <a:pt x="34" y="75"/>
                      <a:pt x="26" y="75"/>
                    </a:cubicBezTo>
                    <a:cubicBezTo>
                      <a:pt x="18" y="75"/>
                      <a:pt x="12" y="72"/>
                      <a:pt x="7" y="65"/>
                    </a:cubicBezTo>
                    <a:cubicBezTo>
                      <a:pt x="3" y="58"/>
                      <a:pt x="0" y="49"/>
                      <a:pt x="0" y="37"/>
                    </a:cubicBezTo>
                    <a:cubicBezTo>
                      <a:pt x="0" y="26"/>
                      <a:pt x="3" y="17"/>
                      <a:pt x="7" y="10"/>
                    </a:cubicBezTo>
                    <a:cubicBezTo>
                      <a:pt x="12" y="3"/>
                      <a:pt x="18" y="0"/>
                      <a:pt x="26" y="0"/>
                    </a:cubicBezTo>
                    <a:cubicBezTo>
                      <a:pt x="34" y="0"/>
                      <a:pt x="40" y="3"/>
                      <a:pt x="45" y="10"/>
                    </a:cubicBezTo>
                    <a:cubicBezTo>
                      <a:pt x="50" y="17"/>
                      <a:pt x="52" y="26"/>
                      <a:pt x="52" y="37"/>
                    </a:cubicBezTo>
                    <a:close/>
                    <a:moveTo>
                      <a:pt x="38" y="37"/>
                    </a:moveTo>
                    <a:cubicBezTo>
                      <a:pt x="38" y="30"/>
                      <a:pt x="37" y="24"/>
                      <a:pt x="35" y="19"/>
                    </a:cubicBezTo>
                    <a:cubicBezTo>
                      <a:pt x="32" y="14"/>
                      <a:pt x="30" y="12"/>
                      <a:pt x="26" y="12"/>
                    </a:cubicBezTo>
                    <a:cubicBezTo>
                      <a:pt x="22" y="12"/>
                      <a:pt x="20" y="14"/>
                      <a:pt x="17" y="19"/>
                    </a:cubicBezTo>
                    <a:cubicBezTo>
                      <a:pt x="15" y="24"/>
                      <a:pt x="14" y="30"/>
                      <a:pt x="14" y="37"/>
                    </a:cubicBezTo>
                    <a:cubicBezTo>
                      <a:pt x="14" y="45"/>
                      <a:pt x="15" y="51"/>
                      <a:pt x="17" y="56"/>
                    </a:cubicBezTo>
                    <a:cubicBezTo>
                      <a:pt x="20" y="60"/>
                      <a:pt x="22" y="63"/>
                      <a:pt x="26" y="63"/>
                    </a:cubicBezTo>
                    <a:cubicBezTo>
                      <a:pt x="30" y="63"/>
                      <a:pt x="33" y="61"/>
                      <a:pt x="35"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9" name="Freeform 169"/>
              <p:cNvSpPr>
                <a:spLocks/>
              </p:cNvSpPr>
              <p:nvPr/>
            </p:nvSpPr>
            <p:spPr bwMode="auto">
              <a:xfrm>
                <a:off x="2916859" y="3326629"/>
                <a:ext cx="32813" cy="89224"/>
              </a:xfrm>
              <a:custGeom>
                <a:avLst/>
                <a:gdLst/>
                <a:ahLst/>
                <a:cxnLst>
                  <a:cxn ang="0">
                    <a:pos x="21" y="57"/>
                  </a:cxn>
                  <a:cxn ang="0">
                    <a:pos x="11" y="57"/>
                  </a:cxn>
                  <a:cxn ang="0">
                    <a:pos x="11" y="10"/>
                  </a:cxn>
                  <a:cxn ang="0">
                    <a:pos x="0" y="10"/>
                  </a:cxn>
                  <a:cxn ang="0">
                    <a:pos x="4" y="0"/>
                  </a:cxn>
                  <a:cxn ang="0">
                    <a:pos x="21" y="0"/>
                  </a:cxn>
                  <a:cxn ang="0">
                    <a:pos x="21" y="57"/>
                  </a:cxn>
                </a:cxnLst>
                <a:rect l="0" t="0" r="r" b="b"/>
                <a:pathLst>
                  <a:path w="21" h="57">
                    <a:moveTo>
                      <a:pt x="21" y="57"/>
                    </a:moveTo>
                    <a:lnTo>
                      <a:pt x="11" y="57"/>
                    </a:lnTo>
                    <a:lnTo>
                      <a:pt x="11" y="10"/>
                    </a:lnTo>
                    <a:lnTo>
                      <a:pt x="0" y="10"/>
                    </a:lnTo>
                    <a:lnTo>
                      <a:pt x="4" y="0"/>
                    </a:lnTo>
                    <a:lnTo>
                      <a:pt x="21" y="0"/>
                    </a:lnTo>
                    <a:lnTo>
                      <a:pt x="21"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0" name="Freeform 170"/>
              <p:cNvSpPr>
                <a:spLocks noEditPoints="1"/>
              </p:cNvSpPr>
              <p:nvPr/>
            </p:nvSpPr>
            <p:spPr bwMode="auto">
              <a:xfrm>
                <a:off x="2963735" y="3326629"/>
                <a:ext cx="62501" cy="89224"/>
              </a:xfrm>
              <a:custGeom>
                <a:avLst/>
                <a:gdLst/>
                <a:ahLst/>
                <a:cxnLst>
                  <a:cxn ang="0">
                    <a:pos x="52" y="37"/>
                  </a:cxn>
                  <a:cxn ang="0">
                    <a:pos x="45" y="65"/>
                  </a:cxn>
                  <a:cxn ang="0">
                    <a:pos x="26" y="75"/>
                  </a:cxn>
                  <a:cxn ang="0">
                    <a:pos x="7" y="65"/>
                  </a:cxn>
                  <a:cxn ang="0">
                    <a:pos x="0" y="37"/>
                  </a:cxn>
                  <a:cxn ang="0">
                    <a:pos x="7" y="10"/>
                  </a:cxn>
                  <a:cxn ang="0">
                    <a:pos x="26" y="0"/>
                  </a:cxn>
                  <a:cxn ang="0">
                    <a:pos x="45" y="10"/>
                  </a:cxn>
                  <a:cxn ang="0">
                    <a:pos x="52" y="37"/>
                  </a:cxn>
                  <a:cxn ang="0">
                    <a:pos x="38" y="37"/>
                  </a:cxn>
                  <a:cxn ang="0">
                    <a:pos x="35" y="19"/>
                  </a:cxn>
                  <a:cxn ang="0">
                    <a:pos x="26" y="12"/>
                  </a:cxn>
                  <a:cxn ang="0">
                    <a:pos x="18" y="19"/>
                  </a:cxn>
                  <a:cxn ang="0">
                    <a:pos x="14" y="37"/>
                  </a:cxn>
                  <a:cxn ang="0">
                    <a:pos x="18" y="56"/>
                  </a:cxn>
                  <a:cxn ang="0">
                    <a:pos x="26" y="63"/>
                  </a:cxn>
                  <a:cxn ang="0">
                    <a:pos x="35" y="56"/>
                  </a:cxn>
                  <a:cxn ang="0">
                    <a:pos x="38" y="37"/>
                  </a:cxn>
                </a:cxnLst>
                <a:rect l="0" t="0" r="r" b="b"/>
                <a:pathLst>
                  <a:path w="52" h="75">
                    <a:moveTo>
                      <a:pt x="52" y="37"/>
                    </a:moveTo>
                    <a:cubicBezTo>
                      <a:pt x="52" y="49"/>
                      <a:pt x="50" y="58"/>
                      <a:pt x="45" y="65"/>
                    </a:cubicBezTo>
                    <a:cubicBezTo>
                      <a:pt x="40" y="72"/>
                      <a:pt x="34" y="75"/>
                      <a:pt x="26" y="75"/>
                    </a:cubicBezTo>
                    <a:cubicBezTo>
                      <a:pt x="18" y="75"/>
                      <a:pt x="12" y="72"/>
                      <a:pt x="7" y="65"/>
                    </a:cubicBezTo>
                    <a:cubicBezTo>
                      <a:pt x="3" y="58"/>
                      <a:pt x="0" y="49"/>
                      <a:pt x="0" y="37"/>
                    </a:cubicBezTo>
                    <a:cubicBezTo>
                      <a:pt x="0" y="26"/>
                      <a:pt x="3" y="17"/>
                      <a:pt x="7" y="10"/>
                    </a:cubicBezTo>
                    <a:cubicBezTo>
                      <a:pt x="12" y="3"/>
                      <a:pt x="18" y="0"/>
                      <a:pt x="26" y="0"/>
                    </a:cubicBezTo>
                    <a:cubicBezTo>
                      <a:pt x="34" y="0"/>
                      <a:pt x="40" y="3"/>
                      <a:pt x="45" y="10"/>
                    </a:cubicBezTo>
                    <a:cubicBezTo>
                      <a:pt x="50" y="17"/>
                      <a:pt x="52" y="26"/>
                      <a:pt x="52" y="37"/>
                    </a:cubicBezTo>
                    <a:close/>
                    <a:moveTo>
                      <a:pt x="38" y="37"/>
                    </a:moveTo>
                    <a:cubicBezTo>
                      <a:pt x="38" y="30"/>
                      <a:pt x="37" y="24"/>
                      <a:pt x="35" y="19"/>
                    </a:cubicBezTo>
                    <a:cubicBezTo>
                      <a:pt x="33" y="14"/>
                      <a:pt x="30" y="12"/>
                      <a:pt x="26" y="12"/>
                    </a:cubicBezTo>
                    <a:cubicBezTo>
                      <a:pt x="23" y="12"/>
                      <a:pt x="20" y="14"/>
                      <a:pt x="18" y="19"/>
                    </a:cubicBezTo>
                    <a:cubicBezTo>
                      <a:pt x="15" y="24"/>
                      <a:pt x="14" y="30"/>
                      <a:pt x="14" y="37"/>
                    </a:cubicBezTo>
                    <a:cubicBezTo>
                      <a:pt x="14" y="45"/>
                      <a:pt x="15" y="51"/>
                      <a:pt x="18" y="56"/>
                    </a:cubicBezTo>
                    <a:cubicBezTo>
                      <a:pt x="20" y="60"/>
                      <a:pt x="23" y="63"/>
                      <a:pt x="26" y="63"/>
                    </a:cubicBezTo>
                    <a:cubicBezTo>
                      <a:pt x="30" y="63"/>
                      <a:pt x="33" y="61"/>
                      <a:pt x="35"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1" name="Freeform 171"/>
              <p:cNvSpPr>
                <a:spLocks/>
              </p:cNvSpPr>
              <p:nvPr/>
            </p:nvSpPr>
            <p:spPr bwMode="auto">
              <a:xfrm>
                <a:off x="3027799" y="3326629"/>
                <a:ext cx="32813" cy="89224"/>
              </a:xfrm>
              <a:custGeom>
                <a:avLst/>
                <a:gdLst/>
                <a:ahLst/>
                <a:cxnLst>
                  <a:cxn ang="0">
                    <a:pos x="21" y="57"/>
                  </a:cxn>
                  <a:cxn ang="0">
                    <a:pos x="10" y="57"/>
                  </a:cxn>
                  <a:cxn ang="0">
                    <a:pos x="10" y="10"/>
                  </a:cxn>
                  <a:cxn ang="0">
                    <a:pos x="0" y="10"/>
                  </a:cxn>
                  <a:cxn ang="0">
                    <a:pos x="4" y="0"/>
                  </a:cxn>
                  <a:cxn ang="0">
                    <a:pos x="21" y="0"/>
                  </a:cxn>
                  <a:cxn ang="0">
                    <a:pos x="21" y="57"/>
                  </a:cxn>
                </a:cxnLst>
                <a:rect l="0" t="0" r="r" b="b"/>
                <a:pathLst>
                  <a:path w="21" h="57">
                    <a:moveTo>
                      <a:pt x="21" y="57"/>
                    </a:moveTo>
                    <a:lnTo>
                      <a:pt x="10" y="57"/>
                    </a:lnTo>
                    <a:lnTo>
                      <a:pt x="10" y="10"/>
                    </a:lnTo>
                    <a:lnTo>
                      <a:pt x="0" y="10"/>
                    </a:lnTo>
                    <a:lnTo>
                      <a:pt x="4" y="0"/>
                    </a:lnTo>
                    <a:lnTo>
                      <a:pt x="21" y="0"/>
                    </a:lnTo>
                    <a:lnTo>
                      <a:pt x="21"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2" name="Freeform 172"/>
              <p:cNvSpPr>
                <a:spLocks noEditPoints="1"/>
              </p:cNvSpPr>
              <p:nvPr/>
            </p:nvSpPr>
            <p:spPr bwMode="auto">
              <a:xfrm>
                <a:off x="3074674" y="3326629"/>
                <a:ext cx="62501" cy="89224"/>
              </a:xfrm>
              <a:custGeom>
                <a:avLst/>
                <a:gdLst/>
                <a:ahLst/>
                <a:cxnLst>
                  <a:cxn ang="0">
                    <a:pos x="51" y="37"/>
                  </a:cxn>
                  <a:cxn ang="0">
                    <a:pos x="44" y="65"/>
                  </a:cxn>
                  <a:cxn ang="0">
                    <a:pos x="25" y="75"/>
                  </a:cxn>
                  <a:cxn ang="0">
                    <a:pos x="7" y="65"/>
                  </a:cxn>
                  <a:cxn ang="0">
                    <a:pos x="0" y="37"/>
                  </a:cxn>
                  <a:cxn ang="0">
                    <a:pos x="7" y="10"/>
                  </a:cxn>
                  <a:cxn ang="0">
                    <a:pos x="25" y="0"/>
                  </a:cxn>
                  <a:cxn ang="0">
                    <a:pos x="44" y="10"/>
                  </a:cxn>
                  <a:cxn ang="0">
                    <a:pos x="51" y="37"/>
                  </a:cxn>
                  <a:cxn ang="0">
                    <a:pos x="38" y="37"/>
                  </a:cxn>
                  <a:cxn ang="0">
                    <a:pos x="34" y="19"/>
                  </a:cxn>
                  <a:cxn ang="0">
                    <a:pos x="25" y="12"/>
                  </a:cxn>
                  <a:cxn ang="0">
                    <a:pos x="17" y="19"/>
                  </a:cxn>
                  <a:cxn ang="0">
                    <a:pos x="14" y="37"/>
                  </a:cxn>
                  <a:cxn ang="0">
                    <a:pos x="17" y="56"/>
                  </a:cxn>
                  <a:cxn ang="0">
                    <a:pos x="25" y="63"/>
                  </a:cxn>
                  <a:cxn ang="0">
                    <a:pos x="34" y="56"/>
                  </a:cxn>
                  <a:cxn ang="0">
                    <a:pos x="38" y="37"/>
                  </a:cxn>
                </a:cxnLst>
                <a:rect l="0" t="0" r="r" b="b"/>
                <a:pathLst>
                  <a:path w="51" h="75">
                    <a:moveTo>
                      <a:pt x="51" y="37"/>
                    </a:moveTo>
                    <a:cubicBezTo>
                      <a:pt x="51" y="49"/>
                      <a:pt x="49" y="58"/>
                      <a:pt x="44" y="65"/>
                    </a:cubicBezTo>
                    <a:cubicBezTo>
                      <a:pt x="40" y="72"/>
                      <a:pt x="33" y="75"/>
                      <a:pt x="25" y="75"/>
                    </a:cubicBezTo>
                    <a:cubicBezTo>
                      <a:pt x="18" y="75"/>
                      <a:pt x="11" y="72"/>
                      <a:pt x="7" y="65"/>
                    </a:cubicBezTo>
                    <a:cubicBezTo>
                      <a:pt x="2" y="58"/>
                      <a:pt x="0" y="49"/>
                      <a:pt x="0" y="37"/>
                    </a:cubicBezTo>
                    <a:cubicBezTo>
                      <a:pt x="0" y="26"/>
                      <a:pt x="2" y="17"/>
                      <a:pt x="7" y="10"/>
                    </a:cubicBezTo>
                    <a:cubicBezTo>
                      <a:pt x="11" y="3"/>
                      <a:pt x="18" y="0"/>
                      <a:pt x="25" y="0"/>
                    </a:cubicBezTo>
                    <a:cubicBezTo>
                      <a:pt x="33" y="0"/>
                      <a:pt x="40" y="3"/>
                      <a:pt x="44" y="10"/>
                    </a:cubicBezTo>
                    <a:cubicBezTo>
                      <a:pt x="49" y="17"/>
                      <a:pt x="51" y="26"/>
                      <a:pt x="51" y="37"/>
                    </a:cubicBezTo>
                    <a:close/>
                    <a:moveTo>
                      <a:pt x="38" y="37"/>
                    </a:moveTo>
                    <a:cubicBezTo>
                      <a:pt x="38" y="30"/>
                      <a:pt x="36" y="24"/>
                      <a:pt x="34" y="19"/>
                    </a:cubicBezTo>
                    <a:cubicBezTo>
                      <a:pt x="32" y="14"/>
                      <a:pt x="29" y="12"/>
                      <a:pt x="25" y="12"/>
                    </a:cubicBezTo>
                    <a:cubicBezTo>
                      <a:pt x="22" y="12"/>
                      <a:pt x="19" y="14"/>
                      <a:pt x="17" y="19"/>
                    </a:cubicBezTo>
                    <a:cubicBezTo>
                      <a:pt x="15" y="24"/>
                      <a:pt x="14" y="30"/>
                      <a:pt x="14" y="37"/>
                    </a:cubicBezTo>
                    <a:cubicBezTo>
                      <a:pt x="14" y="45"/>
                      <a:pt x="15" y="51"/>
                      <a:pt x="17" y="56"/>
                    </a:cubicBezTo>
                    <a:cubicBezTo>
                      <a:pt x="19" y="60"/>
                      <a:pt x="22" y="63"/>
                      <a:pt x="25" y="63"/>
                    </a:cubicBezTo>
                    <a:cubicBezTo>
                      <a:pt x="29" y="63"/>
                      <a:pt x="32" y="61"/>
                      <a:pt x="34" y="56"/>
                    </a:cubicBezTo>
                    <a:cubicBezTo>
                      <a:pt x="36"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3" name="Freeform 183"/>
              <p:cNvSpPr>
                <a:spLocks/>
              </p:cNvSpPr>
              <p:nvPr/>
            </p:nvSpPr>
            <p:spPr bwMode="auto">
              <a:xfrm>
                <a:off x="2354350" y="3465945"/>
                <a:ext cx="32813" cy="87659"/>
              </a:xfrm>
              <a:custGeom>
                <a:avLst/>
                <a:gdLst/>
                <a:ahLst/>
                <a:cxnLst>
                  <a:cxn ang="0">
                    <a:pos x="21" y="56"/>
                  </a:cxn>
                  <a:cxn ang="0">
                    <a:pos x="11" y="56"/>
                  </a:cxn>
                  <a:cxn ang="0">
                    <a:pos x="11" y="10"/>
                  </a:cxn>
                  <a:cxn ang="0">
                    <a:pos x="0" y="10"/>
                  </a:cxn>
                  <a:cxn ang="0">
                    <a:pos x="4" y="0"/>
                  </a:cxn>
                  <a:cxn ang="0">
                    <a:pos x="21" y="0"/>
                  </a:cxn>
                  <a:cxn ang="0">
                    <a:pos x="21" y="56"/>
                  </a:cxn>
                </a:cxnLst>
                <a:rect l="0" t="0" r="r" b="b"/>
                <a:pathLst>
                  <a:path w="21" h="56">
                    <a:moveTo>
                      <a:pt x="21" y="56"/>
                    </a:moveTo>
                    <a:lnTo>
                      <a:pt x="11" y="56"/>
                    </a:lnTo>
                    <a:lnTo>
                      <a:pt x="11"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4" name="Freeform 184"/>
              <p:cNvSpPr>
                <a:spLocks/>
              </p:cNvSpPr>
              <p:nvPr/>
            </p:nvSpPr>
            <p:spPr bwMode="auto">
              <a:xfrm>
                <a:off x="2394976" y="3465945"/>
                <a:ext cx="34376" cy="87659"/>
              </a:xfrm>
              <a:custGeom>
                <a:avLst/>
                <a:gdLst/>
                <a:ahLst/>
                <a:cxnLst>
                  <a:cxn ang="0">
                    <a:pos x="22" y="56"/>
                  </a:cxn>
                  <a:cxn ang="0">
                    <a:pos x="11" y="56"/>
                  </a:cxn>
                  <a:cxn ang="0">
                    <a:pos x="11" y="10"/>
                  </a:cxn>
                  <a:cxn ang="0">
                    <a:pos x="0" y="10"/>
                  </a:cxn>
                  <a:cxn ang="0">
                    <a:pos x="5" y="0"/>
                  </a:cxn>
                  <a:cxn ang="0">
                    <a:pos x="22" y="0"/>
                  </a:cxn>
                  <a:cxn ang="0">
                    <a:pos x="22" y="56"/>
                  </a:cxn>
                </a:cxnLst>
                <a:rect l="0" t="0" r="r" b="b"/>
                <a:pathLst>
                  <a:path w="22" h="56">
                    <a:moveTo>
                      <a:pt x="22" y="56"/>
                    </a:moveTo>
                    <a:lnTo>
                      <a:pt x="11" y="56"/>
                    </a:lnTo>
                    <a:lnTo>
                      <a:pt x="11" y="10"/>
                    </a:lnTo>
                    <a:lnTo>
                      <a:pt x="0" y="10"/>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5" name="Freeform 185"/>
              <p:cNvSpPr>
                <a:spLocks noEditPoints="1"/>
              </p:cNvSpPr>
              <p:nvPr/>
            </p:nvSpPr>
            <p:spPr bwMode="auto">
              <a:xfrm>
                <a:off x="2443414" y="3464379"/>
                <a:ext cx="60938" cy="90790"/>
              </a:xfrm>
              <a:custGeom>
                <a:avLst/>
                <a:gdLst/>
                <a:ahLst/>
                <a:cxnLst>
                  <a:cxn ang="0">
                    <a:pos x="51" y="38"/>
                  </a:cxn>
                  <a:cxn ang="0">
                    <a:pos x="44" y="65"/>
                  </a:cxn>
                  <a:cxn ang="0">
                    <a:pos x="25" y="75"/>
                  </a:cxn>
                  <a:cxn ang="0">
                    <a:pos x="7" y="65"/>
                  </a:cxn>
                  <a:cxn ang="0">
                    <a:pos x="0" y="38"/>
                  </a:cxn>
                  <a:cxn ang="0">
                    <a:pos x="7" y="10"/>
                  </a:cxn>
                  <a:cxn ang="0">
                    <a:pos x="25" y="0"/>
                  </a:cxn>
                  <a:cxn ang="0">
                    <a:pos x="44" y="10"/>
                  </a:cxn>
                  <a:cxn ang="0">
                    <a:pos x="51" y="38"/>
                  </a:cxn>
                  <a:cxn ang="0">
                    <a:pos x="37" y="37"/>
                  </a:cxn>
                  <a:cxn ang="0">
                    <a:pos x="34" y="19"/>
                  </a:cxn>
                  <a:cxn ang="0">
                    <a:pos x="25" y="12"/>
                  </a:cxn>
                  <a:cxn ang="0">
                    <a:pos x="17" y="19"/>
                  </a:cxn>
                  <a:cxn ang="0">
                    <a:pos x="13" y="38"/>
                  </a:cxn>
                  <a:cxn ang="0">
                    <a:pos x="17" y="56"/>
                  </a:cxn>
                  <a:cxn ang="0">
                    <a:pos x="25" y="63"/>
                  </a:cxn>
                  <a:cxn ang="0">
                    <a:pos x="34" y="56"/>
                  </a:cxn>
                  <a:cxn ang="0">
                    <a:pos x="37" y="37"/>
                  </a:cxn>
                </a:cxnLst>
                <a:rect l="0" t="0" r="r" b="b"/>
                <a:pathLst>
                  <a:path w="51" h="75">
                    <a:moveTo>
                      <a:pt x="51" y="38"/>
                    </a:moveTo>
                    <a:cubicBezTo>
                      <a:pt x="51" y="49"/>
                      <a:pt x="49" y="58"/>
                      <a:pt x="44" y="65"/>
                    </a:cubicBezTo>
                    <a:cubicBezTo>
                      <a:pt x="39" y="72"/>
                      <a:pt x="33" y="75"/>
                      <a:pt x="25" y="75"/>
                    </a:cubicBezTo>
                    <a:cubicBezTo>
                      <a:pt x="17" y="75"/>
                      <a:pt x="11" y="72"/>
                      <a:pt x="7" y="65"/>
                    </a:cubicBezTo>
                    <a:cubicBezTo>
                      <a:pt x="2" y="58"/>
                      <a:pt x="0" y="49"/>
                      <a:pt x="0" y="38"/>
                    </a:cubicBezTo>
                    <a:cubicBezTo>
                      <a:pt x="0" y="26"/>
                      <a:pt x="2" y="17"/>
                      <a:pt x="7" y="10"/>
                    </a:cubicBezTo>
                    <a:cubicBezTo>
                      <a:pt x="11" y="3"/>
                      <a:pt x="17" y="0"/>
                      <a:pt x="25" y="0"/>
                    </a:cubicBezTo>
                    <a:cubicBezTo>
                      <a:pt x="33" y="0"/>
                      <a:pt x="39" y="3"/>
                      <a:pt x="44" y="10"/>
                    </a:cubicBezTo>
                    <a:cubicBezTo>
                      <a:pt x="49" y="17"/>
                      <a:pt x="51" y="26"/>
                      <a:pt x="51" y="38"/>
                    </a:cubicBezTo>
                    <a:close/>
                    <a:moveTo>
                      <a:pt x="37" y="37"/>
                    </a:moveTo>
                    <a:cubicBezTo>
                      <a:pt x="37" y="30"/>
                      <a:pt x="36" y="24"/>
                      <a:pt x="34" y="19"/>
                    </a:cubicBezTo>
                    <a:cubicBezTo>
                      <a:pt x="32" y="14"/>
                      <a:pt x="29" y="12"/>
                      <a:pt x="25" y="12"/>
                    </a:cubicBezTo>
                    <a:cubicBezTo>
                      <a:pt x="22" y="12"/>
                      <a:pt x="19" y="15"/>
                      <a:pt x="17" y="19"/>
                    </a:cubicBezTo>
                    <a:cubicBezTo>
                      <a:pt x="14" y="24"/>
                      <a:pt x="13" y="30"/>
                      <a:pt x="13" y="38"/>
                    </a:cubicBezTo>
                    <a:cubicBezTo>
                      <a:pt x="13" y="45"/>
                      <a:pt x="14" y="51"/>
                      <a:pt x="17" y="56"/>
                    </a:cubicBezTo>
                    <a:cubicBezTo>
                      <a:pt x="19" y="61"/>
                      <a:pt x="22" y="63"/>
                      <a:pt x="25" y="63"/>
                    </a:cubicBezTo>
                    <a:cubicBezTo>
                      <a:pt x="29" y="63"/>
                      <a:pt x="32" y="61"/>
                      <a:pt x="34" y="56"/>
                    </a:cubicBezTo>
                    <a:cubicBezTo>
                      <a:pt x="36" y="51"/>
                      <a:pt x="37" y="45"/>
                      <a:pt x="37"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6" name="Freeform 186"/>
              <p:cNvSpPr>
                <a:spLocks noEditPoints="1"/>
              </p:cNvSpPr>
              <p:nvPr/>
            </p:nvSpPr>
            <p:spPr bwMode="auto">
              <a:xfrm>
                <a:off x="2509040" y="3464379"/>
                <a:ext cx="62501" cy="90790"/>
              </a:xfrm>
              <a:custGeom>
                <a:avLst/>
                <a:gdLst/>
                <a:ahLst/>
                <a:cxnLst>
                  <a:cxn ang="0">
                    <a:pos x="52" y="38"/>
                  </a:cxn>
                  <a:cxn ang="0">
                    <a:pos x="45" y="65"/>
                  </a:cxn>
                  <a:cxn ang="0">
                    <a:pos x="26" y="75"/>
                  </a:cxn>
                  <a:cxn ang="0">
                    <a:pos x="7" y="65"/>
                  </a:cxn>
                  <a:cxn ang="0">
                    <a:pos x="0" y="38"/>
                  </a:cxn>
                  <a:cxn ang="0">
                    <a:pos x="7" y="10"/>
                  </a:cxn>
                  <a:cxn ang="0">
                    <a:pos x="26" y="0"/>
                  </a:cxn>
                  <a:cxn ang="0">
                    <a:pos x="45" y="10"/>
                  </a:cxn>
                  <a:cxn ang="0">
                    <a:pos x="52" y="38"/>
                  </a:cxn>
                  <a:cxn ang="0">
                    <a:pos x="38" y="37"/>
                  </a:cxn>
                  <a:cxn ang="0">
                    <a:pos x="35" y="19"/>
                  </a:cxn>
                  <a:cxn ang="0">
                    <a:pos x="26" y="12"/>
                  </a:cxn>
                  <a:cxn ang="0">
                    <a:pos x="17" y="19"/>
                  </a:cxn>
                  <a:cxn ang="0">
                    <a:pos x="14" y="38"/>
                  </a:cxn>
                  <a:cxn ang="0">
                    <a:pos x="17" y="56"/>
                  </a:cxn>
                  <a:cxn ang="0">
                    <a:pos x="26" y="63"/>
                  </a:cxn>
                  <a:cxn ang="0">
                    <a:pos x="35" y="56"/>
                  </a:cxn>
                  <a:cxn ang="0">
                    <a:pos x="38" y="37"/>
                  </a:cxn>
                </a:cxnLst>
                <a:rect l="0" t="0" r="r" b="b"/>
                <a:pathLst>
                  <a:path w="52" h="75">
                    <a:moveTo>
                      <a:pt x="52" y="38"/>
                    </a:moveTo>
                    <a:cubicBezTo>
                      <a:pt x="52" y="49"/>
                      <a:pt x="49" y="58"/>
                      <a:pt x="45" y="65"/>
                    </a:cubicBezTo>
                    <a:cubicBezTo>
                      <a:pt x="40" y="72"/>
                      <a:pt x="34" y="75"/>
                      <a:pt x="26" y="75"/>
                    </a:cubicBezTo>
                    <a:cubicBezTo>
                      <a:pt x="18" y="75"/>
                      <a:pt x="12" y="72"/>
                      <a:pt x="7" y="65"/>
                    </a:cubicBezTo>
                    <a:cubicBezTo>
                      <a:pt x="2" y="58"/>
                      <a:pt x="0" y="49"/>
                      <a:pt x="0" y="38"/>
                    </a:cubicBezTo>
                    <a:cubicBezTo>
                      <a:pt x="0" y="26"/>
                      <a:pt x="2" y="17"/>
                      <a:pt x="7" y="10"/>
                    </a:cubicBezTo>
                    <a:cubicBezTo>
                      <a:pt x="12" y="3"/>
                      <a:pt x="18" y="0"/>
                      <a:pt x="26" y="0"/>
                    </a:cubicBezTo>
                    <a:cubicBezTo>
                      <a:pt x="34" y="0"/>
                      <a:pt x="40" y="3"/>
                      <a:pt x="45" y="10"/>
                    </a:cubicBezTo>
                    <a:cubicBezTo>
                      <a:pt x="49" y="17"/>
                      <a:pt x="52" y="26"/>
                      <a:pt x="52" y="38"/>
                    </a:cubicBezTo>
                    <a:close/>
                    <a:moveTo>
                      <a:pt x="38" y="37"/>
                    </a:moveTo>
                    <a:cubicBezTo>
                      <a:pt x="38" y="30"/>
                      <a:pt x="37" y="24"/>
                      <a:pt x="35" y="19"/>
                    </a:cubicBezTo>
                    <a:cubicBezTo>
                      <a:pt x="32" y="14"/>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5"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7" name="Freeform 187"/>
              <p:cNvSpPr>
                <a:spLocks/>
              </p:cNvSpPr>
              <p:nvPr/>
            </p:nvSpPr>
            <p:spPr bwMode="auto">
              <a:xfrm>
                <a:off x="2573104" y="3465945"/>
                <a:ext cx="32813" cy="87659"/>
              </a:xfrm>
              <a:custGeom>
                <a:avLst/>
                <a:gdLst/>
                <a:ahLst/>
                <a:cxnLst>
                  <a:cxn ang="0">
                    <a:pos x="21" y="56"/>
                  </a:cxn>
                  <a:cxn ang="0">
                    <a:pos x="11" y="56"/>
                  </a:cxn>
                  <a:cxn ang="0">
                    <a:pos x="11" y="10"/>
                  </a:cxn>
                  <a:cxn ang="0">
                    <a:pos x="0" y="10"/>
                  </a:cxn>
                  <a:cxn ang="0">
                    <a:pos x="4" y="0"/>
                  </a:cxn>
                  <a:cxn ang="0">
                    <a:pos x="21" y="0"/>
                  </a:cxn>
                  <a:cxn ang="0">
                    <a:pos x="21" y="56"/>
                  </a:cxn>
                </a:cxnLst>
                <a:rect l="0" t="0" r="r" b="b"/>
                <a:pathLst>
                  <a:path w="21" h="56">
                    <a:moveTo>
                      <a:pt x="21" y="56"/>
                    </a:moveTo>
                    <a:lnTo>
                      <a:pt x="11" y="56"/>
                    </a:lnTo>
                    <a:lnTo>
                      <a:pt x="11"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8" name="Freeform 188"/>
              <p:cNvSpPr>
                <a:spLocks/>
              </p:cNvSpPr>
              <p:nvPr/>
            </p:nvSpPr>
            <p:spPr bwMode="auto">
              <a:xfrm>
                <a:off x="2613729" y="3465945"/>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9" name="Freeform 189"/>
              <p:cNvSpPr>
                <a:spLocks/>
              </p:cNvSpPr>
              <p:nvPr/>
            </p:nvSpPr>
            <p:spPr bwMode="auto">
              <a:xfrm>
                <a:off x="2654355" y="3465945"/>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0" name="Freeform 190"/>
              <p:cNvSpPr>
                <a:spLocks noEditPoints="1"/>
              </p:cNvSpPr>
              <p:nvPr/>
            </p:nvSpPr>
            <p:spPr bwMode="auto">
              <a:xfrm>
                <a:off x="2701231" y="3464379"/>
                <a:ext cx="62501" cy="90790"/>
              </a:xfrm>
              <a:custGeom>
                <a:avLst/>
                <a:gdLst/>
                <a:ahLst/>
                <a:cxnLst>
                  <a:cxn ang="0">
                    <a:pos x="52" y="38"/>
                  </a:cxn>
                  <a:cxn ang="0">
                    <a:pos x="45" y="65"/>
                  </a:cxn>
                  <a:cxn ang="0">
                    <a:pos x="26" y="75"/>
                  </a:cxn>
                  <a:cxn ang="0">
                    <a:pos x="7" y="65"/>
                  </a:cxn>
                  <a:cxn ang="0">
                    <a:pos x="0" y="38"/>
                  </a:cxn>
                  <a:cxn ang="0">
                    <a:pos x="7" y="10"/>
                  </a:cxn>
                  <a:cxn ang="0">
                    <a:pos x="26" y="0"/>
                  </a:cxn>
                  <a:cxn ang="0">
                    <a:pos x="45" y="10"/>
                  </a:cxn>
                  <a:cxn ang="0">
                    <a:pos x="52" y="38"/>
                  </a:cxn>
                  <a:cxn ang="0">
                    <a:pos x="38" y="37"/>
                  </a:cxn>
                  <a:cxn ang="0">
                    <a:pos x="35" y="19"/>
                  </a:cxn>
                  <a:cxn ang="0">
                    <a:pos x="26" y="12"/>
                  </a:cxn>
                  <a:cxn ang="0">
                    <a:pos x="17" y="19"/>
                  </a:cxn>
                  <a:cxn ang="0">
                    <a:pos x="14" y="38"/>
                  </a:cxn>
                  <a:cxn ang="0">
                    <a:pos x="17" y="56"/>
                  </a:cxn>
                  <a:cxn ang="0">
                    <a:pos x="26" y="63"/>
                  </a:cxn>
                  <a:cxn ang="0">
                    <a:pos x="35" y="56"/>
                  </a:cxn>
                  <a:cxn ang="0">
                    <a:pos x="38" y="37"/>
                  </a:cxn>
                </a:cxnLst>
                <a:rect l="0" t="0" r="r" b="b"/>
                <a:pathLst>
                  <a:path w="52" h="75">
                    <a:moveTo>
                      <a:pt x="52" y="38"/>
                    </a:moveTo>
                    <a:cubicBezTo>
                      <a:pt x="52" y="49"/>
                      <a:pt x="49" y="58"/>
                      <a:pt x="45" y="65"/>
                    </a:cubicBezTo>
                    <a:cubicBezTo>
                      <a:pt x="40" y="72"/>
                      <a:pt x="34" y="75"/>
                      <a:pt x="26" y="75"/>
                    </a:cubicBezTo>
                    <a:cubicBezTo>
                      <a:pt x="18" y="75"/>
                      <a:pt x="12" y="72"/>
                      <a:pt x="7" y="65"/>
                    </a:cubicBezTo>
                    <a:cubicBezTo>
                      <a:pt x="2" y="58"/>
                      <a:pt x="0" y="49"/>
                      <a:pt x="0" y="38"/>
                    </a:cubicBezTo>
                    <a:cubicBezTo>
                      <a:pt x="0" y="26"/>
                      <a:pt x="2" y="17"/>
                      <a:pt x="7" y="10"/>
                    </a:cubicBezTo>
                    <a:cubicBezTo>
                      <a:pt x="12" y="3"/>
                      <a:pt x="18" y="0"/>
                      <a:pt x="26" y="0"/>
                    </a:cubicBezTo>
                    <a:cubicBezTo>
                      <a:pt x="34" y="0"/>
                      <a:pt x="40" y="3"/>
                      <a:pt x="45" y="10"/>
                    </a:cubicBezTo>
                    <a:cubicBezTo>
                      <a:pt x="49" y="17"/>
                      <a:pt x="52" y="26"/>
                      <a:pt x="52" y="38"/>
                    </a:cubicBezTo>
                    <a:close/>
                    <a:moveTo>
                      <a:pt x="38" y="37"/>
                    </a:moveTo>
                    <a:cubicBezTo>
                      <a:pt x="38" y="30"/>
                      <a:pt x="37" y="24"/>
                      <a:pt x="35" y="19"/>
                    </a:cubicBezTo>
                    <a:cubicBezTo>
                      <a:pt x="32" y="14"/>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5"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1" name="Freeform 191"/>
              <p:cNvSpPr>
                <a:spLocks noEditPoints="1"/>
              </p:cNvSpPr>
              <p:nvPr/>
            </p:nvSpPr>
            <p:spPr bwMode="auto">
              <a:xfrm>
                <a:off x="2768419" y="3464379"/>
                <a:ext cx="60938" cy="90790"/>
              </a:xfrm>
              <a:custGeom>
                <a:avLst/>
                <a:gdLst/>
                <a:ahLst/>
                <a:cxnLst>
                  <a:cxn ang="0">
                    <a:pos x="51" y="38"/>
                  </a:cxn>
                  <a:cxn ang="0">
                    <a:pos x="44" y="65"/>
                  </a:cxn>
                  <a:cxn ang="0">
                    <a:pos x="25" y="75"/>
                  </a:cxn>
                  <a:cxn ang="0">
                    <a:pos x="7" y="65"/>
                  </a:cxn>
                  <a:cxn ang="0">
                    <a:pos x="0" y="38"/>
                  </a:cxn>
                  <a:cxn ang="0">
                    <a:pos x="7" y="10"/>
                  </a:cxn>
                  <a:cxn ang="0">
                    <a:pos x="25" y="0"/>
                  </a:cxn>
                  <a:cxn ang="0">
                    <a:pos x="44" y="10"/>
                  </a:cxn>
                  <a:cxn ang="0">
                    <a:pos x="51" y="38"/>
                  </a:cxn>
                  <a:cxn ang="0">
                    <a:pos x="37" y="37"/>
                  </a:cxn>
                  <a:cxn ang="0">
                    <a:pos x="34" y="19"/>
                  </a:cxn>
                  <a:cxn ang="0">
                    <a:pos x="25" y="12"/>
                  </a:cxn>
                  <a:cxn ang="0">
                    <a:pos x="17" y="19"/>
                  </a:cxn>
                  <a:cxn ang="0">
                    <a:pos x="13" y="38"/>
                  </a:cxn>
                  <a:cxn ang="0">
                    <a:pos x="17" y="56"/>
                  </a:cxn>
                  <a:cxn ang="0">
                    <a:pos x="25" y="63"/>
                  </a:cxn>
                  <a:cxn ang="0">
                    <a:pos x="34" y="56"/>
                  </a:cxn>
                  <a:cxn ang="0">
                    <a:pos x="37" y="37"/>
                  </a:cxn>
                </a:cxnLst>
                <a:rect l="0" t="0" r="r" b="b"/>
                <a:pathLst>
                  <a:path w="51" h="75">
                    <a:moveTo>
                      <a:pt x="51" y="38"/>
                    </a:moveTo>
                    <a:cubicBezTo>
                      <a:pt x="51" y="49"/>
                      <a:pt x="49" y="58"/>
                      <a:pt x="44" y="65"/>
                    </a:cubicBezTo>
                    <a:cubicBezTo>
                      <a:pt x="39" y="72"/>
                      <a:pt x="33" y="75"/>
                      <a:pt x="25" y="75"/>
                    </a:cubicBezTo>
                    <a:cubicBezTo>
                      <a:pt x="17" y="75"/>
                      <a:pt x="11" y="72"/>
                      <a:pt x="7" y="65"/>
                    </a:cubicBezTo>
                    <a:cubicBezTo>
                      <a:pt x="2" y="58"/>
                      <a:pt x="0" y="49"/>
                      <a:pt x="0" y="38"/>
                    </a:cubicBezTo>
                    <a:cubicBezTo>
                      <a:pt x="0" y="26"/>
                      <a:pt x="2" y="17"/>
                      <a:pt x="7" y="10"/>
                    </a:cubicBezTo>
                    <a:cubicBezTo>
                      <a:pt x="11" y="3"/>
                      <a:pt x="18" y="0"/>
                      <a:pt x="25" y="0"/>
                    </a:cubicBezTo>
                    <a:cubicBezTo>
                      <a:pt x="33" y="0"/>
                      <a:pt x="39" y="3"/>
                      <a:pt x="44" y="10"/>
                    </a:cubicBezTo>
                    <a:cubicBezTo>
                      <a:pt x="49" y="17"/>
                      <a:pt x="51" y="26"/>
                      <a:pt x="51" y="38"/>
                    </a:cubicBezTo>
                    <a:close/>
                    <a:moveTo>
                      <a:pt x="37" y="37"/>
                    </a:moveTo>
                    <a:cubicBezTo>
                      <a:pt x="37" y="30"/>
                      <a:pt x="36" y="24"/>
                      <a:pt x="34" y="19"/>
                    </a:cubicBezTo>
                    <a:cubicBezTo>
                      <a:pt x="32" y="14"/>
                      <a:pt x="29" y="12"/>
                      <a:pt x="25" y="12"/>
                    </a:cubicBezTo>
                    <a:cubicBezTo>
                      <a:pt x="22" y="12"/>
                      <a:pt x="19" y="15"/>
                      <a:pt x="17" y="19"/>
                    </a:cubicBezTo>
                    <a:cubicBezTo>
                      <a:pt x="15" y="24"/>
                      <a:pt x="13" y="30"/>
                      <a:pt x="13" y="38"/>
                    </a:cubicBezTo>
                    <a:cubicBezTo>
                      <a:pt x="13" y="45"/>
                      <a:pt x="15" y="51"/>
                      <a:pt x="17" y="56"/>
                    </a:cubicBezTo>
                    <a:cubicBezTo>
                      <a:pt x="19" y="61"/>
                      <a:pt x="22" y="63"/>
                      <a:pt x="25" y="63"/>
                    </a:cubicBezTo>
                    <a:cubicBezTo>
                      <a:pt x="29" y="63"/>
                      <a:pt x="32" y="61"/>
                      <a:pt x="34" y="56"/>
                    </a:cubicBezTo>
                    <a:cubicBezTo>
                      <a:pt x="36" y="51"/>
                      <a:pt x="37" y="45"/>
                      <a:pt x="37"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2" name="Freeform 192"/>
              <p:cNvSpPr>
                <a:spLocks/>
              </p:cNvSpPr>
              <p:nvPr/>
            </p:nvSpPr>
            <p:spPr bwMode="auto">
              <a:xfrm>
                <a:off x="2830920" y="3465945"/>
                <a:ext cx="34376" cy="87659"/>
              </a:xfrm>
              <a:custGeom>
                <a:avLst/>
                <a:gdLst/>
                <a:ahLst/>
                <a:cxnLst>
                  <a:cxn ang="0">
                    <a:pos x="22" y="56"/>
                  </a:cxn>
                  <a:cxn ang="0">
                    <a:pos x="11" y="56"/>
                  </a:cxn>
                  <a:cxn ang="0">
                    <a:pos x="11" y="10"/>
                  </a:cxn>
                  <a:cxn ang="0">
                    <a:pos x="0" y="10"/>
                  </a:cxn>
                  <a:cxn ang="0">
                    <a:pos x="5" y="0"/>
                  </a:cxn>
                  <a:cxn ang="0">
                    <a:pos x="22" y="0"/>
                  </a:cxn>
                  <a:cxn ang="0">
                    <a:pos x="22" y="56"/>
                  </a:cxn>
                </a:cxnLst>
                <a:rect l="0" t="0" r="r" b="b"/>
                <a:pathLst>
                  <a:path w="22" h="56">
                    <a:moveTo>
                      <a:pt x="22" y="56"/>
                    </a:moveTo>
                    <a:lnTo>
                      <a:pt x="11" y="56"/>
                    </a:lnTo>
                    <a:lnTo>
                      <a:pt x="11" y="10"/>
                    </a:lnTo>
                    <a:lnTo>
                      <a:pt x="0" y="10"/>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3" name="Freeform 193"/>
              <p:cNvSpPr>
                <a:spLocks/>
              </p:cNvSpPr>
              <p:nvPr/>
            </p:nvSpPr>
            <p:spPr bwMode="auto">
              <a:xfrm>
                <a:off x="2871546" y="3465945"/>
                <a:ext cx="34376" cy="87659"/>
              </a:xfrm>
              <a:custGeom>
                <a:avLst/>
                <a:gdLst/>
                <a:ahLst/>
                <a:cxnLst>
                  <a:cxn ang="0">
                    <a:pos x="22" y="56"/>
                  </a:cxn>
                  <a:cxn ang="0">
                    <a:pos x="11" y="56"/>
                  </a:cxn>
                  <a:cxn ang="0">
                    <a:pos x="11" y="10"/>
                  </a:cxn>
                  <a:cxn ang="0">
                    <a:pos x="0" y="10"/>
                  </a:cxn>
                  <a:cxn ang="0">
                    <a:pos x="5" y="0"/>
                  </a:cxn>
                  <a:cxn ang="0">
                    <a:pos x="22" y="0"/>
                  </a:cxn>
                  <a:cxn ang="0">
                    <a:pos x="22" y="56"/>
                  </a:cxn>
                </a:cxnLst>
                <a:rect l="0" t="0" r="r" b="b"/>
                <a:pathLst>
                  <a:path w="22" h="56">
                    <a:moveTo>
                      <a:pt x="22" y="56"/>
                    </a:moveTo>
                    <a:lnTo>
                      <a:pt x="11" y="56"/>
                    </a:lnTo>
                    <a:lnTo>
                      <a:pt x="11" y="10"/>
                    </a:lnTo>
                    <a:lnTo>
                      <a:pt x="0" y="10"/>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4" name="Freeform 194"/>
              <p:cNvSpPr>
                <a:spLocks noEditPoints="1"/>
              </p:cNvSpPr>
              <p:nvPr/>
            </p:nvSpPr>
            <p:spPr bwMode="auto">
              <a:xfrm>
                <a:off x="2919984" y="3464379"/>
                <a:ext cx="60938" cy="90790"/>
              </a:xfrm>
              <a:custGeom>
                <a:avLst/>
                <a:gdLst/>
                <a:ahLst/>
                <a:cxnLst>
                  <a:cxn ang="0">
                    <a:pos x="51" y="38"/>
                  </a:cxn>
                  <a:cxn ang="0">
                    <a:pos x="44" y="65"/>
                  </a:cxn>
                  <a:cxn ang="0">
                    <a:pos x="25" y="75"/>
                  </a:cxn>
                  <a:cxn ang="0">
                    <a:pos x="7" y="65"/>
                  </a:cxn>
                  <a:cxn ang="0">
                    <a:pos x="0" y="38"/>
                  </a:cxn>
                  <a:cxn ang="0">
                    <a:pos x="7" y="10"/>
                  </a:cxn>
                  <a:cxn ang="0">
                    <a:pos x="25" y="0"/>
                  </a:cxn>
                  <a:cxn ang="0">
                    <a:pos x="44" y="10"/>
                  </a:cxn>
                  <a:cxn ang="0">
                    <a:pos x="51" y="38"/>
                  </a:cxn>
                  <a:cxn ang="0">
                    <a:pos x="38" y="37"/>
                  </a:cxn>
                  <a:cxn ang="0">
                    <a:pos x="34" y="19"/>
                  </a:cxn>
                  <a:cxn ang="0">
                    <a:pos x="25" y="12"/>
                  </a:cxn>
                  <a:cxn ang="0">
                    <a:pos x="17" y="19"/>
                  </a:cxn>
                  <a:cxn ang="0">
                    <a:pos x="14" y="38"/>
                  </a:cxn>
                  <a:cxn ang="0">
                    <a:pos x="17" y="56"/>
                  </a:cxn>
                  <a:cxn ang="0">
                    <a:pos x="25" y="63"/>
                  </a:cxn>
                  <a:cxn ang="0">
                    <a:pos x="34" y="56"/>
                  </a:cxn>
                  <a:cxn ang="0">
                    <a:pos x="38" y="37"/>
                  </a:cxn>
                </a:cxnLst>
                <a:rect l="0" t="0" r="r" b="b"/>
                <a:pathLst>
                  <a:path w="51" h="75">
                    <a:moveTo>
                      <a:pt x="51" y="38"/>
                    </a:moveTo>
                    <a:cubicBezTo>
                      <a:pt x="51" y="49"/>
                      <a:pt x="49" y="58"/>
                      <a:pt x="44" y="65"/>
                    </a:cubicBezTo>
                    <a:cubicBezTo>
                      <a:pt x="40" y="72"/>
                      <a:pt x="33" y="75"/>
                      <a:pt x="25" y="75"/>
                    </a:cubicBezTo>
                    <a:cubicBezTo>
                      <a:pt x="18" y="75"/>
                      <a:pt x="11" y="72"/>
                      <a:pt x="7" y="65"/>
                    </a:cubicBezTo>
                    <a:cubicBezTo>
                      <a:pt x="2" y="58"/>
                      <a:pt x="0" y="49"/>
                      <a:pt x="0" y="38"/>
                    </a:cubicBezTo>
                    <a:cubicBezTo>
                      <a:pt x="0" y="26"/>
                      <a:pt x="2" y="17"/>
                      <a:pt x="7" y="10"/>
                    </a:cubicBezTo>
                    <a:cubicBezTo>
                      <a:pt x="11" y="3"/>
                      <a:pt x="18" y="0"/>
                      <a:pt x="25" y="0"/>
                    </a:cubicBezTo>
                    <a:cubicBezTo>
                      <a:pt x="33" y="0"/>
                      <a:pt x="40" y="3"/>
                      <a:pt x="44" y="10"/>
                    </a:cubicBezTo>
                    <a:cubicBezTo>
                      <a:pt x="49" y="17"/>
                      <a:pt x="51" y="26"/>
                      <a:pt x="51" y="38"/>
                    </a:cubicBezTo>
                    <a:close/>
                    <a:moveTo>
                      <a:pt x="38" y="37"/>
                    </a:moveTo>
                    <a:cubicBezTo>
                      <a:pt x="38" y="30"/>
                      <a:pt x="36" y="24"/>
                      <a:pt x="34" y="19"/>
                    </a:cubicBezTo>
                    <a:cubicBezTo>
                      <a:pt x="32" y="14"/>
                      <a:pt x="29" y="12"/>
                      <a:pt x="25" y="12"/>
                    </a:cubicBezTo>
                    <a:cubicBezTo>
                      <a:pt x="22" y="12"/>
                      <a:pt x="19" y="15"/>
                      <a:pt x="17" y="19"/>
                    </a:cubicBezTo>
                    <a:cubicBezTo>
                      <a:pt x="15" y="24"/>
                      <a:pt x="14" y="30"/>
                      <a:pt x="14" y="38"/>
                    </a:cubicBezTo>
                    <a:cubicBezTo>
                      <a:pt x="14" y="45"/>
                      <a:pt x="15" y="51"/>
                      <a:pt x="17" y="56"/>
                    </a:cubicBezTo>
                    <a:cubicBezTo>
                      <a:pt x="19" y="61"/>
                      <a:pt x="22" y="63"/>
                      <a:pt x="25" y="63"/>
                    </a:cubicBezTo>
                    <a:cubicBezTo>
                      <a:pt x="29" y="63"/>
                      <a:pt x="32" y="61"/>
                      <a:pt x="34" y="56"/>
                    </a:cubicBezTo>
                    <a:cubicBezTo>
                      <a:pt x="36"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5" name="Freeform 195"/>
              <p:cNvSpPr>
                <a:spLocks/>
              </p:cNvSpPr>
              <p:nvPr/>
            </p:nvSpPr>
            <p:spPr bwMode="auto">
              <a:xfrm>
                <a:off x="2984048" y="3465945"/>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6" name="Freeform 196"/>
              <p:cNvSpPr>
                <a:spLocks noEditPoints="1"/>
              </p:cNvSpPr>
              <p:nvPr/>
            </p:nvSpPr>
            <p:spPr bwMode="auto">
              <a:xfrm>
                <a:off x="3030924" y="3464379"/>
                <a:ext cx="62501" cy="90790"/>
              </a:xfrm>
              <a:custGeom>
                <a:avLst/>
                <a:gdLst/>
                <a:ahLst/>
                <a:cxnLst>
                  <a:cxn ang="0">
                    <a:pos x="52" y="38"/>
                  </a:cxn>
                  <a:cxn ang="0">
                    <a:pos x="45" y="65"/>
                  </a:cxn>
                  <a:cxn ang="0">
                    <a:pos x="26" y="75"/>
                  </a:cxn>
                  <a:cxn ang="0">
                    <a:pos x="7" y="65"/>
                  </a:cxn>
                  <a:cxn ang="0">
                    <a:pos x="0" y="38"/>
                  </a:cxn>
                  <a:cxn ang="0">
                    <a:pos x="7" y="10"/>
                  </a:cxn>
                  <a:cxn ang="0">
                    <a:pos x="26" y="0"/>
                  </a:cxn>
                  <a:cxn ang="0">
                    <a:pos x="45" y="10"/>
                  </a:cxn>
                  <a:cxn ang="0">
                    <a:pos x="52" y="38"/>
                  </a:cxn>
                  <a:cxn ang="0">
                    <a:pos x="38" y="37"/>
                  </a:cxn>
                  <a:cxn ang="0">
                    <a:pos x="34" y="19"/>
                  </a:cxn>
                  <a:cxn ang="0">
                    <a:pos x="26" y="12"/>
                  </a:cxn>
                  <a:cxn ang="0">
                    <a:pos x="17" y="19"/>
                  </a:cxn>
                  <a:cxn ang="0">
                    <a:pos x="14" y="38"/>
                  </a:cxn>
                  <a:cxn ang="0">
                    <a:pos x="17" y="56"/>
                  </a:cxn>
                  <a:cxn ang="0">
                    <a:pos x="26" y="63"/>
                  </a:cxn>
                  <a:cxn ang="0">
                    <a:pos x="34" y="56"/>
                  </a:cxn>
                  <a:cxn ang="0">
                    <a:pos x="38" y="37"/>
                  </a:cxn>
                </a:cxnLst>
                <a:rect l="0" t="0" r="r" b="b"/>
                <a:pathLst>
                  <a:path w="52" h="75">
                    <a:moveTo>
                      <a:pt x="52" y="38"/>
                    </a:moveTo>
                    <a:cubicBezTo>
                      <a:pt x="52" y="49"/>
                      <a:pt x="49" y="58"/>
                      <a:pt x="45" y="65"/>
                    </a:cubicBezTo>
                    <a:cubicBezTo>
                      <a:pt x="40" y="72"/>
                      <a:pt x="34" y="75"/>
                      <a:pt x="26" y="75"/>
                    </a:cubicBezTo>
                    <a:cubicBezTo>
                      <a:pt x="18" y="75"/>
                      <a:pt x="12" y="72"/>
                      <a:pt x="7" y="65"/>
                    </a:cubicBezTo>
                    <a:cubicBezTo>
                      <a:pt x="2" y="58"/>
                      <a:pt x="0" y="49"/>
                      <a:pt x="0" y="38"/>
                    </a:cubicBezTo>
                    <a:cubicBezTo>
                      <a:pt x="0" y="26"/>
                      <a:pt x="2" y="17"/>
                      <a:pt x="7" y="10"/>
                    </a:cubicBezTo>
                    <a:cubicBezTo>
                      <a:pt x="12" y="3"/>
                      <a:pt x="18" y="0"/>
                      <a:pt x="26" y="0"/>
                    </a:cubicBezTo>
                    <a:cubicBezTo>
                      <a:pt x="34" y="0"/>
                      <a:pt x="40" y="3"/>
                      <a:pt x="45" y="10"/>
                    </a:cubicBezTo>
                    <a:cubicBezTo>
                      <a:pt x="49" y="17"/>
                      <a:pt x="52" y="26"/>
                      <a:pt x="52" y="38"/>
                    </a:cubicBezTo>
                    <a:close/>
                    <a:moveTo>
                      <a:pt x="38" y="37"/>
                    </a:moveTo>
                    <a:cubicBezTo>
                      <a:pt x="38" y="30"/>
                      <a:pt x="37" y="24"/>
                      <a:pt x="34" y="19"/>
                    </a:cubicBezTo>
                    <a:cubicBezTo>
                      <a:pt x="32" y="14"/>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4"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7" name="Freeform 197"/>
              <p:cNvSpPr>
                <a:spLocks/>
              </p:cNvSpPr>
              <p:nvPr/>
            </p:nvSpPr>
            <p:spPr bwMode="auto">
              <a:xfrm>
                <a:off x="3094987" y="3465945"/>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8" name="Freeform 208"/>
              <p:cNvSpPr>
                <a:spLocks noEditPoints="1"/>
              </p:cNvSpPr>
              <p:nvPr/>
            </p:nvSpPr>
            <p:spPr bwMode="auto">
              <a:xfrm>
                <a:off x="2344975" y="3603694"/>
                <a:ext cx="62501" cy="90790"/>
              </a:xfrm>
              <a:custGeom>
                <a:avLst/>
                <a:gdLst/>
                <a:ahLst/>
                <a:cxnLst>
                  <a:cxn ang="0">
                    <a:pos x="52" y="38"/>
                  </a:cxn>
                  <a:cxn ang="0">
                    <a:pos x="44" y="65"/>
                  </a:cxn>
                  <a:cxn ang="0">
                    <a:pos x="26" y="76"/>
                  </a:cxn>
                  <a:cxn ang="0">
                    <a:pos x="7" y="65"/>
                  </a:cxn>
                  <a:cxn ang="0">
                    <a:pos x="0" y="38"/>
                  </a:cxn>
                  <a:cxn ang="0">
                    <a:pos x="7" y="10"/>
                  </a:cxn>
                  <a:cxn ang="0">
                    <a:pos x="26" y="0"/>
                  </a:cxn>
                  <a:cxn ang="0">
                    <a:pos x="44" y="10"/>
                  </a:cxn>
                  <a:cxn ang="0">
                    <a:pos x="52" y="38"/>
                  </a:cxn>
                  <a:cxn ang="0">
                    <a:pos x="38" y="38"/>
                  </a:cxn>
                  <a:cxn ang="0">
                    <a:pos x="34" y="19"/>
                  </a:cxn>
                  <a:cxn ang="0">
                    <a:pos x="26" y="12"/>
                  </a:cxn>
                  <a:cxn ang="0">
                    <a:pos x="17" y="19"/>
                  </a:cxn>
                  <a:cxn ang="0">
                    <a:pos x="14" y="38"/>
                  </a:cxn>
                  <a:cxn ang="0">
                    <a:pos x="17" y="56"/>
                  </a:cxn>
                  <a:cxn ang="0">
                    <a:pos x="26" y="63"/>
                  </a:cxn>
                  <a:cxn ang="0">
                    <a:pos x="34" y="56"/>
                  </a:cxn>
                  <a:cxn ang="0">
                    <a:pos x="38" y="38"/>
                  </a:cxn>
                </a:cxnLst>
                <a:rect l="0" t="0" r="r" b="b"/>
                <a:pathLst>
                  <a:path w="52" h="76">
                    <a:moveTo>
                      <a:pt x="52" y="38"/>
                    </a:moveTo>
                    <a:cubicBezTo>
                      <a:pt x="52" y="49"/>
                      <a:pt x="49" y="58"/>
                      <a:pt x="44" y="65"/>
                    </a:cubicBezTo>
                    <a:cubicBezTo>
                      <a:pt x="40" y="72"/>
                      <a:pt x="33" y="76"/>
                      <a:pt x="26" y="76"/>
                    </a:cubicBezTo>
                    <a:cubicBezTo>
                      <a:pt x="18" y="76"/>
                      <a:pt x="11" y="72"/>
                      <a:pt x="7" y="65"/>
                    </a:cubicBezTo>
                    <a:cubicBezTo>
                      <a:pt x="2" y="58"/>
                      <a:pt x="0" y="49"/>
                      <a:pt x="0" y="38"/>
                    </a:cubicBezTo>
                    <a:cubicBezTo>
                      <a:pt x="0" y="26"/>
                      <a:pt x="2" y="17"/>
                      <a:pt x="7" y="10"/>
                    </a:cubicBezTo>
                    <a:cubicBezTo>
                      <a:pt x="12" y="4"/>
                      <a:pt x="18" y="0"/>
                      <a:pt x="26" y="0"/>
                    </a:cubicBezTo>
                    <a:cubicBezTo>
                      <a:pt x="33" y="0"/>
                      <a:pt x="40" y="3"/>
                      <a:pt x="44" y="10"/>
                    </a:cubicBezTo>
                    <a:cubicBezTo>
                      <a:pt x="49" y="17"/>
                      <a:pt x="52" y="26"/>
                      <a:pt x="52" y="38"/>
                    </a:cubicBezTo>
                    <a:close/>
                    <a:moveTo>
                      <a:pt x="38" y="38"/>
                    </a:moveTo>
                    <a:cubicBezTo>
                      <a:pt x="38" y="30"/>
                      <a:pt x="37" y="24"/>
                      <a:pt x="34" y="19"/>
                    </a:cubicBezTo>
                    <a:cubicBezTo>
                      <a:pt x="32" y="15"/>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4" y="56"/>
                    </a:cubicBezTo>
                    <a:cubicBezTo>
                      <a:pt x="37" y="51"/>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9" name="Freeform 209"/>
              <p:cNvSpPr>
                <a:spLocks/>
              </p:cNvSpPr>
              <p:nvPr/>
            </p:nvSpPr>
            <p:spPr bwMode="auto">
              <a:xfrm>
                <a:off x="2407476" y="3605260"/>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0" name="Freeform 210"/>
              <p:cNvSpPr>
                <a:spLocks/>
              </p:cNvSpPr>
              <p:nvPr/>
            </p:nvSpPr>
            <p:spPr bwMode="auto">
              <a:xfrm>
                <a:off x="2449664" y="3605260"/>
                <a:ext cx="31250" cy="87659"/>
              </a:xfrm>
              <a:custGeom>
                <a:avLst/>
                <a:gdLst/>
                <a:ahLst/>
                <a:cxnLst>
                  <a:cxn ang="0">
                    <a:pos x="20" y="56"/>
                  </a:cxn>
                  <a:cxn ang="0">
                    <a:pos x="10" y="56"/>
                  </a:cxn>
                  <a:cxn ang="0">
                    <a:pos x="10" y="9"/>
                  </a:cxn>
                  <a:cxn ang="0">
                    <a:pos x="0" y="9"/>
                  </a:cxn>
                  <a:cxn ang="0">
                    <a:pos x="3" y="0"/>
                  </a:cxn>
                  <a:cxn ang="0">
                    <a:pos x="20" y="0"/>
                  </a:cxn>
                  <a:cxn ang="0">
                    <a:pos x="20" y="56"/>
                  </a:cxn>
                </a:cxnLst>
                <a:rect l="0" t="0" r="r" b="b"/>
                <a:pathLst>
                  <a:path w="20" h="56">
                    <a:moveTo>
                      <a:pt x="20" y="56"/>
                    </a:moveTo>
                    <a:lnTo>
                      <a:pt x="10" y="56"/>
                    </a:lnTo>
                    <a:lnTo>
                      <a:pt x="10" y="9"/>
                    </a:lnTo>
                    <a:lnTo>
                      <a:pt x="0" y="9"/>
                    </a:lnTo>
                    <a:lnTo>
                      <a:pt x="3" y="0"/>
                    </a:lnTo>
                    <a:lnTo>
                      <a:pt x="20" y="0"/>
                    </a:lnTo>
                    <a:lnTo>
                      <a:pt x="20"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1" name="Freeform 211"/>
              <p:cNvSpPr>
                <a:spLocks/>
              </p:cNvSpPr>
              <p:nvPr/>
            </p:nvSpPr>
            <p:spPr bwMode="auto">
              <a:xfrm>
                <a:off x="2488727" y="3605260"/>
                <a:ext cx="34376" cy="87659"/>
              </a:xfrm>
              <a:custGeom>
                <a:avLst/>
                <a:gdLst/>
                <a:ahLst/>
                <a:cxnLst>
                  <a:cxn ang="0">
                    <a:pos x="22" y="56"/>
                  </a:cxn>
                  <a:cxn ang="0">
                    <a:pos x="11" y="56"/>
                  </a:cxn>
                  <a:cxn ang="0">
                    <a:pos x="11" y="9"/>
                  </a:cxn>
                  <a:cxn ang="0">
                    <a:pos x="0" y="9"/>
                  </a:cxn>
                  <a:cxn ang="0">
                    <a:pos x="5" y="0"/>
                  </a:cxn>
                  <a:cxn ang="0">
                    <a:pos x="22" y="0"/>
                  </a:cxn>
                  <a:cxn ang="0">
                    <a:pos x="22" y="56"/>
                  </a:cxn>
                </a:cxnLst>
                <a:rect l="0" t="0" r="r" b="b"/>
                <a:pathLst>
                  <a:path w="22" h="56">
                    <a:moveTo>
                      <a:pt x="22" y="56"/>
                    </a:moveTo>
                    <a:lnTo>
                      <a:pt x="11" y="56"/>
                    </a:lnTo>
                    <a:lnTo>
                      <a:pt x="11" y="9"/>
                    </a:lnTo>
                    <a:lnTo>
                      <a:pt x="0" y="9"/>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2" name="Freeform 212"/>
              <p:cNvSpPr>
                <a:spLocks noEditPoints="1"/>
              </p:cNvSpPr>
              <p:nvPr/>
            </p:nvSpPr>
            <p:spPr bwMode="auto">
              <a:xfrm>
                <a:off x="2537166" y="3603694"/>
                <a:ext cx="62501" cy="90790"/>
              </a:xfrm>
              <a:custGeom>
                <a:avLst/>
                <a:gdLst/>
                <a:ahLst/>
                <a:cxnLst>
                  <a:cxn ang="0">
                    <a:pos x="52" y="38"/>
                  </a:cxn>
                  <a:cxn ang="0">
                    <a:pos x="44" y="65"/>
                  </a:cxn>
                  <a:cxn ang="0">
                    <a:pos x="26" y="76"/>
                  </a:cxn>
                  <a:cxn ang="0">
                    <a:pos x="7" y="65"/>
                  </a:cxn>
                  <a:cxn ang="0">
                    <a:pos x="0" y="38"/>
                  </a:cxn>
                  <a:cxn ang="0">
                    <a:pos x="7" y="10"/>
                  </a:cxn>
                  <a:cxn ang="0">
                    <a:pos x="26" y="0"/>
                  </a:cxn>
                  <a:cxn ang="0">
                    <a:pos x="44" y="10"/>
                  </a:cxn>
                  <a:cxn ang="0">
                    <a:pos x="52" y="38"/>
                  </a:cxn>
                  <a:cxn ang="0">
                    <a:pos x="38" y="38"/>
                  </a:cxn>
                  <a:cxn ang="0">
                    <a:pos x="34" y="19"/>
                  </a:cxn>
                  <a:cxn ang="0">
                    <a:pos x="26" y="12"/>
                  </a:cxn>
                  <a:cxn ang="0">
                    <a:pos x="17" y="19"/>
                  </a:cxn>
                  <a:cxn ang="0">
                    <a:pos x="14" y="38"/>
                  </a:cxn>
                  <a:cxn ang="0">
                    <a:pos x="17" y="56"/>
                  </a:cxn>
                  <a:cxn ang="0">
                    <a:pos x="26" y="63"/>
                  </a:cxn>
                  <a:cxn ang="0">
                    <a:pos x="34" y="56"/>
                  </a:cxn>
                  <a:cxn ang="0">
                    <a:pos x="38" y="38"/>
                  </a:cxn>
                </a:cxnLst>
                <a:rect l="0" t="0" r="r" b="b"/>
                <a:pathLst>
                  <a:path w="52" h="76">
                    <a:moveTo>
                      <a:pt x="52" y="38"/>
                    </a:moveTo>
                    <a:cubicBezTo>
                      <a:pt x="52" y="49"/>
                      <a:pt x="49" y="58"/>
                      <a:pt x="44" y="65"/>
                    </a:cubicBezTo>
                    <a:cubicBezTo>
                      <a:pt x="40" y="72"/>
                      <a:pt x="33" y="76"/>
                      <a:pt x="26" y="76"/>
                    </a:cubicBezTo>
                    <a:cubicBezTo>
                      <a:pt x="18" y="76"/>
                      <a:pt x="12" y="72"/>
                      <a:pt x="7" y="65"/>
                    </a:cubicBezTo>
                    <a:cubicBezTo>
                      <a:pt x="2" y="58"/>
                      <a:pt x="0" y="49"/>
                      <a:pt x="0" y="38"/>
                    </a:cubicBezTo>
                    <a:cubicBezTo>
                      <a:pt x="0" y="26"/>
                      <a:pt x="2" y="17"/>
                      <a:pt x="7" y="10"/>
                    </a:cubicBezTo>
                    <a:cubicBezTo>
                      <a:pt x="12" y="4"/>
                      <a:pt x="18" y="0"/>
                      <a:pt x="26" y="0"/>
                    </a:cubicBezTo>
                    <a:cubicBezTo>
                      <a:pt x="33" y="0"/>
                      <a:pt x="40" y="3"/>
                      <a:pt x="44" y="10"/>
                    </a:cubicBezTo>
                    <a:cubicBezTo>
                      <a:pt x="49" y="17"/>
                      <a:pt x="52" y="26"/>
                      <a:pt x="52" y="38"/>
                    </a:cubicBezTo>
                    <a:close/>
                    <a:moveTo>
                      <a:pt x="38" y="38"/>
                    </a:moveTo>
                    <a:cubicBezTo>
                      <a:pt x="38" y="30"/>
                      <a:pt x="37" y="24"/>
                      <a:pt x="34" y="19"/>
                    </a:cubicBezTo>
                    <a:cubicBezTo>
                      <a:pt x="32" y="15"/>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4" y="56"/>
                    </a:cubicBezTo>
                    <a:cubicBezTo>
                      <a:pt x="37" y="51"/>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3" name="Freeform 213"/>
              <p:cNvSpPr>
                <a:spLocks noEditPoints="1"/>
              </p:cNvSpPr>
              <p:nvPr/>
            </p:nvSpPr>
            <p:spPr bwMode="auto">
              <a:xfrm>
                <a:off x="2602792" y="3603694"/>
                <a:ext cx="62501" cy="90790"/>
              </a:xfrm>
              <a:custGeom>
                <a:avLst/>
                <a:gdLst/>
                <a:ahLst/>
                <a:cxnLst>
                  <a:cxn ang="0">
                    <a:pos x="52" y="38"/>
                  </a:cxn>
                  <a:cxn ang="0">
                    <a:pos x="45" y="65"/>
                  </a:cxn>
                  <a:cxn ang="0">
                    <a:pos x="26" y="76"/>
                  </a:cxn>
                  <a:cxn ang="0">
                    <a:pos x="7" y="65"/>
                  </a:cxn>
                  <a:cxn ang="0">
                    <a:pos x="0" y="38"/>
                  </a:cxn>
                  <a:cxn ang="0">
                    <a:pos x="7" y="10"/>
                  </a:cxn>
                  <a:cxn ang="0">
                    <a:pos x="26" y="0"/>
                  </a:cxn>
                  <a:cxn ang="0">
                    <a:pos x="45" y="10"/>
                  </a:cxn>
                  <a:cxn ang="0">
                    <a:pos x="52" y="38"/>
                  </a:cxn>
                  <a:cxn ang="0">
                    <a:pos x="38" y="38"/>
                  </a:cxn>
                  <a:cxn ang="0">
                    <a:pos x="35" y="19"/>
                  </a:cxn>
                  <a:cxn ang="0">
                    <a:pos x="26" y="12"/>
                  </a:cxn>
                  <a:cxn ang="0">
                    <a:pos x="17" y="19"/>
                  </a:cxn>
                  <a:cxn ang="0">
                    <a:pos x="14" y="38"/>
                  </a:cxn>
                  <a:cxn ang="0">
                    <a:pos x="18" y="56"/>
                  </a:cxn>
                  <a:cxn ang="0">
                    <a:pos x="26" y="63"/>
                  </a:cxn>
                  <a:cxn ang="0">
                    <a:pos x="35" y="56"/>
                  </a:cxn>
                  <a:cxn ang="0">
                    <a:pos x="38" y="38"/>
                  </a:cxn>
                </a:cxnLst>
                <a:rect l="0" t="0" r="r" b="b"/>
                <a:pathLst>
                  <a:path w="52" h="76">
                    <a:moveTo>
                      <a:pt x="52" y="38"/>
                    </a:moveTo>
                    <a:cubicBezTo>
                      <a:pt x="52" y="49"/>
                      <a:pt x="50" y="58"/>
                      <a:pt x="45" y="65"/>
                    </a:cubicBezTo>
                    <a:cubicBezTo>
                      <a:pt x="40" y="72"/>
                      <a:pt x="34" y="76"/>
                      <a:pt x="26" y="76"/>
                    </a:cubicBezTo>
                    <a:cubicBezTo>
                      <a:pt x="18" y="76"/>
                      <a:pt x="12" y="72"/>
                      <a:pt x="7" y="65"/>
                    </a:cubicBezTo>
                    <a:cubicBezTo>
                      <a:pt x="3" y="58"/>
                      <a:pt x="0" y="49"/>
                      <a:pt x="0" y="38"/>
                    </a:cubicBezTo>
                    <a:cubicBezTo>
                      <a:pt x="0" y="26"/>
                      <a:pt x="3" y="17"/>
                      <a:pt x="7" y="10"/>
                    </a:cubicBezTo>
                    <a:cubicBezTo>
                      <a:pt x="12" y="4"/>
                      <a:pt x="18" y="0"/>
                      <a:pt x="26" y="0"/>
                    </a:cubicBezTo>
                    <a:cubicBezTo>
                      <a:pt x="34" y="0"/>
                      <a:pt x="40" y="3"/>
                      <a:pt x="45" y="10"/>
                    </a:cubicBezTo>
                    <a:cubicBezTo>
                      <a:pt x="50" y="17"/>
                      <a:pt x="52" y="26"/>
                      <a:pt x="52" y="38"/>
                    </a:cubicBezTo>
                    <a:close/>
                    <a:moveTo>
                      <a:pt x="38" y="38"/>
                    </a:moveTo>
                    <a:cubicBezTo>
                      <a:pt x="38" y="30"/>
                      <a:pt x="37" y="24"/>
                      <a:pt x="35" y="19"/>
                    </a:cubicBezTo>
                    <a:cubicBezTo>
                      <a:pt x="33" y="15"/>
                      <a:pt x="30" y="12"/>
                      <a:pt x="26" y="12"/>
                    </a:cubicBezTo>
                    <a:cubicBezTo>
                      <a:pt x="23" y="12"/>
                      <a:pt x="20" y="15"/>
                      <a:pt x="17" y="19"/>
                    </a:cubicBezTo>
                    <a:cubicBezTo>
                      <a:pt x="15" y="24"/>
                      <a:pt x="14" y="30"/>
                      <a:pt x="14" y="38"/>
                    </a:cubicBezTo>
                    <a:cubicBezTo>
                      <a:pt x="14" y="45"/>
                      <a:pt x="15" y="51"/>
                      <a:pt x="18" y="56"/>
                    </a:cubicBezTo>
                    <a:cubicBezTo>
                      <a:pt x="20" y="61"/>
                      <a:pt x="23" y="63"/>
                      <a:pt x="26" y="63"/>
                    </a:cubicBezTo>
                    <a:cubicBezTo>
                      <a:pt x="30" y="63"/>
                      <a:pt x="33" y="61"/>
                      <a:pt x="35" y="56"/>
                    </a:cubicBezTo>
                    <a:cubicBezTo>
                      <a:pt x="37" y="51"/>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4" name="Freeform 214"/>
              <p:cNvSpPr>
                <a:spLocks/>
              </p:cNvSpPr>
              <p:nvPr/>
            </p:nvSpPr>
            <p:spPr bwMode="auto">
              <a:xfrm>
                <a:off x="2666855" y="3605260"/>
                <a:ext cx="32813" cy="87659"/>
              </a:xfrm>
              <a:custGeom>
                <a:avLst/>
                <a:gdLst/>
                <a:ahLst/>
                <a:cxnLst>
                  <a:cxn ang="0">
                    <a:pos x="21" y="56"/>
                  </a:cxn>
                  <a:cxn ang="0">
                    <a:pos x="11" y="56"/>
                  </a:cxn>
                  <a:cxn ang="0">
                    <a:pos x="11" y="9"/>
                  </a:cxn>
                  <a:cxn ang="0">
                    <a:pos x="0" y="9"/>
                  </a:cxn>
                  <a:cxn ang="0">
                    <a:pos x="4" y="0"/>
                  </a:cxn>
                  <a:cxn ang="0">
                    <a:pos x="21" y="0"/>
                  </a:cxn>
                  <a:cxn ang="0">
                    <a:pos x="21" y="56"/>
                  </a:cxn>
                </a:cxnLst>
                <a:rect l="0" t="0" r="r" b="b"/>
                <a:pathLst>
                  <a:path w="21" h="56">
                    <a:moveTo>
                      <a:pt x="21" y="56"/>
                    </a:moveTo>
                    <a:lnTo>
                      <a:pt x="11" y="56"/>
                    </a:lnTo>
                    <a:lnTo>
                      <a:pt x="11"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5" name="Freeform 215"/>
              <p:cNvSpPr>
                <a:spLocks/>
              </p:cNvSpPr>
              <p:nvPr/>
            </p:nvSpPr>
            <p:spPr bwMode="auto">
              <a:xfrm>
                <a:off x="2707481" y="3605260"/>
                <a:ext cx="34376" cy="87659"/>
              </a:xfrm>
              <a:custGeom>
                <a:avLst/>
                <a:gdLst/>
                <a:ahLst/>
                <a:cxnLst>
                  <a:cxn ang="0">
                    <a:pos x="22" y="56"/>
                  </a:cxn>
                  <a:cxn ang="0">
                    <a:pos x="11" y="56"/>
                  </a:cxn>
                  <a:cxn ang="0">
                    <a:pos x="11" y="9"/>
                  </a:cxn>
                  <a:cxn ang="0">
                    <a:pos x="0" y="9"/>
                  </a:cxn>
                  <a:cxn ang="0">
                    <a:pos x="5" y="0"/>
                  </a:cxn>
                  <a:cxn ang="0">
                    <a:pos x="22" y="0"/>
                  </a:cxn>
                  <a:cxn ang="0">
                    <a:pos x="22" y="56"/>
                  </a:cxn>
                </a:cxnLst>
                <a:rect l="0" t="0" r="r" b="b"/>
                <a:pathLst>
                  <a:path w="22" h="56">
                    <a:moveTo>
                      <a:pt x="22" y="56"/>
                    </a:moveTo>
                    <a:lnTo>
                      <a:pt x="11" y="56"/>
                    </a:lnTo>
                    <a:lnTo>
                      <a:pt x="11" y="9"/>
                    </a:lnTo>
                    <a:lnTo>
                      <a:pt x="0" y="9"/>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6" name="Freeform 216"/>
              <p:cNvSpPr>
                <a:spLocks noEditPoints="1"/>
              </p:cNvSpPr>
              <p:nvPr/>
            </p:nvSpPr>
            <p:spPr bwMode="auto">
              <a:xfrm>
                <a:off x="2755919" y="3603694"/>
                <a:ext cx="60938" cy="90790"/>
              </a:xfrm>
              <a:custGeom>
                <a:avLst/>
                <a:gdLst/>
                <a:ahLst/>
                <a:cxnLst>
                  <a:cxn ang="0">
                    <a:pos x="51" y="38"/>
                  </a:cxn>
                  <a:cxn ang="0">
                    <a:pos x="44" y="65"/>
                  </a:cxn>
                  <a:cxn ang="0">
                    <a:pos x="25" y="76"/>
                  </a:cxn>
                  <a:cxn ang="0">
                    <a:pos x="7" y="65"/>
                  </a:cxn>
                  <a:cxn ang="0">
                    <a:pos x="0" y="38"/>
                  </a:cxn>
                  <a:cxn ang="0">
                    <a:pos x="7" y="10"/>
                  </a:cxn>
                  <a:cxn ang="0">
                    <a:pos x="25" y="0"/>
                  </a:cxn>
                  <a:cxn ang="0">
                    <a:pos x="44" y="10"/>
                  </a:cxn>
                  <a:cxn ang="0">
                    <a:pos x="51" y="38"/>
                  </a:cxn>
                  <a:cxn ang="0">
                    <a:pos x="37" y="38"/>
                  </a:cxn>
                  <a:cxn ang="0">
                    <a:pos x="34" y="19"/>
                  </a:cxn>
                  <a:cxn ang="0">
                    <a:pos x="25" y="12"/>
                  </a:cxn>
                  <a:cxn ang="0">
                    <a:pos x="17" y="19"/>
                  </a:cxn>
                  <a:cxn ang="0">
                    <a:pos x="13" y="38"/>
                  </a:cxn>
                  <a:cxn ang="0">
                    <a:pos x="17" y="56"/>
                  </a:cxn>
                  <a:cxn ang="0">
                    <a:pos x="25" y="63"/>
                  </a:cxn>
                  <a:cxn ang="0">
                    <a:pos x="34" y="56"/>
                  </a:cxn>
                  <a:cxn ang="0">
                    <a:pos x="37" y="38"/>
                  </a:cxn>
                </a:cxnLst>
                <a:rect l="0" t="0" r="r" b="b"/>
                <a:pathLst>
                  <a:path w="51" h="76">
                    <a:moveTo>
                      <a:pt x="51" y="38"/>
                    </a:moveTo>
                    <a:cubicBezTo>
                      <a:pt x="51" y="49"/>
                      <a:pt x="49" y="58"/>
                      <a:pt x="44" y="65"/>
                    </a:cubicBezTo>
                    <a:cubicBezTo>
                      <a:pt x="39" y="72"/>
                      <a:pt x="33" y="76"/>
                      <a:pt x="25" y="76"/>
                    </a:cubicBezTo>
                    <a:cubicBezTo>
                      <a:pt x="17" y="76"/>
                      <a:pt x="11" y="72"/>
                      <a:pt x="7" y="65"/>
                    </a:cubicBezTo>
                    <a:cubicBezTo>
                      <a:pt x="2" y="58"/>
                      <a:pt x="0" y="49"/>
                      <a:pt x="0" y="38"/>
                    </a:cubicBezTo>
                    <a:cubicBezTo>
                      <a:pt x="0" y="26"/>
                      <a:pt x="2" y="17"/>
                      <a:pt x="7" y="10"/>
                    </a:cubicBezTo>
                    <a:cubicBezTo>
                      <a:pt x="11" y="4"/>
                      <a:pt x="17" y="0"/>
                      <a:pt x="25" y="0"/>
                    </a:cubicBezTo>
                    <a:cubicBezTo>
                      <a:pt x="33" y="0"/>
                      <a:pt x="39" y="3"/>
                      <a:pt x="44" y="10"/>
                    </a:cubicBezTo>
                    <a:cubicBezTo>
                      <a:pt x="49" y="17"/>
                      <a:pt x="51" y="26"/>
                      <a:pt x="51" y="38"/>
                    </a:cubicBezTo>
                    <a:close/>
                    <a:moveTo>
                      <a:pt x="37" y="38"/>
                    </a:moveTo>
                    <a:cubicBezTo>
                      <a:pt x="37" y="30"/>
                      <a:pt x="36" y="24"/>
                      <a:pt x="34" y="19"/>
                    </a:cubicBezTo>
                    <a:cubicBezTo>
                      <a:pt x="32" y="15"/>
                      <a:pt x="29" y="12"/>
                      <a:pt x="25" y="12"/>
                    </a:cubicBezTo>
                    <a:cubicBezTo>
                      <a:pt x="22" y="12"/>
                      <a:pt x="19" y="15"/>
                      <a:pt x="17" y="19"/>
                    </a:cubicBezTo>
                    <a:cubicBezTo>
                      <a:pt x="14" y="24"/>
                      <a:pt x="13" y="30"/>
                      <a:pt x="13" y="38"/>
                    </a:cubicBezTo>
                    <a:cubicBezTo>
                      <a:pt x="13" y="45"/>
                      <a:pt x="14" y="51"/>
                      <a:pt x="17" y="56"/>
                    </a:cubicBezTo>
                    <a:cubicBezTo>
                      <a:pt x="19" y="61"/>
                      <a:pt x="22" y="63"/>
                      <a:pt x="25" y="63"/>
                    </a:cubicBezTo>
                    <a:cubicBezTo>
                      <a:pt x="29" y="63"/>
                      <a:pt x="32" y="61"/>
                      <a:pt x="34" y="56"/>
                    </a:cubicBezTo>
                    <a:cubicBezTo>
                      <a:pt x="36" y="51"/>
                      <a:pt x="37" y="45"/>
                      <a:pt x="37"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7" name="Freeform 217"/>
              <p:cNvSpPr>
                <a:spLocks/>
              </p:cNvSpPr>
              <p:nvPr/>
            </p:nvSpPr>
            <p:spPr bwMode="auto">
              <a:xfrm>
                <a:off x="2818420" y="3605260"/>
                <a:ext cx="32813" cy="87659"/>
              </a:xfrm>
              <a:custGeom>
                <a:avLst/>
                <a:gdLst/>
                <a:ahLst/>
                <a:cxnLst>
                  <a:cxn ang="0">
                    <a:pos x="21" y="56"/>
                  </a:cxn>
                  <a:cxn ang="0">
                    <a:pos x="11" y="56"/>
                  </a:cxn>
                  <a:cxn ang="0">
                    <a:pos x="11" y="9"/>
                  </a:cxn>
                  <a:cxn ang="0">
                    <a:pos x="0" y="9"/>
                  </a:cxn>
                  <a:cxn ang="0">
                    <a:pos x="4" y="0"/>
                  </a:cxn>
                  <a:cxn ang="0">
                    <a:pos x="21" y="0"/>
                  </a:cxn>
                  <a:cxn ang="0">
                    <a:pos x="21" y="56"/>
                  </a:cxn>
                </a:cxnLst>
                <a:rect l="0" t="0" r="r" b="b"/>
                <a:pathLst>
                  <a:path w="21" h="56">
                    <a:moveTo>
                      <a:pt x="21" y="56"/>
                    </a:moveTo>
                    <a:lnTo>
                      <a:pt x="11" y="56"/>
                    </a:lnTo>
                    <a:lnTo>
                      <a:pt x="11"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8" name="Freeform 218"/>
              <p:cNvSpPr>
                <a:spLocks noEditPoints="1"/>
              </p:cNvSpPr>
              <p:nvPr/>
            </p:nvSpPr>
            <p:spPr bwMode="auto">
              <a:xfrm>
                <a:off x="2866858" y="3603694"/>
                <a:ext cx="60938" cy="90790"/>
              </a:xfrm>
              <a:custGeom>
                <a:avLst/>
                <a:gdLst/>
                <a:ahLst/>
                <a:cxnLst>
                  <a:cxn ang="0">
                    <a:pos x="51" y="38"/>
                  </a:cxn>
                  <a:cxn ang="0">
                    <a:pos x="44" y="65"/>
                  </a:cxn>
                  <a:cxn ang="0">
                    <a:pos x="26" y="76"/>
                  </a:cxn>
                  <a:cxn ang="0">
                    <a:pos x="7" y="65"/>
                  </a:cxn>
                  <a:cxn ang="0">
                    <a:pos x="0" y="38"/>
                  </a:cxn>
                  <a:cxn ang="0">
                    <a:pos x="7" y="10"/>
                  </a:cxn>
                  <a:cxn ang="0">
                    <a:pos x="26" y="0"/>
                  </a:cxn>
                  <a:cxn ang="0">
                    <a:pos x="44" y="10"/>
                  </a:cxn>
                  <a:cxn ang="0">
                    <a:pos x="51" y="38"/>
                  </a:cxn>
                  <a:cxn ang="0">
                    <a:pos x="38" y="38"/>
                  </a:cxn>
                  <a:cxn ang="0">
                    <a:pos x="34" y="19"/>
                  </a:cxn>
                  <a:cxn ang="0">
                    <a:pos x="26" y="12"/>
                  </a:cxn>
                  <a:cxn ang="0">
                    <a:pos x="17" y="19"/>
                  </a:cxn>
                  <a:cxn ang="0">
                    <a:pos x="14" y="38"/>
                  </a:cxn>
                  <a:cxn ang="0">
                    <a:pos x="17" y="56"/>
                  </a:cxn>
                  <a:cxn ang="0">
                    <a:pos x="26" y="63"/>
                  </a:cxn>
                  <a:cxn ang="0">
                    <a:pos x="34" y="56"/>
                  </a:cxn>
                  <a:cxn ang="0">
                    <a:pos x="38" y="38"/>
                  </a:cxn>
                </a:cxnLst>
                <a:rect l="0" t="0" r="r" b="b"/>
                <a:pathLst>
                  <a:path w="51" h="76">
                    <a:moveTo>
                      <a:pt x="51" y="38"/>
                    </a:moveTo>
                    <a:cubicBezTo>
                      <a:pt x="51" y="49"/>
                      <a:pt x="49" y="58"/>
                      <a:pt x="44" y="65"/>
                    </a:cubicBezTo>
                    <a:cubicBezTo>
                      <a:pt x="40" y="72"/>
                      <a:pt x="33" y="76"/>
                      <a:pt x="26" y="76"/>
                    </a:cubicBezTo>
                    <a:cubicBezTo>
                      <a:pt x="18" y="76"/>
                      <a:pt x="11" y="72"/>
                      <a:pt x="7" y="65"/>
                    </a:cubicBezTo>
                    <a:cubicBezTo>
                      <a:pt x="2" y="58"/>
                      <a:pt x="0" y="49"/>
                      <a:pt x="0" y="38"/>
                    </a:cubicBezTo>
                    <a:cubicBezTo>
                      <a:pt x="0" y="26"/>
                      <a:pt x="2" y="17"/>
                      <a:pt x="7" y="10"/>
                    </a:cubicBezTo>
                    <a:cubicBezTo>
                      <a:pt x="11" y="4"/>
                      <a:pt x="18" y="0"/>
                      <a:pt x="26" y="0"/>
                    </a:cubicBezTo>
                    <a:cubicBezTo>
                      <a:pt x="33" y="0"/>
                      <a:pt x="40" y="3"/>
                      <a:pt x="44" y="10"/>
                    </a:cubicBezTo>
                    <a:cubicBezTo>
                      <a:pt x="49" y="17"/>
                      <a:pt x="51" y="26"/>
                      <a:pt x="51" y="38"/>
                    </a:cubicBezTo>
                    <a:close/>
                    <a:moveTo>
                      <a:pt x="38" y="38"/>
                    </a:moveTo>
                    <a:cubicBezTo>
                      <a:pt x="38" y="30"/>
                      <a:pt x="36" y="24"/>
                      <a:pt x="34" y="19"/>
                    </a:cubicBezTo>
                    <a:cubicBezTo>
                      <a:pt x="32" y="15"/>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4" y="56"/>
                    </a:cubicBezTo>
                    <a:cubicBezTo>
                      <a:pt x="36" y="51"/>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9" name="Freeform 219"/>
              <p:cNvSpPr>
                <a:spLocks/>
              </p:cNvSpPr>
              <p:nvPr/>
            </p:nvSpPr>
            <p:spPr bwMode="auto">
              <a:xfrm>
                <a:off x="2929359" y="3605260"/>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0" name="Freeform 220"/>
              <p:cNvSpPr>
                <a:spLocks noEditPoints="1"/>
              </p:cNvSpPr>
              <p:nvPr/>
            </p:nvSpPr>
            <p:spPr bwMode="auto">
              <a:xfrm>
                <a:off x="2976235" y="3603694"/>
                <a:ext cx="62501" cy="90790"/>
              </a:xfrm>
              <a:custGeom>
                <a:avLst/>
                <a:gdLst/>
                <a:ahLst/>
                <a:cxnLst>
                  <a:cxn ang="0">
                    <a:pos x="52" y="38"/>
                  </a:cxn>
                  <a:cxn ang="0">
                    <a:pos x="45" y="65"/>
                  </a:cxn>
                  <a:cxn ang="0">
                    <a:pos x="26" y="76"/>
                  </a:cxn>
                  <a:cxn ang="0">
                    <a:pos x="7" y="65"/>
                  </a:cxn>
                  <a:cxn ang="0">
                    <a:pos x="0" y="38"/>
                  </a:cxn>
                  <a:cxn ang="0">
                    <a:pos x="7" y="10"/>
                  </a:cxn>
                  <a:cxn ang="0">
                    <a:pos x="26" y="0"/>
                  </a:cxn>
                  <a:cxn ang="0">
                    <a:pos x="45" y="10"/>
                  </a:cxn>
                  <a:cxn ang="0">
                    <a:pos x="52" y="38"/>
                  </a:cxn>
                  <a:cxn ang="0">
                    <a:pos x="38" y="38"/>
                  </a:cxn>
                  <a:cxn ang="0">
                    <a:pos x="34" y="19"/>
                  </a:cxn>
                  <a:cxn ang="0">
                    <a:pos x="26" y="12"/>
                  </a:cxn>
                  <a:cxn ang="0">
                    <a:pos x="17" y="19"/>
                  </a:cxn>
                  <a:cxn ang="0">
                    <a:pos x="14" y="38"/>
                  </a:cxn>
                  <a:cxn ang="0">
                    <a:pos x="17" y="56"/>
                  </a:cxn>
                  <a:cxn ang="0">
                    <a:pos x="26" y="63"/>
                  </a:cxn>
                  <a:cxn ang="0">
                    <a:pos x="35" y="56"/>
                  </a:cxn>
                  <a:cxn ang="0">
                    <a:pos x="38" y="38"/>
                  </a:cxn>
                </a:cxnLst>
                <a:rect l="0" t="0" r="r" b="b"/>
                <a:pathLst>
                  <a:path w="52" h="76">
                    <a:moveTo>
                      <a:pt x="52" y="38"/>
                    </a:moveTo>
                    <a:cubicBezTo>
                      <a:pt x="52" y="49"/>
                      <a:pt x="49" y="58"/>
                      <a:pt x="45" y="65"/>
                    </a:cubicBezTo>
                    <a:cubicBezTo>
                      <a:pt x="40" y="72"/>
                      <a:pt x="34" y="76"/>
                      <a:pt x="26" y="76"/>
                    </a:cubicBezTo>
                    <a:cubicBezTo>
                      <a:pt x="18" y="76"/>
                      <a:pt x="12" y="72"/>
                      <a:pt x="7" y="65"/>
                    </a:cubicBezTo>
                    <a:cubicBezTo>
                      <a:pt x="2" y="58"/>
                      <a:pt x="0" y="49"/>
                      <a:pt x="0" y="38"/>
                    </a:cubicBezTo>
                    <a:cubicBezTo>
                      <a:pt x="0" y="26"/>
                      <a:pt x="2" y="17"/>
                      <a:pt x="7" y="10"/>
                    </a:cubicBezTo>
                    <a:cubicBezTo>
                      <a:pt x="12" y="4"/>
                      <a:pt x="18" y="0"/>
                      <a:pt x="26" y="0"/>
                    </a:cubicBezTo>
                    <a:cubicBezTo>
                      <a:pt x="34" y="0"/>
                      <a:pt x="40" y="3"/>
                      <a:pt x="45" y="10"/>
                    </a:cubicBezTo>
                    <a:cubicBezTo>
                      <a:pt x="49" y="17"/>
                      <a:pt x="52" y="26"/>
                      <a:pt x="52" y="38"/>
                    </a:cubicBezTo>
                    <a:close/>
                    <a:moveTo>
                      <a:pt x="38" y="38"/>
                    </a:moveTo>
                    <a:cubicBezTo>
                      <a:pt x="38" y="30"/>
                      <a:pt x="37" y="24"/>
                      <a:pt x="34" y="19"/>
                    </a:cubicBezTo>
                    <a:cubicBezTo>
                      <a:pt x="32" y="15"/>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5" y="56"/>
                    </a:cubicBezTo>
                    <a:cubicBezTo>
                      <a:pt x="37" y="51"/>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1" name="Freeform 221"/>
              <p:cNvSpPr>
                <a:spLocks/>
              </p:cNvSpPr>
              <p:nvPr/>
            </p:nvSpPr>
            <p:spPr bwMode="auto">
              <a:xfrm>
                <a:off x="3040299" y="3605260"/>
                <a:ext cx="32813" cy="87659"/>
              </a:xfrm>
              <a:custGeom>
                <a:avLst/>
                <a:gdLst/>
                <a:ahLst/>
                <a:cxnLst>
                  <a:cxn ang="0">
                    <a:pos x="21" y="56"/>
                  </a:cxn>
                  <a:cxn ang="0">
                    <a:pos x="11" y="56"/>
                  </a:cxn>
                  <a:cxn ang="0">
                    <a:pos x="11" y="9"/>
                  </a:cxn>
                  <a:cxn ang="0">
                    <a:pos x="0" y="9"/>
                  </a:cxn>
                  <a:cxn ang="0">
                    <a:pos x="5" y="0"/>
                  </a:cxn>
                  <a:cxn ang="0">
                    <a:pos x="21" y="0"/>
                  </a:cxn>
                  <a:cxn ang="0">
                    <a:pos x="21" y="56"/>
                  </a:cxn>
                </a:cxnLst>
                <a:rect l="0" t="0" r="r" b="b"/>
                <a:pathLst>
                  <a:path w="21" h="56">
                    <a:moveTo>
                      <a:pt x="21" y="56"/>
                    </a:moveTo>
                    <a:lnTo>
                      <a:pt x="11" y="56"/>
                    </a:lnTo>
                    <a:lnTo>
                      <a:pt x="11" y="9"/>
                    </a:lnTo>
                    <a:lnTo>
                      <a:pt x="0" y="9"/>
                    </a:lnTo>
                    <a:lnTo>
                      <a:pt x="5"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2" name="Freeform 222"/>
              <p:cNvSpPr>
                <a:spLocks/>
              </p:cNvSpPr>
              <p:nvPr/>
            </p:nvSpPr>
            <p:spPr bwMode="auto">
              <a:xfrm>
                <a:off x="3080924" y="3605260"/>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3" name="Freeform 223"/>
              <p:cNvSpPr>
                <a:spLocks/>
              </p:cNvSpPr>
              <p:nvPr/>
            </p:nvSpPr>
            <p:spPr bwMode="auto">
              <a:xfrm>
                <a:off x="3121550" y="3605260"/>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4" name="Freeform 234"/>
              <p:cNvSpPr>
                <a:spLocks noEditPoints="1"/>
              </p:cNvSpPr>
              <p:nvPr/>
            </p:nvSpPr>
            <p:spPr bwMode="auto">
              <a:xfrm>
                <a:off x="2360600" y="3741444"/>
                <a:ext cx="62501" cy="92355"/>
              </a:xfrm>
              <a:custGeom>
                <a:avLst/>
                <a:gdLst/>
                <a:ahLst/>
                <a:cxnLst>
                  <a:cxn ang="0">
                    <a:pos x="51" y="38"/>
                  </a:cxn>
                  <a:cxn ang="0">
                    <a:pos x="44" y="65"/>
                  </a:cxn>
                  <a:cxn ang="0">
                    <a:pos x="26" y="76"/>
                  </a:cxn>
                  <a:cxn ang="0">
                    <a:pos x="7" y="65"/>
                  </a:cxn>
                  <a:cxn ang="0">
                    <a:pos x="0" y="38"/>
                  </a:cxn>
                  <a:cxn ang="0">
                    <a:pos x="7" y="11"/>
                  </a:cxn>
                  <a:cxn ang="0">
                    <a:pos x="26" y="0"/>
                  </a:cxn>
                  <a:cxn ang="0">
                    <a:pos x="44" y="10"/>
                  </a:cxn>
                  <a:cxn ang="0">
                    <a:pos x="51" y="38"/>
                  </a:cxn>
                  <a:cxn ang="0">
                    <a:pos x="38" y="38"/>
                  </a:cxn>
                  <a:cxn ang="0">
                    <a:pos x="34" y="20"/>
                  </a:cxn>
                  <a:cxn ang="0">
                    <a:pos x="26" y="13"/>
                  </a:cxn>
                  <a:cxn ang="0">
                    <a:pos x="17" y="20"/>
                  </a:cxn>
                  <a:cxn ang="0">
                    <a:pos x="14" y="38"/>
                  </a:cxn>
                  <a:cxn ang="0">
                    <a:pos x="17" y="56"/>
                  </a:cxn>
                  <a:cxn ang="0">
                    <a:pos x="26" y="63"/>
                  </a:cxn>
                  <a:cxn ang="0">
                    <a:pos x="34" y="56"/>
                  </a:cxn>
                  <a:cxn ang="0">
                    <a:pos x="38" y="38"/>
                  </a:cxn>
                </a:cxnLst>
                <a:rect l="0" t="0" r="r" b="b"/>
                <a:pathLst>
                  <a:path w="51" h="76">
                    <a:moveTo>
                      <a:pt x="51" y="38"/>
                    </a:moveTo>
                    <a:cubicBezTo>
                      <a:pt x="51" y="49"/>
                      <a:pt x="49" y="58"/>
                      <a:pt x="44" y="65"/>
                    </a:cubicBezTo>
                    <a:cubicBezTo>
                      <a:pt x="40" y="72"/>
                      <a:pt x="33" y="76"/>
                      <a:pt x="26" y="76"/>
                    </a:cubicBezTo>
                    <a:cubicBezTo>
                      <a:pt x="18" y="76"/>
                      <a:pt x="11" y="72"/>
                      <a:pt x="7" y="65"/>
                    </a:cubicBezTo>
                    <a:cubicBezTo>
                      <a:pt x="2" y="59"/>
                      <a:pt x="0" y="49"/>
                      <a:pt x="0" y="38"/>
                    </a:cubicBezTo>
                    <a:cubicBezTo>
                      <a:pt x="0" y="27"/>
                      <a:pt x="2" y="17"/>
                      <a:pt x="7" y="11"/>
                    </a:cubicBezTo>
                    <a:cubicBezTo>
                      <a:pt x="11" y="4"/>
                      <a:pt x="18" y="0"/>
                      <a:pt x="26" y="0"/>
                    </a:cubicBezTo>
                    <a:cubicBezTo>
                      <a:pt x="33" y="0"/>
                      <a:pt x="40" y="4"/>
                      <a:pt x="44" y="10"/>
                    </a:cubicBezTo>
                    <a:cubicBezTo>
                      <a:pt x="49" y="17"/>
                      <a:pt x="51" y="26"/>
                      <a:pt x="51" y="38"/>
                    </a:cubicBezTo>
                    <a:close/>
                    <a:moveTo>
                      <a:pt x="38" y="38"/>
                    </a:moveTo>
                    <a:cubicBezTo>
                      <a:pt x="38" y="30"/>
                      <a:pt x="36" y="24"/>
                      <a:pt x="34" y="20"/>
                    </a:cubicBezTo>
                    <a:cubicBezTo>
                      <a:pt x="32" y="15"/>
                      <a:pt x="29" y="13"/>
                      <a:pt x="26" y="13"/>
                    </a:cubicBezTo>
                    <a:cubicBezTo>
                      <a:pt x="22" y="13"/>
                      <a:pt x="19" y="15"/>
                      <a:pt x="17" y="20"/>
                    </a:cubicBezTo>
                    <a:cubicBezTo>
                      <a:pt x="15" y="24"/>
                      <a:pt x="14" y="30"/>
                      <a:pt x="14" y="38"/>
                    </a:cubicBezTo>
                    <a:cubicBezTo>
                      <a:pt x="14" y="45"/>
                      <a:pt x="15" y="52"/>
                      <a:pt x="17" y="56"/>
                    </a:cubicBezTo>
                    <a:cubicBezTo>
                      <a:pt x="19" y="61"/>
                      <a:pt x="22" y="63"/>
                      <a:pt x="26" y="63"/>
                    </a:cubicBezTo>
                    <a:cubicBezTo>
                      <a:pt x="29" y="63"/>
                      <a:pt x="32" y="61"/>
                      <a:pt x="34" y="56"/>
                    </a:cubicBezTo>
                    <a:cubicBezTo>
                      <a:pt x="36" y="52"/>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5" name="Freeform 235"/>
              <p:cNvSpPr>
                <a:spLocks/>
              </p:cNvSpPr>
              <p:nvPr/>
            </p:nvSpPr>
            <p:spPr bwMode="auto">
              <a:xfrm>
                <a:off x="2424664" y="3744575"/>
                <a:ext cx="32813" cy="86094"/>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6" name="Freeform 236"/>
              <p:cNvSpPr>
                <a:spLocks noEditPoints="1"/>
              </p:cNvSpPr>
              <p:nvPr/>
            </p:nvSpPr>
            <p:spPr bwMode="auto">
              <a:xfrm>
                <a:off x="2471540" y="3741444"/>
                <a:ext cx="62501" cy="92355"/>
              </a:xfrm>
              <a:custGeom>
                <a:avLst/>
                <a:gdLst/>
                <a:ahLst/>
                <a:cxnLst>
                  <a:cxn ang="0">
                    <a:pos x="52" y="38"/>
                  </a:cxn>
                  <a:cxn ang="0">
                    <a:pos x="45" y="65"/>
                  </a:cxn>
                  <a:cxn ang="0">
                    <a:pos x="26" y="76"/>
                  </a:cxn>
                  <a:cxn ang="0">
                    <a:pos x="7" y="65"/>
                  </a:cxn>
                  <a:cxn ang="0">
                    <a:pos x="0" y="38"/>
                  </a:cxn>
                  <a:cxn ang="0">
                    <a:pos x="7" y="11"/>
                  </a:cxn>
                  <a:cxn ang="0">
                    <a:pos x="26" y="0"/>
                  </a:cxn>
                  <a:cxn ang="0">
                    <a:pos x="45" y="10"/>
                  </a:cxn>
                  <a:cxn ang="0">
                    <a:pos x="52" y="38"/>
                  </a:cxn>
                  <a:cxn ang="0">
                    <a:pos x="38" y="38"/>
                  </a:cxn>
                  <a:cxn ang="0">
                    <a:pos x="34" y="20"/>
                  </a:cxn>
                  <a:cxn ang="0">
                    <a:pos x="26" y="13"/>
                  </a:cxn>
                  <a:cxn ang="0">
                    <a:pos x="17" y="20"/>
                  </a:cxn>
                  <a:cxn ang="0">
                    <a:pos x="14" y="38"/>
                  </a:cxn>
                  <a:cxn ang="0">
                    <a:pos x="17" y="56"/>
                  </a:cxn>
                  <a:cxn ang="0">
                    <a:pos x="26" y="63"/>
                  </a:cxn>
                  <a:cxn ang="0">
                    <a:pos x="35" y="56"/>
                  </a:cxn>
                  <a:cxn ang="0">
                    <a:pos x="38" y="38"/>
                  </a:cxn>
                </a:cxnLst>
                <a:rect l="0" t="0" r="r" b="b"/>
                <a:pathLst>
                  <a:path w="52" h="76">
                    <a:moveTo>
                      <a:pt x="52" y="38"/>
                    </a:moveTo>
                    <a:cubicBezTo>
                      <a:pt x="52" y="49"/>
                      <a:pt x="49" y="58"/>
                      <a:pt x="45" y="65"/>
                    </a:cubicBezTo>
                    <a:cubicBezTo>
                      <a:pt x="40" y="72"/>
                      <a:pt x="34" y="76"/>
                      <a:pt x="26" y="76"/>
                    </a:cubicBezTo>
                    <a:cubicBezTo>
                      <a:pt x="18" y="76"/>
                      <a:pt x="12" y="72"/>
                      <a:pt x="7" y="65"/>
                    </a:cubicBezTo>
                    <a:cubicBezTo>
                      <a:pt x="2" y="59"/>
                      <a:pt x="0" y="49"/>
                      <a:pt x="0" y="38"/>
                    </a:cubicBezTo>
                    <a:cubicBezTo>
                      <a:pt x="0" y="27"/>
                      <a:pt x="2" y="17"/>
                      <a:pt x="7" y="11"/>
                    </a:cubicBezTo>
                    <a:cubicBezTo>
                      <a:pt x="12" y="4"/>
                      <a:pt x="18" y="0"/>
                      <a:pt x="26" y="0"/>
                    </a:cubicBezTo>
                    <a:cubicBezTo>
                      <a:pt x="34" y="0"/>
                      <a:pt x="40" y="4"/>
                      <a:pt x="45" y="10"/>
                    </a:cubicBezTo>
                    <a:cubicBezTo>
                      <a:pt x="49" y="17"/>
                      <a:pt x="52" y="26"/>
                      <a:pt x="52" y="38"/>
                    </a:cubicBezTo>
                    <a:close/>
                    <a:moveTo>
                      <a:pt x="38" y="38"/>
                    </a:moveTo>
                    <a:cubicBezTo>
                      <a:pt x="38" y="30"/>
                      <a:pt x="37" y="24"/>
                      <a:pt x="34" y="20"/>
                    </a:cubicBezTo>
                    <a:cubicBezTo>
                      <a:pt x="32" y="15"/>
                      <a:pt x="29" y="13"/>
                      <a:pt x="26" y="13"/>
                    </a:cubicBezTo>
                    <a:cubicBezTo>
                      <a:pt x="22" y="13"/>
                      <a:pt x="19" y="15"/>
                      <a:pt x="17" y="20"/>
                    </a:cubicBezTo>
                    <a:cubicBezTo>
                      <a:pt x="15" y="24"/>
                      <a:pt x="14" y="30"/>
                      <a:pt x="14" y="38"/>
                    </a:cubicBezTo>
                    <a:cubicBezTo>
                      <a:pt x="14" y="45"/>
                      <a:pt x="15" y="52"/>
                      <a:pt x="17" y="56"/>
                    </a:cubicBezTo>
                    <a:cubicBezTo>
                      <a:pt x="19" y="61"/>
                      <a:pt x="22" y="63"/>
                      <a:pt x="26" y="63"/>
                    </a:cubicBezTo>
                    <a:cubicBezTo>
                      <a:pt x="29" y="63"/>
                      <a:pt x="32" y="61"/>
                      <a:pt x="35" y="56"/>
                    </a:cubicBezTo>
                    <a:cubicBezTo>
                      <a:pt x="37" y="52"/>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7" name="Freeform 237"/>
              <p:cNvSpPr>
                <a:spLocks/>
              </p:cNvSpPr>
              <p:nvPr/>
            </p:nvSpPr>
            <p:spPr bwMode="auto">
              <a:xfrm>
                <a:off x="2535603" y="3744575"/>
                <a:ext cx="32813" cy="86094"/>
              </a:xfrm>
              <a:custGeom>
                <a:avLst/>
                <a:gdLst/>
                <a:ahLst/>
                <a:cxnLst>
                  <a:cxn ang="0">
                    <a:pos x="21" y="55"/>
                  </a:cxn>
                  <a:cxn ang="0">
                    <a:pos x="11" y="55"/>
                  </a:cxn>
                  <a:cxn ang="0">
                    <a:pos x="11" y="9"/>
                  </a:cxn>
                  <a:cxn ang="0">
                    <a:pos x="0" y="9"/>
                  </a:cxn>
                  <a:cxn ang="0">
                    <a:pos x="5" y="0"/>
                  </a:cxn>
                  <a:cxn ang="0">
                    <a:pos x="21" y="0"/>
                  </a:cxn>
                  <a:cxn ang="0">
                    <a:pos x="21" y="55"/>
                  </a:cxn>
                </a:cxnLst>
                <a:rect l="0" t="0" r="r" b="b"/>
                <a:pathLst>
                  <a:path w="21" h="55">
                    <a:moveTo>
                      <a:pt x="21" y="55"/>
                    </a:moveTo>
                    <a:lnTo>
                      <a:pt x="11" y="55"/>
                    </a:lnTo>
                    <a:lnTo>
                      <a:pt x="11" y="9"/>
                    </a:lnTo>
                    <a:lnTo>
                      <a:pt x="0" y="9"/>
                    </a:lnTo>
                    <a:lnTo>
                      <a:pt x="5" y="0"/>
                    </a:lnTo>
                    <a:lnTo>
                      <a:pt x="21" y="0"/>
                    </a:lnTo>
                    <a:lnTo>
                      <a:pt x="21"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8" name="Freeform 238"/>
              <p:cNvSpPr>
                <a:spLocks/>
              </p:cNvSpPr>
              <p:nvPr/>
            </p:nvSpPr>
            <p:spPr bwMode="auto">
              <a:xfrm>
                <a:off x="2576229" y="3744575"/>
                <a:ext cx="32813" cy="86094"/>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9" name="Freeform 239"/>
              <p:cNvSpPr>
                <a:spLocks/>
              </p:cNvSpPr>
              <p:nvPr/>
            </p:nvSpPr>
            <p:spPr bwMode="auto">
              <a:xfrm>
                <a:off x="2616855" y="3744575"/>
                <a:ext cx="32813" cy="86094"/>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0" name="Freeform 240"/>
              <p:cNvSpPr>
                <a:spLocks/>
              </p:cNvSpPr>
              <p:nvPr/>
            </p:nvSpPr>
            <p:spPr bwMode="auto">
              <a:xfrm>
                <a:off x="2657480" y="3744575"/>
                <a:ext cx="32813" cy="86094"/>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1" name="Freeform 241"/>
              <p:cNvSpPr>
                <a:spLocks noEditPoints="1"/>
              </p:cNvSpPr>
              <p:nvPr/>
            </p:nvSpPr>
            <p:spPr bwMode="auto">
              <a:xfrm>
                <a:off x="2704356" y="3741444"/>
                <a:ext cx="62501" cy="92355"/>
              </a:xfrm>
              <a:custGeom>
                <a:avLst/>
                <a:gdLst/>
                <a:ahLst/>
                <a:cxnLst>
                  <a:cxn ang="0">
                    <a:pos x="52" y="38"/>
                  </a:cxn>
                  <a:cxn ang="0">
                    <a:pos x="44" y="65"/>
                  </a:cxn>
                  <a:cxn ang="0">
                    <a:pos x="26" y="76"/>
                  </a:cxn>
                  <a:cxn ang="0">
                    <a:pos x="7" y="65"/>
                  </a:cxn>
                  <a:cxn ang="0">
                    <a:pos x="0" y="38"/>
                  </a:cxn>
                  <a:cxn ang="0">
                    <a:pos x="7" y="11"/>
                  </a:cxn>
                  <a:cxn ang="0">
                    <a:pos x="26" y="0"/>
                  </a:cxn>
                  <a:cxn ang="0">
                    <a:pos x="45" y="10"/>
                  </a:cxn>
                  <a:cxn ang="0">
                    <a:pos x="52" y="38"/>
                  </a:cxn>
                  <a:cxn ang="0">
                    <a:pos x="38" y="38"/>
                  </a:cxn>
                  <a:cxn ang="0">
                    <a:pos x="34" y="20"/>
                  </a:cxn>
                  <a:cxn ang="0">
                    <a:pos x="26" y="13"/>
                  </a:cxn>
                  <a:cxn ang="0">
                    <a:pos x="17" y="20"/>
                  </a:cxn>
                  <a:cxn ang="0">
                    <a:pos x="14" y="38"/>
                  </a:cxn>
                  <a:cxn ang="0">
                    <a:pos x="17" y="56"/>
                  </a:cxn>
                  <a:cxn ang="0">
                    <a:pos x="26" y="63"/>
                  </a:cxn>
                  <a:cxn ang="0">
                    <a:pos x="34" y="56"/>
                  </a:cxn>
                  <a:cxn ang="0">
                    <a:pos x="38" y="38"/>
                  </a:cxn>
                </a:cxnLst>
                <a:rect l="0" t="0" r="r" b="b"/>
                <a:pathLst>
                  <a:path w="52" h="76">
                    <a:moveTo>
                      <a:pt x="52" y="38"/>
                    </a:moveTo>
                    <a:cubicBezTo>
                      <a:pt x="52" y="49"/>
                      <a:pt x="49" y="58"/>
                      <a:pt x="44" y="65"/>
                    </a:cubicBezTo>
                    <a:cubicBezTo>
                      <a:pt x="40" y="72"/>
                      <a:pt x="33" y="76"/>
                      <a:pt x="26" y="76"/>
                    </a:cubicBezTo>
                    <a:cubicBezTo>
                      <a:pt x="18" y="76"/>
                      <a:pt x="12" y="72"/>
                      <a:pt x="7" y="65"/>
                    </a:cubicBezTo>
                    <a:cubicBezTo>
                      <a:pt x="2" y="59"/>
                      <a:pt x="0" y="49"/>
                      <a:pt x="0" y="38"/>
                    </a:cubicBezTo>
                    <a:cubicBezTo>
                      <a:pt x="0" y="27"/>
                      <a:pt x="2" y="17"/>
                      <a:pt x="7" y="11"/>
                    </a:cubicBezTo>
                    <a:cubicBezTo>
                      <a:pt x="12" y="4"/>
                      <a:pt x="18" y="0"/>
                      <a:pt x="26" y="0"/>
                    </a:cubicBezTo>
                    <a:cubicBezTo>
                      <a:pt x="34" y="0"/>
                      <a:pt x="40" y="4"/>
                      <a:pt x="45" y="10"/>
                    </a:cubicBezTo>
                    <a:cubicBezTo>
                      <a:pt x="49" y="17"/>
                      <a:pt x="52" y="26"/>
                      <a:pt x="52" y="38"/>
                    </a:cubicBezTo>
                    <a:close/>
                    <a:moveTo>
                      <a:pt x="38" y="38"/>
                    </a:moveTo>
                    <a:cubicBezTo>
                      <a:pt x="38" y="30"/>
                      <a:pt x="37" y="24"/>
                      <a:pt x="34" y="20"/>
                    </a:cubicBezTo>
                    <a:cubicBezTo>
                      <a:pt x="32" y="15"/>
                      <a:pt x="29" y="13"/>
                      <a:pt x="26" y="13"/>
                    </a:cubicBezTo>
                    <a:cubicBezTo>
                      <a:pt x="22" y="13"/>
                      <a:pt x="19" y="15"/>
                      <a:pt x="17" y="20"/>
                    </a:cubicBezTo>
                    <a:cubicBezTo>
                      <a:pt x="15" y="24"/>
                      <a:pt x="14" y="30"/>
                      <a:pt x="14" y="38"/>
                    </a:cubicBezTo>
                    <a:cubicBezTo>
                      <a:pt x="14" y="45"/>
                      <a:pt x="15" y="52"/>
                      <a:pt x="17" y="56"/>
                    </a:cubicBezTo>
                    <a:cubicBezTo>
                      <a:pt x="19" y="61"/>
                      <a:pt x="22" y="63"/>
                      <a:pt x="26" y="63"/>
                    </a:cubicBezTo>
                    <a:cubicBezTo>
                      <a:pt x="29" y="63"/>
                      <a:pt x="32" y="61"/>
                      <a:pt x="34" y="56"/>
                    </a:cubicBezTo>
                    <a:cubicBezTo>
                      <a:pt x="37" y="52"/>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2" name="Freeform 242"/>
              <p:cNvSpPr>
                <a:spLocks noEditPoints="1"/>
              </p:cNvSpPr>
              <p:nvPr/>
            </p:nvSpPr>
            <p:spPr bwMode="auto">
              <a:xfrm>
                <a:off x="2771544" y="3741444"/>
                <a:ext cx="62501" cy="92355"/>
              </a:xfrm>
              <a:custGeom>
                <a:avLst/>
                <a:gdLst/>
                <a:ahLst/>
                <a:cxnLst>
                  <a:cxn ang="0">
                    <a:pos x="52" y="38"/>
                  </a:cxn>
                  <a:cxn ang="0">
                    <a:pos x="45" y="65"/>
                  </a:cxn>
                  <a:cxn ang="0">
                    <a:pos x="26" y="76"/>
                  </a:cxn>
                  <a:cxn ang="0">
                    <a:pos x="7" y="65"/>
                  </a:cxn>
                  <a:cxn ang="0">
                    <a:pos x="0" y="38"/>
                  </a:cxn>
                  <a:cxn ang="0">
                    <a:pos x="7" y="11"/>
                  </a:cxn>
                  <a:cxn ang="0">
                    <a:pos x="26" y="0"/>
                  </a:cxn>
                  <a:cxn ang="0">
                    <a:pos x="45" y="10"/>
                  </a:cxn>
                  <a:cxn ang="0">
                    <a:pos x="52" y="38"/>
                  </a:cxn>
                  <a:cxn ang="0">
                    <a:pos x="38" y="38"/>
                  </a:cxn>
                  <a:cxn ang="0">
                    <a:pos x="35" y="20"/>
                  </a:cxn>
                  <a:cxn ang="0">
                    <a:pos x="26" y="13"/>
                  </a:cxn>
                  <a:cxn ang="0">
                    <a:pos x="18" y="20"/>
                  </a:cxn>
                  <a:cxn ang="0">
                    <a:pos x="14" y="38"/>
                  </a:cxn>
                  <a:cxn ang="0">
                    <a:pos x="18" y="56"/>
                  </a:cxn>
                  <a:cxn ang="0">
                    <a:pos x="26" y="63"/>
                  </a:cxn>
                  <a:cxn ang="0">
                    <a:pos x="35" y="56"/>
                  </a:cxn>
                  <a:cxn ang="0">
                    <a:pos x="38" y="38"/>
                  </a:cxn>
                </a:cxnLst>
                <a:rect l="0" t="0" r="r" b="b"/>
                <a:pathLst>
                  <a:path w="52" h="76">
                    <a:moveTo>
                      <a:pt x="52" y="38"/>
                    </a:moveTo>
                    <a:cubicBezTo>
                      <a:pt x="52" y="49"/>
                      <a:pt x="50" y="58"/>
                      <a:pt x="45" y="65"/>
                    </a:cubicBezTo>
                    <a:cubicBezTo>
                      <a:pt x="40" y="72"/>
                      <a:pt x="34" y="76"/>
                      <a:pt x="26" y="76"/>
                    </a:cubicBezTo>
                    <a:cubicBezTo>
                      <a:pt x="18" y="76"/>
                      <a:pt x="12" y="72"/>
                      <a:pt x="7" y="65"/>
                    </a:cubicBezTo>
                    <a:cubicBezTo>
                      <a:pt x="3" y="59"/>
                      <a:pt x="0" y="49"/>
                      <a:pt x="0" y="38"/>
                    </a:cubicBezTo>
                    <a:cubicBezTo>
                      <a:pt x="0" y="27"/>
                      <a:pt x="3" y="17"/>
                      <a:pt x="7" y="11"/>
                    </a:cubicBezTo>
                    <a:cubicBezTo>
                      <a:pt x="12" y="4"/>
                      <a:pt x="18" y="0"/>
                      <a:pt x="26" y="0"/>
                    </a:cubicBezTo>
                    <a:cubicBezTo>
                      <a:pt x="34" y="0"/>
                      <a:pt x="40" y="4"/>
                      <a:pt x="45" y="10"/>
                    </a:cubicBezTo>
                    <a:cubicBezTo>
                      <a:pt x="50" y="17"/>
                      <a:pt x="52" y="26"/>
                      <a:pt x="52" y="38"/>
                    </a:cubicBezTo>
                    <a:close/>
                    <a:moveTo>
                      <a:pt x="38" y="38"/>
                    </a:moveTo>
                    <a:cubicBezTo>
                      <a:pt x="38" y="30"/>
                      <a:pt x="37" y="24"/>
                      <a:pt x="35" y="20"/>
                    </a:cubicBezTo>
                    <a:cubicBezTo>
                      <a:pt x="33" y="15"/>
                      <a:pt x="30" y="13"/>
                      <a:pt x="26" y="13"/>
                    </a:cubicBezTo>
                    <a:cubicBezTo>
                      <a:pt x="23" y="13"/>
                      <a:pt x="20" y="15"/>
                      <a:pt x="18" y="20"/>
                    </a:cubicBezTo>
                    <a:cubicBezTo>
                      <a:pt x="15" y="24"/>
                      <a:pt x="14" y="30"/>
                      <a:pt x="14" y="38"/>
                    </a:cubicBezTo>
                    <a:cubicBezTo>
                      <a:pt x="14" y="45"/>
                      <a:pt x="15" y="52"/>
                      <a:pt x="18" y="56"/>
                    </a:cubicBezTo>
                    <a:cubicBezTo>
                      <a:pt x="20" y="61"/>
                      <a:pt x="23" y="63"/>
                      <a:pt x="26" y="63"/>
                    </a:cubicBezTo>
                    <a:cubicBezTo>
                      <a:pt x="30" y="63"/>
                      <a:pt x="33" y="61"/>
                      <a:pt x="35" y="56"/>
                    </a:cubicBezTo>
                    <a:cubicBezTo>
                      <a:pt x="37" y="52"/>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3" name="Freeform 243"/>
              <p:cNvSpPr>
                <a:spLocks/>
              </p:cNvSpPr>
              <p:nvPr/>
            </p:nvSpPr>
            <p:spPr bwMode="auto">
              <a:xfrm>
                <a:off x="2835608" y="3744575"/>
                <a:ext cx="32813" cy="86094"/>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4" name="Freeform 244"/>
              <p:cNvSpPr>
                <a:spLocks noEditPoints="1"/>
              </p:cNvSpPr>
              <p:nvPr/>
            </p:nvSpPr>
            <p:spPr bwMode="auto">
              <a:xfrm>
                <a:off x="2882484" y="3741444"/>
                <a:ext cx="62501" cy="92355"/>
              </a:xfrm>
              <a:custGeom>
                <a:avLst/>
                <a:gdLst/>
                <a:ahLst/>
                <a:cxnLst>
                  <a:cxn ang="0">
                    <a:pos x="51" y="38"/>
                  </a:cxn>
                  <a:cxn ang="0">
                    <a:pos x="44" y="65"/>
                  </a:cxn>
                  <a:cxn ang="0">
                    <a:pos x="25" y="76"/>
                  </a:cxn>
                  <a:cxn ang="0">
                    <a:pos x="7" y="65"/>
                  </a:cxn>
                  <a:cxn ang="0">
                    <a:pos x="0" y="38"/>
                  </a:cxn>
                  <a:cxn ang="0">
                    <a:pos x="7" y="11"/>
                  </a:cxn>
                  <a:cxn ang="0">
                    <a:pos x="25" y="0"/>
                  </a:cxn>
                  <a:cxn ang="0">
                    <a:pos x="44" y="10"/>
                  </a:cxn>
                  <a:cxn ang="0">
                    <a:pos x="51" y="38"/>
                  </a:cxn>
                  <a:cxn ang="0">
                    <a:pos x="38" y="38"/>
                  </a:cxn>
                  <a:cxn ang="0">
                    <a:pos x="34" y="20"/>
                  </a:cxn>
                  <a:cxn ang="0">
                    <a:pos x="25" y="13"/>
                  </a:cxn>
                  <a:cxn ang="0">
                    <a:pos x="17" y="20"/>
                  </a:cxn>
                  <a:cxn ang="0">
                    <a:pos x="14" y="38"/>
                  </a:cxn>
                  <a:cxn ang="0">
                    <a:pos x="17" y="56"/>
                  </a:cxn>
                  <a:cxn ang="0">
                    <a:pos x="25" y="63"/>
                  </a:cxn>
                  <a:cxn ang="0">
                    <a:pos x="34" y="56"/>
                  </a:cxn>
                  <a:cxn ang="0">
                    <a:pos x="38" y="38"/>
                  </a:cxn>
                </a:cxnLst>
                <a:rect l="0" t="0" r="r" b="b"/>
                <a:pathLst>
                  <a:path w="51" h="76">
                    <a:moveTo>
                      <a:pt x="51" y="38"/>
                    </a:moveTo>
                    <a:cubicBezTo>
                      <a:pt x="51" y="49"/>
                      <a:pt x="49" y="58"/>
                      <a:pt x="44" y="65"/>
                    </a:cubicBezTo>
                    <a:cubicBezTo>
                      <a:pt x="40" y="72"/>
                      <a:pt x="33" y="76"/>
                      <a:pt x="25" y="76"/>
                    </a:cubicBezTo>
                    <a:cubicBezTo>
                      <a:pt x="18" y="76"/>
                      <a:pt x="11" y="72"/>
                      <a:pt x="7" y="65"/>
                    </a:cubicBezTo>
                    <a:cubicBezTo>
                      <a:pt x="2" y="59"/>
                      <a:pt x="0" y="49"/>
                      <a:pt x="0" y="38"/>
                    </a:cubicBezTo>
                    <a:cubicBezTo>
                      <a:pt x="0" y="27"/>
                      <a:pt x="2" y="17"/>
                      <a:pt x="7" y="11"/>
                    </a:cubicBezTo>
                    <a:cubicBezTo>
                      <a:pt x="11" y="4"/>
                      <a:pt x="18" y="0"/>
                      <a:pt x="25" y="0"/>
                    </a:cubicBezTo>
                    <a:cubicBezTo>
                      <a:pt x="33" y="0"/>
                      <a:pt x="40" y="4"/>
                      <a:pt x="44" y="10"/>
                    </a:cubicBezTo>
                    <a:cubicBezTo>
                      <a:pt x="49" y="17"/>
                      <a:pt x="51" y="26"/>
                      <a:pt x="51" y="38"/>
                    </a:cubicBezTo>
                    <a:close/>
                    <a:moveTo>
                      <a:pt x="38" y="38"/>
                    </a:moveTo>
                    <a:cubicBezTo>
                      <a:pt x="38" y="30"/>
                      <a:pt x="36" y="24"/>
                      <a:pt x="34" y="20"/>
                    </a:cubicBezTo>
                    <a:cubicBezTo>
                      <a:pt x="32" y="15"/>
                      <a:pt x="29" y="13"/>
                      <a:pt x="25" y="13"/>
                    </a:cubicBezTo>
                    <a:cubicBezTo>
                      <a:pt x="22" y="13"/>
                      <a:pt x="19" y="15"/>
                      <a:pt x="17" y="20"/>
                    </a:cubicBezTo>
                    <a:cubicBezTo>
                      <a:pt x="15" y="24"/>
                      <a:pt x="14" y="30"/>
                      <a:pt x="14" y="38"/>
                    </a:cubicBezTo>
                    <a:cubicBezTo>
                      <a:pt x="14" y="45"/>
                      <a:pt x="15" y="52"/>
                      <a:pt x="17" y="56"/>
                    </a:cubicBezTo>
                    <a:cubicBezTo>
                      <a:pt x="19" y="61"/>
                      <a:pt x="22" y="63"/>
                      <a:pt x="25" y="63"/>
                    </a:cubicBezTo>
                    <a:cubicBezTo>
                      <a:pt x="29" y="63"/>
                      <a:pt x="32" y="61"/>
                      <a:pt x="34" y="56"/>
                    </a:cubicBezTo>
                    <a:cubicBezTo>
                      <a:pt x="36" y="52"/>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5" name="Freeform 245"/>
              <p:cNvSpPr>
                <a:spLocks/>
              </p:cNvSpPr>
              <p:nvPr/>
            </p:nvSpPr>
            <p:spPr bwMode="auto">
              <a:xfrm>
                <a:off x="2944985" y="3744575"/>
                <a:ext cx="34376" cy="86094"/>
              </a:xfrm>
              <a:custGeom>
                <a:avLst/>
                <a:gdLst/>
                <a:ahLst/>
                <a:cxnLst>
                  <a:cxn ang="0">
                    <a:pos x="22" y="55"/>
                  </a:cxn>
                  <a:cxn ang="0">
                    <a:pos x="11" y="55"/>
                  </a:cxn>
                  <a:cxn ang="0">
                    <a:pos x="11" y="9"/>
                  </a:cxn>
                  <a:cxn ang="0">
                    <a:pos x="0" y="9"/>
                  </a:cxn>
                  <a:cxn ang="0">
                    <a:pos x="5" y="0"/>
                  </a:cxn>
                  <a:cxn ang="0">
                    <a:pos x="22" y="0"/>
                  </a:cxn>
                  <a:cxn ang="0">
                    <a:pos x="22" y="55"/>
                  </a:cxn>
                </a:cxnLst>
                <a:rect l="0" t="0" r="r" b="b"/>
                <a:pathLst>
                  <a:path w="22" h="55">
                    <a:moveTo>
                      <a:pt x="22" y="55"/>
                    </a:moveTo>
                    <a:lnTo>
                      <a:pt x="11" y="55"/>
                    </a:lnTo>
                    <a:lnTo>
                      <a:pt x="11" y="9"/>
                    </a:lnTo>
                    <a:lnTo>
                      <a:pt x="0" y="9"/>
                    </a:lnTo>
                    <a:lnTo>
                      <a:pt x="5" y="0"/>
                    </a:lnTo>
                    <a:lnTo>
                      <a:pt x="22" y="0"/>
                    </a:lnTo>
                    <a:lnTo>
                      <a:pt x="22"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6" name="Freeform 246"/>
              <p:cNvSpPr>
                <a:spLocks noEditPoints="1"/>
              </p:cNvSpPr>
              <p:nvPr/>
            </p:nvSpPr>
            <p:spPr bwMode="auto">
              <a:xfrm>
                <a:off x="2993423" y="3741444"/>
                <a:ext cx="62501" cy="92355"/>
              </a:xfrm>
              <a:custGeom>
                <a:avLst/>
                <a:gdLst/>
                <a:ahLst/>
                <a:cxnLst>
                  <a:cxn ang="0">
                    <a:pos x="52" y="38"/>
                  </a:cxn>
                  <a:cxn ang="0">
                    <a:pos x="44" y="65"/>
                  </a:cxn>
                  <a:cxn ang="0">
                    <a:pos x="26" y="76"/>
                  </a:cxn>
                  <a:cxn ang="0">
                    <a:pos x="7" y="65"/>
                  </a:cxn>
                  <a:cxn ang="0">
                    <a:pos x="0" y="38"/>
                  </a:cxn>
                  <a:cxn ang="0">
                    <a:pos x="7" y="11"/>
                  </a:cxn>
                  <a:cxn ang="0">
                    <a:pos x="26" y="0"/>
                  </a:cxn>
                  <a:cxn ang="0">
                    <a:pos x="45" y="10"/>
                  </a:cxn>
                  <a:cxn ang="0">
                    <a:pos x="52" y="38"/>
                  </a:cxn>
                  <a:cxn ang="0">
                    <a:pos x="38" y="38"/>
                  </a:cxn>
                  <a:cxn ang="0">
                    <a:pos x="34" y="20"/>
                  </a:cxn>
                  <a:cxn ang="0">
                    <a:pos x="26" y="13"/>
                  </a:cxn>
                  <a:cxn ang="0">
                    <a:pos x="17" y="20"/>
                  </a:cxn>
                  <a:cxn ang="0">
                    <a:pos x="14" y="38"/>
                  </a:cxn>
                  <a:cxn ang="0">
                    <a:pos x="17" y="56"/>
                  </a:cxn>
                  <a:cxn ang="0">
                    <a:pos x="26" y="63"/>
                  </a:cxn>
                  <a:cxn ang="0">
                    <a:pos x="34" y="56"/>
                  </a:cxn>
                  <a:cxn ang="0">
                    <a:pos x="38" y="38"/>
                  </a:cxn>
                </a:cxnLst>
                <a:rect l="0" t="0" r="r" b="b"/>
                <a:pathLst>
                  <a:path w="52" h="76">
                    <a:moveTo>
                      <a:pt x="52" y="38"/>
                    </a:moveTo>
                    <a:cubicBezTo>
                      <a:pt x="52" y="49"/>
                      <a:pt x="49" y="58"/>
                      <a:pt x="44" y="65"/>
                    </a:cubicBezTo>
                    <a:cubicBezTo>
                      <a:pt x="40" y="72"/>
                      <a:pt x="33" y="76"/>
                      <a:pt x="26" y="76"/>
                    </a:cubicBezTo>
                    <a:cubicBezTo>
                      <a:pt x="18" y="76"/>
                      <a:pt x="12" y="72"/>
                      <a:pt x="7" y="65"/>
                    </a:cubicBezTo>
                    <a:cubicBezTo>
                      <a:pt x="2" y="59"/>
                      <a:pt x="0" y="49"/>
                      <a:pt x="0" y="38"/>
                    </a:cubicBezTo>
                    <a:cubicBezTo>
                      <a:pt x="0" y="27"/>
                      <a:pt x="2" y="17"/>
                      <a:pt x="7" y="11"/>
                    </a:cubicBezTo>
                    <a:cubicBezTo>
                      <a:pt x="12" y="4"/>
                      <a:pt x="18" y="0"/>
                      <a:pt x="26" y="0"/>
                    </a:cubicBezTo>
                    <a:cubicBezTo>
                      <a:pt x="34" y="0"/>
                      <a:pt x="40" y="4"/>
                      <a:pt x="45" y="10"/>
                    </a:cubicBezTo>
                    <a:cubicBezTo>
                      <a:pt x="49" y="17"/>
                      <a:pt x="52" y="26"/>
                      <a:pt x="52" y="38"/>
                    </a:cubicBezTo>
                    <a:close/>
                    <a:moveTo>
                      <a:pt x="38" y="38"/>
                    </a:moveTo>
                    <a:cubicBezTo>
                      <a:pt x="38" y="30"/>
                      <a:pt x="37" y="24"/>
                      <a:pt x="34" y="20"/>
                    </a:cubicBezTo>
                    <a:cubicBezTo>
                      <a:pt x="32" y="15"/>
                      <a:pt x="29" y="13"/>
                      <a:pt x="26" y="13"/>
                    </a:cubicBezTo>
                    <a:cubicBezTo>
                      <a:pt x="22" y="13"/>
                      <a:pt x="19" y="15"/>
                      <a:pt x="17" y="20"/>
                    </a:cubicBezTo>
                    <a:cubicBezTo>
                      <a:pt x="15" y="24"/>
                      <a:pt x="14" y="30"/>
                      <a:pt x="14" y="38"/>
                    </a:cubicBezTo>
                    <a:cubicBezTo>
                      <a:pt x="14" y="45"/>
                      <a:pt x="15" y="52"/>
                      <a:pt x="17" y="56"/>
                    </a:cubicBezTo>
                    <a:cubicBezTo>
                      <a:pt x="19" y="61"/>
                      <a:pt x="22" y="63"/>
                      <a:pt x="26" y="63"/>
                    </a:cubicBezTo>
                    <a:cubicBezTo>
                      <a:pt x="29" y="63"/>
                      <a:pt x="32" y="61"/>
                      <a:pt x="34" y="56"/>
                    </a:cubicBezTo>
                    <a:cubicBezTo>
                      <a:pt x="37" y="52"/>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7" name="Freeform 247"/>
              <p:cNvSpPr>
                <a:spLocks/>
              </p:cNvSpPr>
              <p:nvPr/>
            </p:nvSpPr>
            <p:spPr bwMode="auto">
              <a:xfrm>
                <a:off x="3057486" y="3744575"/>
                <a:ext cx="32813" cy="86094"/>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8" name="Freeform 248"/>
              <p:cNvSpPr>
                <a:spLocks/>
              </p:cNvSpPr>
              <p:nvPr/>
            </p:nvSpPr>
            <p:spPr bwMode="auto">
              <a:xfrm>
                <a:off x="3098112" y="3744575"/>
                <a:ext cx="32813" cy="86094"/>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9" name="Freeform 259"/>
              <p:cNvSpPr>
                <a:spLocks/>
              </p:cNvSpPr>
              <p:nvPr/>
            </p:nvSpPr>
            <p:spPr bwMode="auto">
              <a:xfrm>
                <a:off x="2366851" y="3882325"/>
                <a:ext cx="32813" cy="87659"/>
              </a:xfrm>
              <a:custGeom>
                <a:avLst/>
                <a:gdLst/>
                <a:ahLst/>
                <a:cxnLst>
                  <a:cxn ang="0">
                    <a:pos x="21" y="56"/>
                  </a:cxn>
                  <a:cxn ang="0">
                    <a:pos x="10" y="56"/>
                  </a:cxn>
                  <a:cxn ang="0">
                    <a:pos x="10" y="9"/>
                  </a:cxn>
                  <a:cxn ang="0">
                    <a:pos x="0" y="9"/>
                  </a:cxn>
                  <a:cxn ang="0">
                    <a:pos x="5" y="0"/>
                  </a:cxn>
                  <a:cxn ang="0">
                    <a:pos x="21" y="0"/>
                  </a:cxn>
                  <a:cxn ang="0">
                    <a:pos x="21" y="56"/>
                  </a:cxn>
                </a:cxnLst>
                <a:rect l="0" t="0" r="r" b="b"/>
                <a:pathLst>
                  <a:path w="21" h="56">
                    <a:moveTo>
                      <a:pt x="21" y="56"/>
                    </a:moveTo>
                    <a:lnTo>
                      <a:pt x="10" y="56"/>
                    </a:lnTo>
                    <a:lnTo>
                      <a:pt x="10" y="9"/>
                    </a:lnTo>
                    <a:lnTo>
                      <a:pt x="0" y="9"/>
                    </a:lnTo>
                    <a:lnTo>
                      <a:pt x="5"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0" name="Freeform 260"/>
              <p:cNvSpPr>
                <a:spLocks/>
              </p:cNvSpPr>
              <p:nvPr/>
            </p:nvSpPr>
            <p:spPr bwMode="auto">
              <a:xfrm>
                <a:off x="2407476" y="3882325"/>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1" name="Freeform 261"/>
              <p:cNvSpPr>
                <a:spLocks/>
              </p:cNvSpPr>
              <p:nvPr/>
            </p:nvSpPr>
            <p:spPr bwMode="auto">
              <a:xfrm>
                <a:off x="2449664" y="3882325"/>
                <a:ext cx="31250" cy="87659"/>
              </a:xfrm>
              <a:custGeom>
                <a:avLst/>
                <a:gdLst/>
                <a:ahLst/>
                <a:cxnLst>
                  <a:cxn ang="0">
                    <a:pos x="20" y="56"/>
                  </a:cxn>
                  <a:cxn ang="0">
                    <a:pos x="10" y="56"/>
                  </a:cxn>
                  <a:cxn ang="0">
                    <a:pos x="10" y="9"/>
                  </a:cxn>
                  <a:cxn ang="0">
                    <a:pos x="0" y="9"/>
                  </a:cxn>
                  <a:cxn ang="0">
                    <a:pos x="3" y="0"/>
                  </a:cxn>
                  <a:cxn ang="0">
                    <a:pos x="20" y="0"/>
                  </a:cxn>
                  <a:cxn ang="0">
                    <a:pos x="20" y="56"/>
                  </a:cxn>
                </a:cxnLst>
                <a:rect l="0" t="0" r="r" b="b"/>
                <a:pathLst>
                  <a:path w="20" h="56">
                    <a:moveTo>
                      <a:pt x="20" y="56"/>
                    </a:moveTo>
                    <a:lnTo>
                      <a:pt x="10" y="56"/>
                    </a:lnTo>
                    <a:lnTo>
                      <a:pt x="10" y="9"/>
                    </a:lnTo>
                    <a:lnTo>
                      <a:pt x="0" y="9"/>
                    </a:lnTo>
                    <a:lnTo>
                      <a:pt x="3" y="0"/>
                    </a:lnTo>
                    <a:lnTo>
                      <a:pt x="20" y="0"/>
                    </a:lnTo>
                    <a:lnTo>
                      <a:pt x="20"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2" name="Freeform 262"/>
              <p:cNvSpPr>
                <a:spLocks noEditPoints="1"/>
              </p:cNvSpPr>
              <p:nvPr/>
            </p:nvSpPr>
            <p:spPr bwMode="auto">
              <a:xfrm>
                <a:off x="2496540" y="3880759"/>
                <a:ext cx="62501" cy="90790"/>
              </a:xfrm>
              <a:custGeom>
                <a:avLst/>
                <a:gdLst/>
                <a:ahLst/>
                <a:cxnLst>
                  <a:cxn ang="0">
                    <a:pos x="52" y="38"/>
                  </a:cxn>
                  <a:cxn ang="0">
                    <a:pos x="45" y="66"/>
                  </a:cxn>
                  <a:cxn ang="0">
                    <a:pos x="26" y="76"/>
                  </a:cxn>
                  <a:cxn ang="0">
                    <a:pos x="7" y="66"/>
                  </a:cxn>
                  <a:cxn ang="0">
                    <a:pos x="0" y="38"/>
                  </a:cxn>
                  <a:cxn ang="0">
                    <a:pos x="7" y="11"/>
                  </a:cxn>
                  <a:cxn ang="0">
                    <a:pos x="26" y="0"/>
                  </a:cxn>
                  <a:cxn ang="0">
                    <a:pos x="45" y="11"/>
                  </a:cxn>
                  <a:cxn ang="0">
                    <a:pos x="52" y="38"/>
                  </a:cxn>
                  <a:cxn ang="0">
                    <a:pos x="38" y="38"/>
                  </a:cxn>
                  <a:cxn ang="0">
                    <a:pos x="34" y="20"/>
                  </a:cxn>
                  <a:cxn ang="0">
                    <a:pos x="26" y="13"/>
                  </a:cxn>
                  <a:cxn ang="0">
                    <a:pos x="17" y="20"/>
                  </a:cxn>
                  <a:cxn ang="0">
                    <a:pos x="14" y="38"/>
                  </a:cxn>
                  <a:cxn ang="0">
                    <a:pos x="17" y="57"/>
                  </a:cxn>
                  <a:cxn ang="0">
                    <a:pos x="26" y="64"/>
                  </a:cxn>
                  <a:cxn ang="0">
                    <a:pos x="34" y="57"/>
                  </a:cxn>
                  <a:cxn ang="0">
                    <a:pos x="38" y="38"/>
                  </a:cxn>
                </a:cxnLst>
                <a:rect l="0" t="0" r="r" b="b"/>
                <a:pathLst>
                  <a:path w="52" h="76">
                    <a:moveTo>
                      <a:pt x="52" y="38"/>
                    </a:moveTo>
                    <a:cubicBezTo>
                      <a:pt x="52" y="49"/>
                      <a:pt x="49" y="59"/>
                      <a:pt x="45" y="66"/>
                    </a:cubicBezTo>
                    <a:cubicBezTo>
                      <a:pt x="40" y="72"/>
                      <a:pt x="34" y="76"/>
                      <a:pt x="26" y="76"/>
                    </a:cubicBezTo>
                    <a:cubicBezTo>
                      <a:pt x="18" y="76"/>
                      <a:pt x="12" y="73"/>
                      <a:pt x="7" y="66"/>
                    </a:cubicBezTo>
                    <a:cubicBezTo>
                      <a:pt x="2" y="59"/>
                      <a:pt x="0" y="50"/>
                      <a:pt x="0" y="38"/>
                    </a:cubicBezTo>
                    <a:cubicBezTo>
                      <a:pt x="0" y="27"/>
                      <a:pt x="2" y="18"/>
                      <a:pt x="7" y="11"/>
                    </a:cubicBezTo>
                    <a:cubicBezTo>
                      <a:pt x="12" y="4"/>
                      <a:pt x="18" y="0"/>
                      <a:pt x="26" y="0"/>
                    </a:cubicBezTo>
                    <a:cubicBezTo>
                      <a:pt x="34" y="0"/>
                      <a:pt x="40" y="4"/>
                      <a:pt x="45" y="11"/>
                    </a:cubicBezTo>
                    <a:cubicBezTo>
                      <a:pt x="49" y="18"/>
                      <a:pt x="52" y="27"/>
                      <a:pt x="52" y="38"/>
                    </a:cubicBezTo>
                    <a:close/>
                    <a:moveTo>
                      <a:pt x="38" y="38"/>
                    </a:moveTo>
                    <a:cubicBezTo>
                      <a:pt x="38" y="31"/>
                      <a:pt x="37" y="24"/>
                      <a:pt x="34" y="20"/>
                    </a:cubicBezTo>
                    <a:cubicBezTo>
                      <a:pt x="32" y="15"/>
                      <a:pt x="29" y="13"/>
                      <a:pt x="26" y="13"/>
                    </a:cubicBezTo>
                    <a:cubicBezTo>
                      <a:pt x="22" y="13"/>
                      <a:pt x="19" y="15"/>
                      <a:pt x="17" y="20"/>
                    </a:cubicBezTo>
                    <a:cubicBezTo>
                      <a:pt x="15" y="25"/>
                      <a:pt x="14" y="31"/>
                      <a:pt x="14" y="38"/>
                    </a:cubicBezTo>
                    <a:cubicBezTo>
                      <a:pt x="14" y="46"/>
                      <a:pt x="15" y="52"/>
                      <a:pt x="17" y="57"/>
                    </a:cubicBezTo>
                    <a:cubicBezTo>
                      <a:pt x="19" y="61"/>
                      <a:pt x="22" y="64"/>
                      <a:pt x="26" y="64"/>
                    </a:cubicBezTo>
                    <a:cubicBezTo>
                      <a:pt x="29" y="64"/>
                      <a:pt x="32" y="61"/>
                      <a:pt x="34" y="57"/>
                    </a:cubicBezTo>
                    <a:cubicBezTo>
                      <a:pt x="37" y="52"/>
                      <a:pt x="38" y="46"/>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3" name="Freeform 263"/>
              <p:cNvSpPr>
                <a:spLocks noEditPoints="1"/>
              </p:cNvSpPr>
              <p:nvPr/>
            </p:nvSpPr>
            <p:spPr bwMode="auto">
              <a:xfrm>
                <a:off x="2562166" y="3880759"/>
                <a:ext cx="62501" cy="90790"/>
              </a:xfrm>
              <a:custGeom>
                <a:avLst/>
                <a:gdLst/>
                <a:ahLst/>
                <a:cxnLst>
                  <a:cxn ang="0">
                    <a:pos x="52" y="38"/>
                  </a:cxn>
                  <a:cxn ang="0">
                    <a:pos x="45" y="66"/>
                  </a:cxn>
                  <a:cxn ang="0">
                    <a:pos x="26" y="76"/>
                  </a:cxn>
                  <a:cxn ang="0">
                    <a:pos x="7" y="66"/>
                  </a:cxn>
                  <a:cxn ang="0">
                    <a:pos x="0" y="38"/>
                  </a:cxn>
                  <a:cxn ang="0">
                    <a:pos x="7" y="11"/>
                  </a:cxn>
                  <a:cxn ang="0">
                    <a:pos x="26" y="0"/>
                  </a:cxn>
                  <a:cxn ang="0">
                    <a:pos x="45" y="11"/>
                  </a:cxn>
                  <a:cxn ang="0">
                    <a:pos x="52" y="38"/>
                  </a:cxn>
                  <a:cxn ang="0">
                    <a:pos x="38" y="38"/>
                  </a:cxn>
                  <a:cxn ang="0">
                    <a:pos x="35" y="20"/>
                  </a:cxn>
                  <a:cxn ang="0">
                    <a:pos x="26" y="13"/>
                  </a:cxn>
                  <a:cxn ang="0">
                    <a:pos x="18" y="20"/>
                  </a:cxn>
                  <a:cxn ang="0">
                    <a:pos x="14" y="38"/>
                  </a:cxn>
                  <a:cxn ang="0">
                    <a:pos x="18" y="57"/>
                  </a:cxn>
                  <a:cxn ang="0">
                    <a:pos x="26" y="64"/>
                  </a:cxn>
                  <a:cxn ang="0">
                    <a:pos x="35" y="57"/>
                  </a:cxn>
                  <a:cxn ang="0">
                    <a:pos x="38" y="38"/>
                  </a:cxn>
                </a:cxnLst>
                <a:rect l="0" t="0" r="r" b="b"/>
                <a:pathLst>
                  <a:path w="52" h="76">
                    <a:moveTo>
                      <a:pt x="52" y="38"/>
                    </a:moveTo>
                    <a:cubicBezTo>
                      <a:pt x="52" y="49"/>
                      <a:pt x="50" y="59"/>
                      <a:pt x="45" y="66"/>
                    </a:cubicBezTo>
                    <a:cubicBezTo>
                      <a:pt x="40" y="72"/>
                      <a:pt x="34" y="76"/>
                      <a:pt x="26" y="76"/>
                    </a:cubicBezTo>
                    <a:cubicBezTo>
                      <a:pt x="18" y="76"/>
                      <a:pt x="12" y="73"/>
                      <a:pt x="7" y="66"/>
                    </a:cubicBezTo>
                    <a:cubicBezTo>
                      <a:pt x="3" y="59"/>
                      <a:pt x="0" y="50"/>
                      <a:pt x="0" y="38"/>
                    </a:cubicBezTo>
                    <a:cubicBezTo>
                      <a:pt x="0" y="27"/>
                      <a:pt x="3" y="18"/>
                      <a:pt x="7" y="11"/>
                    </a:cubicBezTo>
                    <a:cubicBezTo>
                      <a:pt x="12" y="4"/>
                      <a:pt x="18" y="0"/>
                      <a:pt x="26" y="0"/>
                    </a:cubicBezTo>
                    <a:cubicBezTo>
                      <a:pt x="34" y="0"/>
                      <a:pt x="40" y="4"/>
                      <a:pt x="45" y="11"/>
                    </a:cubicBezTo>
                    <a:cubicBezTo>
                      <a:pt x="50" y="18"/>
                      <a:pt x="52" y="27"/>
                      <a:pt x="52" y="38"/>
                    </a:cubicBezTo>
                    <a:close/>
                    <a:moveTo>
                      <a:pt x="38" y="38"/>
                    </a:moveTo>
                    <a:cubicBezTo>
                      <a:pt x="38" y="31"/>
                      <a:pt x="37" y="24"/>
                      <a:pt x="35" y="20"/>
                    </a:cubicBezTo>
                    <a:cubicBezTo>
                      <a:pt x="33" y="15"/>
                      <a:pt x="30" y="13"/>
                      <a:pt x="26" y="13"/>
                    </a:cubicBezTo>
                    <a:cubicBezTo>
                      <a:pt x="23" y="13"/>
                      <a:pt x="20" y="15"/>
                      <a:pt x="18" y="20"/>
                    </a:cubicBezTo>
                    <a:cubicBezTo>
                      <a:pt x="15" y="25"/>
                      <a:pt x="14" y="31"/>
                      <a:pt x="14" y="38"/>
                    </a:cubicBezTo>
                    <a:cubicBezTo>
                      <a:pt x="14" y="46"/>
                      <a:pt x="15" y="52"/>
                      <a:pt x="18" y="57"/>
                    </a:cubicBezTo>
                    <a:cubicBezTo>
                      <a:pt x="20" y="61"/>
                      <a:pt x="23" y="64"/>
                      <a:pt x="26" y="64"/>
                    </a:cubicBezTo>
                    <a:cubicBezTo>
                      <a:pt x="30" y="64"/>
                      <a:pt x="33" y="61"/>
                      <a:pt x="35" y="57"/>
                    </a:cubicBezTo>
                    <a:cubicBezTo>
                      <a:pt x="37" y="52"/>
                      <a:pt x="38" y="46"/>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4" name="Freeform 264"/>
              <p:cNvSpPr>
                <a:spLocks/>
              </p:cNvSpPr>
              <p:nvPr/>
            </p:nvSpPr>
            <p:spPr bwMode="auto">
              <a:xfrm>
                <a:off x="2626230" y="3882325"/>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5" name="Freeform 265"/>
              <p:cNvSpPr>
                <a:spLocks noEditPoints="1"/>
              </p:cNvSpPr>
              <p:nvPr/>
            </p:nvSpPr>
            <p:spPr bwMode="auto">
              <a:xfrm>
                <a:off x="2673105" y="3880759"/>
                <a:ext cx="62501" cy="90790"/>
              </a:xfrm>
              <a:custGeom>
                <a:avLst/>
                <a:gdLst/>
                <a:ahLst/>
                <a:cxnLst>
                  <a:cxn ang="0">
                    <a:pos x="51" y="38"/>
                  </a:cxn>
                  <a:cxn ang="0">
                    <a:pos x="44" y="66"/>
                  </a:cxn>
                  <a:cxn ang="0">
                    <a:pos x="25" y="76"/>
                  </a:cxn>
                  <a:cxn ang="0">
                    <a:pos x="7" y="66"/>
                  </a:cxn>
                  <a:cxn ang="0">
                    <a:pos x="0" y="38"/>
                  </a:cxn>
                  <a:cxn ang="0">
                    <a:pos x="7" y="11"/>
                  </a:cxn>
                  <a:cxn ang="0">
                    <a:pos x="25" y="0"/>
                  </a:cxn>
                  <a:cxn ang="0">
                    <a:pos x="44" y="11"/>
                  </a:cxn>
                  <a:cxn ang="0">
                    <a:pos x="51" y="38"/>
                  </a:cxn>
                  <a:cxn ang="0">
                    <a:pos x="38" y="38"/>
                  </a:cxn>
                  <a:cxn ang="0">
                    <a:pos x="34" y="20"/>
                  </a:cxn>
                  <a:cxn ang="0">
                    <a:pos x="25" y="13"/>
                  </a:cxn>
                  <a:cxn ang="0">
                    <a:pos x="17" y="20"/>
                  </a:cxn>
                  <a:cxn ang="0">
                    <a:pos x="14" y="38"/>
                  </a:cxn>
                  <a:cxn ang="0">
                    <a:pos x="17" y="57"/>
                  </a:cxn>
                  <a:cxn ang="0">
                    <a:pos x="25" y="64"/>
                  </a:cxn>
                  <a:cxn ang="0">
                    <a:pos x="34" y="57"/>
                  </a:cxn>
                  <a:cxn ang="0">
                    <a:pos x="38" y="38"/>
                  </a:cxn>
                </a:cxnLst>
                <a:rect l="0" t="0" r="r" b="b"/>
                <a:pathLst>
                  <a:path w="51" h="76">
                    <a:moveTo>
                      <a:pt x="51" y="38"/>
                    </a:moveTo>
                    <a:cubicBezTo>
                      <a:pt x="51" y="49"/>
                      <a:pt x="49" y="59"/>
                      <a:pt x="44" y="66"/>
                    </a:cubicBezTo>
                    <a:cubicBezTo>
                      <a:pt x="40" y="72"/>
                      <a:pt x="33" y="76"/>
                      <a:pt x="25" y="76"/>
                    </a:cubicBezTo>
                    <a:cubicBezTo>
                      <a:pt x="18" y="76"/>
                      <a:pt x="11" y="73"/>
                      <a:pt x="7" y="66"/>
                    </a:cubicBezTo>
                    <a:cubicBezTo>
                      <a:pt x="2" y="59"/>
                      <a:pt x="0" y="50"/>
                      <a:pt x="0" y="38"/>
                    </a:cubicBezTo>
                    <a:cubicBezTo>
                      <a:pt x="0" y="27"/>
                      <a:pt x="2" y="18"/>
                      <a:pt x="7" y="11"/>
                    </a:cubicBezTo>
                    <a:cubicBezTo>
                      <a:pt x="11" y="4"/>
                      <a:pt x="18" y="0"/>
                      <a:pt x="25" y="0"/>
                    </a:cubicBezTo>
                    <a:cubicBezTo>
                      <a:pt x="33" y="0"/>
                      <a:pt x="40" y="4"/>
                      <a:pt x="44" y="11"/>
                    </a:cubicBezTo>
                    <a:cubicBezTo>
                      <a:pt x="49" y="18"/>
                      <a:pt x="51" y="27"/>
                      <a:pt x="51" y="38"/>
                    </a:cubicBezTo>
                    <a:close/>
                    <a:moveTo>
                      <a:pt x="38" y="38"/>
                    </a:moveTo>
                    <a:cubicBezTo>
                      <a:pt x="38" y="31"/>
                      <a:pt x="36" y="24"/>
                      <a:pt x="34" y="20"/>
                    </a:cubicBezTo>
                    <a:cubicBezTo>
                      <a:pt x="32" y="15"/>
                      <a:pt x="29" y="13"/>
                      <a:pt x="25" y="13"/>
                    </a:cubicBezTo>
                    <a:cubicBezTo>
                      <a:pt x="22" y="13"/>
                      <a:pt x="19" y="15"/>
                      <a:pt x="17" y="20"/>
                    </a:cubicBezTo>
                    <a:cubicBezTo>
                      <a:pt x="15" y="25"/>
                      <a:pt x="14" y="31"/>
                      <a:pt x="14" y="38"/>
                    </a:cubicBezTo>
                    <a:cubicBezTo>
                      <a:pt x="14" y="46"/>
                      <a:pt x="15" y="52"/>
                      <a:pt x="17" y="57"/>
                    </a:cubicBezTo>
                    <a:cubicBezTo>
                      <a:pt x="19" y="61"/>
                      <a:pt x="22" y="64"/>
                      <a:pt x="25" y="64"/>
                    </a:cubicBezTo>
                    <a:cubicBezTo>
                      <a:pt x="29" y="64"/>
                      <a:pt x="32" y="61"/>
                      <a:pt x="34" y="57"/>
                    </a:cubicBezTo>
                    <a:cubicBezTo>
                      <a:pt x="36" y="52"/>
                      <a:pt x="38" y="46"/>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6" name="Freeform 266"/>
              <p:cNvSpPr>
                <a:spLocks/>
              </p:cNvSpPr>
              <p:nvPr/>
            </p:nvSpPr>
            <p:spPr bwMode="auto">
              <a:xfrm>
                <a:off x="2737169" y="3882325"/>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7" name="Freeform 267"/>
              <p:cNvSpPr>
                <a:spLocks noEditPoints="1"/>
              </p:cNvSpPr>
              <p:nvPr/>
            </p:nvSpPr>
            <p:spPr bwMode="auto">
              <a:xfrm>
                <a:off x="2784045" y="3880759"/>
                <a:ext cx="62501" cy="90790"/>
              </a:xfrm>
              <a:custGeom>
                <a:avLst/>
                <a:gdLst/>
                <a:ahLst/>
                <a:cxnLst>
                  <a:cxn ang="0">
                    <a:pos x="52" y="38"/>
                  </a:cxn>
                  <a:cxn ang="0">
                    <a:pos x="45" y="66"/>
                  </a:cxn>
                  <a:cxn ang="0">
                    <a:pos x="26" y="76"/>
                  </a:cxn>
                  <a:cxn ang="0">
                    <a:pos x="7" y="66"/>
                  </a:cxn>
                  <a:cxn ang="0">
                    <a:pos x="0" y="38"/>
                  </a:cxn>
                  <a:cxn ang="0">
                    <a:pos x="7" y="11"/>
                  </a:cxn>
                  <a:cxn ang="0">
                    <a:pos x="26" y="0"/>
                  </a:cxn>
                  <a:cxn ang="0">
                    <a:pos x="45" y="11"/>
                  </a:cxn>
                  <a:cxn ang="0">
                    <a:pos x="52" y="38"/>
                  </a:cxn>
                  <a:cxn ang="0">
                    <a:pos x="38" y="38"/>
                  </a:cxn>
                  <a:cxn ang="0">
                    <a:pos x="34" y="20"/>
                  </a:cxn>
                  <a:cxn ang="0">
                    <a:pos x="26" y="13"/>
                  </a:cxn>
                  <a:cxn ang="0">
                    <a:pos x="17" y="20"/>
                  </a:cxn>
                  <a:cxn ang="0">
                    <a:pos x="14" y="38"/>
                  </a:cxn>
                  <a:cxn ang="0">
                    <a:pos x="17" y="57"/>
                  </a:cxn>
                  <a:cxn ang="0">
                    <a:pos x="26" y="64"/>
                  </a:cxn>
                  <a:cxn ang="0">
                    <a:pos x="34" y="57"/>
                  </a:cxn>
                  <a:cxn ang="0">
                    <a:pos x="38" y="38"/>
                  </a:cxn>
                </a:cxnLst>
                <a:rect l="0" t="0" r="r" b="b"/>
                <a:pathLst>
                  <a:path w="52" h="76">
                    <a:moveTo>
                      <a:pt x="52" y="38"/>
                    </a:moveTo>
                    <a:cubicBezTo>
                      <a:pt x="52" y="49"/>
                      <a:pt x="49" y="59"/>
                      <a:pt x="45" y="66"/>
                    </a:cubicBezTo>
                    <a:cubicBezTo>
                      <a:pt x="40" y="72"/>
                      <a:pt x="34" y="76"/>
                      <a:pt x="26" y="76"/>
                    </a:cubicBezTo>
                    <a:cubicBezTo>
                      <a:pt x="18" y="76"/>
                      <a:pt x="12" y="73"/>
                      <a:pt x="7" y="66"/>
                    </a:cubicBezTo>
                    <a:cubicBezTo>
                      <a:pt x="2" y="59"/>
                      <a:pt x="0" y="50"/>
                      <a:pt x="0" y="38"/>
                    </a:cubicBezTo>
                    <a:cubicBezTo>
                      <a:pt x="0" y="27"/>
                      <a:pt x="2" y="18"/>
                      <a:pt x="7" y="11"/>
                    </a:cubicBezTo>
                    <a:cubicBezTo>
                      <a:pt x="12" y="4"/>
                      <a:pt x="18" y="0"/>
                      <a:pt x="26" y="0"/>
                    </a:cubicBezTo>
                    <a:cubicBezTo>
                      <a:pt x="34" y="0"/>
                      <a:pt x="40" y="4"/>
                      <a:pt x="45" y="11"/>
                    </a:cubicBezTo>
                    <a:cubicBezTo>
                      <a:pt x="49" y="18"/>
                      <a:pt x="52" y="27"/>
                      <a:pt x="52" y="38"/>
                    </a:cubicBezTo>
                    <a:close/>
                    <a:moveTo>
                      <a:pt x="38" y="38"/>
                    </a:moveTo>
                    <a:cubicBezTo>
                      <a:pt x="38" y="31"/>
                      <a:pt x="37" y="24"/>
                      <a:pt x="34" y="20"/>
                    </a:cubicBezTo>
                    <a:cubicBezTo>
                      <a:pt x="32" y="15"/>
                      <a:pt x="29" y="13"/>
                      <a:pt x="26" y="13"/>
                    </a:cubicBezTo>
                    <a:cubicBezTo>
                      <a:pt x="22" y="13"/>
                      <a:pt x="19" y="15"/>
                      <a:pt x="17" y="20"/>
                    </a:cubicBezTo>
                    <a:cubicBezTo>
                      <a:pt x="15" y="25"/>
                      <a:pt x="14" y="31"/>
                      <a:pt x="14" y="38"/>
                    </a:cubicBezTo>
                    <a:cubicBezTo>
                      <a:pt x="14" y="46"/>
                      <a:pt x="15" y="52"/>
                      <a:pt x="17" y="57"/>
                    </a:cubicBezTo>
                    <a:cubicBezTo>
                      <a:pt x="19" y="61"/>
                      <a:pt x="22" y="64"/>
                      <a:pt x="26" y="64"/>
                    </a:cubicBezTo>
                    <a:cubicBezTo>
                      <a:pt x="29" y="64"/>
                      <a:pt x="32" y="61"/>
                      <a:pt x="34" y="57"/>
                    </a:cubicBezTo>
                    <a:cubicBezTo>
                      <a:pt x="37" y="52"/>
                      <a:pt x="38" y="46"/>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8" name="Freeform 268"/>
              <p:cNvSpPr>
                <a:spLocks/>
              </p:cNvSpPr>
              <p:nvPr/>
            </p:nvSpPr>
            <p:spPr bwMode="auto">
              <a:xfrm>
                <a:off x="2848108" y="3882325"/>
                <a:ext cx="32813" cy="87659"/>
              </a:xfrm>
              <a:custGeom>
                <a:avLst/>
                <a:gdLst/>
                <a:ahLst/>
                <a:cxnLst>
                  <a:cxn ang="0">
                    <a:pos x="21" y="56"/>
                  </a:cxn>
                  <a:cxn ang="0">
                    <a:pos x="11" y="56"/>
                  </a:cxn>
                  <a:cxn ang="0">
                    <a:pos x="11" y="9"/>
                  </a:cxn>
                  <a:cxn ang="0">
                    <a:pos x="0" y="9"/>
                  </a:cxn>
                  <a:cxn ang="0">
                    <a:pos x="5" y="0"/>
                  </a:cxn>
                  <a:cxn ang="0">
                    <a:pos x="21" y="0"/>
                  </a:cxn>
                  <a:cxn ang="0">
                    <a:pos x="21" y="56"/>
                  </a:cxn>
                </a:cxnLst>
                <a:rect l="0" t="0" r="r" b="b"/>
                <a:pathLst>
                  <a:path w="21" h="56">
                    <a:moveTo>
                      <a:pt x="21" y="56"/>
                    </a:moveTo>
                    <a:lnTo>
                      <a:pt x="11" y="56"/>
                    </a:lnTo>
                    <a:lnTo>
                      <a:pt x="11" y="9"/>
                    </a:lnTo>
                    <a:lnTo>
                      <a:pt x="0" y="9"/>
                    </a:lnTo>
                    <a:lnTo>
                      <a:pt x="5"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9" name="Freeform 269"/>
              <p:cNvSpPr>
                <a:spLocks/>
              </p:cNvSpPr>
              <p:nvPr/>
            </p:nvSpPr>
            <p:spPr bwMode="auto">
              <a:xfrm>
                <a:off x="2888734" y="3882325"/>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0" name="Freeform 270"/>
              <p:cNvSpPr>
                <a:spLocks noEditPoints="1"/>
              </p:cNvSpPr>
              <p:nvPr/>
            </p:nvSpPr>
            <p:spPr bwMode="auto">
              <a:xfrm>
                <a:off x="2935610" y="3880759"/>
                <a:ext cx="62501" cy="90790"/>
              </a:xfrm>
              <a:custGeom>
                <a:avLst/>
                <a:gdLst/>
                <a:ahLst/>
                <a:cxnLst>
                  <a:cxn ang="0">
                    <a:pos x="52" y="38"/>
                  </a:cxn>
                  <a:cxn ang="0">
                    <a:pos x="45" y="66"/>
                  </a:cxn>
                  <a:cxn ang="0">
                    <a:pos x="26" y="76"/>
                  </a:cxn>
                  <a:cxn ang="0">
                    <a:pos x="7" y="66"/>
                  </a:cxn>
                  <a:cxn ang="0">
                    <a:pos x="0" y="38"/>
                  </a:cxn>
                  <a:cxn ang="0">
                    <a:pos x="7" y="11"/>
                  </a:cxn>
                  <a:cxn ang="0">
                    <a:pos x="26" y="0"/>
                  </a:cxn>
                  <a:cxn ang="0">
                    <a:pos x="45" y="11"/>
                  </a:cxn>
                  <a:cxn ang="0">
                    <a:pos x="52" y="38"/>
                  </a:cxn>
                  <a:cxn ang="0">
                    <a:pos x="38" y="38"/>
                  </a:cxn>
                  <a:cxn ang="0">
                    <a:pos x="35" y="20"/>
                  </a:cxn>
                  <a:cxn ang="0">
                    <a:pos x="26" y="13"/>
                  </a:cxn>
                  <a:cxn ang="0">
                    <a:pos x="17" y="20"/>
                  </a:cxn>
                  <a:cxn ang="0">
                    <a:pos x="14" y="38"/>
                  </a:cxn>
                  <a:cxn ang="0">
                    <a:pos x="17" y="57"/>
                  </a:cxn>
                  <a:cxn ang="0">
                    <a:pos x="26" y="64"/>
                  </a:cxn>
                  <a:cxn ang="0">
                    <a:pos x="35" y="57"/>
                  </a:cxn>
                  <a:cxn ang="0">
                    <a:pos x="38" y="38"/>
                  </a:cxn>
                </a:cxnLst>
                <a:rect l="0" t="0" r="r" b="b"/>
                <a:pathLst>
                  <a:path w="52" h="76">
                    <a:moveTo>
                      <a:pt x="52" y="38"/>
                    </a:moveTo>
                    <a:cubicBezTo>
                      <a:pt x="52" y="49"/>
                      <a:pt x="49" y="59"/>
                      <a:pt x="45" y="66"/>
                    </a:cubicBezTo>
                    <a:cubicBezTo>
                      <a:pt x="40" y="72"/>
                      <a:pt x="34" y="76"/>
                      <a:pt x="26" y="76"/>
                    </a:cubicBezTo>
                    <a:cubicBezTo>
                      <a:pt x="18" y="76"/>
                      <a:pt x="12" y="73"/>
                      <a:pt x="7" y="66"/>
                    </a:cubicBezTo>
                    <a:cubicBezTo>
                      <a:pt x="2" y="59"/>
                      <a:pt x="0" y="50"/>
                      <a:pt x="0" y="38"/>
                    </a:cubicBezTo>
                    <a:cubicBezTo>
                      <a:pt x="0" y="27"/>
                      <a:pt x="2" y="18"/>
                      <a:pt x="7" y="11"/>
                    </a:cubicBezTo>
                    <a:cubicBezTo>
                      <a:pt x="12" y="4"/>
                      <a:pt x="18" y="0"/>
                      <a:pt x="26" y="0"/>
                    </a:cubicBezTo>
                    <a:cubicBezTo>
                      <a:pt x="34" y="0"/>
                      <a:pt x="40" y="4"/>
                      <a:pt x="45" y="11"/>
                    </a:cubicBezTo>
                    <a:cubicBezTo>
                      <a:pt x="49" y="18"/>
                      <a:pt x="52" y="27"/>
                      <a:pt x="52" y="38"/>
                    </a:cubicBezTo>
                    <a:close/>
                    <a:moveTo>
                      <a:pt x="38" y="38"/>
                    </a:moveTo>
                    <a:cubicBezTo>
                      <a:pt x="38" y="31"/>
                      <a:pt x="37" y="24"/>
                      <a:pt x="35" y="20"/>
                    </a:cubicBezTo>
                    <a:cubicBezTo>
                      <a:pt x="32" y="15"/>
                      <a:pt x="29" y="13"/>
                      <a:pt x="26" y="13"/>
                    </a:cubicBezTo>
                    <a:cubicBezTo>
                      <a:pt x="22" y="13"/>
                      <a:pt x="19" y="15"/>
                      <a:pt x="17" y="20"/>
                    </a:cubicBezTo>
                    <a:cubicBezTo>
                      <a:pt x="15" y="25"/>
                      <a:pt x="14" y="31"/>
                      <a:pt x="14" y="38"/>
                    </a:cubicBezTo>
                    <a:cubicBezTo>
                      <a:pt x="14" y="46"/>
                      <a:pt x="15" y="52"/>
                      <a:pt x="17" y="57"/>
                    </a:cubicBezTo>
                    <a:cubicBezTo>
                      <a:pt x="19" y="61"/>
                      <a:pt x="22" y="64"/>
                      <a:pt x="26" y="64"/>
                    </a:cubicBezTo>
                    <a:cubicBezTo>
                      <a:pt x="29" y="64"/>
                      <a:pt x="32" y="61"/>
                      <a:pt x="35" y="57"/>
                    </a:cubicBezTo>
                    <a:cubicBezTo>
                      <a:pt x="37" y="52"/>
                      <a:pt x="38" y="46"/>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1" name="Freeform 271"/>
              <p:cNvSpPr>
                <a:spLocks noEditPoints="1"/>
              </p:cNvSpPr>
              <p:nvPr/>
            </p:nvSpPr>
            <p:spPr bwMode="auto">
              <a:xfrm>
                <a:off x="3002798" y="3880759"/>
                <a:ext cx="62501" cy="90790"/>
              </a:xfrm>
              <a:custGeom>
                <a:avLst/>
                <a:gdLst/>
                <a:ahLst/>
                <a:cxnLst>
                  <a:cxn ang="0">
                    <a:pos x="51" y="38"/>
                  </a:cxn>
                  <a:cxn ang="0">
                    <a:pos x="44" y="66"/>
                  </a:cxn>
                  <a:cxn ang="0">
                    <a:pos x="25" y="76"/>
                  </a:cxn>
                  <a:cxn ang="0">
                    <a:pos x="7" y="66"/>
                  </a:cxn>
                  <a:cxn ang="0">
                    <a:pos x="0" y="38"/>
                  </a:cxn>
                  <a:cxn ang="0">
                    <a:pos x="7" y="11"/>
                  </a:cxn>
                  <a:cxn ang="0">
                    <a:pos x="25" y="0"/>
                  </a:cxn>
                  <a:cxn ang="0">
                    <a:pos x="44" y="11"/>
                  </a:cxn>
                  <a:cxn ang="0">
                    <a:pos x="51" y="38"/>
                  </a:cxn>
                  <a:cxn ang="0">
                    <a:pos x="37" y="38"/>
                  </a:cxn>
                  <a:cxn ang="0">
                    <a:pos x="34" y="20"/>
                  </a:cxn>
                  <a:cxn ang="0">
                    <a:pos x="25" y="13"/>
                  </a:cxn>
                  <a:cxn ang="0">
                    <a:pos x="17" y="20"/>
                  </a:cxn>
                  <a:cxn ang="0">
                    <a:pos x="13" y="38"/>
                  </a:cxn>
                  <a:cxn ang="0">
                    <a:pos x="17" y="57"/>
                  </a:cxn>
                  <a:cxn ang="0">
                    <a:pos x="25" y="64"/>
                  </a:cxn>
                  <a:cxn ang="0">
                    <a:pos x="34" y="57"/>
                  </a:cxn>
                  <a:cxn ang="0">
                    <a:pos x="37" y="38"/>
                  </a:cxn>
                </a:cxnLst>
                <a:rect l="0" t="0" r="r" b="b"/>
                <a:pathLst>
                  <a:path w="51" h="76">
                    <a:moveTo>
                      <a:pt x="51" y="38"/>
                    </a:moveTo>
                    <a:cubicBezTo>
                      <a:pt x="51" y="49"/>
                      <a:pt x="49" y="59"/>
                      <a:pt x="44" y="66"/>
                    </a:cubicBezTo>
                    <a:cubicBezTo>
                      <a:pt x="39" y="72"/>
                      <a:pt x="33" y="76"/>
                      <a:pt x="25" y="76"/>
                    </a:cubicBezTo>
                    <a:cubicBezTo>
                      <a:pt x="18" y="76"/>
                      <a:pt x="11" y="73"/>
                      <a:pt x="7" y="66"/>
                    </a:cubicBezTo>
                    <a:cubicBezTo>
                      <a:pt x="2" y="59"/>
                      <a:pt x="0" y="50"/>
                      <a:pt x="0" y="38"/>
                    </a:cubicBezTo>
                    <a:cubicBezTo>
                      <a:pt x="0" y="27"/>
                      <a:pt x="2" y="18"/>
                      <a:pt x="7" y="11"/>
                    </a:cubicBezTo>
                    <a:cubicBezTo>
                      <a:pt x="11" y="4"/>
                      <a:pt x="18" y="0"/>
                      <a:pt x="25" y="0"/>
                    </a:cubicBezTo>
                    <a:cubicBezTo>
                      <a:pt x="33" y="0"/>
                      <a:pt x="40" y="4"/>
                      <a:pt x="44" y="11"/>
                    </a:cubicBezTo>
                    <a:cubicBezTo>
                      <a:pt x="49" y="18"/>
                      <a:pt x="51" y="27"/>
                      <a:pt x="51" y="38"/>
                    </a:cubicBezTo>
                    <a:close/>
                    <a:moveTo>
                      <a:pt x="37" y="38"/>
                    </a:moveTo>
                    <a:cubicBezTo>
                      <a:pt x="37" y="31"/>
                      <a:pt x="36" y="24"/>
                      <a:pt x="34" y="20"/>
                    </a:cubicBezTo>
                    <a:cubicBezTo>
                      <a:pt x="32" y="15"/>
                      <a:pt x="29" y="13"/>
                      <a:pt x="25" y="13"/>
                    </a:cubicBezTo>
                    <a:cubicBezTo>
                      <a:pt x="22" y="13"/>
                      <a:pt x="19" y="15"/>
                      <a:pt x="17" y="20"/>
                    </a:cubicBezTo>
                    <a:cubicBezTo>
                      <a:pt x="15" y="25"/>
                      <a:pt x="13" y="31"/>
                      <a:pt x="13" y="38"/>
                    </a:cubicBezTo>
                    <a:cubicBezTo>
                      <a:pt x="13" y="46"/>
                      <a:pt x="15" y="52"/>
                      <a:pt x="17" y="57"/>
                    </a:cubicBezTo>
                    <a:cubicBezTo>
                      <a:pt x="19" y="61"/>
                      <a:pt x="22" y="64"/>
                      <a:pt x="25" y="64"/>
                    </a:cubicBezTo>
                    <a:cubicBezTo>
                      <a:pt x="29" y="64"/>
                      <a:pt x="32" y="61"/>
                      <a:pt x="34" y="57"/>
                    </a:cubicBezTo>
                    <a:cubicBezTo>
                      <a:pt x="36" y="52"/>
                      <a:pt x="37" y="46"/>
                      <a:pt x="37"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2" name="Freeform 272"/>
              <p:cNvSpPr>
                <a:spLocks/>
              </p:cNvSpPr>
              <p:nvPr/>
            </p:nvSpPr>
            <p:spPr bwMode="auto">
              <a:xfrm>
                <a:off x="3065299" y="3882325"/>
                <a:ext cx="34376" cy="87659"/>
              </a:xfrm>
              <a:custGeom>
                <a:avLst/>
                <a:gdLst/>
                <a:ahLst/>
                <a:cxnLst>
                  <a:cxn ang="0">
                    <a:pos x="22" y="56"/>
                  </a:cxn>
                  <a:cxn ang="0">
                    <a:pos x="11" y="56"/>
                  </a:cxn>
                  <a:cxn ang="0">
                    <a:pos x="11" y="9"/>
                  </a:cxn>
                  <a:cxn ang="0">
                    <a:pos x="0" y="9"/>
                  </a:cxn>
                  <a:cxn ang="0">
                    <a:pos x="5" y="0"/>
                  </a:cxn>
                  <a:cxn ang="0">
                    <a:pos x="22" y="0"/>
                  </a:cxn>
                  <a:cxn ang="0">
                    <a:pos x="22" y="56"/>
                  </a:cxn>
                </a:cxnLst>
                <a:rect l="0" t="0" r="r" b="b"/>
                <a:pathLst>
                  <a:path w="22" h="56">
                    <a:moveTo>
                      <a:pt x="22" y="56"/>
                    </a:moveTo>
                    <a:lnTo>
                      <a:pt x="11" y="56"/>
                    </a:lnTo>
                    <a:lnTo>
                      <a:pt x="11" y="9"/>
                    </a:lnTo>
                    <a:lnTo>
                      <a:pt x="0" y="9"/>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3" name="Freeform 273"/>
              <p:cNvSpPr>
                <a:spLocks/>
              </p:cNvSpPr>
              <p:nvPr/>
            </p:nvSpPr>
            <p:spPr bwMode="auto">
              <a:xfrm>
                <a:off x="3105925" y="3882325"/>
                <a:ext cx="34376" cy="87659"/>
              </a:xfrm>
              <a:custGeom>
                <a:avLst/>
                <a:gdLst/>
                <a:ahLst/>
                <a:cxnLst>
                  <a:cxn ang="0">
                    <a:pos x="22" y="56"/>
                  </a:cxn>
                  <a:cxn ang="0">
                    <a:pos x="11" y="56"/>
                  </a:cxn>
                  <a:cxn ang="0">
                    <a:pos x="11" y="9"/>
                  </a:cxn>
                  <a:cxn ang="0">
                    <a:pos x="0" y="9"/>
                  </a:cxn>
                  <a:cxn ang="0">
                    <a:pos x="5" y="0"/>
                  </a:cxn>
                  <a:cxn ang="0">
                    <a:pos x="22" y="0"/>
                  </a:cxn>
                  <a:cxn ang="0">
                    <a:pos x="22" y="56"/>
                  </a:cxn>
                </a:cxnLst>
                <a:rect l="0" t="0" r="r" b="b"/>
                <a:pathLst>
                  <a:path w="22" h="56">
                    <a:moveTo>
                      <a:pt x="22" y="56"/>
                    </a:moveTo>
                    <a:lnTo>
                      <a:pt x="11" y="56"/>
                    </a:lnTo>
                    <a:lnTo>
                      <a:pt x="11" y="9"/>
                    </a:lnTo>
                    <a:lnTo>
                      <a:pt x="0" y="9"/>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5" name="Freeform 284"/>
              <p:cNvSpPr>
                <a:spLocks/>
              </p:cNvSpPr>
              <p:nvPr/>
            </p:nvSpPr>
            <p:spPr bwMode="auto">
              <a:xfrm>
                <a:off x="2384038" y="402164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6" name="Freeform 285"/>
              <p:cNvSpPr>
                <a:spLocks/>
              </p:cNvSpPr>
              <p:nvPr/>
            </p:nvSpPr>
            <p:spPr bwMode="auto">
              <a:xfrm>
                <a:off x="2424664" y="402164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7" name="Freeform 286"/>
              <p:cNvSpPr>
                <a:spLocks/>
              </p:cNvSpPr>
              <p:nvPr/>
            </p:nvSpPr>
            <p:spPr bwMode="auto">
              <a:xfrm>
                <a:off x="2465290" y="402164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8" name="Freeform 287"/>
              <p:cNvSpPr>
                <a:spLocks/>
              </p:cNvSpPr>
              <p:nvPr/>
            </p:nvSpPr>
            <p:spPr bwMode="auto">
              <a:xfrm>
                <a:off x="2505915" y="4021640"/>
                <a:ext cx="32813" cy="87659"/>
              </a:xfrm>
              <a:custGeom>
                <a:avLst/>
                <a:gdLst/>
                <a:ahLst/>
                <a:cxnLst>
                  <a:cxn ang="0">
                    <a:pos x="21" y="56"/>
                  </a:cxn>
                  <a:cxn ang="0">
                    <a:pos x="11" y="56"/>
                  </a:cxn>
                  <a:cxn ang="0">
                    <a:pos x="11" y="10"/>
                  </a:cxn>
                  <a:cxn ang="0">
                    <a:pos x="0" y="10"/>
                  </a:cxn>
                  <a:cxn ang="0">
                    <a:pos x="4" y="0"/>
                  </a:cxn>
                  <a:cxn ang="0">
                    <a:pos x="21" y="0"/>
                  </a:cxn>
                  <a:cxn ang="0">
                    <a:pos x="21" y="56"/>
                  </a:cxn>
                </a:cxnLst>
                <a:rect l="0" t="0" r="r" b="b"/>
                <a:pathLst>
                  <a:path w="21" h="56">
                    <a:moveTo>
                      <a:pt x="21" y="56"/>
                    </a:moveTo>
                    <a:lnTo>
                      <a:pt x="11" y="56"/>
                    </a:lnTo>
                    <a:lnTo>
                      <a:pt x="11"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9" name="Freeform 288"/>
              <p:cNvSpPr>
                <a:spLocks noEditPoints="1"/>
              </p:cNvSpPr>
              <p:nvPr/>
            </p:nvSpPr>
            <p:spPr bwMode="auto">
              <a:xfrm>
                <a:off x="2554354" y="4020075"/>
                <a:ext cx="60938" cy="90790"/>
              </a:xfrm>
              <a:custGeom>
                <a:avLst/>
                <a:gdLst/>
                <a:ahLst/>
                <a:cxnLst>
                  <a:cxn ang="0">
                    <a:pos x="51" y="37"/>
                  </a:cxn>
                  <a:cxn ang="0">
                    <a:pos x="44" y="65"/>
                  </a:cxn>
                  <a:cxn ang="0">
                    <a:pos x="26" y="75"/>
                  </a:cxn>
                  <a:cxn ang="0">
                    <a:pos x="7" y="65"/>
                  </a:cxn>
                  <a:cxn ang="0">
                    <a:pos x="0" y="37"/>
                  </a:cxn>
                  <a:cxn ang="0">
                    <a:pos x="7" y="10"/>
                  </a:cxn>
                  <a:cxn ang="0">
                    <a:pos x="26" y="0"/>
                  </a:cxn>
                  <a:cxn ang="0">
                    <a:pos x="44" y="10"/>
                  </a:cxn>
                  <a:cxn ang="0">
                    <a:pos x="51" y="37"/>
                  </a:cxn>
                  <a:cxn ang="0">
                    <a:pos x="38" y="37"/>
                  </a:cxn>
                  <a:cxn ang="0">
                    <a:pos x="34" y="19"/>
                  </a:cxn>
                  <a:cxn ang="0">
                    <a:pos x="26" y="12"/>
                  </a:cxn>
                  <a:cxn ang="0">
                    <a:pos x="17" y="19"/>
                  </a:cxn>
                  <a:cxn ang="0">
                    <a:pos x="14" y="37"/>
                  </a:cxn>
                  <a:cxn ang="0">
                    <a:pos x="17" y="56"/>
                  </a:cxn>
                  <a:cxn ang="0">
                    <a:pos x="26" y="63"/>
                  </a:cxn>
                  <a:cxn ang="0">
                    <a:pos x="34" y="56"/>
                  </a:cxn>
                  <a:cxn ang="0">
                    <a:pos x="38" y="37"/>
                  </a:cxn>
                </a:cxnLst>
                <a:rect l="0" t="0" r="r" b="b"/>
                <a:pathLst>
                  <a:path w="51" h="75">
                    <a:moveTo>
                      <a:pt x="51" y="37"/>
                    </a:moveTo>
                    <a:cubicBezTo>
                      <a:pt x="51" y="49"/>
                      <a:pt x="49" y="58"/>
                      <a:pt x="44" y="65"/>
                    </a:cubicBezTo>
                    <a:cubicBezTo>
                      <a:pt x="40" y="72"/>
                      <a:pt x="33" y="75"/>
                      <a:pt x="26" y="75"/>
                    </a:cubicBezTo>
                    <a:cubicBezTo>
                      <a:pt x="18" y="75"/>
                      <a:pt x="11" y="72"/>
                      <a:pt x="7" y="65"/>
                    </a:cubicBezTo>
                    <a:cubicBezTo>
                      <a:pt x="2" y="58"/>
                      <a:pt x="0" y="49"/>
                      <a:pt x="0" y="37"/>
                    </a:cubicBezTo>
                    <a:cubicBezTo>
                      <a:pt x="0" y="26"/>
                      <a:pt x="2" y="17"/>
                      <a:pt x="7" y="10"/>
                    </a:cubicBezTo>
                    <a:cubicBezTo>
                      <a:pt x="11" y="3"/>
                      <a:pt x="18" y="0"/>
                      <a:pt x="26" y="0"/>
                    </a:cubicBezTo>
                    <a:cubicBezTo>
                      <a:pt x="33" y="0"/>
                      <a:pt x="40" y="3"/>
                      <a:pt x="44" y="10"/>
                    </a:cubicBezTo>
                    <a:cubicBezTo>
                      <a:pt x="49" y="17"/>
                      <a:pt x="51" y="26"/>
                      <a:pt x="51" y="37"/>
                    </a:cubicBezTo>
                    <a:close/>
                    <a:moveTo>
                      <a:pt x="38" y="37"/>
                    </a:moveTo>
                    <a:cubicBezTo>
                      <a:pt x="38" y="30"/>
                      <a:pt x="37" y="24"/>
                      <a:pt x="34" y="19"/>
                    </a:cubicBezTo>
                    <a:cubicBezTo>
                      <a:pt x="32" y="14"/>
                      <a:pt x="29" y="12"/>
                      <a:pt x="26" y="12"/>
                    </a:cubicBezTo>
                    <a:cubicBezTo>
                      <a:pt x="22" y="12"/>
                      <a:pt x="19" y="14"/>
                      <a:pt x="17" y="19"/>
                    </a:cubicBezTo>
                    <a:cubicBezTo>
                      <a:pt x="15" y="24"/>
                      <a:pt x="14" y="30"/>
                      <a:pt x="14" y="37"/>
                    </a:cubicBezTo>
                    <a:cubicBezTo>
                      <a:pt x="14" y="45"/>
                      <a:pt x="15" y="51"/>
                      <a:pt x="17" y="56"/>
                    </a:cubicBezTo>
                    <a:cubicBezTo>
                      <a:pt x="19" y="60"/>
                      <a:pt x="22" y="63"/>
                      <a:pt x="26" y="63"/>
                    </a:cubicBezTo>
                    <a:cubicBezTo>
                      <a:pt x="29" y="63"/>
                      <a:pt x="32" y="61"/>
                      <a:pt x="34"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0" name="Freeform 289"/>
              <p:cNvSpPr>
                <a:spLocks noEditPoints="1"/>
              </p:cNvSpPr>
              <p:nvPr/>
            </p:nvSpPr>
            <p:spPr bwMode="auto">
              <a:xfrm>
                <a:off x="2619980" y="4020075"/>
                <a:ext cx="62501" cy="90790"/>
              </a:xfrm>
              <a:custGeom>
                <a:avLst/>
                <a:gdLst/>
                <a:ahLst/>
                <a:cxnLst>
                  <a:cxn ang="0">
                    <a:pos x="52" y="37"/>
                  </a:cxn>
                  <a:cxn ang="0">
                    <a:pos x="45" y="65"/>
                  </a:cxn>
                  <a:cxn ang="0">
                    <a:pos x="26" y="75"/>
                  </a:cxn>
                  <a:cxn ang="0">
                    <a:pos x="7" y="65"/>
                  </a:cxn>
                  <a:cxn ang="0">
                    <a:pos x="0" y="37"/>
                  </a:cxn>
                  <a:cxn ang="0">
                    <a:pos x="7" y="10"/>
                  </a:cxn>
                  <a:cxn ang="0">
                    <a:pos x="26" y="0"/>
                  </a:cxn>
                  <a:cxn ang="0">
                    <a:pos x="45" y="10"/>
                  </a:cxn>
                  <a:cxn ang="0">
                    <a:pos x="52" y="37"/>
                  </a:cxn>
                  <a:cxn ang="0">
                    <a:pos x="38" y="37"/>
                  </a:cxn>
                  <a:cxn ang="0">
                    <a:pos x="35" y="19"/>
                  </a:cxn>
                  <a:cxn ang="0">
                    <a:pos x="26" y="12"/>
                  </a:cxn>
                  <a:cxn ang="0">
                    <a:pos x="17" y="19"/>
                  </a:cxn>
                  <a:cxn ang="0">
                    <a:pos x="14" y="37"/>
                  </a:cxn>
                  <a:cxn ang="0">
                    <a:pos x="17" y="56"/>
                  </a:cxn>
                  <a:cxn ang="0">
                    <a:pos x="26" y="63"/>
                  </a:cxn>
                  <a:cxn ang="0">
                    <a:pos x="35" y="56"/>
                  </a:cxn>
                  <a:cxn ang="0">
                    <a:pos x="38" y="37"/>
                  </a:cxn>
                </a:cxnLst>
                <a:rect l="0" t="0" r="r" b="b"/>
                <a:pathLst>
                  <a:path w="52" h="75">
                    <a:moveTo>
                      <a:pt x="52" y="37"/>
                    </a:moveTo>
                    <a:cubicBezTo>
                      <a:pt x="52" y="49"/>
                      <a:pt x="50" y="58"/>
                      <a:pt x="45" y="65"/>
                    </a:cubicBezTo>
                    <a:cubicBezTo>
                      <a:pt x="40" y="72"/>
                      <a:pt x="34" y="75"/>
                      <a:pt x="26" y="75"/>
                    </a:cubicBezTo>
                    <a:cubicBezTo>
                      <a:pt x="18" y="75"/>
                      <a:pt x="12" y="72"/>
                      <a:pt x="7" y="65"/>
                    </a:cubicBezTo>
                    <a:cubicBezTo>
                      <a:pt x="3" y="58"/>
                      <a:pt x="0" y="49"/>
                      <a:pt x="0" y="37"/>
                    </a:cubicBezTo>
                    <a:cubicBezTo>
                      <a:pt x="0" y="26"/>
                      <a:pt x="3" y="17"/>
                      <a:pt x="7" y="10"/>
                    </a:cubicBezTo>
                    <a:cubicBezTo>
                      <a:pt x="12" y="3"/>
                      <a:pt x="18" y="0"/>
                      <a:pt x="26" y="0"/>
                    </a:cubicBezTo>
                    <a:cubicBezTo>
                      <a:pt x="34" y="0"/>
                      <a:pt x="40" y="3"/>
                      <a:pt x="45" y="10"/>
                    </a:cubicBezTo>
                    <a:cubicBezTo>
                      <a:pt x="50" y="17"/>
                      <a:pt x="52" y="26"/>
                      <a:pt x="52" y="37"/>
                    </a:cubicBezTo>
                    <a:close/>
                    <a:moveTo>
                      <a:pt x="38" y="37"/>
                    </a:moveTo>
                    <a:cubicBezTo>
                      <a:pt x="38" y="30"/>
                      <a:pt x="37" y="24"/>
                      <a:pt x="35" y="19"/>
                    </a:cubicBezTo>
                    <a:cubicBezTo>
                      <a:pt x="33" y="14"/>
                      <a:pt x="30" y="12"/>
                      <a:pt x="26" y="12"/>
                    </a:cubicBezTo>
                    <a:cubicBezTo>
                      <a:pt x="22" y="12"/>
                      <a:pt x="20" y="14"/>
                      <a:pt x="17" y="19"/>
                    </a:cubicBezTo>
                    <a:cubicBezTo>
                      <a:pt x="15" y="24"/>
                      <a:pt x="14" y="30"/>
                      <a:pt x="14" y="37"/>
                    </a:cubicBezTo>
                    <a:cubicBezTo>
                      <a:pt x="14" y="45"/>
                      <a:pt x="15" y="51"/>
                      <a:pt x="17" y="56"/>
                    </a:cubicBezTo>
                    <a:cubicBezTo>
                      <a:pt x="20" y="60"/>
                      <a:pt x="23" y="63"/>
                      <a:pt x="26" y="63"/>
                    </a:cubicBezTo>
                    <a:cubicBezTo>
                      <a:pt x="30" y="63"/>
                      <a:pt x="33" y="61"/>
                      <a:pt x="35"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1" name="Freeform 290"/>
              <p:cNvSpPr>
                <a:spLocks/>
              </p:cNvSpPr>
              <p:nvPr/>
            </p:nvSpPr>
            <p:spPr bwMode="auto">
              <a:xfrm>
                <a:off x="2684043" y="402164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2" name="Freeform 291"/>
              <p:cNvSpPr>
                <a:spLocks noEditPoints="1"/>
              </p:cNvSpPr>
              <p:nvPr/>
            </p:nvSpPr>
            <p:spPr bwMode="auto">
              <a:xfrm>
                <a:off x="2730919" y="4020075"/>
                <a:ext cx="62501" cy="90790"/>
              </a:xfrm>
              <a:custGeom>
                <a:avLst/>
                <a:gdLst/>
                <a:ahLst/>
                <a:cxnLst>
                  <a:cxn ang="0">
                    <a:pos x="51" y="37"/>
                  </a:cxn>
                  <a:cxn ang="0">
                    <a:pos x="44" y="65"/>
                  </a:cxn>
                  <a:cxn ang="0">
                    <a:pos x="25" y="75"/>
                  </a:cxn>
                  <a:cxn ang="0">
                    <a:pos x="7" y="65"/>
                  </a:cxn>
                  <a:cxn ang="0">
                    <a:pos x="0" y="37"/>
                  </a:cxn>
                  <a:cxn ang="0">
                    <a:pos x="7" y="10"/>
                  </a:cxn>
                  <a:cxn ang="0">
                    <a:pos x="25" y="0"/>
                  </a:cxn>
                  <a:cxn ang="0">
                    <a:pos x="44" y="10"/>
                  </a:cxn>
                  <a:cxn ang="0">
                    <a:pos x="51" y="37"/>
                  </a:cxn>
                  <a:cxn ang="0">
                    <a:pos x="37" y="37"/>
                  </a:cxn>
                  <a:cxn ang="0">
                    <a:pos x="34" y="19"/>
                  </a:cxn>
                  <a:cxn ang="0">
                    <a:pos x="25" y="12"/>
                  </a:cxn>
                  <a:cxn ang="0">
                    <a:pos x="17" y="19"/>
                  </a:cxn>
                  <a:cxn ang="0">
                    <a:pos x="13" y="37"/>
                  </a:cxn>
                  <a:cxn ang="0">
                    <a:pos x="17" y="56"/>
                  </a:cxn>
                  <a:cxn ang="0">
                    <a:pos x="25" y="63"/>
                  </a:cxn>
                  <a:cxn ang="0">
                    <a:pos x="34" y="56"/>
                  </a:cxn>
                  <a:cxn ang="0">
                    <a:pos x="37" y="37"/>
                  </a:cxn>
                </a:cxnLst>
                <a:rect l="0" t="0" r="r" b="b"/>
                <a:pathLst>
                  <a:path w="51" h="75">
                    <a:moveTo>
                      <a:pt x="51" y="37"/>
                    </a:moveTo>
                    <a:cubicBezTo>
                      <a:pt x="51" y="49"/>
                      <a:pt x="49" y="58"/>
                      <a:pt x="44" y="65"/>
                    </a:cubicBezTo>
                    <a:cubicBezTo>
                      <a:pt x="39" y="72"/>
                      <a:pt x="33" y="75"/>
                      <a:pt x="25" y="75"/>
                    </a:cubicBezTo>
                    <a:cubicBezTo>
                      <a:pt x="17" y="75"/>
                      <a:pt x="11" y="72"/>
                      <a:pt x="7" y="65"/>
                    </a:cubicBezTo>
                    <a:cubicBezTo>
                      <a:pt x="2" y="58"/>
                      <a:pt x="0" y="49"/>
                      <a:pt x="0" y="37"/>
                    </a:cubicBezTo>
                    <a:cubicBezTo>
                      <a:pt x="0" y="26"/>
                      <a:pt x="2" y="17"/>
                      <a:pt x="7" y="10"/>
                    </a:cubicBezTo>
                    <a:cubicBezTo>
                      <a:pt x="11" y="3"/>
                      <a:pt x="17" y="0"/>
                      <a:pt x="25" y="0"/>
                    </a:cubicBezTo>
                    <a:cubicBezTo>
                      <a:pt x="33" y="0"/>
                      <a:pt x="39" y="3"/>
                      <a:pt x="44" y="10"/>
                    </a:cubicBezTo>
                    <a:cubicBezTo>
                      <a:pt x="49" y="17"/>
                      <a:pt x="51" y="26"/>
                      <a:pt x="51" y="37"/>
                    </a:cubicBezTo>
                    <a:close/>
                    <a:moveTo>
                      <a:pt x="37" y="37"/>
                    </a:moveTo>
                    <a:cubicBezTo>
                      <a:pt x="37" y="30"/>
                      <a:pt x="36" y="24"/>
                      <a:pt x="34" y="19"/>
                    </a:cubicBezTo>
                    <a:cubicBezTo>
                      <a:pt x="32" y="14"/>
                      <a:pt x="29" y="12"/>
                      <a:pt x="25" y="12"/>
                    </a:cubicBezTo>
                    <a:cubicBezTo>
                      <a:pt x="22" y="12"/>
                      <a:pt x="19" y="14"/>
                      <a:pt x="17" y="19"/>
                    </a:cubicBezTo>
                    <a:cubicBezTo>
                      <a:pt x="14" y="24"/>
                      <a:pt x="13" y="30"/>
                      <a:pt x="13" y="37"/>
                    </a:cubicBezTo>
                    <a:cubicBezTo>
                      <a:pt x="13" y="45"/>
                      <a:pt x="14" y="51"/>
                      <a:pt x="17" y="56"/>
                    </a:cubicBezTo>
                    <a:cubicBezTo>
                      <a:pt x="19" y="60"/>
                      <a:pt x="22" y="63"/>
                      <a:pt x="25" y="63"/>
                    </a:cubicBezTo>
                    <a:cubicBezTo>
                      <a:pt x="29" y="63"/>
                      <a:pt x="32" y="61"/>
                      <a:pt x="34" y="56"/>
                    </a:cubicBezTo>
                    <a:cubicBezTo>
                      <a:pt x="36" y="51"/>
                      <a:pt x="37" y="45"/>
                      <a:pt x="37"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3" name="Freeform 292"/>
              <p:cNvSpPr>
                <a:spLocks/>
              </p:cNvSpPr>
              <p:nvPr/>
            </p:nvSpPr>
            <p:spPr bwMode="auto">
              <a:xfrm>
                <a:off x="2793420" y="4021640"/>
                <a:ext cx="34376" cy="87659"/>
              </a:xfrm>
              <a:custGeom>
                <a:avLst/>
                <a:gdLst/>
                <a:ahLst/>
                <a:cxnLst>
                  <a:cxn ang="0">
                    <a:pos x="22" y="56"/>
                  </a:cxn>
                  <a:cxn ang="0">
                    <a:pos x="11" y="56"/>
                  </a:cxn>
                  <a:cxn ang="0">
                    <a:pos x="11" y="10"/>
                  </a:cxn>
                  <a:cxn ang="0">
                    <a:pos x="0" y="10"/>
                  </a:cxn>
                  <a:cxn ang="0">
                    <a:pos x="5" y="0"/>
                  </a:cxn>
                  <a:cxn ang="0">
                    <a:pos x="22" y="0"/>
                  </a:cxn>
                  <a:cxn ang="0">
                    <a:pos x="22" y="56"/>
                  </a:cxn>
                </a:cxnLst>
                <a:rect l="0" t="0" r="r" b="b"/>
                <a:pathLst>
                  <a:path w="22" h="56">
                    <a:moveTo>
                      <a:pt x="22" y="56"/>
                    </a:moveTo>
                    <a:lnTo>
                      <a:pt x="11" y="56"/>
                    </a:lnTo>
                    <a:lnTo>
                      <a:pt x="11" y="10"/>
                    </a:lnTo>
                    <a:lnTo>
                      <a:pt x="0" y="10"/>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4" name="Freeform 293"/>
              <p:cNvSpPr>
                <a:spLocks/>
              </p:cNvSpPr>
              <p:nvPr/>
            </p:nvSpPr>
            <p:spPr bwMode="auto">
              <a:xfrm>
                <a:off x="2835608" y="402164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5" name="Freeform 294"/>
              <p:cNvSpPr>
                <a:spLocks noEditPoints="1"/>
              </p:cNvSpPr>
              <p:nvPr/>
            </p:nvSpPr>
            <p:spPr bwMode="auto">
              <a:xfrm>
                <a:off x="2882484" y="4020075"/>
                <a:ext cx="62501" cy="90790"/>
              </a:xfrm>
              <a:custGeom>
                <a:avLst/>
                <a:gdLst/>
                <a:ahLst/>
                <a:cxnLst>
                  <a:cxn ang="0">
                    <a:pos x="51" y="37"/>
                  </a:cxn>
                  <a:cxn ang="0">
                    <a:pos x="44" y="65"/>
                  </a:cxn>
                  <a:cxn ang="0">
                    <a:pos x="25" y="75"/>
                  </a:cxn>
                  <a:cxn ang="0">
                    <a:pos x="7" y="65"/>
                  </a:cxn>
                  <a:cxn ang="0">
                    <a:pos x="0" y="37"/>
                  </a:cxn>
                  <a:cxn ang="0">
                    <a:pos x="7" y="10"/>
                  </a:cxn>
                  <a:cxn ang="0">
                    <a:pos x="25" y="0"/>
                  </a:cxn>
                  <a:cxn ang="0">
                    <a:pos x="44" y="10"/>
                  </a:cxn>
                  <a:cxn ang="0">
                    <a:pos x="51" y="37"/>
                  </a:cxn>
                  <a:cxn ang="0">
                    <a:pos x="38" y="37"/>
                  </a:cxn>
                  <a:cxn ang="0">
                    <a:pos x="34" y="19"/>
                  </a:cxn>
                  <a:cxn ang="0">
                    <a:pos x="25" y="12"/>
                  </a:cxn>
                  <a:cxn ang="0">
                    <a:pos x="17" y="19"/>
                  </a:cxn>
                  <a:cxn ang="0">
                    <a:pos x="14" y="37"/>
                  </a:cxn>
                  <a:cxn ang="0">
                    <a:pos x="17" y="56"/>
                  </a:cxn>
                  <a:cxn ang="0">
                    <a:pos x="25" y="63"/>
                  </a:cxn>
                  <a:cxn ang="0">
                    <a:pos x="34" y="56"/>
                  </a:cxn>
                  <a:cxn ang="0">
                    <a:pos x="38" y="37"/>
                  </a:cxn>
                </a:cxnLst>
                <a:rect l="0" t="0" r="r" b="b"/>
                <a:pathLst>
                  <a:path w="51" h="75">
                    <a:moveTo>
                      <a:pt x="51" y="37"/>
                    </a:moveTo>
                    <a:cubicBezTo>
                      <a:pt x="51" y="49"/>
                      <a:pt x="49" y="58"/>
                      <a:pt x="44" y="65"/>
                    </a:cubicBezTo>
                    <a:cubicBezTo>
                      <a:pt x="40" y="72"/>
                      <a:pt x="33" y="75"/>
                      <a:pt x="25" y="75"/>
                    </a:cubicBezTo>
                    <a:cubicBezTo>
                      <a:pt x="18" y="75"/>
                      <a:pt x="11" y="72"/>
                      <a:pt x="7" y="65"/>
                    </a:cubicBezTo>
                    <a:cubicBezTo>
                      <a:pt x="2" y="58"/>
                      <a:pt x="0" y="49"/>
                      <a:pt x="0" y="37"/>
                    </a:cubicBezTo>
                    <a:cubicBezTo>
                      <a:pt x="0" y="26"/>
                      <a:pt x="2" y="17"/>
                      <a:pt x="7" y="10"/>
                    </a:cubicBezTo>
                    <a:cubicBezTo>
                      <a:pt x="11" y="3"/>
                      <a:pt x="18" y="0"/>
                      <a:pt x="25" y="0"/>
                    </a:cubicBezTo>
                    <a:cubicBezTo>
                      <a:pt x="33" y="0"/>
                      <a:pt x="40" y="3"/>
                      <a:pt x="44" y="10"/>
                    </a:cubicBezTo>
                    <a:cubicBezTo>
                      <a:pt x="49" y="17"/>
                      <a:pt x="51" y="26"/>
                      <a:pt x="51" y="37"/>
                    </a:cubicBezTo>
                    <a:close/>
                    <a:moveTo>
                      <a:pt x="38" y="37"/>
                    </a:moveTo>
                    <a:cubicBezTo>
                      <a:pt x="38" y="30"/>
                      <a:pt x="36" y="24"/>
                      <a:pt x="34" y="19"/>
                    </a:cubicBezTo>
                    <a:cubicBezTo>
                      <a:pt x="32" y="14"/>
                      <a:pt x="29" y="12"/>
                      <a:pt x="25" y="12"/>
                    </a:cubicBezTo>
                    <a:cubicBezTo>
                      <a:pt x="22" y="12"/>
                      <a:pt x="19" y="14"/>
                      <a:pt x="17" y="19"/>
                    </a:cubicBezTo>
                    <a:cubicBezTo>
                      <a:pt x="15" y="24"/>
                      <a:pt x="14" y="30"/>
                      <a:pt x="14" y="37"/>
                    </a:cubicBezTo>
                    <a:cubicBezTo>
                      <a:pt x="14" y="45"/>
                      <a:pt x="15" y="51"/>
                      <a:pt x="17" y="56"/>
                    </a:cubicBezTo>
                    <a:cubicBezTo>
                      <a:pt x="19" y="60"/>
                      <a:pt x="22" y="63"/>
                      <a:pt x="25" y="63"/>
                    </a:cubicBezTo>
                    <a:cubicBezTo>
                      <a:pt x="29" y="63"/>
                      <a:pt x="32" y="61"/>
                      <a:pt x="34" y="56"/>
                    </a:cubicBezTo>
                    <a:cubicBezTo>
                      <a:pt x="36"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6" name="Freeform 295"/>
              <p:cNvSpPr>
                <a:spLocks/>
              </p:cNvSpPr>
              <p:nvPr/>
            </p:nvSpPr>
            <p:spPr bwMode="auto">
              <a:xfrm>
                <a:off x="2944985" y="4021640"/>
                <a:ext cx="34376" cy="87659"/>
              </a:xfrm>
              <a:custGeom>
                <a:avLst/>
                <a:gdLst/>
                <a:ahLst/>
                <a:cxnLst>
                  <a:cxn ang="0">
                    <a:pos x="22" y="56"/>
                  </a:cxn>
                  <a:cxn ang="0">
                    <a:pos x="11" y="56"/>
                  </a:cxn>
                  <a:cxn ang="0">
                    <a:pos x="11" y="10"/>
                  </a:cxn>
                  <a:cxn ang="0">
                    <a:pos x="0" y="10"/>
                  </a:cxn>
                  <a:cxn ang="0">
                    <a:pos x="5" y="0"/>
                  </a:cxn>
                  <a:cxn ang="0">
                    <a:pos x="22" y="0"/>
                  </a:cxn>
                  <a:cxn ang="0">
                    <a:pos x="22" y="56"/>
                  </a:cxn>
                </a:cxnLst>
                <a:rect l="0" t="0" r="r" b="b"/>
                <a:pathLst>
                  <a:path w="22" h="56">
                    <a:moveTo>
                      <a:pt x="22" y="56"/>
                    </a:moveTo>
                    <a:lnTo>
                      <a:pt x="11" y="56"/>
                    </a:lnTo>
                    <a:lnTo>
                      <a:pt x="11" y="10"/>
                    </a:lnTo>
                    <a:lnTo>
                      <a:pt x="0" y="10"/>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7" name="Freeform 296"/>
              <p:cNvSpPr>
                <a:spLocks noEditPoints="1"/>
              </p:cNvSpPr>
              <p:nvPr/>
            </p:nvSpPr>
            <p:spPr bwMode="auto">
              <a:xfrm>
                <a:off x="2993423" y="4020075"/>
                <a:ext cx="62501" cy="90790"/>
              </a:xfrm>
              <a:custGeom>
                <a:avLst/>
                <a:gdLst/>
                <a:ahLst/>
                <a:cxnLst>
                  <a:cxn ang="0">
                    <a:pos x="52" y="37"/>
                  </a:cxn>
                  <a:cxn ang="0">
                    <a:pos x="44" y="65"/>
                  </a:cxn>
                  <a:cxn ang="0">
                    <a:pos x="26" y="75"/>
                  </a:cxn>
                  <a:cxn ang="0">
                    <a:pos x="7" y="65"/>
                  </a:cxn>
                  <a:cxn ang="0">
                    <a:pos x="0" y="37"/>
                  </a:cxn>
                  <a:cxn ang="0">
                    <a:pos x="7" y="10"/>
                  </a:cxn>
                  <a:cxn ang="0">
                    <a:pos x="26" y="0"/>
                  </a:cxn>
                  <a:cxn ang="0">
                    <a:pos x="45" y="10"/>
                  </a:cxn>
                  <a:cxn ang="0">
                    <a:pos x="52" y="37"/>
                  </a:cxn>
                  <a:cxn ang="0">
                    <a:pos x="38" y="37"/>
                  </a:cxn>
                  <a:cxn ang="0">
                    <a:pos x="34" y="19"/>
                  </a:cxn>
                  <a:cxn ang="0">
                    <a:pos x="26" y="12"/>
                  </a:cxn>
                  <a:cxn ang="0">
                    <a:pos x="17" y="19"/>
                  </a:cxn>
                  <a:cxn ang="0">
                    <a:pos x="14" y="37"/>
                  </a:cxn>
                  <a:cxn ang="0">
                    <a:pos x="17" y="56"/>
                  </a:cxn>
                  <a:cxn ang="0">
                    <a:pos x="26" y="63"/>
                  </a:cxn>
                  <a:cxn ang="0">
                    <a:pos x="34" y="56"/>
                  </a:cxn>
                  <a:cxn ang="0">
                    <a:pos x="38" y="37"/>
                  </a:cxn>
                </a:cxnLst>
                <a:rect l="0" t="0" r="r" b="b"/>
                <a:pathLst>
                  <a:path w="52" h="75">
                    <a:moveTo>
                      <a:pt x="52" y="37"/>
                    </a:moveTo>
                    <a:cubicBezTo>
                      <a:pt x="52" y="49"/>
                      <a:pt x="49" y="58"/>
                      <a:pt x="44" y="65"/>
                    </a:cubicBezTo>
                    <a:cubicBezTo>
                      <a:pt x="40" y="72"/>
                      <a:pt x="33" y="75"/>
                      <a:pt x="26" y="75"/>
                    </a:cubicBezTo>
                    <a:cubicBezTo>
                      <a:pt x="18" y="75"/>
                      <a:pt x="12" y="72"/>
                      <a:pt x="7" y="65"/>
                    </a:cubicBezTo>
                    <a:cubicBezTo>
                      <a:pt x="2" y="58"/>
                      <a:pt x="0" y="49"/>
                      <a:pt x="0" y="37"/>
                    </a:cubicBezTo>
                    <a:cubicBezTo>
                      <a:pt x="0" y="26"/>
                      <a:pt x="2" y="17"/>
                      <a:pt x="7" y="10"/>
                    </a:cubicBezTo>
                    <a:cubicBezTo>
                      <a:pt x="12" y="3"/>
                      <a:pt x="18" y="0"/>
                      <a:pt x="26" y="0"/>
                    </a:cubicBezTo>
                    <a:cubicBezTo>
                      <a:pt x="34" y="0"/>
                      <a:pt x="40" y="3"/>
                      <a:pt x="45" y="10"/>
                    </a:cubicBezTo>
                    <a:cubicBezTo>
                      <a:pt x="49" y="17"/>
                      <a:pt x="52" y="26"/>
                      <a:pt x="52" y="37"/>
                    </a:cubicBezTo>
                    <a:close/>
                    <a:moveTo>
                      <a:pt x="38" y="37"/>
                    </a:moveTo>
                    <a:cubicBezTo>
                      <a:pt x="38" y="30"/>
                      <a:pt x="37" y="24"/>
                      <a:pt x="34" y="19"/>
                    </a:cubicBezTo>
                    <a:cubicBezTo>
                      <a:pt x="32" y="14"/>
                      <a:pt x="29" y="12"/>
                      <a:pt x="26" y="12"/>
                    </a:cubicBezTo>
                    <a:cubicBezTo>
                      <a:pt x="22" y="12"/>
                      <a:pt x="19" y="14"/>
                      <a:pt x="17" y="19"/>
                    </a:cubicBezTo>
                    <a:cubicBezTo>
                      <a:pt x="15" y="24"/>
                      <a:pt x="14" y="30"/>
                      <a:pt x="14" y="37"/>
                    </a:cubicBezTo>
                    <a:cubicBezTo>
                      <a:pt x="14" y="45"/>
                      <a:pt x="15" y="51"/>
                      <a:pt x="17" y="56"/>
                    </a:cubicBezTo>
                    <a:cubicBezTo>
                      <a:pt x="19" y="60"/>
                      <a:pt x="22" y="63"/>
                      <a:pt x="26" y="63"/>
                    </a:cubicBezTo>
                    <a:cubicBezTo>
                      <a:pt x="29" y="63"/>
                      <a:pt x="32" y="61"/>
                      <a:pt x="34"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8" name="Freeform 297"/>
              <p:cNvSpPr>
                <a:spLocks/>
              </p:cNvSpPr>
              <p:nvPr/>
            </p:nvSpPr>
            <p:spPr bwMode="auto">
              <a:xfrm>
                <a:off x="3057486" y="402164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9" name="Freeform 298"/>
              <p:cNvSpPr>
                <a:spLocks/>
              </p:cNvSpPr>
              <p:nvPr/>
            </p:nvSpPr>
            <p:spPr bwMode="auto">
              <a:xfrm>
                <a:off x="3098112" y="402164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1" name="Freeform 310"/>
              <p:cNvSpPr>
                <a:spLocks/>
              </p:cNvSpPr>
              <p:nvPr/>
            </p:nvSpPr>
            <p:spPr bwMode="auto">
              <a:xfrm>
                <a:off x="2424664" y="415939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2" name="Freeform 311"/>
              <p:cNvSpPr>
                <a:spLocks noEditPoints="1"/>
              </p:cNvSpPr>
              <p:nvPr/>
            </p:nvSpPr>
            <p:spPr bwMode="auto">
              <a:xfrm>
                <a:off x="2471540" y="4159390"/>
                <a:ext cx="62501" cy="89224"/>
              </a:xfrm>
              <a:custGeom>
                <a:avLst/>
                <a:gdLst/>
                <a:ahLst/>
                <a:cxnLst>
                  <a:cxn ang="0">
                    <a:pos x="52" y="38"/>
                  </a:cxn>
                  <a:cxn ang="0">
                    <a:pos x="45" y="65"/>
                  </a:cxn>
                  <a:cxn ang="0">
                    <a:pos x="26" y="75"/>
                  </a:cxn>
                  <a:cxn ang="0">
                    <a:pos x="7" y="65"/>
                  </a:cxn>
                  <a:cxn ang="0">
                    <a:pos x="0" y="38"/>
                  </a:cxn>
                  <a:cxn ang="0">
                    <a:pos x="7" y="10"/>
                  </a:cxn>
                  <a:cxn ang="0">
                    <a:pos x="26" y="0"/>
                  </a:cxn>
                  <a:cxn ang="0">
                    <a:pos x="45" y="10"/>
                  </a:cxn>
                  <a:cxn ang="0">
                    <a:pos x="52" y="38"/>
                  </a:cxn>
                  <a:cxn ang="0">
                    <a:pos x="38" y="37"/>
                  </a:cxn>
                  <a:cxn ang="0">
                    <a:pos x="34" y="19"/>
                  </a:cxn>
                  <a:cxn ang="0">
                    <a:pos x="26" y="12"/>
                  </a:cxn>
                  <a:cxn ang="0">
                    <a:pos x="17" y="19"/>
                  </a:cxn>
                  <a:cxn ang="0">
                    <a:pos x="14" y="38"/>
                  </a:cxn>
                  <a:cxn ang="0">
                    <a:pos x="17" y="56"/>
                  </a:cxn>
                  <a:cxn ang="0">
                    <a:pos x="26" y="63"/>
                  </a:cxn>
                  <a:cxn ang="0">
                    <a:pos x="35" y="56"/>
                  </a:cxn>
                  <a:cxn ang="0">
                    <a:pos x="38" y="37"/>
                  </a:cxn>
                </a:cxnLst>
                <a:rect l="0" t="0" r="r" b="b"/>
                <a:pathLst>
                  <a:path w="52" h="75">
                    <a:moveTo>
                      <a:pt x="52" y="38"/>
                    </a:moveTo>
                    <a:cubicBezTo>
                      <a:pt x="52" y="49"/>
                      <a:pt x="49" y="58"/>
                      <a:pt x="45" y="65"/>
                    </a:cubicBezTo>
                    <a:cubicBezTo>
                      <a:pt x="40" y="72"/>
                      <a:pt x="34" y="75"/>
                      <a:pt x="26" y="75"/>
                    </a:cubicBezTo>
                    <a:cubicBezTo>
                      <a:pt x="18" y="75"/>
                      <a:pt x="12" y="72"/>
                      <a:pt x="7" y="65"/>
                    </a:cubicBezTo>
                    <a:cubicBezTo>
                      <a:pt x="2" y="58"/>
                      <a:pt x="0" y="49"/>
                      <a:pt x="0" y="38"/>
                    </a:cubicBezTo>
                    <a:cubicBezTo>
                      <a:pt x="0" y="26"/>
                      <a:pt x="2" y="17"/>
                      <a:pt x="7" y="10"/>
                    </a:cubicBezTo>
                    <a:cubicBezTo>
                      <a:pt x="12" y="3"/>
                      <a:pt x="18" y="0"/>
                      <a:pt x="26" y="0"/>
                    </a:cubicBezTo>
                    <a:cubicBezTo>
                      <a:pt x="34" y="0"/>
                      <a:pt x="40" y="3"/>
                      <a:pt x="45" y="10"/>
                    </a:cubicBezTo>
                    <a:cubicBezTo>
                      <a:pt x="49" y="17"/>
                      <a:pt x="52" y="26"/>
                      <a:pt x="52" y="38"/>
                    </a:cubicBezTo>
                    <a:close/>
                    <a:moveTo>
                      <a:pt x="38" y="37"/>
                    </a:moveTo>
                    <a:cubicBezTo>
                      <a:pt x="38" y="30"/>
                      <a:pt x="37" y="24"/>
                      <a:pt x="34" y="19"/>
                    </a:cubicBezTo>
                    <a:cubicBezTo>
                      <a:pt x="32" y="14"/>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5"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3" name="Freeform 312"/>
              <p:cNvSpPr>
                <a:spLocks/>
              </p:cNvSpPr>
              <p:nvPr/>
            </p:nvSpPr>
            <p:spPr bwMode="auto">
              <a:xfrm>
                <a:off x="2535603" y="4159390"/>
                <a:ext cx="32813" cy="87659"/>
              </a:xfrm>
              <a:custGeom>
                <a:avLst/>
                <a:gdLst/>
                <a:ahLst/>
                <a:cxnLst>
                  <a:cxn ang="0">
                    <a:pos x="21" y="56"/>
                  </a:cxn>
                  <a:cxn ang="0">
                    <a:pos x="11" y="56"/>
                  </a:cxn>
                  <a:cxn ang="0">
                    <a:pos x="11" y="10"/>
                  </a:cxn>
                  <a:cxn ang="0">
                    <a:pos x="0" y="10"/>
                  </a:cxn>
                  <a:cxn ang="0">
                    <a:pos x="5" y="0"/>
                  </a:cxn>
                  <a:cxn ang="0">
                    <a:pos x="21" y="0"/>
                  </a:cxn>
                  <a:cxn ang="0">
                    <a:pos x="21" y="56"/>
                  </a:cxn>
                </a:cxnLst>
                <a:rect l="0" t="0" r="r" b="b"/>
                <a:pathLst>
                  <a:path w="21" h="56">
                    <a:moveTo>
                      <a:pt x="21" y="56"/>
                    </a:moveTo>
                    <a:lnTo>
                      <a:pt x="11" y="56"/>
                    </a:lnTo>
                    <a:lnTo>
                      <a:pt x="11" y="10"/>
                    </a:lnTo>
                    <a:lnTo>
                      <a:pt x="0" y="10"/>
                    </a:lnTo>
                    <a:lnTo>
                      <a:pt x="5"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4" name="Freeform 313"/>
              <p:cNvSpPr>
                <a:spLocks/>
              </p:cNvSpPr>
              <p:nvPr/>
            </p:nvSpPr>
            <p:spPr bwMode="auto">
              <a:xfrm>
                <a:off x="2576229" y="415939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5" name="Freeform 314"/>
              <p:cNvSpPr>
                <a:spLocks/>
              </p:cNvSpPr>
              <p:nvPr/>
            </p:nvSpPr>
            <p:spPr bwMode="auto">
              <a:xfrm>
                <a:off x="2616855" y="415939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6" name="Freeform 315"/>
              <p:cNvSpPr>
                <a:spLocks/>
              </p:cNvSpPr>
              <p:nvPr/>
            </p:nvSpPr>
            <p:spPr bwMode="auto">
              <a:xfrm>
                <a:off x="2657480" y="415939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7" name="Freeform 316"/>
              <p:cNvSpPr>
                <a:spLocks noEditPoints="1"/>
              </p:cNvSpPr>
              <p:nvPr/>
            </p:nvSpPr>
            <p:spPr bwMode="auto">
              <a:xfrm>
                <a:off x="2704356" y="4159390"/>
                <a:ext cx="62501" cy="89224"/>
              </a:xfrm>
              <a:custGeom>
                <a:avLst/>
                <a:gdLst/>
                <a:ahLst/>
                <a:cxnLst>
                  <a:cxn ang="0">
                    <a:pos x="52" y="38"/>
                  </a:cxn>
                  <a:cxn ang="0">
                    <a:pos x="44" y="65"/>
                  </a:cxn>
                  <a:cxn ang="0">
                    <a:pos x="26" y="75"/>
                  </a:cxn>
                  <a:cxn ang="0">
                    <a:pos x="7" y="65"/>
                  </a:cxn>
                  <a:cxn ang="0">
                    <a:pos x="0" y="38"/>
                  </a:cxn>
                  <a:cxn ang="0">
                    <a:pos x="7" y="10"/>
                  </a:cxn>
                  <a:cxn ang="0">
                    <a:pos x="26" y="0"/>
                  </a:cxn>
                  <a:cxn ang="0">
                    <a:pos x="45" y="10"/>
                  </a:cxn>
                  <a:cxn ang="0">
                    <a:pos x="52" y="38"/>
                  </a:cxn>
                  <a:cxn ang="0">
                    <a:pos x="38" y="37"/>
                  </a:cxn>
                  <a:cxn ang="0">
                    <a:pos x="34" y="19"/>
                  </a:cxn>
                  <a:cxn ang="0">
                    <a:pos x="26" y="12"/>
                  </a:cxn>
                  <a:cxn ang="0">
                    <a:pos x="17" y="19"/>
                  </a:cxn>
                  <a:cxn ang="0">
                    <a:pos x="14" y="38"/>
                  </a:cxn>
                  <a:cxn ang="0">
                    <a:pos x="17" y="56"/>
                  </a:cxn>
                  <a:cxn ang="0">
                    <a:pos x="26" y="63"/>
                  </a:cxn>
                  <a:cxn ang="0">
                    <a:pos x="34" y="56"/>
                  </a:cxn>
                  <a:cxn ang="0">
                    <a:pos x="38" y="37"/>
                  </a:cxn>
                </a:cxnLst>
                <a:rect l="0" t="0" r="r" b="b"/>
                <a:pathLst>
                  <a:path w="52" h="75">
                    <a:moveTo>
                      <a:pt x="52" y="38"/>
                    </a:moveTo>
                    <a:cubicBezTo>
                      <a:pt x="52" y="49"/>
                      <a:pt x="49" y="58"/>
                      <a:pt x="44" y="65"/>
                    </a:cubicBezTo>
                    <a:cubicBezTo>
                      <a:pt x="40" y="72"/>
                      <a:pt x="33" y="75"/>
                      <a:pt x="26" y="75"/>
                    </a:cubicBezTo>
                    <a:cubicBezTo>
                      <a:pt x="18" y="75"/>
                      <a:pt x="12" y="72"/>
                      <a:pt x="7" y="65"/>
                    </a:cubicBezTo>
                    <a:cubicBezTo>
                      <a:pt x="2" y="58"/>
                      <a:pt x="0" y="49"/>
                      <a:pt x="0" y="38"/>
                    </a:cubicBezTo>
                    <a:cubicBezTo>
                      <a:pt x="0" y="26"/>
                      <a:pt x="2" y="17"/>
                      <a:pt x="7" y="10"/>
                    </a:cubicBezTo>
                    <a:cubicBezTo>
                      <a:pt x="12" y="3"/>
                      <a:pt x="18" y="0"/>
                      <a:pt x="26" y="0"/>
                    </a:cubicBezTo>
                    <a:cubicBezTo>
                      <a:pt x="34" y="0"/>
                      <a:pt x="40" y="3"/>
                      <a:pt x="45" y="10"/>
                    </a:cubicBezTo>
                    <a:cubicBezTo>
                      <a:pt x="49" y="17"/>
                      <a:pt x="52" y="26"/>
                      <a:pt x="52" y="38"/>
                    </a:cubicBezTo>
                    <a:close/>
                    <a:moveTo>
                      <a:pt x="38" y="37"/>
                    </a:moveTo>
                    <a:cubicBezTo>
                      <a:pt x="38" y="30"/>
                      <a:pt x="37" y="24"/>
                      <a:pt x="34" y="19"/>
                    </a:cubicBezTo>
                    <a:cubicBezTo>
                      <a:pt x="32" y="14"/>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4"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8" name="Freeform 317"/>
              <p:cNvSpPr>
                <a:spLocks noEditPoints="1"/>
              </p:cNvSpPr>
              <p:nvPr/>
            </p:nvSpPr>
            <p:spPr bwMode="auto">
              <a:xfrm>
                <a:off x="2771544" y="4159390"/>
                <a:ext cx="62501" cy="89224"/>
              </a:xfrm>
              <a:custGeom>
                <a:avLst/>
                <a:gdLst/>
                <a:ahLst/>
                <a:cxnLst>
                  <a:cxn ang="0">
                    <a:pos x="52" y="38"/>
                  </a:cxn>
                  <a:cxn ang="0">
                    <a:pos x="45" y="65"/>
                  </a:cxn>
                  <a:cxn ang="0">
                    <a:pos x="26" y="75"/>
                  </a:cxn>
                  <a:cxn ang="0">
                    <a:pos x="7" y="65"/>
                  </a:cxn>
                  <a:cxn ang="0">
                    <a:pos x="0" y="38"/>
                  </a:cxn>
                  <a:cxn ang="0">
                    <a:pos x="7" y="10"/>
                  </a:cxn>
                  <a:cxn ang="0">
                    <a:pos x="26" y="0"/>
                  </a:cxn>
                  <a:cxn ang="0">
                    <a:pos x="45" y="10"/>
                  </a:cxn>
                  <a:cxn ang="0">
                    <a:pos x="52" y="38"/>
                  </a:cxn>
                  <a:cxn ang="0">
                    <a:pos x="38" y="37"/>
                  </a:cxn>
                  <a:cxn ang="0">
                    <a:pos x="35" y="19"/>
                  </a:cxn>
                  <a:cxn ang="0">
                    <a:pos x="26" y="12"/>
                  </a:cxn>
                  <a:cxn ang="0">
                    <a:pos x="18" y="19"/>
                  </a:cxn>
                  <a:cxn ang="0">
                    <a:pos x="14" y="38"/>
                  </a:cxn>
                  <a:cxn ang="0">
                    <a:pos x="18" y="56"/>
                  </a:cxn>
                  <a:cxn ang="0">
                    <a:pos x="26" y="63"/>
                  </a:cxn>
                  <a:cxn ang="0">
                    <a:pos x="35" y="56"/>
                  </a:cxn>
                  <a:cxn ang="0">
                    <a:pos x="38" y="37"/>
                  </a:cxn>
                </a:cxnLst>
                <a:rect l="0" t="0" r="r" b="b"/>
                <a:pathLst>
                  <a:path w="52" h="75">
                    <a:moveTo>
                      <a:pt x="52" y="38"/>
                    </a:moveTo>
                    <a:cubicBezTo>
                      <a:pt x="52" y="49"/>
                      <a:pt x="50" y="58"/>
                      <a:pt x="45" y="65"/>
                    </a:cubicBezTo>
                    <a:cubicBezTo>
                      <a:pt x="40" y="72"/>
                      <a:pt x="34" y="75"/>
                      <a:pt x="26" y="75"/>
                    </a:cubicBezTo>
                    <a:cubicBezTo>
                      <a:pt x="18" y="75"/>
                      <a:pt x="12" y="72"/>
                      <a:pt x="7" y="65"/>
                    </a:cubicBezTo>
                    <a:cubicBezTo>
                      <a:pt x="3" y="58"/>
                      <a:pt x="0" y="49"/>
                      <a:pt x="0" y="38"/>
                    </a:cubicBezTo>
                    <a:cubicBezTo>
                      <a:pt x="0" y="26"/>
                      <a:pt x="3" y="17"/>
                      <a:pt x="7" y="10"/>
                    </a:cubicBezTo>
                    <a:cubicBezTo>
                      <a:pt x="12" y="3"/>
                      <a:pt x="18" y="0"/>
                      <a:pt x="26" y="0"/>
                    </a:cubicBezTo>
                    <a:cubicBezTo>
                      <a:pt x="34" y="0"/>
                      <a:pt x="40" y="3"/>
                      <a:pt x="45" y="10"/>
                    </a:cubicBezTo>
                    <a:cubicBezTo>
                      <a:pt x="50" y="17"/>
                      <a:pt x="52" y="26"/>
                      <a:pt x="52" y="38"/>
                    </a:cubicBezTo>
                    <a:close/>
                    <a:moveTo>
                      <a:pt x="38" y="37"/>
                    </a:moveTo>
                    <a:cubicBezTo>
                      <a:pt x="38" y="30"/>
                      <a:pt x="37" y="24"/>
                      <a:pt x="35" y="19"/>
                    </a:cubicBezTo>
                    <a:cubicBezTo>
                      <a:pt x="33" y="14"/>
                      <a:pt x="30" y="12"/>
                      <a:pt x="26" y="12"/>
                    </a:cubicBezTo>
                    <a:cubicBezTo>
                      <a:pt x="23" y="12"/>
                      <a:pt x="20" y="15"/>
                      <a:pt x="18" y="19"/>
                    </a:cubicBezTo>
                    <a:cubicBezTo>
                      <a:pt x="15" y="24"/>
                      <a:pt x="14" y="30"/>
                      <a:pt x="14" y="38"/>
                    </a:cubicBezTo>
                    <a:cubicBezTo>
                      <a:pt x="14" y="45"/>
                      <a:pt x="15" y="51"/>
                      <a:pt x="18" y="56"/>
                    </a:cubicBezTo>
                    <a:cubicBezTo>
                      <a:pt x="20" y="61"/>
                      <a:pt x="23" y="63"/>
                      <a:pt x="26" y="63"/>
                    </a:cubicBezTo>
                    <a:cubicBezTo>
                      <a:pt x="30" y="63"/>
                      <a:pt x="33" y="61"/>
                      <a:pt x="35"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9" name="Freeform 318"/>
              <p:cNvSpPr>
                <a:spLocks/>
              </p:cNvSpPr>
              <p:nvPr/>
            </p:nvSpPr>
            <p:spPr bwMode="auto">
              <a:xfrm>
                <a:off x="2835608" y="415939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400" name="Freeform 319"/>
              <p:cNvSpPr>
                <a:spLocks noEditPoints="1"/>
              </p:cNvSpPr>
              <p:nvPr/>
            </p:nvSpPr>
            <p:spPr bwMode="auto">
              <a:xfrm>
                <a:off x="2882484" y="4159390"/>
                <a:ext cx="62501" cy="89224"/>
              </a:xfrm>
              <a:custGeom>
                <a:avLst/>
                <a:gdLst/>
                <a:ahLst/>
                <a:cxnLst>
                  <a:cxn ang="0">
                    <a:pos x="51" y="38"/>
                  </a:cxn>
                  <a:cxn ang="0">
                    <a:pos x="44" y="65"/>
                  </a:cxn>
                  <a:cxn ang="0">
                    <a:pos x="25" y="75"/>
                  </a:cxn>
                  <a:cxn ang="0">
                    <a:pos x="7" y="65"/>
                  </a:cxn>
                  <a:cxn ang="0">
                    <a:pos x="0" y="38"/>
                  </a:cxn>
                  <a:cxn ang="0">
                    <a:pos x="7" y="10"/>
                  </a:cxn>
                  <a:cxn ang="0">
                    <a:pos x="25" y="0"/>
                  </a:cxn>
                  <a:cxn ang="0">
                    <a:pos x="44" y="10"/>
                  </a:cxn>
                  <a:cxn ang="0">
                    <a:pos x="51" y="38"/>
                  </a:cxn>
                  <a:cxn ang="0">
                    <a:pos x="38" y="37"/>
                  </a:cxn>
                  <a:cxn ang="0">
                    <a:pos x="34" y="19"/>
                  </a:cxn>
                  <a:cxn ang="0">
                    <a:pos x="25" y="12"/>
                  </a:cxn>
                  <a:cxn ang="0">
                    <a:pos x="17" y="19"/>
                  </a:cxn>
                  <a:cxn ang="0">
                    <a:pos x="14" y="38"/>
                  </a:cxn>
                  <a:cxn ang="0">
                    <a:pos x="17" y="56"/>
                  </a:cxn>
                  <a:cxn ang="0">
                    <a:pos x="25" y="63"/>
                  </a:cxn>
                  <a:cxn ang="0">
                    <a:pos x="34" y="56"/>
                  </a:cxn>
                  <a:cxn ang="0">
                    <a:pos x="38" y="37"/>
                  </a:cxn>
                </a:cxnLst>
                <a:rect l="0" t="0" r="r" b="b"/>
                <a:pathLst>
                  <a:path w="51" h="75">
                    <a:moveTo>
                      <a:pt x="51" y="38"/>
                    </a:moveTo>
                    <a:cubicBezTo>
                      <a:pt x="51" y="49"/>
                      <a:pt x="49" y="58"/>
                      <a:pt x="44" y="65"/>
                    </a:cubicBezTo>
                    <a:cubicBezTo>
                      <a:pt x="40" y="72"/>
                      <a:pt x="33" y="75"/>
                      <a:pt x="25" y="75"/>
                    </a:cubicBezTo>
                    <a:cubicBezTo>
                      <a:pt x="18" y="75"/>
                      <a:pt x="11" y="72"/>
                      <a:pt x="7" y="65"/>
                    </a:cubicBezTo>
                    <a:cubicBezTo>
                      <a:pt x="2" y="58"/>
                      <a:pt x="0" y="49"/>
                      <a:pt x="0" y="38"/>
                    </a:cubicBezTo>
                    <a:cubicBezTo>
                      <a:pt x="0" y="26"/>
                      <a:pt x="2" y="17"/>
                      <a:pt x="7" y="10"/>
                    </a:cubicBezTo>
                    <a:cubicBezTo>
                      <a:pt x="11" y="3"/>
                      <a:pt x="18" y="0"/>
                      <a:pt x="25" y="0"/>
                    </a:cubicBezTo>
                    <a:cubicBezTo>
                      <a:pt x="33" y="0"/>
                      <a:pt x="40" y="3"/>
                      <a:pt x="44" y="10"/>
                    </a:cubicBezTo>
                    <a:cubicBezTo>
                      <a:pt x="49" y="17"/>
                      <a:pt x="51" y="26"/>
                      <a:pt x="51" y="38"/>
                    </a:cubicBezTo>
                    <a:close/>
                    <a:moveTo>
                      <a:pt x="38" y="37"/>
                    </a:moveTo>
                    <a:cubicBezTo>
                      <a:pt x="38" y="30"/>
                      <a:pt x="36" y="24"/>
                      <a:pt x="34" y="19"/>
                    </a:cubicBezTo>
                    <a:cubicBezTo>
                      <a:pt x="32" y="14"/>
                      <a:pt x="29" y="12"/>
                      <a:pt x="25" y="12"/>
                    </a:cubicBezTo>
                    <a:cubicBezTo>
                      <a:pt x="22" y="12"/>
                      <a:pt x="19" y="15"/>
                      <a:pt x="17" y="19"/>
                    </a:cubicBezTo>
                    <a:cubicBezTo>
                      <a:pt x="15" y="24"/>
                      <a:pt x="14" y="30"/>
                      <a:pt x="14" y="38"/>
                    </a:cubicBezTo>
                    <a:cubicBezTo>
                      <a:pt x="14" y="45"/>
                      <a:pt x="15" y="51"/>
                      <a:pt x="17" y="56"/>
                    </a:cubicBezTo>
                    <a:cubicBezTo>
                      <a:pt x="19" y="61"/>
                      <a:pt x="22" y="63"/>
                      <a:pt x="25" y="63"/>
                    </a:cubicBezTo>
                    <a:cubicBezTo>
                      <a:pt x="29" y="63"/>
                      <a:pt x="32" y="61"/>
                      <a:pt x="34" y="56"/>
                    </a:cubicBezTo>
                    <a:cubicBezTo>
                      <a:pt x="36"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401" name="Freeform 320"/>
              <p:cNvSpPr>
                <a:spLocks/>
              </p:cNvSpPr>
              <p:nvPr/>
            </p:nvSpPr>
            <p:spPr bwMode="auto">
              <a:xfrm>
                <a:off x="2944985" y="4159390"/>
                <a:ext cx="34376" cy="87659"/>
              </a:xfrm>
              <a:custGeom>
                <a:avLst/>
                <a:gdLst/>
                <a:ahLst/>
                <a:cxnLst>
                  <a:cxn ang="0">
                    <a:pos x="22" y="56"/>
                  </a:cxn>
                  <a:cxn ang="0">
                    <a:pos x="11" y="56"/>
                  </a:cxn>
                  <a:cxn ang="0">
                    <a:pos x="11" y="10"/>
                  </a:cxn>
                  <a:cxn ang="0">
                    <a:pos x="0" y="10"/>
                  </a:cxn>
                  <a:cxn ang="0">
                    <a:pos x="5" y="0"/>
                  </a:cxn>
                  <a:cxn ang="0">
                    <a:pos x="22" y="0"/>
                  </a:cxn>
                  <a:cxn ang="0">
                    <a:pos x="22" y="56"/>
                  </a:cxn>
                </a:cxnLst>
                <a:rect l="0" t="0" r="r" b="b"/>
                <a:pathLst>
                  <a:path w="22" h="56">
                    <a:moveTo>
                      <a:pt x="22" y="56"/>
                    </a:moveTo>
                    <a:lnTo>
                      <a:pt x="11" y="56"/>
                    </a:lnTo>
                    <a:lnTo>
                      <a:pt x="11" y="10"/>
                    </a:lnTo>
                    <a:lnTo>
                      <a:pt x="0" y="10"/>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402" name="Freeform 321"/>
              <p:cNvSpPr>
                <a:spLocks noEditPoints="1"/>
              </p:cNvSpPr>
              <p:nvPr/>
            </p:nvSpPr>
            <p:spPr bwMode="auto">
              <a:xfrm>
                <a:off x="2993423" y="4159390"/>
                <a:ext cx="62501" cy="89224"/>
              </a:xfrm>
              <a:custGeom>
                <a:avLst/>
                <a:gdLst/>
                <a:ahLst/>
                <a:cxnLst>
                  <a:cxn ang="0">
                    <a:pos x="52" y="38"/>
                  </a:cxn>
                  <a:cxn ang="0">
                    <a:pos x="44" y="65"/>
                  </a:cxn>
                  <a:cxn ang="0">
                    <a:pos x="26" y="75"/>
                  </a:cxn>
                  <a:cxn ang="0">
                    <a:pos x="7" y="65"/>
                  </a:cxn>
                  <a:cxn ang="0">
                    <a:pos x="0" y="38"/>
                  </a:cxn>
                  <a:cxn ang="0">
                    <a:pos x="7" y="10"/>
                  </a:cxn>
                  <a:cxn ang="0">
                    <a:pos x="26" y="0"/>
                  </a:cxn>
                  <a:cxn ang="0">
                    <a:pos x="45" y="10"/>
                  </a:cxn>
                  <a:cxn ang="0">
                    <a:pos x="52" y="38"/>
                  </a:cxn>
                  <a:cxn ang="0">
                    <a:pos x="38" y="37"/>
                  </a:cxn>
                  <a:cxn ang="0">
                    <a:pos x="34" y="19"/>
                  </a:cxn>
                  <a:cxn ang="0">
                    <a:pos x="26" y="12"/>
                  </a:cxn>
                  <a:cxn ang="0">
                    <a:pos x="17" y="19"/>
                  </a:cxn>
                  <a:cxn ang="0">
                    <a:pos x="14" y="38"/>
                  </a:cxn>
                  <a:cxn ang="0">
                    <a:pos x="17" y="56"/>
                  </a:cxn>
                  <a:cxn ang="0">
                    <a:pos x="26" y="63"/>
                  </a:cxn>
                  <a:cxn ang="0">
                    <a:pos x="34" y="56"/>
                  </a:cxn>
                  <a:cxn ang="0">
                    <a:pos x="38" y="37"/>
                  </a:cxn>
                </a:cxnLst>
                <a:rect l="0" t="0" r="r" b="b"/>
                <a:pathLst>
                  <a:path w="52" h="75">
                    <a:moveTo>
                      <a:pt x="52" y="38"/>
                    </a:moveTo>
                    <a:cubicBezTo>
                      <a:pt x="52" y="49"/>
                      <a:pt x="49" y="58"/>
                      <a:pt x="44" y="65"/>
                    </a:cubicBezTo>
                    <a:cubicBezTo>
                      <a:pt x="40" y="72"/>
                      <a:pt x="33" y="75"/>
                      <a:pt x="26" y="75"/>
                    </a:cubicBezTo>
                    <a:cubicBezTo>
                      <a:pt x="18" y="75"/>
                      <a:pt x="12" y="72"/>
                      <a:pt x="7" y="65"/>
                    </a:cubicBezTo>
                    <a:cubicBezTo>
                      <a:pt x="2" y="58"/>
                      <a:pt x="0" y="49"/>
                      <a:pt x="0" y="38"/>
                    </a:cubicBezTo>
                    <a:cubicBezTo>
                      <a:pt x="0" y="26"/>
                      <a:pt x="2" y="17"/>
                      <a:pt x="7" y="10"/>
                    </a:cubicBezTo>
                    <a:cubicBezTo>
                      <a:pt x="12" y="3"/>
                      <a:pt x="18" y="0"/>
                      <a:pt x="26" y="0"/>
                    </a:cubicBezTo>
                    <a:cubicBezTo>
                      <a:pt x="34" y="0"/>
                      <a:pt x="40" y="3"/>
                      <a:pt x="45" y="10"/>
                    </a:cubicBezTo>
                    <a:cubicBezTo>
                      <a:pt x="49" y="17"/>
                      <a:pt x="52" y="26"/>
                      <a:pt x="52" y="38"/>
                    </a:cubicBezTo>
                    <a:close/>
                    <a:moveTo>
                      <a:pt x="38" y="37"/>
                    </a:moveTo>
                    <a:cubicBezTo>
                      <a:pt x="38" y="30"/>
                      <a:pt x="37" y="24"/>
                      <a:pt x="34" y="19"/>
                    </a:cubicBezTo>
                    <a:cubicBezTo>
                      <a:pt x="32" y="14"/>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4"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403" name="Freeform 322"/>
              <p:cNvSpPr>
                <a:spLocks/>
              </p:cNvSpPr>
              <p:nvPr/>
            </p:nvSpPr>
            <p:spPr bwMode="auto">
              <a:xfrm>
                <a:off x="3057486" y="415939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404" name="Freeform 323"/>
              <p:cNvSpPr>
                <a:spLocks/>
              </p:cNvSpPr>
              <p:nvPr/>
            </p:nvSpPr>
            <p:spPr bwMode="auto">
              <a:xfrm>
                <a:off x="3098112" y="415939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grpSp>
        <p:sp>
          <p:nvSpPr>
            <p:cNvPr id="431" name="Right Arrow 430"/>
            <p:cNvSpPr/>
            <p:nvPr/>
          </p:nvSpPr>
          <p:spPr>
            <a:xfrm rot="5400000">
              <a:off x="4596424" y="2103395"/>
              <a:ext cx="1036557" cy="312517"/>
            </a:xfrm>
            <a:prstGeom prst="rightArrow">
              <a:avLst>
                <a:gd name="adj1" fmla="val 42593"/>
                <a:gd name="adj2" fmla="val 87037"/>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微软雅黑" pitchFamily="34" charset="-122"/>
                <a:ea typeface="微软雅黑" pitchFamily="34" charset="-122"/>
              </a:endParaRPr>
            </a:p>
          </p:txBody>
        </p:sp>
        <p:grpSp>
          <p:nvGrpSpPr>
            <p:cNvPr id="265" name="Group 264"/>
            <p:cNvGrpSpPr/>
            <p:nvPr/>
          </p:nvGrpSpPr>
          <p:grpSpPr>
            <a:xfrm>
              <a:off x="4592950" y="1949920"/>
              <a:ext cx="1043504" cy="321946"/>
              <a:chOff x="161386" y="1052961"/>
              <a:chExt cx="314542" cy="387627"/>
            </a:xfrm>
          </p:grpSpPr>
          <p:sp>
            <p:nvSpPr>
              <p:cNvPr id="266" name="Round Diagonal Corner Rectangle 265"/>
              <p:cNvSpPr/>
              <p:nvPr/>
            </p:nvSpPr>
            <p:spPr>
              <a:xfrm flipV="1">
                <a:off x="171035" y="1052961"/>
                <a:ext cx="291924" cy="387627"/>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00" dirty="0">
                  <a:latin typeface="微软雅黑" pitchFamily="34" charset="-122"/>
                  <a:ea typeface="微软雅黑" pitchFamily="34" charset="-122"/>
                </a:endParaRPr>
              </a:p>
            </p:txBody>
          </p:sp>
          <p:sp>
            <p:nvSpPr>
              <p:cNvPr id="267" name="Round Diagonal Corner Rectangle 266"/>
              <p:cNvSpPr/>
              <p:nvPr/>
            </p:nvSpPr>
            <p:spPr>
              <a:xfrm>
                <a:off x="161386" y="1052962"/>
                <a:ext cx="314542" cy="387626"/>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2300" dirty="0">
                    <a:latin typeface="微软雅黑" pitchFamily="34" charset="-122"/>
                    <a:ea typeface="微软雅黑" pitchFamily="34" charset="-122"/>
                  </a:rPr>
                  <a:t>发现</a:t>
                </a:r>
                <a:endParaRPr lang="en-US" sz="2300" dirty="0">
                  <a:latin typeface="微软雅黑" pitchFamily="34" charset="-122"/>
                  <a:ea typeface="微软雅黑" pitchFamily="34" charset="-122"/>
                </a:endParaRPr>
              </a:p>
            </p:txBody>
          </p:sp>
        </p:grpSp>
      </p:grpSp>
      <p:sp>
        <p:nvSpPr>
          <p:cNvPr id="3" name="Title 2"/>
          <p:cNvSpPr>
            <a:spLocks noGrp="1"/>
          </p:cNvSpPr>
          <p:nvPr>
            <p:ph type="title"/>
          </p:nvPr>
        </p:nvSpPr>
        <p:spPr>
          <a:xfrm>
            <a:off x="497909" y="351028"/>
            <a:ext cx="12513487" cy="612817"/>
          </a:xfrm>
        </p:spPr>
        <p:txBody>
          <a:bodyPr/>
          <a:lstStyle/>
          <a:p>
            <a:r>
              <a:rPr lang="zh-CN" altLang="en-US" dirty="0" smtClean="0">
                <a:solidFill>
                  <a:srgbClr val="C00000"/>
                </a:solidFill>
                <a:latin typeface="微软雅黑" pitchFamily="34" charset="-122"/>
                <a:ea typeface="微软雅黑" pitchFamily="34" charset="-122"/>
              </a:rPr>
              <a:t>如何应对新型的信息安全攻击</a:t>
            </a:r>
            <a:endParaRPr lang="en-US" b="0" dirty="0">
              <a:solidFill>
                <a:srgbClr val="C00000"/>
              </a:solidFill>
              <a:latin typeface="微软雅黑" pitchFamily="34" charset="-122"/>
              <a:ea typeface="微软雅黑" pitchFamily="34" charset="-122"/>
            </a:endParaRPr>
          </a:p>
        </p:txBody>
      </p:sp>
      <p:grpSp>
        <p:nvGrpSpPr>
          <p:cNvPr id="239" name="Group 105"/>
          <p:cNvGrpSpPr>
            <a:grpSpLocks/>
          </p:cNvGrpSpPr>
          <p:nvPr/>
        </p:nvGrpSpPr>
        <p:grpSpPr bwMode="auto">
          <a:xfrm>
            <a:off x="5470361" y="7480640"/>
            <a:ext cx="725602" cy="997507"/>
            <a:chOff x="7162800" y="1447800"/>
            <a:chExt cx="877888" cy="1328738"/>
          </a:xfrm>
          <a:solidFill>
            <a:schemeClr val="accent5"/>
          </a:solidFill>
        </p:grpSpPr>
        <p:sp>
          <p:nvSpPr>
            <p:cNvPr id="243" name="Freeform 191"/>
            <p:cNvSpPr>
              <a:spLocks/>
            </p:cNvSpPr>
            <p:nvPr/>
          </p:nvSpPr>
          <p:spPr bwMode="auto">
            <a:xfrm>
              <a:off x="7208838" y="1981200"/>
              <a:ext cx="488950" cy="500062"/>
            </a:xfrm>
            <a:custGeom>
              <a:avLst/>
              <a:gdLst>
                <a:gd name="T0" fmla="*/ 22742 w 43"/>
                <a:gd name="T1" fmla="*/ 465967 h 44"/>
                <a:gd name="T2" fmla="*/ 22742 w 43"/>
                <a:gd name="T3" fmla="*/ 431872 h 44"/>
                <a:gd name="T4" fmla="*/ 22742 w 43"/>
                <a:gd name="T5" fmla="*/ 431872 h 44"/>
                <a:gd name="T6" fmla="*/ 45484 w 43"/>
                <a:gd name="T7" fmla="*/ 431872 h 44"/>
                <a:gd name="T8" fmla="*/ 45484 w 43"/>
                <a:gd name="T9" fmla="*/ 431872 h 44"/>
                <a:gd name="T10" fmla="*/ 159193 w 43"/>
                <a:gd name="T11" fmla="*/ 454602 h 44"/>
                <a:gd name="T12" fmla="*/ 159193 w 43"/>
                <a:gd name="T13" fmla="*/ 454602 h 44"/>
                <a:gd name="T14" fmla="*/ 261531 w 43"/>
                <a:gd name="T15" fmla="*/ 443237 h 44"/>
                <a:gd name="T16" fmla="*/ 261531 w 43"/>
                <a:gd name="T17" fmla="*/ 443237 h 44"/>
                <a:gd name="T18" fmla="*/ 386612 w 43"/>
                <a:gd name="T19" fmla="*/ 329586 h 44"/>
                <a:gd name="T20" fmla="*/ 386612 w 43"/>
                <a:gd name="T21" fmla="*/ 329586 h 44"/>
                <a:gd name="T22" fmla="*/ 443466 w 43"/>
                <a:gd name="T23" fmla="*/ 204571 h 44"/>
                <a:gd name="T24" fmla="*/ 443466 w 43"/>
                <a:gd name="T25" fmla="*/ 204571 h 44"/>
                <a:gd name="T26" fmla="*/ 443466 w 43"/>
                <a:gd name="T27" fmla="*/ 181841 h 44"/>
                <a:gd name="T28" fmla="*/ 443466 w 43"/>
                <a:gd name="T29" fmla="*/ 181841 h 44"/>
                <a:gd name="T30" fmla="*/ 420724 w 43"/>
                <a:gd name="T31" fmla="*/ 90920 h 44"/>
                <a:gd name="T32" fmla="*/ 420724 w 43"/>
                <a:gd name="T33" fmla="*/ 90920 h 44"/>
                <a:gd name="T34" fmla="*/ 363870 w 43"/>
                <a:gd name="T35" fmla="*/ 45460 h 44"/>
                <a:gd name="T36" fmla="*/ 363870 w 43"/>
                <a:gd name="T37" fmla="*/ 45460 h 44"/>
                <a:gd name="T38" fmla="*/ 341128 w 43"/>
                <a:gd name="T39" fmla="*/ 56825 h 44"/>
                <a:gd name="T40" fmla="*/ 341128 w 43"/>
                <a:gd name="T41" fmla="*/ 56825 h 44"/>
                <a:gd name="T42" fmla="*/ 159193 w 43"/>
                <a:gd name="T43" fmla="*/ 215936 h 44"/>
                <a:gd name="T44" fmla="*/ 159193 w 43"/>
                <a:gd name="T45" fmla="*/ 215936 h 44"/>
                <a:gd name="T46" fmla="*/ 45484 w 43"/>
                <a:gd name="T47" fmla="*/ 397777 h 44"/>
                <a:gd name="T48" fmla="*/ 45484 w 43"/>
                <a:gd name="T49" fmla="*/ 397777 h 44"/>
                <a:gd name="T50" fmla="*/ 45484 w 43"/>
                <a:gd name="T51" fmla="*/ 397777 h 44"/>
                <a:gd name="T52" fmla="*/ 11371 w 43"/>
                <a:gd name="T53" fmla="*/ 397777 h 44"/>
                <a:gd name="T54" fmla="*/ 11371 w 43"/>
                <a:gd name="T55" fmla="*/ 397777 h 44"/>
                <a:gd name="T56" fmla="*/ 11371 w 43"/>
                <a:gd name="T57" fmla="*/ 363682 h 44"/>
                <a:gd name="T58" fmla="*/ 11371 w 43"/>
                <a:gd name="T59" fmla="*/ 363682 h 44"/>
                <a:gd name="T60" fmla="*/ 125080 w 43"/>
                <a:gd name="T61" fmla="*/ 193206 h 44"/>
                <a:gd name="T62" fmla="*/ 125080 w 43"/>
                <a:gd name="T63" fmla="*/ 193206 h 44"/>
                <a:gd name="T64" fmla="*/ 318386 w 43"/>
                <a:gd name="T65" fmla="*/ 11365 h 44"/>
                <a:gd name="T66" fmla="*/ 318386 w 43"/>
                <a:gd name="T67" fmla="*/ 11365 h 44"/>
                <a:gd name="T68" fmla="*/ 363870 w 43"/>
                <a:gd name="T69" fmla="*/ 0 h 44"/>
                <a:gd name="T70" fmla="*/ 363870 w 43"/>
                <a:gd name="T71" fmla="*/ 0 h 44"/>
                <a:gd name="T72" fmla="*/ 466208 w 43"/>
                <a:gd name="T73" fmla="*/ 68190 h 44"/>
                <a:gd name="T74" fmla="*/ 466208 w 43"/>
                <a:gd name="T75" fmla="*/ 68190 h 44"/>
                <a:gd name="T76" fmla="*/ 488950 w 43"/>
                <a:gd name="T77" fmla="*/ 181841 h 44"/>
                <a:gd name="T78" fmla="*/ 488950 w 43"/>
                <a:gd name="T79" fmla="*/ 181841 h 44"/>
                <a:gd name="T80" fmla="*/ 488950 w 43"/>
                <a:gd name="T81" fmla="*/ 204571 h 44"/>
                <a:gd name="T82" fmla="*/ 488950 w 43"/>
                <a:gd name="T83" fmla="*/ 204571 h 44"/>
                <a:gd name="T84" fmla="*/ 420724 w 43"/>
                <a:gd name="T85" fmla="*/ 363682 h 44"/>
                <a:gd name="T86" fmla="*/ 420724 w 43"/>
                <a:gd name="T87" fmla="*/ 363682 h 44"/>
                <a:gd name="T88" fmla="*/ 284273 w 43"/>
                <a:gd name="T89" fmla="*/ 477332 h 44"/>
                <a:gd name="T90" fmla="*/ 284273 w 43"/>
                <a:gd name="T91" fmla="*/ 477332 h 44"/>
                <a:gd name="T92" fmla="*/ 159193 w 43"/>
                <a:gd name="T93" fmla="*/ 500062 h 44"/>
                <a:gd name="T94" fmla="*/ 159193 w 43"/>
                <a:gd name="T95" fmla="*/ 500062 h 44"/>
                <a:gd name="T96" fmla="*/ 22742 w 43"/>
                <a:gd name="T97" fmla="*/ 465967 h 4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44"/>
                <a:gd name="T149" fmla="*/ 43 w 43"/>
                <a:gd name="T150" fmla="*/ 44 h 4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44">
                  <a:moveTo>
                    <a:pt x="2" y="41"/>
                  </a:moveTo>
                  <a:cubicBezTo>
                    <a:pt x="1" y="40"/>
                    <a:pt x="1" y="39"/>
                    <a:pt x="2" y="38"/>
                  </a:cubicBezTo>
                  <a:cubicBezTo>
                    <a:pt x="2" y="38"/>
                    <a:pt x="2" y="38"/>
                    <a:pt x="2" y="38"/>
                  </a:cubicBezTo>
                  <a:cubicBezTo>
                    <a:pt x="2" y="37"/>
                    <a:pt x="4" y="37"/>
                    <a:pt x="4" y="38"/>
                  </a:cubicBezTo>
                  <a:cubicBezTo>
                    <a:pt x="4" y="38"/>
                    <a:pt x="4" y="38"/>
                    <a:pt x="4" y="38"/>
                  </a:cubicBezTo>
                  <a:cubicBezTo>
                    <a:pt x="6" y="39"/>
                    <a:pt x="10" y="40"/>
                    <a:pt x="14" y="40"/>
                  </a:cubicBezTo>
                  <a:cubicBezTo>
                    <a:pt x="14" y="40"/>
                    <a:pt x="14" y="40"/>
                    <a:pt x="14" y="40"/>
                  </a:cubicBezTo>
                  <a:cubicBezTo>
                    <a:pt x="17" y="40"/>
                    <a:pt x="21" y="39"/>
                    <a:pt x="23" y="39"/>
                  </a:cubicBezTo>
                  <a:cubicBezTo>
                    <a:pt x="23" y="39"/>
                    <a:pt x="23" y="39"/>
                    <a:pt x="23" y="39"/>
                  </a:cubicBezTo>
                  <a:cubicBezTo>
                    <a:pt x="27" y="37"/>
                    <a:pt x="31" y="34"/>
                    <a:pt x="34" y="29"/>
                  </a:cubicBezTo>
                  <a:cubicBezTo>
                    <a:pt x="34" y="29"/>
                    <a:pt x="34" y="29"/>
                    <a:pt x="34" y="29"/>
                  </a:cubicBezTo>
                  <a:cubicBezTo>
                    <a:pt x="37" y="25"/>
                    <a:pt x="39" y="21"/>
                    <a:pt x="39" y="18"/>
                  </a:cubicBezTo>
                  <a:cubicBezTo>
                    <a:pt x="39" y="18"/>
                    <a:pt x="39" y="18"/>
                    <a:pt x="39" y="18"/>
                  </a:cubicBezTo>
                  <a:cubicBezTo>
                    <a:pt x="39" y="17"/>
                    <a:pt x="39" y="17"/>
                    <a:pt x="39" y="16"/>
                  </a:cubicBezTo>
                  <a:cubicBezTo>
                    <a:pt x="39" y="16"/>
                    <a:pt x="39" y="16"/>
                    <a:pt x="39" y="16"/>
                  </a:cubicBezTo>
                  <a:cubicBezTo>
                    <a:pt x="39" y="14"/>
                    <a:pt x="39" y="10"/>
                    <a:pt x="37" y="8"/>
                  </a:cubicBezTo>
                  <a:cubicBezTo>
                    <a:pt x="37" y="8"/>
                    <a:pt x="37" y="8"/>
                    <a:pt x="37" y="8"/>
                  </a:cubicBezTo>
                  <a:cubicBezTo>
                    <a:pt x="36" y="6"/>
                    <a:pt x="35" y="4"/>
                    <a:pt x="32" y="4"/>
                  </a:cubicBezTo>
                  <a:cubicBezTo>
                    <a:pt x="32" y="4"/>
                    <a:pt x="32" y="4"/>
                    <a:pt x="32" y="4"/>
                  </a:cubicBezTo>
                  <a:cubicBezTo>
                    <a:pt x="31" y="4"/>
                    <a:pt x="31" y="4"/>
                    <a:pt x="30" y="5"/>
                  </a:cubicBezTo>
                  <a:cubicBezTo>
                    <a:pt x="30" y="5"/>
                    <a:pt x="30" y="5"/>
                    <a:pt x="30" y="5"/>
                  </a:cubicBezTo>
                  <a:cubicBezTo>
                    <a:pt x="25" y="6"/>
                    <a:pt x="19" y="13"/>
                    <a:pt x="14" y="19"/>
                  </a:cubicBezTo>
                  <a:cubicBezTo>
                    <a:pt x="14" y="19"/>
                    <a:pt x="14" y="19"/>
                    <a:pt x="14" y="19"/>
                  </a:cubicBezTo>
                  <a:cubicBezTo>
                    <a:pt x="9" y="26"/>
                    <a:pt x="5" y="33"/>
                    <a:pt x="4" y="35"/>
                  </a:cubicBezTo>
                  <a:cubicBezTo>
                    <a:pt x="4" y="35"/>
                    <a:pt x="4" y="35"/>
                    <a:pt x="4" y="35"/>
                  </a:cubicBezTo>
                  <a:cubicBezTo>
                    <a:pt x="4" y="35"/>
                    <a:pt x="4" y="35"/>
                    <a:pt x="4" y="35"/>
                  </a:cubicBezTo>
                  <a:cubicBezTo>
                    <a:pt x="3" y="36"/>
                    <a:pt x="2" y="36"/>
                    <a:pt x="1" y="35"/>
                  </a:cubicBezTo>
                  <a:cubicBezTo>
                    <a:pt x="1" y="35"/>
                    <a:pt x="1" y="35"/>
                    <a:pt x="1" y="35"/>
                  </a:cubicBezTo>
                  <a:cubicBezTo>
                    <a:pt x="0" y="34"/>
                    <a:pt x="0" y="33"/>
                    <a:pt x="1" y="32"/>
                  </a:cubicBezTo>
                  <a:cubicBezTo>
                    <a:pt x="1" y="32"/>
                    <a:pt x="1" y="32"/>
                    <a:pt x="1" y="32"/>
                  </a:cubicBezTo>
                  <a:cubicBezTo>
                    <a:pt x="2" y="31"/>
                    <a:pt x="6" y="24"/>
                    <a:pt x="11" y="17"/>
                  </a:cubicBezTo>
                  <a:cubicBezTo>
                    <a:pt x="11" y="17"/>
                    <a:pt x="11" y="17"/>
                    <a:pt x="11" y="17"/>
                  </a:cubicBezTo>
                  <a:cubicBezTo>
                    <a:pt x="16" y="10"/>
                    <a:pt x="22" y="3"/>
                    <a:pt x="28" y="1"/>
                  </a:cubicBezTo>
                  <a:cubicBezTo>
                    <a:pt x="28" y="1"/>
                    <a:pt x="28" y="1"/>
                    <a:pt x="28" y="1"/>
                  </a:cubicBezTo>
                  <a:cubicBezTo>
                    <a:pt x="30" y="1"/>
                    <a:pt x="31" y="0"/>
                    <a:pt x="32" y="0"/>
                  </a:cubicBezTo>
                  <a:cubicBezTo>
                    <a:pt x="32" y="0"/>
                    <a:pt x="32" y="0"/>
                    <a:pt x="32" y="0"/>
                  </a:cubicBezTo>
                  <a:cubicBezTo>
                    <a:pt x="36" y="0"/>
                    <a:pt x="39" y="3"/>
                    <a:pt x="41" y="6"/>
                  </a:cubicBezTo>
                  <a:cubicBezTo>
                    <a:pt x="41" y="6"/>
                    <a:pt x="41" y="6"/>
                    <a:pt x="41" y="6"/>
                  </a:cubicBezTo>
                  <a:cubicBezTo>
                    <a:pt x="43" y="9"/>
                    <a:pt x="43" y="13"/>
                    <a:pt x="43" y="16"/>
                  </a:cubicBezTo>
                  <a:cubicBezTo>
                    <a:pt x="43" y="16"/>
                    <a:pt x="43" y="16"/>
                    <a:pt x="43" y="16"/>
                  </a:cubicBezTo>
                  <a:cubicBezTo>
                    <a:pt x="43" y="17"/>
                    <a:pt x="43" y="18"/>
                    <a:pt x="43" y="18"/>
                  </a:cubicBezTo>
                  <a:cubicBezTo>
                    <a:pt x="43" y="18"/>
                    <a:pt x="43" y="18"/>
                    <a:pt x="43" y="18"/>
                  </a:cubicBezTo>
                  <a:cubicBezTo>
                    <a:pt x="43" y="22"/>
                    <a:pt x="41" y="27"/>
                    <a:pt x="37" y="32"/>
                  </a:cubicBezTo>
                  <a:cubicBezTo>
                    <a:pt x="37" y="32"/>
                    <a:pt x="37" y="32"/>
                    <a:pt x="37" y="32"/>
                  </a:cubicBezTo>
                  <a:cubicBezTo>
                    <a:pt x="34" y="36"/>
                    <a:pt x="29" y="40"/>
                    <a:pt x="25" y="42"/>
                  </a:cubicBezTo>
                  <a:cubicBezTo>
                    <a:pt x="25" y="42"/>
                    <a:pt x="25" y="42"/>
                    <a:pt x="25" y="42"/>
                  </a:cubicBezTo>
                  <a:cubicBezTo>
                    <a:pt x="22" y="43"/>
                    <a:pt x="18" y="44"/>
                    <a:pt x="14" y="44"/>
                  </a:cubicBezTo>
                  <a:cubicBezTo>
                    <a:pt x="14" y="44"/>
                    <a:pt x="14" y="44"/>
                    <a:pt x="14" y="44"/>
                  </a:cubicBezTo>
                  <a:cubicBezTo>
                    <a:pt x="10" y="44"/>
                    <a:pt x="5" y="43"/>
                    <a:pt x="2" y="41"/>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44" name="Freeform 192"/>
            <p:cNvSpPr>
              <a:spLocks/>
            </p:cNvSpPr>
            <p:nvPr/>
          </p:nvSpPr>
          <p:spPr bwMode="auto">
            <a:xfrm>
              <a:off x="7310438" y="2084387"/>
              <a:ext cx="307975" cy="306387"/>
            </a:xfrm>
            <a:custGeom>
              <a:avLst/>
              <a:gdLst>
                <a:gd name="T0" fmla="*/ 22813 w 27"/>
                <a:gd name="T1" fmla="*/ 306387 h 27"/>
                <a:gd name="T2" fmla="*/ 0 w 27"/>
                <a:gd name="T3" fmla="*/ 283692 h 27"/>
                <a:gd name="T4" fmla="*/ 0 w 27"/>
                <a:gd name="T5" fmla="*/ 283692 h 27"/>
                <a:gd name="T6" fmla="*/ 34219 w 27"/>
                <a:gd name="T7" fmla="*/ 260996 h 27"/>
                <a:gd name="T8" fmla="*/ 34219 w 27"/>
                <a:gd name="T9" fmla="*/ 260996 h 27"/>
                <a:gd name="T10" fmla="*/ 57032 w 27"/>
                <a:gd name="T11" fmla="*/ 260996 h 27"/>
                <a:gd name="T12" fmla="*/ 57032 w 27"/>
                <a:gd name="T13" fmla="*/ 260996 h 27"/>
                <a:gd name="T14" fmla="*/ 171097 w 27"/>
                <a:gd name="T15" fmla="*/ 238301 h 27"/>
                <a:gd name="T16" fmla="*/ 171097 w 27"/>
                <a:gd name="T17" fmla="*/ 238301 h 27"/>
                <a:gd name="T18" fmla="*/ 262349 w 27"/>
                <a:gd name="T19" fmla="*/ 124824 h 27"/>
                <a:gd name="T20" fmla="*/ 262349 w 27"/>
                <a:gd name="T21" fmla="*/ 124824 h 27"/>
                <a:gd name="T22" fmla="*/ 262349 w 27"/>
                <a:gd name="T23" fmla="*/ 102129 h 27"/>
                <a:gd name="T24" fmla="*/ 262349 w 27"/>
                <a:gd name="T25" fmla="*/ 102129 h 27"/>
                <a:gd name="T26" fmla="*/ 250943 w 27"/>
                <a:gd name="T27" fmla="*/ 56738 h 27"/>
                <a:gd name="T28" fmla="*/ 250943 w 27"/>
                <a:gd name="T29" fmla="*/ 56738 h 27"/>
                <a:gd name="T30" fmla="*/ 228130 w 27"/>
                <a:gd name="T31" fmla="*/ 45391 h 27"/>
                <a:gd name="T32" fmla="*/ 228130 w 27"/>
                <a:gd name="T33" fmla="*/ 45391 h 27"/>
                <a:gd name="T34" fmla="*/ 228130 w 27"/>
                <a:gd name="T35" fmla="*/ 45391 h 27"/>
                <a:gd name="T36" fmla="*/ 228130 w 27"/>
                <a:gd name="T37" fmla="*/ 45391 h 27"/>
                <a:gd name="T38" fmla="*/ 148284 w 27"/>
                <a:gd name="T39" fmla="*/ 113477 h 27"/>
                <a:gd name="T40" fmla="*/ 148284 w 27"/>
                <a:gd name="T41" fmla="*/ 113477 h 27"/>
                <a:gd name="T42" fmla="*/ 102658 w 27"/>
                <a:gd name="T43" fmla="*/ 192910 h 27"/>
                <a:gd name="T44" fmla="*/ 102658 w 27"/>
                <a:gd name="T45" fmla="*/ 192910 h 27"/>
                <a:gd name="T46" fmla="*/ 68439 w 27"/>
                <a:gd name="T47" fmla="*/ 192910 h 27"/>
                <a:gd name="T48" fmla="*/ 68439 w 27"/>
                <a:gd name="T49" fmla="*/ 192910 h 27"/>
                <a:gd name="T50" fmla="*/ 57032 w 27"/>
                <a:gd name="T51" fmla="*/ 158867 h 27"/>
                <a:gd name="T52" fmla="*/ 57032 w 27"/>
                <a:gd name="T53" fmla="*/ 158867 h 27"/>
                <a:gd name="T54" fmla="*/ 114065 w 27"/>
                <a:gd name="T55" fmla="*/ 79434 h 27"/>
                <a:gd name="T56" fmla="*/ 114065 w 27"/>
                <a:gd name="T57" fmla="*/ 79434 h 27"/>
                <a:gd name="T58" fmla="*/ 216723 w 27"/>
                <a:gd name="T59" fmla="*/ 0 h 27"/>
                <a:gd name="T60" fmla="*/ 216723 w 27"/>
                <a:gd name="T61" fmla="*/ 0 h 27"/>
                <a:gd name="T62" fmla="*/ 228130 w 27"/>
                <a:gd name="T63" fmla="*/ 0 h 27"/>
                <a:gd name="T64" fmla="*/ 228130 w 27"/>
                <a:gd name="T65" fmla="*/ 0 h 27"/>
                <a:gd name="T66" fmla="*/ 285162 w 27"/>
                <a:gd name="T67" fmla="*/ 34043 h 27"/>
                <a:gd name="T68" fmla="*/ 285162 w 27"/>
                <a:gd name="T69" fmla="*/ 34043 h 27"/>
                <a:gd name="T70" fmla="*/ 307975 w 27"/>
                <a:gd name="T71" fmla="*/ 102129 h 27"/>
                <a:gd name="T72" fmla="*/ 307975 w 27"/>
                <a:gd name="T73" fmla="*/ 102129 h 27"/>
                <a:gd name="T74" fmla="*/ 307975 w 27"/>
                <a:gd name="T75" fmla="*/ 136172 h 27"/>
                <a:gd name="T76" fmla="*/ 307975 w 27"/>
                <a:gd name="T77" fmla="*/ 136172 h 27"/>
                <a:gd name="T78" fmla="*/ 182504 w 27"/>
                <a:gd name="T79" fmla="*/ 283692 h 27"/>
                <a:gd name="T80" fmla="*/ 182504 w 27"/>
                <a:gd name="T81" fmla="*/ 283692 h 27"/>
                <a:gd name="T82" fmla="*/ 57032 w 27"/>
                <a:gd name="T83" fmla="*/ 306387 h 27"/>
                <a:gd name="T84" fmla="*/ 57032 w 27"/>
                <a:gd name="T85" fmla="*/ 306387 h 27"/>
                <a:gd name="T86" fmla="*/ 22813 w 27"/>
                <a:gd name="T87" fmla="*/ 306387 h 2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7"/>
                <a:gd name="T133" fmla="*/ 0 h 27"/>
                <a:gd name="T134" fmla="*/ 27 w 27"/>
                <a:gd name="T135" fmla="*/ 27 h 2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7" h="27">
                  <a:moveTo>
                    <a:pt x="2" y="27"/>
                  </a:moveTo>
                  <a:cubicBezTo>
                    <a:pt x="1" y="27"/>
                    <a:pt x="0" y="26"/>
                    <a:pt x="0" y="25"/>
                  </a:cubicBezTo>
                  <a:cubicBezTo>
                    <a:pt x="0" y="25"/>
                    <a:pt x="0" y="25"/>
                    <a:pt x="0" y="25"/>
                  </a:cubicBezTo>
                  <a:cubicBezTo>
                    <a:pt x="0" y="24"/>
                    <a:pt x="1" y="23"/>
                    <a:pt x="3" y="23"/>
                  </a:cubicBezTo>
                  <a:cubicBezTo>
                    <a:pt x="3" y="23"/>
                    <a:pt x="3" y="23"/>
                    <a:pt x="3" y="23"/>
                  </a:cubicBezTo>
                  <a:cubicBezTo>
                    <a:pt x="3" y="23"/>
                    <a:pt x="4" y="23"/>
                    <a:pt x="5" y="23"/>
                  </a:cubicBezTo>
                  <a:cubicBezTo>
                    <a:pt x="5" y="23"/>
                    <a:pt x="5" y="23"/>
                    <a:pt x="5" y="23"/>
                  </a:cubicBezTo>
                  <a:cubicBezTo>
                    <a:pt x="8" y="23"/>
                    <a:pt x="11" y="23"/>
                    <a:pt x="15" y="21"/>
                  </a:cubicBezTo>
                  <a:cubicBezTo>
                    <a:pt x="15" y="21"/>
                    <a:pt x="15" y="21"/>
                    <a:pt x="15" y="21"/>
                  </a:cubicBezTo>
                  <a:cubicBezTo>
                    <a:pt x="18" y="20"/>
                    <a:pt x="22" y="14"/>
                    <a:pt x="23" y="11"/>
                  </a:cubicBezTo>
                  <a:cubicBezTo>
                    <a:pt x="23" y="11"/>
                    <a:pt x="23" y="11"/>
                    <a:pt x="23" y="11"/>
                  </a:cubicBezTo>
                  <a:cubicBezTo>
                    <a:pt x="23" y="10"/>
                    <a:pt x="23" y="10"/>
                    <a:pt x="23" y="9"/>
                  </a:cubicBezTo>
                  <a:cubicBezTo>
                    <a:pt x="23" y="9"/>
                    <a:pt x="23" y="9"/>
                    <a:pt x="23" y="9"/>
                  </a:cubicBezTo>
                  <a:cubicBezTo>
                    <a:pt x="23" y="8"/>
                    <a:pt x="22" y="6"/>
                    <a:pt x="22" y="5"/>
                  </a:cubicBezTo>
                  <a:cubicBezTo>
                    <a:pt x="22" y="5"/>
                    <a:pt x="22" y="5"/>
                    <a:pt x="22" y="5"/>
                  </a:cubicBezTo>
                  <a:cubicBezTo>
                    <a:pt x="21" y="4"/>
                    <a:pt x="21" y="4"/>
                    <a:pt x="20" y="4"/>
                  </a:cubicBezTo>
                  <a:cubicBezTo>
                    <a:pt x="20" y="4"/>
                    <a:pt x="20" y="4"/>
                    <a:pt x="20" y="4"/>
                  </a:cubicBezTo>
                  <a:cubicBezTo>
                    <a:pt x="20" y="4"/>
                    <a:pt x="20" y="4"/>
                    <a:pt x="20" y="4"/>
                  </a:cubicBezTo>
                  <a:cubicBezTo>
                    <a:pt x="20" y="4"/>
                    <a:pt x="20" y="4"/>
                    <a:pt x="20" y="4"/>
                  </a:cubicBezTo>
                  <a:cubicBezTo>
                    <a:pt x="18" y="4"/>
                    <a:pt x="16" y="7"/>
                    <a:pt x="13" y="10"/>
                  </a:cubicBezTo>
                  <a:cubicBezTo>
                    <a:pt x="13" y="10"/>
                    <a:pt x="13" y="10"/>
                    <a:pt x="13" y="10"/>
                  </a:cubicBezTo>
                  <a:cubicBezTo>
                    <a:pt x="11" y="13"/>
                    <a:pt x="9" y="16"/>
                    <a:pt x="9" y="17"/>
                  </a:cubicBezTo>
                  <a:cubicBezTo>
                    <a:pt x="9" y="17"/>
                    <a:pt x="9" y="17"/>
                    <a:pt x="9" y="17"/>
                  </a:cubicBezTo>
                  <a:cubicBezTo>
                    <a:pt x="8" y="17"/>
                    <a:pt x="7" y="18"/>
                    <a:pt x="6" y="17"/>
                  </a:cubicBezTo>
                  <a:cubicBezTo>
                    <a:pt x="6" y="17"/>
                    <a:pt x="6" y="17"/>
                    <a:pt x="6" y="17"/>
                  </a:cubicBezTo>
                  <a:cubicBezTo>
                    <a:pt x="5" y="16"/>
                    <a:pt x="5" y="15"/>
                    <a:pt x="5" y="14"/>
                  </a:cubicBezTo>
                  <a:cubicBezTo>
                    <a:pt x="5" y="14"/>
                    <a:pt x="5" y="14"/>
                    <a:pt x="5" y="14"/>
                  </a:cubicBezTo>
                  <a:cubicBezTo>
                    <a:pt x="6" y="14"/>
                    <a:pt x="8" y="10"/>
                    <a:pt x="10" y="7"/>
                  </a:cubicBezTo>
                  <a:cubicBezTo>
                    <a:pt x="10" y="7"/>
                    <a:pt x="10" y="7"/>
                    <a:pt x="10" y="7"/>
                  </a:cubicBezTo>
                  <a:cubicBezTo>
                    <a:pt x="13" y="4"/>
                    <a:pt x="15" y="1"/>
                    <a:pt x="19" y="0"/>
                  </a:cubicBezTo>
                  <a:cubicBezTo>
                    <a:pt x="19" y="0"/>
                    <a:pt x="19" y="0"/>
                    <a:pt x="19" y="0"/>
                  </a:cubicBezTo>
                  <a:cubicBezTo>
                    <a:pt x="19" y="0"/>
                    <a:pt x="20" y="0"/>
                    <a:pt x="20" y="0"/>
                  </a:cubicBezTo>
                  <a:cubicBezTo>
                    <a:pt x="20" y="0"/>
                    <a:pt x="20" y="0"/>
                    <a:pt x="20" y="0"/>
                  </a:cubicBezTo>
                  <a:cubicBezTo>
                    <a:pt x="23" y="0"/>
                    <a:pt x="24" y="2"/>
                    <a:pt x="25" y="3"/>
                  </a:cubicBezTo>
                  <a:cubicBezTo>
                    <a:pt x="25" y="3"/>
                    <a:pt x="25" y="3"/>
                    <a:pt x="25" y="3"/>
                  </a:cubicBezTo>
                  <a:cubicBezTo>
                    <a:pt x="26" y="5"/>
                    <a:pt x="27" y="7"/>
                    <a:pt x="27" y="9"/>
                  </a:cubicBezTo>
                  <a:cubicBezTo>
                    <a:pt x="27" y="9"/>
                    <a:pt x="27" y="9"/>
                    <a:pt x="27" y="9"/>
                  </a:cubicBezTo>
                  <a:cubicBezTo>
                    <a:pt x="27" y="10"/>
                    <a:pt x="27" y="11"/>
                    <a:pt x="27" y="12"/>
                  </a:cubicBezTo>
                  <a:cubicBezTo>
                    <a:pt x="27" y="12"/>
                    <a:pt x="27" y="12"/>
                    <a:pt x="27" y="12"/>
                  </a:cubicBezTo>
                  <a:cubicBezTo>
                    <a:pt x="26" y="16"/>
                    <a:pt x="22" y="22"/>
                    <a:pt x="16" y="25"/>
                  </a:cubicBezTo>
                  <a:cubicBezTo>
                    <a:pt x="16" y="25"/>
                    <a:pt x="16" y="25"/>
                    <a:pt x="16" y="25"/>
                  </a:cubicBezTo>
                  <a:cubicBezTo>
                    <a:pt x="12" y="27"/>
                    <a:pt x="8" y="27"/>
                    <a:pt x="5" y="27"/>
                  </a:cubicBezTo>
                  <a:cubicBezTo>
                    <a:pt x="5" y="27"/>
                    <a:pt x="5" y="27"/>
                    <a:pt x="5" y="27"/>
                  </a:cubicBezTo>
                  <a:cubicBezTo>
                    <a:pt x="4" y="27"/>
                    <a:pt x="3" y="27"/>
                    <a:pt x="2" y="27"/>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45" name="Freeform 193"/>
            <p:cNvSpPr>
              <a:spLocks/>
            </p:cNvSpPr>
            <p:nvPr/>
          </p:nvSpPr>
          <p:spPr bwMode="auto">
            <a:xfrm>
              <a:off x="7435850" y="2185988"/>
              <a:ext cx="103188" cy="114300"/>
            </a:xfrm>
            <a:custGeom>
              <a:avLst/>
              <a:gdLst>
                <a:gd name="T0" fmla="*/ 11465 w 9"/>
                <a:gd name="T1" fmla="*/ 114300 h 10"/>
                <a:gd name="T2" fmla="*/ 11465 w 9"/>
                <a:gd name="T3" fmla="*/ 80010 h 10"/>
                <a:gd name="T4" fmla="*/ 11465 w 9"/>
                <a:gd name="T5" fmla="*/ 80010 h 10"/>
                <a:gd name="T6" fmla="*/ 45861 w 9"/>
                <a:gd name="T7" fmla="*/ 45720 h 10"/>
                <a:gd name="T8" fmla="*/ 45861 w 9"/>
                <a:gd name="T9" fmla="*/ 45720 h 10"/>
                <a:gd name="T10" fmla="*/ 57327 w 9"/>
                <a:gd name="T11" fmla="*/ 11430 h 10"/>
                <a:gd name="T12" fmla="*/ 57327 w 9"/>
                <a:gd name="T13" fmla="*/ 11430 h 10"/>
                <a:gd name="T14" fmla="*/ 91723 w 9"/>
                <a:gd name="T15" fmla="*/ 0 h 10"/>
                <a:gd name="T16" fmla="*/ 91723 w 9"/>
                <a:gd name="T17" fmla="*/ 0 h 10"/>
                <a:gd name="T18" fmla="*/ 103188 w 9"/>
                <a:gd name="T19" fmla="*/ 34290 h 10"/>
                <a:gd name="T20" fmla="*/ 103188 w 9"/>
                <a:gd name="T21" fmla="*/ 34290 h 10"/>
                <a:gd name="T22" fmla="*/ 80257 w 9"/>
                <a:gd name="T23" fmla="*/ 80010 h 10"/>
                <a:gd name="T24" fmla="*/ 80257 w 9"/>
                <a:gd name="T25" fmla="*/ 80010 h 10"/>
                <a:gd name="T26" fmla="*/ 45861 w 9"/>
                <a:gd name="T27" fmla="*/ 102870 h 10"/>
                <a:gd name="T28" fmla="*/ 45861 w 9"/>
                <a:gd name="T29" fmla="*/ 102870 h 10"/>
                <a:gd name="T30" fmla="*/ 45861 w 9"/>
                <a:gd name="T31" fmla="*/ 102870 h 10"/>
                <a:gd name="T32" fmla="*/ 22931 w 9"/>
                <a:gd name="T33" fmla="*/ 114300 h 10"/>
                <a:gd name="T34" fmla="*/ 22931 w 9"/>
                <a:gd name="T35" fmla="*/ 114300 h 10"/>
                <a:gd name="T36" fmla="*/ 11465 w 9"/>
                <a:gd name="T37" fmla="*/ 114300 h 1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
                <a:gd name="T58" fmla="*/ 0 h 10"/>
                <a:gd name="T59" fmla="*/ 9 w 9"/>
                <a:gd name="T60" fmla="*/ 10 h 1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 h="10">
                  <a:moveTo>
                    <a:pt x="1" y="10"/>
                  </a:moveTo>
                  <a:cubicBezTo>
                    <a:pt x="0" y="9"/>
                    <a:pt x="0" y="8"/>
                    <a:pt x="1" y="7"/>
                  </a:cubicBezTo>
                  <a:cubicBezTo>
                    <a:pt x="1" y="7"/>
                    <a:pt x="1" y="7"/>
                    <a:pt x="1" y="7"/>
                  </a:cubicBezTo>
                  <a:cubicBezTo>
                    <a:pt x="2" y="5"/>
                    <a:pt x="3" y="5"/>
                    <a:pt x="4" y="4"/>
                  </a:cubicBezTo>
                  <a:cubicBezTo>
                    <a:pt x="4" y="4"/>
                    <a:pt x="4" y="4"/>
                    <a:pt x="4" y="4"/>
                  </a:cubicBezTo>
                  <a:cubicBezTo>
                    <a:pt x="4" y="4"/>
                    <a:pt x="5" y="3"/>
                    <a:pt x="5" y="1"/>
                  </a:cubicBezTo>
                  <a:cubicBezTo>
                    <a:pt x="5" y="1"/>
                    <a:pt x="5" y="1"/>
                    <a:pt x="5" y="1"/>
                  </a:cubicBezTo>
                  <a:cubicBezTo>
                    <a:pt x="6" y="0"/>
                    <a:pt x="7" y="0"/>
                    <a:pt x="8" y="0"/>
                  </a:cubicBezTo>
                  <a:cubicBezTo>
                    <a:pt x="8" y="0"/>
                    <a:pt x="8" y="0"/>
                    <a:pt x="8" y="0"/>
                  </a:cubicBezTo>
                  <a:cubicBezTo>
                    <a:pt x="9" y="0"/>
                    <a:pt x="9" y="1"/>
                    <a:pt x="9" y="3"/>
                  </a:cubicBezTo>
                  <a:cubicBezTo>
                    <a:pt x="9" y="3"/>
                    <a:pt x="9" y="3"/>
                    <a:pt x="9" y="3"/>
                  </a:cubicBezTo>
                  <a:cubicBezTo>
                    <a:pt x="8" y="5"/>
                    <a:pt x="8" y="6"/>
                    <a:pt x="7" y="7"/>
                  </a:cubicBezTo>
                  <a:cubicBezTo>
                    <a:pt x="7" y="7"/>
                    <a:pt x="7" y="7"/>
                    <a:pt x="7" y="7"/>
                  </a:cubicBezTo>
                  <a:cubicBezTo>
                    <a:pt x="6" y="8"/>
                    <a:pt x="5" y="8"/>
                    <a:pt x="4" y="9"/>
                  </a:cubicBezTo>
                  <a:cubicBezTo>
                    <a:pt x="4" y="9"/>
                    <a:pt x="4" y="9"/>
                    <a:pt x="4" y="9"/>
                  </a:cubicBezTo>
                  <a:cubicBezTo>
                    <a:pt x="4" y="9"/>
                    <a:pt x="4" y="9"/>
                    <a:pt x="4" y="9"/>
                  </a:cubicBezTo>
                  <a:cubicBezTo>
                    <a:pt x="3" y="10"/>
                    <a:pt x="3" y="10"/>
                    <a:pt x="2" y="10"/>
                  </a:cubicBezTo>
                  <a:cubicBezTo>
                    <a:pt x="2" y="10"/>
                    <a:pt x="2" y="10"/>
                    <a:pt x="2" y="10"/>
                  </a:cubicBezTo>
                  <a:cubicBezTo>
                    <a:pt x="2" y="10"/>
                    <a:pt x="1" y="10"/>
                    <a:pt x="1" y="10"/>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46" name="Freeform 194"/>
            <p:cNvSpPr>
              <a:spLocks/>
            </p:cNvSpPr>
            <p:nvPr/>
          </p:nvSpPr>
          <p:spPr bwMode="auto">
            <a:xfrm>
              <a:off x="7277100" y="2117726"/>
              <a:ext cx="717550" cy="465137"/>
            </a:xfrm>
            <a:custGeom>
              <a:avLst/>
              <a:gdLst>
                <a:gd name="T0" fmla="*/ 0 w 63"/>
                <a:gd name="T1" fmla="*/ 442447 h 41"/>
                <a:gd name="T2" fmla="*/ 22779 w 63"/>
                <a:gd name="T3" fmla="*/ 419758 h 41"/>
                <a:gd name="T4" fmla="*/ 22779 w 63"/>
                <a:gd name="T5" fmla="*/ 419758 h 41"/>
                <a:gd name="T6" fmla="*/ 364470 w 63"/>
                <a:gd name="T7" fmla="*/ 260931 h 41"/>
                <a:gd name="T8" fmla="*/ 364470 w 63"/>
                <a:gd name="T9" fmla="*/ 260931 h 41"/>
                <a:gd name="T10" fmla="*/ 444198 w 63"/>
                <a:gd name="T11" fmla="*/ 45379 h 41"/>
                <a:gd name="T12" fmla="*/ 444198 w 63"/>
                <a:gd name="T13" fmla="*/ 45379 h 41"/>
                <a:gd name="T14" fmla="*/ 444198 w 63"/>
                <a:gd name="T15" fmla="*/ 22690 h 41"/>
                <a:gd name="T16" fmla="*/ 444198 w 63"/>
                <a:gd name="T17" fmla="*/ 22690 h 41"/>
                <a:gd name="T18" fmla="*/ 466977 w 63"/>
                <a:gd name="T19" fmla="*/ 0 h 41"/>
                <a:gd name="T20" fmla="*/ 466977 w 63"/>
                <a:gd name="T21" fmla="*/ 0 h 41"/>
                <a:gd name="T22" fmla="*/ 489756 w 63"/>
                <a:gd name="T23" fmla="*/ 11345 h 41"/>
                <a:gd name="T24" fmla="*/ 489756 w 63"/>
                <a:gd name="T25" fmla="*/ 11345 h 41"/>
                <a:gd name="T26" fmla="*/ 489756 w 63"/>
                <a:gd name="T27" fmla="*/ 22690 h 41"/>
                <a:gd name="T28" fmla="*/ 489756 w 63"/>
                <a:gd name="T29" fmla="*/ 22690 h 41"/>
                <a:gd name="T30" fmla="*/ 501146 w 63"/>
                <a:gd name="T31" fmla="*/ 34034 h 41"/>
                <a:gd name="T32" fmla="*/ 501146 w 63"/>
                <a:gd name="T33" fmla="*/ 34034 h 41"/>
                <a:gd name="T34" fmla="*/ 535315 w 63"/>
                <a:gd name="T35" fmla="*/ 102103 h 41"/>
                <a:gd name="T36" fmla="*/ 535315 w 63"/>
                <a:gd name="T37" fmla="*/ 102103 h 41"/>
                <a:gd name="T38" fmla="*/ 694771 w 63"/>
                <a:gd name="T39" fmla="*/ 272275 h 41"/>
                <a:gd name="T40" fmla="*/ 694771 w 63"/>
                <a:gd name="T41" fmla="*/ 272275 h 41"/>
                <a:gd name="T42" fmla="*/ 706160 w 63"/>
                <a:gd name="T43" fmla="*/ 294965 h 41"/>
                <a:gd name="T44" fmla="*/ 706160 w 63"/>
                <a:gd name="T45" fmla="*/ 294965 h 41"/>
                <a:gd name="T46" fmla="*/ 671991 w 63"/>
                <a:gd name="T47" fmla="*/ 306310 h 41"/>
                <a:gd name="T48" fmla="*/ 671991 w 63"/>
                <a:gd name="T49" fmla="*/ 306310 h 41"/>
                <a:gd name="T50" fmla="*/ 478367 w 63"/>
                <a:gd name="T51" fmla="*/ 113448 h 41"/>
                <a:gd name="T52" fmla="*/ 478367 w 63"/>
                <a:gd name="T53" fmla="*/ 113448 h 41"/>
                <a:gd name="T54" fmla="*/ 398639 w 63"/>
                <a:gd name="T55" fmla="*/ 283620 h 41"/>
                <a:gd name="T56" fmla="*/ 398639 w 63"/>
                <a:gd name="T57" fmla="*/ 283620 h 41"/>
                <a:gd name="T58" fmla="*/ 22779 w 63"/>
                <a:gd name="T59" fmla="*/ 465137 h 41"/>
                <a:gd name="T60" fmla="*/ 22779 w 63"/>
                <a:gd name="T61" fmla="*/ 465137 h 41"/>
                <a:gd name="T62" fmla="*/ 22779 w 63"/>
                <a:gd name="T63" fmla="*/ 465137 h 41"/>
                <a:gd name="T64" fmla="*/ 22779 w 63"/>
                <a:gd name="T65" fmla="*/ 465137 h 41"/>
                <a:gd name="T66" fmla="*/ 0 w 63"/>
                <a:gd name="T67" fmla="*/ 442447 h 4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3"/>
                <a:gd name="T103" fmla="*/ 0 h 41"/>
                <a:gd name="T104" fmla="*/ 63 w 63"/>
                <a:gd name="T105" fmla="*/ 41 h 4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3" h="41">
                  <a:moveTo>
                    <a:pt x="0" y="39"/>
                  </a:moveTo>
                  <a:cubicBezTo>
                    <a:pt x="0" y="38"/>
                    <a:pt x="1" y="37"/>
                    <a:pt x="2" y="37"/>
                  </a:cubicBezTo>
                  <a:cubicBezTo>
                    <a:pt x="2" y="37"/>
                    <a:pt x="2" y="37"/>
                    <a:pt x="2" y="37"/>
                  </a:cubicBezTo>
                  <a:cubicBezTo>
                    <a:pt x="18" y="35"/>
                    <a:pt x="27" y="29"/>
                    <a:pt x="32" y="23"/>
                  </a:cubicBezTo>
                  <a:cubicBezTo>
                    <a:pt x="32" y="23"/>
                    <a:pt x="32" y="23"/>
                    <a:pt x="32" y="23"/>
                  </a:cubicBezTo>
                  <a:cubicBezTo>
                    <a:pt x="38" y="16"/>
                    <a:pt x="39" y="8"/>
                    <a:pt x="39" y="4"/>
                  </a:cubicBezTo>
                  <a:cubicBezTo>
                    <a:pt x="39" y="4"/>
                    <a:pt x="39" y="4"/>
                    <a:pt x="39" y="4"/>
                  </a:cubicBezTo>
                  <a:cubicBezTo>
                    <a:pt x="39" y="3"/>
                    <a:pt x="39" y="2"/>
                    <a:pt x="39" y="2"/>
                  </a:cubicBezTo>
                  <a:cubicBezTo>
                    <a:pt x="39" y="2"/>
                    <a:pt x="39" y="2"/>
                    <a:pt x="39" y="2"/>
                  </a:cubicBezTo>
                  <a:cubicBezTo>
                    <a:pt x="39" y="1"/>
                    <a:pt x="40" y="0"/>
                    <a:pt x="41" y="0"/>
                  </a:cubicBezTo>
                  <a:cubicBezTo>
                    <a:pt x="41" y="0"/>
                    <a:pt x="41" y="0"/>
                    <a:pt x="41" y="0"/>
                  </a:cubicBezTo>
                  <a:cubicBezTo>
                    <a:pt x="42" y="0"/>
                    <a:pt x="43" y="0"/>
                    <a:pt x="43" y="1"/>
                  </a:cubicBezTo>
                  <a:cubicBezTo>
                    <a:pt x="43" y="1"/>
                    <a:pt x="43" y="1"/>
                    <a:pt x="43" y="1"/>
                  </a:cubicBezTo>
                  <a:cubicBezTo>
                    <a:pt x="43" y="1"/>
                    <a:pt x="43" y="1"/>
                    <a:pt x="43" y="2"/>
                  </a:cubicBezTo>
                  <a:cubicBezTo>
                    <a:pt x="43" y="2"/>
                    <a:pt x="43" y="2"/>
                    <a:pt x="43" y="2"/>
                  </a:cubicBezTo>
                  <a:cubicBezTo>
                    <a:pt x="43" y="2"/>
                    <a:pt x="43" y="3"/>
                    <a:pt x="44" y="3"/>
                  </a:cubicBezTo>
                  <a:cubicBezTo>
                    <a:pt x="44" y="3"/>
                    <a:pt x="44" y="3"/>
                    <a:pt x="44" y="3"/>
                  </a:cubicBezTo>
                  <a:cubicBezTo>
                    <a:pt x="44" y="5"/>
                    <a:pt x="45" y="7"/>
                    <a:pt x="47" y="9"/>
                  </a:cubicBezTo>
                  <a:cubicBezTo>
                    <a:pt x="47" y="9"/>
                    <a:pt x="47" y="9"/>
                    <a:pt x="47" y="9"/>
                  </a:cubicBezTo>
                  <a:cubicBezTo>
                    <a:pt x="50" y="14"/>
                    <a:pt x="54" y="19"/>
                    <a:pt x="61" y="24"/>
                  </a:cubicBezTo>
                  <a:cubicBezTo>
                    <a:pt x="61" y="24"/>
                    <a:pt x="61" y="24"/>
                    <a:pt x="61" y="24"/>
                  </a:cubicBezTo>
                  <a:cubicBezTo>
                    <a:pt x="62" y="24"/>
                    <a:pt x="63" y="25"/>
                    <a:pt x="62" y="26"/>
                  </a:cubicBezTo>
                  <a:cubicBezTo>
                    <a:pt x="62" y="26"/>
                    <a:pt x="62" y="26"/>
                    <a:pt x="62" y="26"/>
                  </a:cubicBezTo>
                  <a:cubicBezTo>
                    <a:pt x="61" y="27"/>
                    <a:pt x="60" y="27"/>
                    <a:pt x="59" y="27"/>
                  </a:cubicBezTo>
                  <a:cubicBezTo>
                    <a:pt x="59" y="27"/>
                    <a:pt x="59" y="27"/>
                    <a:pt x="59" y="27"/>
                  </a:cubicBezTo>
                  <a:cubicBezTo>
                    <a:pt x="51" y="22"/>
                    <a:pt x="45" y="15"/>
                    <a:pt x="42" y="10"/>
                  </a:cubicBezTo>
                  <a:cubicBezTo>
                    <a:pt x="42" y="10"/>
                    <a:pt x="42" y="10"/>
                    <a:pt x="42" y="10"/>
                  </a:cubicBezTo>
                  <a:cubicBezTo>
                    <a:pt x="41" y="14"/>
                    <a:pt x="39" y="20"/>
                    <a:pt x="35" y="25"/>
                  </a:cubicBezTo>
                  <a:cubicBezTo>
                    <a:pt x="35" y="25"/>
                    <a:pt x="35" y="25"/>
                    <a:pt x="35" y="25"/>
                  </a:cubicBezTo>
                  <a:cubicBezTo>
                    <a:pt x="29" y="33"/>
                    <a:pt x="19" y="39"/>
                    <a:pt x="2" y="41"/>
                  </a:cubicBezTo>
                  <a:cubicBezTo>
                    <a:pt x="2" y="41"/>
                    <a:pt x="2" y="41"/>
                    <a:pt x="2" y="41"/>
                  </a:cubicBezTo>
                  <a:cubicBezTo>
                    <a:pt x="2" y="41"/>
                    <a:pt x="2" y="41"/>
                    <a:pt x="2" y="41"/>
                  </a:cubicBezTo>
                  <a:cubicBezTo>
                    <a:pt x="2" y="41"/>
                    <a:pt x="2" y="41"/>
                    <a:pt x="2" y="41"/>
                  </a:cubicBezTo>
                  <a:cubicBezTo>
                    <a:pt x="1" y="41"/>
                    <a:pt x="0" y="40"/>
                    <a:pt x="0" y="39"/>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47" name="Freeform 195"/>
            <p:cNvSpPr>
              <a:spLocks/>
            </p:cNvSpPr>
            <p:nvPr/>
          </p:nvSpPr>
          <p:spPr bwMode="auto">
            <a:xfrm>
              <a:off x="7413625" y="2617788"/>
              <a:ext cx="387350" cy="112712"/>
            </a:xfrm>
            <a:custGeom>
              <a:avLst/>
              <a:gdLst>
                <a:gd name="T0" fmla="*/ 0 w 34"/>
                <a:gd name="T1" fmla="*/ 101441 h 10"/>
                <a:gd name="T2" fmla="*/ 11393 w 34"/>
                <a:gd name="T3" fmla="*/ 78898 h 10"/>
                <a:gd name="T4" fmla="*/ 11393 w 34"/>
                <a:gd name="T5" fmla="*/ 78898 h 10"/>
                <a:gd name="T6" fmla="*/ 227853 w 34"/>
                <a:gd name="T7" fmla="*/ 0 h 10"/>
                <a:gd name="T8" fmla="*/ 227853 w 34"/>
                <a:gd name="T9" fmla="*/ 0 h 10"/>
                <a:gd name="T10" fmla="*/ 364565 w 34"/>
                <a:gd name="T11" fmla="*/ 33814 h 10"/>
                <a:gd name="T12" fmla="*/ 364565 w 34"/>
                <a:gd name="T13" fmla="*/ 33814 h 10"/>
                <a:gd name="T14" fmla="*/ 375957 w 34"/>
                <a:gd name="T15" fmla="*/ 67627 h 10"/>
                <a:gd name="T16" fmla="*/ 375957 w 34"/>
                <a:gd name="T17" fmla="*/ 67627 h 10"/>
                <a:gd name="T18" fmla="*/ 341779 w 34"/>
                <a:gd name="T19" fmla="*/ 78898 h 10"/>
                <a:gd name="T20" fmla="*/ 341779 w 34"/>
                <a:gd name="T21" fmla="*/ 78898 h 10"/>
                <a:gd name="T22" fmla="*/ 227853 w 34"/>
                <a:gd name="T23" fmla="*/ 45085 h 10"/>
                <a:gd name="T24" fmla="*/ 227853 w 34"/>
                <a:gd name="T25" fmla="*/ 45085 h 10"/>
                <a:gd name="T26" fmla="*/ 34178 w 34"/>
                <a:gd name="T27" fmla="*/ 112712 h 10"/>
                <a:gd name="T28" fmla="*/ 34178 w 34"/>
                <a:gd name="T29" fmla="*/ 112712 h 10"/>
                <a:gd name="T30" fmla="*/ 22785 w 34"/>
                <a:gd name="T31" fmla="*/ 112712 h 10"/>
                <a:gd name="T32" fmla="*/ 22785 w 34"/>
                <a:gd name="T33" fmla="*/ 112712 h 10"/>
                <a:gd name="T34" fmla="*/ 0 w 34"/>
                <a:gd name="T35" fmla="*/ 101441 h 1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4"/>
                <a:gd name="T55" fmla="*/ 0 h 10"/>
                <a:gd name="T56" fmla="*/ 34 w 34"/>
                <a:gd name="T57" fmla="*/ 10 h 1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4" h="10">
                  <a:moveTo>
                    <a:pt x="0" y="9"/>
                  </a:moveTo>
                  <a:cubicBezTo>
                    <a:pt x="0" y="8"/>
                    <a:pt x="0" y="7"/>
                    <a:pt x="1" y="7"/>
                  </a:cubicBezTo>
                  <a:cubicBezTo>
                    <a:pt x="1" y="7"/>
                    <a:pt x="1" y="7"/>
                    <a:pt x="1" y="7"/>
                  </a:cubicBezTo>
                  <a:cubicBezTo>
                    <a:pt x="6" y="4"/>
                    <a:pt x="13" y="0"/>
                    <a:pt x="20" y="0"/>
                  </a:cubicBezTo>
                  <a:cubicBezTo>
                    <a:pt x="20" y="0"/>
                    <a:pt x="20" y="0"/>
                    <a:pt x="20" y="0"/>
                  </a:cubicBezTo>
                  <a:cubicBezTo>
                    <a:pt x="24" y="0"/>
                    <a:pt x="28" y="1"/>
                    <a:pt x="32" y="3"/>
                  </a:cubicBezTo>
                  <a:cubicBezTo>
                    <a:pt x="32" y="3"/>
                    <a:pt x="32" y="3"/>
                    <a:pt x="32" y="3"/>
                  </a:cubicBezTo>
                  <a:cubicBezTo>
                    <a:pt x="33" y="4"/>
                    <a:pt x="34" y="5"/>
                    <a:pt x="33" y="6"/>
                  </a:cubicBezTo>
                  <a:cubicBezTo>
                    <a:pt x="33" y="6"/>
                    <a:pt x="33" y="6"/>
                    <a:pt x="33" y="6"/>
                  </a:cubicBezTo>
                  <a:cubicBezTo>
                    <a:pt x="32" y="7"/>
                    <a:pt x="31" y="7"/>
                    <a:pt x="30" y="7"/>
                  </a:cubicBezTo>
                  <a:cubicBezTo>
                    <a:pt x="30" y="7"/>
                    <a:pt x="30" y="7"/>
                    <a:pt x="30" y="7"/>
                  </a:cubicBezTo>
                  <a:cubicBezTo>
                    <a:pt x="27" y="5"/>
                    <a:pt x="24" y="4"/>
                    <a:pt x="20" y="4"/>
                  </a:cubicBezTo>
                  <a:cubicBezTo>
                    <a:pt x="20" y="4"/>
                    <a:pt x="20" y="4"/>
                    <a:pt x="20" y="4"/>
                  </a:cubicBezTo>
                  <a:cubicBezTo>
                    <a:pt x="14" y="4"/>
                    <a:pt x="8" y="7"/>
                    <a:pt x="3" y="10"/>
                  </a:cubicBezTo>
                  <a:cubicBezTo>
                    <a:pt x="3" y="10"/>
                    <a:pt x="3" y="10"/>
                    <a:pt x="3" y="10"/>
                  </a:cubicBezTo>
                  <a:cubicBezTo>
                    <a:pt x="3" y="10"/>
                    <a:pt x="3" y="10"/>
                    <a:pt x="2" y="10"/>
                  </a:cubicBezTo>
                  <a:cubicBezTo>
                    <a:pt x="2" y="10"/>
                    <a:pt x="2" y="10"/>
                    <a:pt x="2" y="10"/>
                  </a:cubicBezTo>
                  <a:cubicBezTo>
                    <a:pt x="2" y="10"/>
                    <a:pt x="1" y="10"/>
                    <a:pt x="0" y="9"/>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48" name="Freeform 196"/>
            <p:cNvSpPr>
              <a:spLocks/>
            </p:cNvSpPr>
            <p:nvPr/>
          </p:nvSpPr>
          <p:spPr bwMode="auto">
            <a:xfrm>
              <a:off x="7675563" y="2527301"/>
              <a:ext cx="171450" cy="123825"/>
            </a:xfrm>
            <a:custGeom>
              <a:avLst/>
              <a:gdLst>
                <a:gd name="T0" fmla="*/ 137160 w 15"/>
                <a:gd name="T1" fmla="*/ 112568 h 11"/>
                <a:gd name="T2" fmla="*/ 68580 w 15"/>
                <a:gd name="T3" fmla="*/ 67541 h 11"/>
                <a:gd name="T4" fmla="*/ 68580 w 15"/>
                <a:gd name="T5" fmla="*/ 67541 h 11"/>
                <a:gd name="T6" fmla="*/ 22860 w 15"/>
                <a:gd name="T7" fmla="*/ 45027 h 11"/>
                <a:gd name="T8" fmla="*/ 22860 w 15"/>
                <a:gd name="T9" fmla="*/ 45027 h 11"/>
                <a:gd name="T10" fmla="*/ 11430 w 15"/>
                <a:gd name="T11" fmla="*/ 22514 h 11"/>
                <a:gd name="T12" fmla="*/ 11430 w 15"/>
                <a:gd name="T13" fmla="*/ 22514 h 11"/>
                <a:gd name="T14" fmla="*/ 34290 w 15"/>
                <a:gd name="T15" fmla="*/ 11257 h 11"/>
                <a:gd name="T16" fmla="*/ 34290 w 15"/>
                <a:gd name="T17" fmla="*/ 11257 h 11"/>
                <a:gd name="T18" fmla="*/ 91440 w 15"/>
                <a:gd name="T19" fmla="*/ 33770 h 11"/>
                <a:gd name="T20" fmla="*/ 91440 w 15"/>
                <a:gd name="T21" fmla="*/ 33770 h 11"/>
                <a:gd name="T22" fmla="*/ 171450 w 15"/>
                <a:gd name="T23" fmla="*/ 78798 h 11"/>
                <a:gd name="T24" fmla="*/ 171450 w 15"/>
                <a:gd name="T25" fmla="*/ 78798 h 11"/>
                <a:gd name="T26" fmla="*/ 160020 w 15"/>
                <a:gd name="T27" fmla="*/ 112568 h 11"/>
                <a:gd name="T28" fmla="*/ 160020 w 15"/>
                <a:gd name="T29" fmla="*/ 112568 h 11"/>
                <a:gd name="T30" fmla="*/ 148590 w 15"/>
                <a:gd name="T31" fmla="*/ 123825 h 11"/>
                <a:gd name="T32" fmla="*/ 148590 w 15"/>
                <a:gd name="T33" fmla="*/ 123825 h 11"/>
                <a:gd name="T34" fmla="*/ 137160 w 15"/>
                <a:gd name="T35" fmla="*/ 112568 h 1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5"/>
                <a:gd name="T55" fmla="*/ 0 h 11"/>
                <a:gd name="T56" fmla="*/ 15 w 15"/>
                <a:gd name="T57" fmla="*/ 11 h 1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5" h="11">
                  <a:moveTo>
                    <a:pt x="12" y="10"/>
                  </a:moveTo>
                  <a:cubicBezTo>
                    <a:pt x="11" y="9"/>
                    <a:pt x="8" y="7"/>
                    <a:pt x="6" y="6"/>
                  </a:cubicBezTo>
                  <a:cubicBezTo>
                    <a:pt x="6" y="6"/>
                    <a:pt x="6" y="6"/>
                    <a:pt x="6" y="6"/>
                  </a:cubicBezTo>
                  <a:cubicBezTo>
                    <a:pt x="4" y="5"/>
                    <a:pt x="2" y="4"/>
                    <a:pt x="2" y="4"/>
                  </a:cubicBezTo>
                  <a:cubicBezTo>
                    <a:pt x="2" y="4"/>
                    <a:pt x="2" y="4"/>
                    <a:pt x="2" y="4"/>
                  </a:cubicBezTo>
                  <a:cubicBezTo>
                    <a:pt x="1" y="4"/>
                    <a:pt x="0" y="3"/>
                    <a:pt x="1" y="2"/>
                  </a:cubicBezTo>
                  <a:cubicBezTo>
                    <a:pt x="1" y="2"/>
                    <a:pt x="1" y="2"/>
                    <a:pt x="1" y="2"/>
                  </a:cubicBezTo>
                  <a:cubicBezTo>
                    <a:pt x="1" y="1"/>
                    <a:pt x="2" y="0"/>
                    <a:pt x="3" y="1"/>
                  </a:cubicBezTo>
                  <a:cubicBezTo>
                    <a:pt x="3" y="1"/>
                    <a:pt x="3" y="1"/>
                    <a:pt x="3" y="1"/>
                  </a:cubicBezTo>
                  <a:cubicBezTo>
                    <a:pt x="3" y="1"/>
                    <a:pt x="5" y="1"/>
                    <a:pt x="8" y="3"/>
                  </a:cubicBezTo>
                  <a:cubicBezTo>
                    <a:pt x="8" y="3"/>
                    <a:pt x="8" y="3"/>
                    <a:pt x="8" y="3"/>
                  </a:cubicBezTo>
                  <a:cubicBezTo>
                    <a:pt x="10" y="4"/>
                    <a:pt x="13" y="5"/>
                    <a:pt x="15" y="7"/>
                  </a:cubicBezTo>
                  <a:cubicBezTo>
                    <a:pt x="15" y="7"/>
                    <a:pt x="15" y="7"/>
                    <a:pt x="15" y="7"/>
                  </a:cubicBezTo>
                  <a:cubicBezTo>
                    <a:pt x="15" y="8"/>
                    <a:pt x="15" y="10"/>
                    <a:pt x="14" y="10"/>
                  </a:cubicBezTo>
                  <a:cubicBezTo>
                    <a:pt x="14" y="10"/>
                    <a:pt x="14" y="10"/>
                    <a:pt x="14" y="10"/>
                  </a:cubicBezTo>
                  <a:cubicBezTo>
                    <a:pt x="14" y="11"/>
                    <a:pt x="14" y="11"/>
                    <a:pt x="13" y="11"/>
                  </a:cubicBezTo>
                  <a:cubicBezTo>
                    <a:pt x="13" y="11"/>
                    <a:pt x="13" y="11"/>
                    <a:pt x="13" y="11"/>
                  </a:cubicBezTo>
                  <a:cubicBezTo>
                    <a:pt x="13" y="11"/>
                    <a:pt x="12" y="10"/>
                    <a:pt x="12" y="10"/>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49" name="Freeform 197"/>
            <p:cNvSpPr>
              <a:spLocks/>
            </p:cNvSpPr>
            <p:nvPr/>
          </p:nvSpPr>
          <p:spPr bwMode="auto">
            <a:xfrm>
              <a:off x="7732713" y="2459038"/>
              <a:ext cx="171450" cy="123825"/>
            </a:xfrm>
            <a:custGeom>
              <a:avLst/>
              <a:gdLst>
                <a:gd name="T0" fmla="*/ 137160 w 15"/>
                <a:gd name="T1" fmla="*/ 123825 h 11"/>
                <a:gd name="T2" fmla="*/ 80010 w 15"/>
                <a:gd name="T3" fmla="*/ 67541 h 11"/>
                <a:gd name="T4" fmla="*/ 80010 w 15"/>
                <a:gd name="T5" fmla="*/ 67541 h 11"/>
                <a:gd name="T6" fmla="*/ 22860 w 15"/>
                <a:gd name="T7" fmla="*/ 45027 h 11"/>
                <a:gd name="T8" fmla="*/ 22860 w 15"/>
                <a:gd name="T9" fmla="*/ 45027 h 11"/>
                <a:gd name="T10" fmla="*/ 22860 w 15"/>
                <a:gd name="T11" fmla="*/ 45027 h 11"/>
                <a:gd name="T12" fmla="*/ 0 w 15"/>
                <a:gd name="T13" fmla="*/ 11257 h 11"/>
                <a:gd name="T14" fmla="*/ 0 w 15"/>
                <a:gd name="T15" fmla="*/ 11257 h 11"/>
                <a:gd name="T16" fmla="*/ 34290 w 15"/>
                <a:gd name="T17" fmla="*/ 0 h 11"/>
                <a:gd name="T18" fmla="*/ 34290 w 15"/>
                <a:gd name="T19" fmla="*/ 0 h 11"/>
                <a:gd name="T20" fmla="*/ 102870 w 15"/>
                <a:gd name="T21" fmla="*/ 33770 h 11"/>
                <a:gd name="T22" fmla="*/ 102870 w 15"/>
                <a:gd name="T23" fmla="*/ 33770 h 11"/>
                <a:gd name="T24" fmla="*/ 160020 w 15"/>
                <a:gd name="T25" fmla="*/ 90055 h 11"/>
                <a:gd name="T26" fmla="*/ 160020 w 15"/>
                <a:gd name="T27" fmla="*/ 90055 h 11"/>
                <a:gd name="T28" fmla="*/ 171450 w 15"/>
                <a:gd name="T29" fmla="*/ 112568 h 11"/>
                <a:gd name="T30" fmla="*/ 171450 w 15"/>
                <a:gd name="T31" fmla="*/ 112568 h 11"/>
                <a:gd name="T32" fmla="*/ 148590 w 15"/>
                <a:gd name="T33" fmla="*/ 123825 h 11"/>
                <a:gd name="T34" fmla="*/ 148590 w 15"/>
                <a:gd name="T35" fmla="*/ 123825 h 11"/>
                <a:gd name="T36" fmla="*/ 137160 w 15"/>
                <a:gd name="T37" fmla="*/ 123825 h 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
                <a:gd name="T58" fmla="*/ 0 h 11"/>
                <a:gd name="T59" fmla="*/ 15 w 15"/>
                <a:gd name="T60" fmla="*/ 11 h 1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 h="11">
                  <a:moveTo>
                    <a:pt x="12" y="11"/>
                  </a:moveTo>
                  <a:cubicBezTo>
                    <a:pt x="10" y="9"/>
                    <a:pt x="8" y="7"/>
                    <a:pt x="7" y="6"/>
                  </a:cubicBezTo>
                  <a:cubicBezTo>
                    <a:pt x="7" y="6"/>
                    <a:pt x="7" y="6"/>
                    <a:pt x="7" y="6"/>
                  </a:cubicBezTo>
                  <a:cubicBezTo>
                    <a:pt x="5" y="5"/>
                    <a:pt x="4" y="5"/>
                    <a:pt x="2" y="4"/>
                  </a:cubicBezTo>
                  <a:cubicBezTo>
                    <a:pt x="2" y="4"/>
                    <a:pt x="2" y="4"/>
                    <a:pt x="2" y="4"/>
                  </a:cubicBezTo>
                  <a:cubicBezTo>
                    <a:pt x="2" y="4"/>
                    <a:pt x="2" y="4"/>
                    <a:pt x="2" y="4"/>
                  </a:cubicBezTo>
                  <a:cubicBezTo>
                    <a:pt x="1" y="4"/>
                    <a:pt x="0" y="3"/>
                    <a:pt x="0" y="1"/>
                  </a:cubicBezTo>
                  <a:cubicBezTo>
                    <a:pt x="0" y="1"/>
                    <a:pt x="0" y="1"/>
                    <a:pt x="0" y="1"/>
                  </a:cubicBezTo>
                  <a:cubicBezTo>
                    <a:pt x="1" y="0"/>
                    <a:pt x="2" y="0"/>
                    <a:pt x="3" y="0"/>
                  </a:cubicBezTo>
                  <a:cubicBezTo>
                    <a:pt x="3" y="0"/>
                    <a:pt x="3" y="0"/>
                    <a:pt x="3" y="0"/>
                  </a:cubicBezTo>
                  <a:cubicBezTo>
                    <a:pt x="6" y="1"/>
                    <a:pt x="8" y="2"/>
                    <a:pt x="9" y="3"/>
                  </a:cubicBezTo>
                  <a:cubicBezTo>
                    <a:pt x="9" y="3"/>
                    <a:pt x="9" y="3"/>
                    <a:pt x="9" y="3"/>
                  </a:cubicBezTo>
                  <a:cubicBezTo>
                    <a:pt x="11" y="5"/>
                    <a:pt x="12" y="6"/>
                    <a:pt x="14" y="8"/>
                  </a:cubicBezTo>
                  <a:cubicBezTo>
                    <a:pt x="14" y="8"/>
                    <a:pt x="14" y="8"/>
                    <a:pt x="14" y="8"/>
                  </a:cubicBezTo>
                  <a:cubicBezTo>
                    <a:pt x="15" y="8"/>
                    <a:pt x="15" y="10"/>
                    <a:pt x="15" y="10"/>
                  </a:cubicBezTo>
                  <a:cubicBezTo>
                    <a:pt x="15" y="10"/>
                    <a:pt x="15" y="10"/>
                    <a:pt x="15" y="10"/>
                  </a:cubicBezTo>
                  <a:cubicBezTo>
                    <a:pt x="14" y="11"/>
                    <a:pt x="14" y="11"/>
                    <a:pt x="13" y="11"/>
                  </a:cubicBezTo>
                  <a:cubicBezTo>
                    <a:pt x="13" y="11"/>
                    <a:pt x="13" y="11"/>
                    <a:pt x="13" y="11"/>
                  </a:cubicBezTo>
                  <a:cubicBezTo>
                    <a:pt x="13" y="11"/>
                    <a:pt x="12" y="11"/>
                    <a:pt x="12" y="11"/>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50" name="Freeform 198"/>
            <p:cNvSpPr>
              <a:spLocks/>
            </p:cNvSpPr>
            <p:nvPr/>
          </p:nvSpPr>
          <p:spPr bwMode="auto">
            <a:xfrm>
              <a:off x="7585075" y="1912937"/>
              <a:ext cx="420688" cy="442912"/>
            </a:xfrm>
            <a:custGeom>
              <a:avLst/>
              <a:gdLst>
                <a:gd name="T0" fmla="*/ 386578 w 37"/>
                <a:gd name="T1" fmla="*/ 431555 h 39"/>
                <a:gd name="T2" fmla="*/ 204659 w 37"/>
                <a:gd name="T3" fmla="*/ 193064 h 39"/>
                <a:gd name="T4" fmla="*/ 204659 w 37"/>
                <a:gd name="T5" fmla="*/ 193064 h 39"/>
                <a:gd name="T6" fmla="*/ 147809 w 37"/>
                <a:gd name="T7" fmla="*/ 79497 h 39"/>
                <a:gd name="T8" fmla="*/ 147809 w 37"/>
                <a:gd name="T9" fmla="*/ 79497 h 39"/>
                <a:gd name="T10" fmla="*/ 34110 w 37"/>
                <a:gd name="T11" fmla="*/ 45427 h 39"/>
                <a:gd name="T12" fmla="*/ 34110 w 37"/>
                <a:gd name="T13" fmla="*/ 45427 h 39"/>
                <a:gd name="T14" fmla="*/ 22740 w 37"/>
                <a:gd name="T15" fmla="*/ 45427 h 39"/>
                <a:gd name="T16" fmla="*/ 22740 w 37"/>
                <a:gd name="T17" fmla="*/ 45427 h 39"/>
                <a:gd name="T18" fmla="*/ 0 w 37"/>
                <a:gd name="T19" fmla="*/ 22713 h 39"/>
                <a:gd name="T20" fmla="*/ 0 w 37"/>
                <a:gd name="T21" fmla="*/ 22713 h 39"/>
                <a:gd name="T22" fmla="*/ 22740 w 37"/>
                <a:gd name="T23" fmla="*/ 0 h 39"/>
                <a:gd name="T24" fmla="*/ 22740 w 37"/>
                <a:gd name="T25" fmla="*/ 0 h 39"/>
                <a:gd name="T26" fmla="*/ 34110 w 37"/>
                <a:gd name="T27" fmla="*/ 0 h 39"/>
                <a:gd name="T28" fmla="*/ 34110 w 37"/>
                <a:gd name="T29" fmla="*/ 0 h 39"/>
                <a:gd name="T30" fmla="*/ 181919 w 37"/>
                <a:gd name="T31" fmla="*/ 56784 h 39"/>
                <a:gd name="T32" fmla="*/ 181919 w 37"/>
                <a:gd name="T33" fmla="*/ 56784 h 39"/>
                <a:gd name="T34" fmla="*/ 250139 w 37"/>
                <a:gd name="T35" fmla="*/ 170351 h 39"/>
                <a:gd name="T36" fmla="*/ 250139 w 37"/>
                <a:gd name="T37" fmla="*/ 170351 h 39"/>
                <a:gd name="T38" fmla="*/ 409318 w 37"/>
                <a:gd name="T39" fmla="*/ 397485 h 39"/>
                <a:gd name="T40" fmla="*/ 409318 w 37"/>
                <a:gd name="T41" fmla="*/ 397485 h 39"/>
                <a:gd name="T42" fmla="*/ 409318 w 37"/>
                <a:gd name="T43" fmla="*/ 431555 h 39"/>
                <a:gd name="T44" fmla="*/ 409318 w 37"/>
                <a:gd name="T45" fmla="*/ 431555 h 39"/>
                <a:gd name="T46" fmla="*/ 397948 w 37"/>
                <a:gd name="T47" fmla="*/ 442912 h 39"/>
                <a:gd name="T48" fmla="*/ 397948 w 37"/>
                <a:gd name="T49" fmla="*/ 442912 h 39"/>
                <a:gd name="T50" fmla="*/ 386578 w 37"/>
                <a:gd name="T51" fmla="*/ 431555 h 3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7"/>
                <a:gd name="T79" fmla="*/ 0 h 39"/>
                <a:gd name="T80" fmla="*/ 37 w 37"/>
                <a:gd name="T81" fmla="*/ 39 h 3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7" h="39">
                  <a:moveTo>
                    <a:pt x="34" y="38"/>
                  </a:moveTo>
                  <a:cubicBezTo>
                    <a:pt x="26" y="32"/>
                    <a:pt x="23" y="26"/>
                    <a:pt x="18" y="17"/>
                  </a:cubicBezTo>
                  <a:cubicBezTo>
                    <a:pt x="18" y="17"/>
                    <a:pt x="18" y="17"/>
                    <a:pt x="18" y="17"/>
                  </a:cubicBezTo>
                  <a:cubicBezTo>
                    <a:pt x="16" y="13"/>
                    <a:pt x="15" y="10"/>
                    <a:pt x="13" y="7"/>
                  </a:cubicBezTo>
                  <a:cubicBezTo>
                    <a:pt x="13" y="7"/>
                    <a:pt x="13" y="7"/>
                    <a:pt x="13" y="7"/>
                  </a:cubicBezTo>
                  <a:cubicBezTo>
                    <a:pt x="11" y="5"/>
                    <a:pt x="8" y="4"/>
                    <a:pt x="3" y="4"/>
                  </a:cubicBezTo>
                  <a:cubicBezTo>
                    <a:pt x="3" y="4"/>
                    <a:pt x="3" y="4"/>
                    <a:pt x="3" y="4"/>
                  </a:cubicBezTo>
                  <a:cubicBezTo>
                    <a:pt x="3" y="4"/>
                    <a:pt x="2" y="4"/>
                    <a:pt x="2" y="4"/>
                  </a:cubicBezTo>
                  <a:cubicBezTo>
                    <a:pt x="2" y="4"/>
                    <a:pt x="2" y="4"/>
                    <a:pt x="2" y="4"/>
                  </a:cubicBezTo>
                  <a:cubicBezTo>
                    <a:pt x="1" y="4"/>
                    <a:pt x="0" y="3"/>
                    <a:pt x="0" y="2"/>
                  </a:cubicBezTo>
                  <a:cubicBezTo>
                    <a:pt x="0" y="2"/>
                    <a:pt x="0" y="2"/>
                    <a:pt x="0" y="2"/>
                  </a:cubicBezTo>
                  <a:cubicBezTo>
                    <a:pt x="0" y="1"/>
                    <a:pt x="1" y="0"/>
                    <a:pt x="2" y="0"/>
                  </a:cubicBezTo>
                  <a:cubicBezTo>
                    <a:pt x="2" y="0"/>
                    <a:pt x="2" y="0"/>
                    <a:pt x="2" y="0"/>
                  </a:cubicBezTo>
                  <a:cubicBezTo>
                    <a:pt x="2" y="0"/>
                    <a:pt x="3" y="0"/>
                    <a:pt x="3" y="0"/>
                  </a:cubicBezTo>
                  <a:cubicBezTo>
                    <a:pt x="3" y="0"/>
                    <a:pt x="3" y="0"/>
                    <a:pt x="3" y="0"/>
                  </a:cubicBezTo>
                  <a:cubicBezTo>
                    <a:pt x="9" y="0"/>
                    <a:pt x="13" y="2"/>
                    <a:pt x="16" y="5"/>
                  </a:cubicBezTo>
                  <a:cubicBezTo>
                    <a:pt x="16" y="5"/>
                    <a:pt x="16" y="5"/>
                    <a:pt x="16" y="5"/>
                  </a:cubicBezTo>
                  <a:cubicBezTo>
                    <a:pt x="18" y="8"/>
                    <a:pt x="20" y="12"/>
                    <a:pt x="22" y="15"/>
                  </a:cubicBezTo>
                  <a:cubicBezTo>
                    <a:pt x="22" y="15"/>
                    <a:pt x="22" y="15"/>
                    <a:pt x="22" y="15"/>
                  </a:cubicBezTo>
                  <a:cubicBezTo>
                    <a:pt x="26" y="24"/>
                    <a:pt x="29" y="30"/>
                    <a:pt x="36" y="35"/>
                  </a:cubicBezTo>
                  <a:cubicBezTo>
                    <a:pt x="36" y="35"/>
                    <a:pt x="36" y="35"/>
                    <a:pt x="36" y="35"/>
                  </a:cubicBezTo>
                  <a:cubicBezTo>
                    <a:pt x="37" y="36"/>
                    <a:pt x="37" y="37"/>
                    <a:pt x="36" y="38"/>
                  </a:cubicBezTo>
                  <a:cubicBezTo>
                    <a:pt x="36" y="38"/>
                    <a:pt x="36" y="38"/>
                    <a:pt x="36" y="38"/>
                  </a:cubicBezTo>
                  <a:cubicBezTo>
                    <a:pt x="36" y="38"/>
                    <a:pt x="35" y="39"/>
                    <a:pt x="35" y="39"/>
                  </a:cubicBezTo>
                  <a:cubicBezTo>
                    <a:pt x="35" y="39"/>
                    <a:pt x="35" y="39"/>
                    <a:pt x="35" y="39"/>
                  </a:cubicBezTo>
                  <a:cubicBezTo>
                    <a:pt x="34" y="39"/>
                    <a:pt x="34" y="38"/>
                    <a:pt x="34" y="38"/>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51" name="Freeform 199"/>
            <p:cNvSpPr>
              <a:spLocks/>
            </p:cNvSpPr>
            <p:nvPr/>
          </p:nvSpPr>
          <p:spPr bwMode="auto">
            <a:xfrm>
              <a:off x="7185025" y="1833562"/>
              <a:ext cx="844550" cy="442912"/>
            </a:xfrm>
            <a:custGeom>
              <a:avLst/>
              <a:gdLst>
                <a:gd name="T0" fmla="*/ 11413 w 74"/>
                <a:gd name="T1" fmla="*/ 442912 h 39"/>
                <a:gd name="T2" fmla="*/ 11413 w 74"/>
                <a:gd name="T3" fmla="*/ 408842 h 39"/>
                <a:gd name="T4" fmla="*/ 11413 w 74"/>
                <a:gd name="T5" fmla="*/ 408842 h 39"/>
                <a:gd name="T6" fmla="*/ 159780 w 74"/>
                <a:gd name="T7" fmla="*/ 204421 h 39"/>
                <a:gd name="T8" fmla="*/ 159780 w 74"/>
                <a:gd name="T9" fmla="*/ 204421 h 39"/>
                <a:gd name="T10" fmla="*/ 388037 w 74"/>
                <a:gd name="T11" fmla="*/ 11357 h 39"/>
                <a:gd name="T12" fmla="*/ 388037 w 74"/>
                <a:gd name="T13" fmla="*/ 11357 h 39"/>
                <a:gd name="T14" fmla="*/ 467926 w 74"/>
                <a:gd name="T15" fmla="*/ 0 h 39"/>
                <a:gd name="T16" fmla="*/ 467926 w 74"/>
                <a:gd name="T17" fmla="*/ 0 h 39"/>
                <a:gd name="T18" fmla="*/ 627706 w 74"/>
                <a:gd name="T19" fmla="*/ 68140 h 39"/>
                <a:gd name="T20" fmla="*/ 627706 w 74"/>
                <a:gd name="T21" fmla="*/ 68140 h 39"/>
                <a:gd name="T22" fmla="*/ 719009 w 74"/>
                <a:gd name="T23" fmla="*/ 227134 h 39"/>
                <a:gd name="T24" fmla="*/ 719009 w 74"/>
                <a:gd name="T25" fmla="*/ 227134 h 39"/>
                <a:gd name="T26" fmla="*/ 833137 w 74"/>
                <a:gd name="T27" fmla="*/ 386128 h 39"/>
                <a:gd name="T28" fmla="*/ 833137 w 74"/>
                <a:gd name="T29" fmla="*/ 386128 h 39"/>
                <a:gd name="T30" fmla="*/ 833137 w 74"/>
                <a:gd name="T31" fmla="*/ 408842 h 39"/>
                <a:gd name="T32" fmla="*/ 833137 w 74"/>
                <a:gd name="T33" fmla="*/ 408842 h 39"/>
                <a:gd name="T34" fmla="*/ 798899 w 74"/>
                <a:gd name="T35" fmla="*/ 420199 h 39"/>
                <a:gd name="T36" fmla="*/ 798899 w 74"/>
                <a:gd name="T37" fmla="*/ 420199 h 39"/>
                <a:gd name="T38" fmla="*/ 684770 w 74"/>
                <a:gd name="T39" fmla="*/ 249848 h 39"/>
                <a:gd name="T40" fmla="*/ 684770 w 74"/>
                <a:gd name="T41" fmla="*/ 249848 h 39"/>
                <a:gd name="T42" fmla="*/ 593467 w 74"/>
                <a:gd name="T43" fmla="*/ 102210 h 39"/>
                <a:gd name="T44" fmla="*/ 593467 w 74"/>
                <a:gd name="T45" fmla="*/ 102210 h 39"/>
                <a:gd name="T46" fmla="*/ 467926 w 74"/>
                <a:gd name="T47" fmla="*/ 45427 h 39"/>
                <a:gd name="T48" fmla="*/ 467926 w 74"/>
                <a:gd name="T49" fmla="*/ 45427 h 39"/>
                <a:gd name="T50" fmla="*/ 399449 w 74"/>
                <a:gd name="T51" fmla="*/ 45427 h 39"/>
                <a:gd name="T52" fmla="*/ 399449 w 74"/>
                <a:gd name="T53" fmla="*/ 45427 h 39"/>
                <a:gd name="T54" fmla="*/ 194018 w 74"/>
                <a:gd name="T55" fmla="*/ 227134 h 39"/>
                <a:gd name="T56" fmla="*/ 194018 w 74"/>
                <a:gd name="T57" fmla="*/ 227134 h 39"/>
                <a:gd name="T58" fmla="*/ 45651 w 74"/>
                <a:gd name="T59" fmla="*/ 431555 h 39"/>
                <a:gd name="T60" fmla="*/ 45651 w 74"/>
                <a:gd name="T61" fmla="*/ 431555 h 39"/>
                <a:gd name="T62" fmla="*/ 45651 w 74"/>
                <a:gd name="T63" fmla="*/ 431555 h 39"/>
                <a:gd name="T64" fmla="*/ 22826 w 74"/>
                <a:gd name="T65" fmla="*/ 442912 h 39"/>
                <a:gd name="T66" fmla="*/ 22826 w 74"/>
                <a:gd name="T67" fmla="*/ 442912 h 39"/>
                <a:gd name="T68" fmla="*/ 11413 w 74"/>
                <a:gd name="T69" fmla="*/ 442912 h 3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4"/>
                <a:gd name="T106" fmla="*/ 0 h 39"/>
                <a:gd name="T107" fmla="*/ 74 w 74"/>
                <a:gd name="T108" fmla="*/ 39 h 3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4" h="39">
                  <a:moveTo>
                    <a:pt x="1" y="39"/>
                  </a:moveTo>
                  <a:cubicBezTo>
                    <a:pt x="0" y="38"/>
                    <a:pt x="0" y="37"/>
                    <a:pt x="1" y="36"/>
                  </a:cubicBezTo>
                  <a:cubicBezTo>
                    <a:pt x="1" y="36"/>
                    <a:pt x="1" y="36"/>
                    <a:pt x="1" y="36"/>
                  </a:cubicBezTo>
                  <a:cubicBezTo>
                    <a:pt x="3" y="33"/>
                    <a:pt x="8" y="25"/>
                    <a:pt x="14" y="18"/>
                  </a:cubicBezTo>
                  <a:cubicBezTo>
                    <a:pt x="14" y="18"/>
                    <a:pt x="14" y="18"/>
                    <a:pt x="14" y="18"/>
                  </a:cubicBezTo>
                  <a:cubicBezTo>
                    <a:pt x="20" y="10"/>
                    <a:pt x="27" y="3"/>
                    <a:pt x="34" y="1"/>
                  </a:cubicBezTo>
                  <a:cubicBezTo>
                    <a:pt x="34" y="1"/>
                    <a:pt x="34" y="1"/>
                    <a:pt x="34" y="1"/>
                  </a:cubicBezTo>
                  <a:cubicBezTo>
                    <a:pt x="36" y="0"/>
                    <a:pt x="39" y="0"/>
                    <a:pt x="41" y="0"/>
                  </a:cubicBezTo>
                  <a:cubicBezTo>
                    <a:pt x="41" y="0"/>
                    <a:pt x="41" y="0"/>
                    <a:pt x="41" y="0"/>
                  </a:cubicBezTo>
                  <a:cubicBezTo>
                    <a:pt x="46" y="0"/>
                    <a:pt x="51" y="2"/>
                    <a:pt x="55" y="6"/>
                  </a:cubicBezTo>
                  <a:cubicBezTo>
                    <a:pt x="55" y="6"/>
                    <a:pt x="55" y="6"/>
                    <a:pt x="55" y="6"/>
                  </a:cubicBezTo>
                  <a:cubicBezTo>
                    <a:pt x="59" y="10"/>
                    <a:pt x="61" y="15"/>
                    <a:pt x="63" y="20"/>
                  </a:cubicBezTo>
                  <a:cubicBezTo>
                    <a:pt x="63" y="20"/>
                    <a:pt x="63" y="20"/>
                    <a:pt x="63" y="20"/>
                  </a:cubicBezTo>
                  <a:cubicBezTo>
                    <a:pt x="65" y="23"/>
                    <a:pt x="68" y="31"/>
                    <a:pt x="73" y="34"/>
                  </a:cubicBezTo>
                  <a:cubicBezTo>
                    <a:pt x="73" y="34"/>
                    <a:pt x="73" y="34"/>
                    <a:pt x="73" y="34"/>
                  </a:cubicBezTo>
                  <a:cubicBezTo>
                    <a:pt x="73" y="34"/>
                    <a:pt x="74" y="35"/>
                    <a:pt x="73" y="36"/>
                  </a:cubicBezTo>
                  <a:cubicBezTo>
                    <a:pt x="73" y="36"/>
                    <a:pt x="73" y="36"/>
                    <a:pt x="73" y="36"/>
                  </a:cubicBezTo>
                  <a:cubicBezTo>
                    <a:pt x="72" y="37"/>
                    <a:pt x="71" y="37"/>
                    <a:pt x="70" y="37"/>
                  </a:cubicBezTo>
                  <a:cubicBezTo>
                    <a:pt x="70" y="37"/>
                    <a:pt x="70" y="37"/>
                    <a:pt x="70" y="37"/>
                  </a:cubicBezTo>
                  <a:cubicBezTo>
                    <a:pt x="64" y="33"/>
                    <a:pt x="61" y="25"/>
                    <a:pt x="60" y="22"/>
                  </a:cubicBezTo>
                  <a:cubicBezTo>
                    <a:pt x="60" y="22"/>
                    <a:pt x="60" y="22"/>
                    <a:pt x="60" y="22"/>
                  </a:cubicBezTo>
                  <a:cubicBezTo>
                    <a:pt x="58" y="17"/>
                    <a:pt x="55" y="12"/>
                    <a:pt x="52" y="9"/>
                  </a:cubicBezTo>
                  <a:cubicBezTo>
                    <a:pt x="52" y="9"/>
                    <a:pt x="52" y="9"/>
                    <a:pt x="52" y="9"/>
                  </a:cubicBezTo>
                  <a:cubicBezTo>
                    <a:pt x="49" y="6"/>
                    <a:pt x="45" y="4"/>
                    <a:pt x="41" y="4"/>
                  </a:cubicBezTo>
                  <a:cubicBezTo>
                    <a:pt x="41" y="4"/>
                    <a:pt x="41" y="4"/>
                    <a:pt x="41" y="4"/>
                  </a:cubicBezTo>
                  <a:cubicBezTo>
                    <a:pt x="39" y="4"/>
                    <a:pt x="37" y="4"/>
                    <a:pt x="35" y="4"/>
                  </a:cubicBezTo>
                  <a:cubicBezTo>
                    <a:pt x="35" y="4"/>
                    <a:pt x="35" y="4"/>
                    <a:pt x="35" y="4"/>
                  </a:cubicBezTo>
                  <a:cubicBezTo>
                    <a:pt x="29" y="6"/>
                    <a:pt x="23" y="13"/>
                    <a:pt x="17" y="20"/>
                  </a:cubicBezTo>
                  <a:cubicBezTo>
                    <a:pt x="17" y="20"/>
                    <a:pt x="17" y="20"/>
                    <a:pt x="17" y="20"/>
                  </a:cubicBezTo>
                  <a:cubicBezTo>
                    <a:pt x="11" y="27"/>
                    <a:pt x="7" y="35"/>
                    <a:pt x="4" y="38"/>
                  </a:cubicBezTo>
                  <a:cubicBezTo>
                    <a:pt x="4" y="38"/>
                    <a:pt x="4" y="38"/>
                    <a:pt x="4" y="38"/>
                  </a:cubicBezTo>
                  <a:cubicBezTo>
                    <a:pt x="4" y="38"/>
                    <a:pt x="4" y="38"/>
                    <a:pt x="4" y="38"/>
                  </a:cubicBezTo>
                  <a:cubicBezTo>
                    <a:pt x="3" y="39"/>
                    <a:pt x="3" y="39"/>
                    <a:pt x="2" y="39"/>
                  </a:cubicBezTo>
                  <a:cubicBezTo>
                    <a:pt x="2" y="39"/>
                    <a:pt x="2" y="39"/>
                    <a:pt x="2" y="39"/>
                  </a:cubicBezTo>
                  <a:cubicBezTo>
                    <a:pt x="2" y="39"/>
                    <a:pt x="1" y="39"/>
                    <a:pt x="1" y="39"/>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52" name="Freeform 200"/>
            <p:cNvSpPr>
              <a:spLocks/>
            </p:cNvSpPr>
            <p:nvPr/>
          </p:nvSpPr>
          <p:spPr bwMode="auto">
            <a:xfrm>
              <a:off x="7334250" y="1447800"/>
              <a:ext cx="546100" cy="125412"/>
            </a:xfrm>
            <a:custGeom>
              <a:avLst/>
              <a:gdLst>
                <a:gd name="T0" fmla="*/ 511969 w 48"/>
                <a:gd name="T1" fmla="*/ 125412 h 11"/>
                <a:gd name="T2" fmla="*/ 261673 w 48"/>
                <a:gd name="T3" fmla="*/ 45604 h 11"/>
                <a:gd name="T4" fmla="*/ 261673 w 48"/>
                <a:gd name="T5" fmla="*/ 45604 h 11"/>
                <a:gd name="T6" fmla="*/ 261673 w 48"/>
                <a:gd name="T7" fmla="*/ 45604 h 11"/>
                <a:gd name="T8" fmla="*/ 261673 w 48"/>
                <a:gd name="T9" fmla="*/ 45604 h 11"/>
                <a:gd name="T10" fmla="*/ 34131 w 48"/>
                <a:gd name="T11" fmla="*/ 114011 h 11"/>
                <a:gd name="T12" fmla="*/ 34131 w 48"/>
                <a:gd name="T13" fmla="*/ 114011 h 11"/>
                <a:gd name="T14" fmla="*/ 34131 w 48"/>
                <a:gd name="T15" fmla="*/ 114011 h 11"/>
                <a:gd name="T16" fmla="*/ 0 w 48"/>
                <a:gd name="T17" fmla="*/ 102610 h 11"/>
                <a:gd name="T18" fmla="*/ 0 w 48"/>
                <a:gd name="T19" fmla="*/ 102610 h 11"/>
                <a:gd name="T20" fmla="*/ 11377 w 48"/>
                <a:gd name="T21" fmla="*/ 79808 h 11"/>
                <a:gd name="T22" fmla="*/ 11377 w 48"/>
                <a:gd name="T23" fmla="*/ 79808 h 11"/>
                <a:gd name="T24" fmla="*/ 261673 w 48"/>
                <a:gd name="T25" fmla="*/ 0 h 11"/>
                <a:gd name="T26" fmla="*/ 261673 w 48"/>
                <a:gd name="T27" fmla="*/ 0 h 11"/>
                <a:gd name="T28" fmla="*/ 261673 w 48"/>
                <a:gd name="T29" fmla="*/ 0 h 11"/>
                <a:gd name="T30" fmla="*/ 261673 w 48"/>
                <a:gd name="T31" fmla="*/ 0 h 11"/>
                <a:gd name="T32" fmla="*/ 534723 w 48"/>
                <a:gd name="T33" fmla="*/ 91209 h 11"/>
                <a:gd name="T34" fmla="*/ 534723 w 48"/>
                <a:gd name="T35" fmla="*/ 91209 h 11"/>
                <a:gd name="T36" fmla="*/ 546100 w 48"/>
                <a:gd name="T37" fmla="*/ 125412 h 11"/>
                <a:gd name="T38" fmla="*/ 546100 w 48"/>
                <a:gd name="T39" fmla="*/ 125412 h 11"/>
                <a:gd name="T40" fmla="*/ 523346 w 48"/>
                <a:gd name="T41" fmla="*/ 125412 h 11"/>
                <a:gd name="T42" fmla="*/ 523346 w 48"/>
                <a:gd name="T43" fmla="*/ 125412 h 11"/>
                <a:gd name="T44" fmla="*/ 511969 w 48"/>
                <a:gd name="T45" fmla="*/ 125412 h 1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8"/>
                <a:gd name="T70" fmla="*/ 0 h 11"/>
                <a:gd name="T71" fmla="*/ 48 w 48"/>
                <a:gd name="T72" fmla="*/ 11 h 1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8" h="11">
                  <a:moveTo>
                    <a:pt x="45" y="11"/>
                  </a:moveTo>
                  <a:cubicBezTo>
                    <a:pt x="36" y="5"/>
                    <a:pt x="29" y="4"/>
                    <a:pt x="23" y="4"/>
                  </a:cubicBezTo>
                  <a:cubicBezTo>
                    <a:pt x="23" y="4"/>
                    <a:pt x="23" y="4"/>
                    <a:pt x="23" y="4"/>
                  </a:cubicBezTo>
                  <a:cubicBezTo>
                    <a:pt x="23" y="4"/>
                    <a:pt x="23" y="4"/>
                    <a:pt x="23" y="4"/>
                  </a:cubicBezTo>
                  <a:cubicBezTo>
                    <a:pt x="23" y="4"/>
                    <a:pt x="23" y="4"/>
                    <a:pt x="23" y="4"/>
                  </a:cubicBezTo>
                  <a:cubicBezTo>
                    <a:pt x="14" y="4"/>
                    <a:pt x="9" y="7"/>
                    <a:pt x="3" y="10"/>
                  </a:cubicBezTo>
                  <a:cubicBezTo>
                    <a:pt x="3" y="10"/>
                    <a:pt x="3" y="10"/>
                    <a:pt x="3" y="10"/>
                  </a:cubicBezTo>
                  <a:cubicBezTo>
                    <a:pt x="3" y="10"/>
                    <a:pt x="3" y="10"/>
                    <a:pt x="3" y="10"/>
                  </a:cubicBezTo>
                  <a:cubicBezTo>
                    <a:pt x="2" y="11"/>
                    <a:pt x="1" y="10"/>
                    <a:pt x="0" y="9"/>
                  </a:cubicBezTo>
                  <a:cubicBezTo>
                    <a:pt x="0" y="9"/>
                    <a:pt x="0" y="9"/>
                    <a:pt x="0" y="9"/>
                  </a:cubicBezTo>
                  <a:cubicBezTo>
                    <a:pt x="0" y="8"/>
                    <a:pt x="0" y="7"/>
                    <a:pt x="1" y="7"/>
                  </a:cubicBezTo>
                  <a:cubicBezTo>
                    <a:pt x="1" y="7"/>
                    <a:pt x="1" y="7"/>
                    <a:pt x="1" y="7"/>
                  </a:cubicBezTo>
                  <a:cubicBezTo>
                    <a:pt x="7" y="4"/>
                    <a:pt x="13" y="0"/>
                    <a:pt x="23" y="0"/>
                  </a:cubicBezTo>
                  <a:cubicBezTo>
                    <a:pt x="23" y="0"/>
                    <a:pt x="23" y="0"/>
                    <a:pt x="23" y="0"/>
                  </a:cubicBezTo>
                  <a:cubicBezTo>
                    <a:pt x="23" y="0"/>
                    <a:pt x="23" y="0"/>
                    <a:pt x="23" y="0"/>
                  </a:cubicBezTo>
                  <a:cubicBezTo>
                    <a:pt x="23" y="0"/>
                    <a:pt x="23" y="0"/>
                    <a:pt x="23" y="0"/>
                  </a:cubicBezTo>
                  <a:cubicBezTo>
                    <a:pt x="30" y="0"/>
                    <a:pt x="38" y="1"/>
                    <a:pt x="47" y="8"/>
                  </a:cubicBezTo>
                  <a:cubicBezTo>
                    <a:pt x="47" y="8"/>
                    <a:pt x="47" y="8"/>
                    <a:pt x="47" y="8"/>
                  </a:cubicBezTo>
                  <a:cubicBezTo>
                    <a:pt x="48" y="9"/>
                    <a:pt x="48" y="10"/>
                    <a:pt x="48" y="11"/>
                  </a:cubicBezTo>
                  <a:cubicBezTo>
                    <a:pt x="48" y="11"/>
                    <a:pt x="48" y="11"/>
                    <a:pt x="48" y="11"/>
                  </a:cubicBezTo>
                  <a:cubicBezTo>
                    <a:pt x="47" y="11"/>
                    <a:pt x="47" y="11"/>
                    <a:pt x="46" y="11"/>
                  </a:cubicBezTo>
                  <a:cubicBezTo>
                    <a:pt x="46" y="11"/>
                    <a:pt x="46" y="11"/>
                    <a:pt x="46" y="11"/>
                  </a:cubicBezTo>
                  <a:cubicBezTo>
                    <a:pt x="46" y="11"/>
                    <a:pt x="45" y="11"/>
                    <a:pt x="45" y="11"/>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53" name="Freeform 201"/>
            <p:cNvSpPr>
              <a:spLocks/>
            </p:cNvSpPr>
            <p:nvPr/>
          </p:nvSpPr>
          <p:spPr bwMode="auto">
            <a:xfrm>
              <a:off x="7231063" y="1538287"/>
              <a:ext cx="719138" cy="238125"/>
            </a:xfrm>
            <a:custGeom>
              <a:avLst/>
              <a:gdLst>
                <a:gd name="T0" fmla="*/ 0 w 63"/>
                <a:gd name="T1" fmla="*/ 226786 h 21"/>
                <a:gd name="T2" fmla="*/ 11415 w 63"/>
                <a:gd name="T3" fmla="*/ 192768 h 21"/>
                <a:gd name="T4" fmla="*/ 11415 w 63"/>
                <a:gd name="T5" fmla="*/ 192768 h 21"/>
                <a:gd name="T6" fmla="*/ 296787 w 63"/>
                <a:gd name="T7" fmla="*/ 11339 h 21"/>
                <a:gd name="T8" fmla="*/ 296787 w 63"/>
                <a:gd name="T9" fmla="*/ 11339 h 21"/>
                <a:gd name="T10" fmla="*/ 388106 w 63"/>
                <a:gd name="T11" fmla="*/ 0 h 21"/>
                <a:gd name="T12" fmla="*/ 388106 w 63"/>
                <a:gd name="T13" fmla="*/ 0 h 21"/>
                <a:gd name="T14" fmla="*/ 570744 w 63"/>
                <a:gd name="T15" fmla="*/ 56696 h 21"/>
                <a:gd name="T16" fmla="*/ 570744 w 63"/>
                <a:gd name="T17" fmla="*/ 56696 h 21"/>
                <a:gd name="T18" fmla="*/ 707723 w 63"/>
                <a:gd name="T19" fmla="*/ 147411 h 21"/>
                <a:gd name="T20" fmla="*/ 707723 w 63"/>
                <a:gd name="T21" fmla="*/ 147411 h 21"/>
                <a:gd name="T22" fmla="*/ 707723 w 63"/>
                <a:gd name="T23" fmla="*/ 181429 h 21"/>
                <a:gd name="T24" fmla="*/ 707723 w 63"/>
                <a:gd name="T25" fmla="*/ 181429 h 21"/>
                <a:gd name="T26" fmla="*/ 673478 w 63"/>
                <a:gd name="T27" fmla="*/ 181429 h 21"/>
                <a:gd name="T28" fmla="*/ 673478 w 63"/>
                <a:gd name="T29" fmla="*/ 181429 h 21"/>
                <a:gd name="T30" fmla="*/ 547915 w 63"/>
                <a:gd name="T31" fmla="*/ 90714 h 21"/>
                <a:gd name="T32" fmla="*/ 547915 w 63"/>
                <a:gd name="T33" fmla="*/ 90714 h 21"/>
                <a:gd name="T34" fmla="*/ 388106 w 63"/>
                <a:gd name="T35" fmla="*/ 45357 h 21"/>
                <a:gd name="T36" fmla="*/ 388106 w 63"/>
                <a:gd name="T37" fmla="*/ 45357 h 21"/>
                <a:gd name="T38" fmla="*/ 308202 w 63"/>
                <a:gd name="T39" fmla="*/ 56696 h 21"/>
                <a:gd name="T40" fmla="*/ 308202 w 63"/>
                <a:gd name="T41" fmla="*/ 56696 h 21"/>
                <a:gd name="T42" fmla="*/ 34245 w 63"/>
                <a:gd name="T43" fmla="*/ 226786 h 21"/>
                <a:gd name="T44" fmla="*/ 34245 w 63"/>
                <a:gd name="T45" fmla="*/ 226786 h 21"/>
                <a:gd name="T46" fmla="*/ 34245 w 63"/>
                <a:gd name="T47" fmla="*/ 226786 h 21"/>
                <a:gd name="T48" fmla="*/ 22830 w 63"/>
                <a:gd name="T49" fmla="*/ 238125 h 21"/>
                <a:gd name="T50" fmla="*/ 22830 w 63"/>
                <a:gd name="T51" fmla="*/ 238125 h 21"/>
                <a:gd name="T52" fmla="*/ 0 w 63"/>
                <a:gd name="T53" fmla="*/ 226786 h 2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3"/>
                <a:gd name="T82" fmla="*/ 0 h 21"/>
                <a:gd name="T83" fmla="*/ 63 w 63"/>
                <a:gd name="T84" fmla="*/ 21 h 21"/>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3" h="21">
                  <a:moveTo>
                    <a:pt x="0" y="20"/>
                  </a:moveTo>
                  <a:cubicBezTo>
                    <a:pt x="0" y="19"/>
                    <a:pt x="0" y="18"/>
                    <a:pt x="1" y="17"/>
                  </a:cubicBezTo>
                  <a:cubicBezTo>
                    <a:pt x="1" y="17"/>
                    <a:pt x="1" y="17"/>
                    <a:pt x="1" y="17"/>
                  </a:cubicBezTo>
                  <a:cubicBezTo>
                    <a:pt x="6" y="13"/>
                    <a:pt x="16" y="4"/>
                    <a:pt x="26" y="1"/>
                  </a:cubicBezTo>
                  <a:cubicBezTo>
                    <a:pt x="26" y="1"/>
                    <a:pt x="26" y="1"/>
                    <a:pt x="26" y="1"/>
                  </a:cubicBezTo>
                  <a:cubicBezTo>
                    <a:pt x="29" y="0"/>
                    <a:pt x="32" y="0"/>
                    <a:pt x="34" y="0"/>
                  </a:cubicBezTo>
                  <a:cubicBezTo>
                    <a:pt x="34" y="0"/>
                    <a:pt x="34" y="0"/>
                    <a:pt x="34" y="0"/>
                  </a:cubicBezTo>
                  <a:cubicBezTo>
                    <a:pt x="41" y="0"/>
                    <a:pt x="46" y="2"/>
                    <a:pt x="50" y="5"/>
                  </a:cubicBezTo>
                  <a:cubicBezTo>
                    <a:pt x="50" y="5"/>
                    <a:pt x="50" y="5"/>
                    <a:pt x="50" y="5"/>
                  </a:cubicBezTo>
                  <a:cubicBezTo>
                    <a:pt x="55" y="7"/>
                    <a:pt x="59" y="10"/>
                    <a:pt x="62" y="13"/>
                  </a:cubicBezTo>
                  <a:cubicBezTo>
                    <a:pt x="62" y="13"/>
                    <a:pt x="62" y="13"/>
                    <a:pt x="62" y="13"/>
                  </a:cubicBezTo>
                  <a:cubicBezTo>
                    <a:pt x="63" y="14"/>
                    <a:pt x="63" y="15"/>
                    <a:pt x="62" y="16"/>
                  </a:cubicBezTo>
                  <a:cubicBezTo>
                    <a:pt x="62" y="16"/>
                    <a:pt x="62" y="16"/>
                    <a:pt x="62" y="16"/>
                  </a:cubicBezTo>
                  <a:cubicBezTo>
                    <a:pt x="61" y="17"/>
                    <a:pt x="60" y="17"/>
                    <a:pt x="59" y="16"/>
                  </a:cubicBezTo>
                  <a:cubicBezTo>
                    <a:pt x="59" y="16"/>
                    <a:pt x="59" y="16"/>
                    <a:pt x="59" y="16"/>
                  </a:cubicBezTo>
                  <a:cubicBezTo>
                    <a:pt x="56" y="13"/>
                    <a:pt x="53" y="11"/>
                    <a:pt x="48" y="8"/>
                  </a:cubicBezTo>
                  <a:cubicBezTo>
                    <a:pt x="48" y="8"/>
                    <a:pt x="48" y="8"/>
                    <a:pt x="48" y="8"/>
                  </a:cubicBezTo>
                  <a:cubicBezTo>
                    <a:pt x="45" y="6"/>
                    <a:pt x="40" y="4"/>
                    <a:pt x="34" y="4"/>
                  </a:cubicBezTo>
                  <a:cubicBezTo>
                    <a:pt x="34" y="4"/>
                    <a:pt x="34" y="4"/>
                    <a:pt x="34" y="4"/>
                  </a:cubicBezTo>
                  <a:cubicBezTo>
                    <a:pt x="32" y="4"/>
                    <a:pt x="29" y="4"/>
                    <a:pt x="27" y="5"/>
                  </a:cubicBezTo>
                  <a:cubicBezTo>
                    <a:pt x="27" y="5"/>
                    <a:pt x="27" y="5"/>
                    <a:pt x="27" y="5"/>
                  </a:cubicBezTo>
                  <a:cubicBezTo>
                    <a:pt x="18" y="8"/>
                    <a:pt x="9" y="16"/>
                    <a:pt x="3" y="20"/>
                  </a:cubicBezTo>
                  <a:cubicBezTo>
                    <a:pt x="3" y="20"/>
                    <a:pt x="3" y="20"/>
                    <a:pt x="3" y="20"/>
                  </a:cubicBezTo>
                  <a:cubicBezTo>
                    <a:pt x="3" y="20"/>
                    <a:pt x="3" y="20"/>
                    <a:pt x="3" y="20"/>
                  </a:cubicBezTo>
                  <a:cubicBezTo>
                    <a:pt x="3" y="21"/>
                    <a:pt x="2" y="21"/>
                    <a:pt x="2" y="21"/>
                  </a:cubicBezTo>
                  <a:cubicBezTo>
                    <a:pt x="2" y="21"/>
                    <a:pt x="2" y="21"/>
                    <a:pt x="2" y="21"/>
                  </a:cubicBezTo>
                  <a:cubicBezTo>
                    <a:pt x="1" y="21"/>
                    <a:pt x="1" y="21"/>
                    <a:pt x="0" y="20"/>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54" name="Freeform 202"/>
            <p:cNvSpPr>
              <a:spLocks/>
            </p:cNvSpPr>
            <p:nvPr/>
          </p:nvSpPr>
          <p:spPr bwMode="auto">
            <a:xfrm>
              <a:off x="7196138" y="1628775"/>
              <a:ext cx="809625" cy="341312"/>
            </a:xfrm>
            <a:custGeom>
              <a:avLst/>
              <a:gdLst>
                <a:gd name="T0" fmla="*/ 11403 w 71"/>
                <a:gd name="T1" fmla="*/ 329935 h 30"/>
                <a:gd name="T2" fmla="*/ 11403 w 71"/>
                <a:gd name="T3" fmla="*/ 307181 h 30"/>
                <a:gd name="T4" fmla="*/ 11403 w 71"/>
                <a:gd name="T5" fmla="*/ 307181 h 30"/>
                <a:gd name="T6" fmla="*/ 205257 w 71"/>
                <a:gd name="T7" fmla="*/ 102394 h 30"/>
                <a:gd name="T8" fmla="*/ 205257 w 71"/>
                <a:gd name="T9" fmla="*/ 102394 h 30"/>
                <a:gd name="T10" fmla="*/ 444724 w 71"/>
                <a:gd name="T11" fmla="*/ 0 h 30"/>
                <a:gd name="T12" fmla="*/ 444724 w 71"/>
                <a:gd name="T13" fmla="*/ 0 h 30"/>
                <a:gd name="T14" fmla="*/ 592965 w 71"/>
                <a:gd name="T15" fmla="*/ 45508 h 30"/>
                <a:gd name="T16" fmla="*/ 592965 w 71"/>
                <a:gd name="T17" fmla="*/ 45508 h 30"/>
                <a:gd name="T18" fmla="*/ 798222 w 71"/>
                <a:gd name="T19" fmla="*/ 238918 h 30"/>
                <a:gd name="T20" fmla="*/ 798222 w 71"/>
                <a:gd name="T21" fmla="*/ 238918 h 30"/>
                <a:gd name="T22" fmla="*/ 798222 w 71"/>
                <a:gd name="T23" fmla="*/ 273050 h 30"/>
                <a:gd name="T24" fmla="*/ 798222 w 71"/>
                <a:gd name="T25" fmla="*/ 273050 h 30"/>
                <a:gd name="T26" fmla="*/ 764012 w 71"/>
                <a:gd name="T27" fmla="*/ 273050 h 30"/>
                <a:gd name="T28" fmla="*/ 764012 w 71"/>
                <a:gd name="T29" fmla="*/ 273050 h 30"/>
                <a:gd name="T30" fmla="*/ 570158 w 71"/>
                <a:gd name="T31" fmla="*/ 79639 h 30"/>
                <a:gd name="T32" fmla="*/ 570158 w 71"/>
                <a:gd name="T33" fmla="*/ 79639 h 30"/>
                <a:gd name="T34" fmla="*/ 444724 w 71"/>
                <a:gd name="T35" fmla="*/ 45508 h 30"/>
                <a:gd name="T36" fmla="*/ 444724 w 71"/>
                <a:gd name="T37" fmla="*/ 45508 h 30"/>
                <a:gd name="T38" fmla="*/ 239467 w 71"/>
                <a:gd name="T39" fmla="*/ 136525 h 30"/>
                <a:gd name="T40" fmla="*/ 239467 w 71"/>
                <a:gd name="T41" fmla="*/ 136525 h 30"/>
                <a:gd name="T42" fmla="*/ 45613 w 71"/>
                <a:gd name="T43" fmla="*/ 329935 h 30"/>
                <a:gd name="T44" fmla="*/ 45613 w 71"/>
                <a:gd name="T45" fmla="*/ 329935 h 30"/>
                <a:gd name="T46" fmla="*/ 45613 w 71"/>
                <a:gd name="T47" fmla="*/ 329935 h 30"/>
                <a:gd name="T48" fmla="*/ 22806 w 71"/>
                <a:gd name="T49" fmla="*/ 341312 h 30"/>
                <a:gd name="T50" fmla="*/ 22806 w 71"/>
                <a:gd name="T51" fmla="*/ 341312 h 30"/>
                <a:gd name="T52" fmla="*/ 11403 w 71"/>
                <a:gd name="T53" fmla="*/ 329935 h 3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71"/>
                <a:gd name="T82" fmla="*/ 0 h 30"/>
                <a:gd name="T83" fmla="*/ 71 w 71"/>
                <a:gd name="T84" fmla="*/ 30 h 3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71" h="30">
                  <a:moveTo>
                    <a:pt x="1" y="29"/>
                  </a:moveTo>
                  <a:cubicBezTo>
                    <a:pt x="0" y="29"/>
                    <a:pt x="0" y="28"/>
                    <a:pt x="1" y="27"/>
                  </a:cubicBezTo>
                  <a:cubicBezTo>
                    <a:pt x="1" y="27"/>
                    <a:pt x="1" y="27"/>
                    <a:pt x="1" y="27"/>
                  </a:cubicBezTo>
                  <a:cubicBezTo>
                    <a:pt x="8" y="20"/>
                    <a:pt x="10" y="16"/>
                    <a:pt x="18" y="9"/>
                  </a:cubicBezTo>
                  <a:cubicBezTo>
                    <a:pt x="18" y="9"/>
                    <a:pt x="18" y="9"/>
                    <a:pt x="18" y="9"/>
                  </a:cubicBezTo>
                  <a:cubicBezTo>
                    <a:pt x="25" y="3"/>
                    <a:pt x="32" y="0"/>
                    <a:pt x="39" y="0"/>
                  </a:cubicBezTo>
                  <a:cubicBezTo>
                    <a:pt x="39" y="0"/>
                    <a:pt x="39" y="0"/>
                    <a:pt x="39" y="0"/>
                  </a:cubicBezTo>
                  <a:cubicBezTo>
                    <a:pt x="43" y="0"/>
                    <a:pt x="48" y="2"/>
                    <a:pt x="52" y="4"/>
                  </a:cubicBezTo>
                  <a:cubicBezTo>
                    <a:pt x="52" y="4"/>
                    <a:pt x="52" y="4"/>
                    <a:pt x="52" y="4"/>
                  </a:cubicBezTo>
                  <a:cubicBezTo>
                    <a:pt x="58" y="7"/>
                    <a:pt x="65" y="15"/>
                    <a:pt x="70" y="21"/>
                  </a:cubicBezTo>
                  <a:cubicBezTo>
                    <a:pt x="70" y="21"/>
                    <a:pt x="70" y="21"/>
                    <a:pt x="70" y="21"/>
                  </a:cubicBezTo>
                  <a:cubicBezTo>
                    <a:pt x="71" y="22"/>
                    <a:pt x="71" y="23"/>
                    <a:pt x="70" y="24"/>
                  </a:cubicBezTo>
                  <a:cubicBezTo>
                    <a:pt x="70" y="24"/>
                    <a:pt x="70" y="24"/>
                    <a:pt x="70" y="24"/>
                  </a:cubicBezTo>
                  <a:cubicBezTo>
                    <a:pt x="69" y="25"/>
                    <a:pt x="68" y="25"/>
                    <a:pt x="67" y="24"/>
                  </a:cubicBezTo>
                  <a:cubicBezTo>
                    <a:pt x="67" y="24"/>
                    <a:pt x="67" y="24"/>
                    <a:pt x="67" y="24"/>
                  </a:cubicBezTo>
                  <a:cubicBezTo>
                    <a:pt x="62" y="18"/>
                    <a:pt x="55" y="10"/>
                    <a:pt x="50" y="7"/>
                  </a:cubicBezTo>
                  <a:cubicBezTo>
                    <a:pt x="50" y="7"/>
                    <a:pt x="50" y="7"/>
                    <a:pt x="50" y="7"/>
                  </a:cubicBezTo>
                  <a:cubicBezTo>
                    <a:pt x="46" y="5"/>
                    <a:pt x="43" y="4"/>
                    <a:pt x="39" y="4"/>
                  </a:cubicBezTo>
                  <a:cubicBezTo>
                    <a:pt x="39" y="4"/>
                    <a:pt x="39" y="4"/>
                    <a:pt x="39" y="4"/>
                  </a:cubicBezTo>
                  <a:cubicBezTo>
                    <a:pt x="33" y="4"/>
                    <a:pt x="28" y="6"/>
                    <a:pt x="21" y="12"/>
                  </a:cubicBezTo>
                  <a:cubicBezTo>
                    <a:pt x="21" y="12"/>
                    <a:pt x="21" y="12"/>
                    <a:pt x="21" y="12"/>
                  </a:cubicBezTo>
                  <a:cubicBezTo>
                    <a:pt x="13" y="19"/>
                    <a:pt x="11" y="22"/>
                    <a:pt x="4" y="29"/>
                  </a:cubicBezTo>
                  <a:cubicBezTo>
                    <a:pt x="4" y="29"/>
                    <a:pt x="4" y="29"/>
                    <a:pt x="4" y="29"/>
                  </a:cubicBezTo>
                  <a:cubicBezTo>
                    <a:pt x="4" y="29"/>
                    <a:pt x="4" y="29"/>
                    <a:pt x="4" y="29"/>
                  </a:cubicBezTo>
                  <a:cubicBezTo>
                    <a:pt x="3" y="30"/>
                    <a:pt x="3" y="30"/>
                    <a:pt x="2" y="30"/>
                  </a:cubicBezTo>
                  <a:cubicBezTo>
                    <a:pt x="2" y="30"/>
                    <a:pt x="2" y="30"/>
                    <a:pt x="2" y="30"/>
                  </a:cubicBezTo>
                  <a:cubicBezTo>
                    <a:pt x="2" y="30"/>
                    <a:pt x="1" y="30"/>
                    <a:pt x="1" y="29"/>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55" name="Freeform 203"/>
            <p:cNvSpPr>
              <a:spLocks/>
            </p:cNvSpPr>
            <p:nvPr/>
          </p:nvSpPr>
          <p:spPr bwMode="auto">
            <a:xfrm>
              <a:off x="7162800" y="1731962"/>
              <a:ext cx="877888" cy="431800"/>
            </a:xfrm>
            <a:custGeom>
              <a:avLst/>
              <a:gdLst>
                <a:gd name="T0" fmla="*/ 832283 w 77"/>
                <a:gd name="T1" fmla="*/ 431800 h 38"/>
                <a:gd name="T2" fmla="*/ 718272 w 77"/>
                <a:gd name="T3" fmla="*/ 204537 h 38"/>
                <a:gd name="T4" fmla="*/ 718272 w 77"/>
                <a:gd name="T5" fmla="*/ 204537 h 38"/>
                <a:gd name="T6" fmla="*/ 501650 w 77"/>
                <a:gd name="T7" fmla="*/ 45453 h 38"/>
                <a:gd name="T8" fmla="*/ 501650 w 77"/>
                <a:gd name="T9" fmla="*/ 45453 h 38"/>
                <a:gd name="T10" fmla="*/ 342034 w 77"/>
                <a:gd name="T11" fmla="*/ 102268 h 38"/>
                <a:gd name="T12" fmla="*/ 342034 w 77"/>
                <a:gd name="T13" fmla="*/ 102268 h 38"/>
                <a:gd name="T14" fmla="*/ 45605 w 77"/>
                <a:gd name="T15" fmla="*/ 420437 h 38"/>
                <a:gd name="T16" fmla="*/ 45605 w 77"/>
                <a:gd name="T17" fmla="*/ 420437 h 38"/>
                <a:gd name="T18" fmla="*/ 11401 w 77"/>
                <a:gd name="T19" fmla="*/ 431800 h 38"/>
                <a:gd name="T20" fmla="*/ 11401 w 77"/>
                <a:gd name="T21" fmla="*/ 431800 h 38"/>
                <a:gd name="T22" fmla="*/ 11401 w 77"/>
                <a:gd name="T23" fmla="*/ 397711 h 38"/>
                <a:gd name="T24" fmla="*/ 11401 w 77"/>
                <a:gd name="T25" fmla="*/ 397711 h 38"/>
                <a:gd name="T26" fmla="*/ 319232 w 77"/>
                <a:gd name="T27" fmla="*/ 56816 h 38"/>
                <a:gd name="T28" fmla="*/ 319232 w 77"/>
                <a:gd name="T29" fmla="*/ 56816 h 38"/>
                <a:gd name="T30" fmla="*/ 501650 w 77"/>
                <a:gd name="T31" fmla="*/ 11363 h 38"/>
                <a:gd name="T32" fmla="*/ 501650 w 77"/>
                <a:gd name="T33" fmla="*/ 11363 h 38"/>
                <a:gd name="T34" fmla="*/ 752475 w 77"/>
                <a:gd name="T35" fmla="*/ 181811 h 38"/>
                <a:gd name="T36" fmla="*/ 752475 w 77"/>
                <a:gd name="T37" fmla="*/ 181811 h 38"/>
                <a:gd name="T38" fmla="*/ 866487 w 77"/>
                <a:gd name="T39" fmla="*/ 397711 h 38"/>
                <a:gd name="T40" fmla="*/ 866487 w 77"/>
                <a:gd name="T41" fmla="*/ 397711 h 38"/>
                <a:gd name="T42" fmla="*/ 866487 w 77"/>
                <a:gd name="T43" fmla="*/ 431800 h 38"/>
                <a:gd name="T44" fmla="*/ 866487 w 77"/>
                <a:gd name="T45" fmla="*/ 431800 h 38"/>
                <a:gd name="T46" fmla="*/ 855086 w 77"/>
                <a:gd name="T47" fmla="*/ 431800 h 38"/>
                <a:gd name="T48" fmla="*/ 855086 w 77"/>
                <a:gd name="T49" fmla="*/ 431800 h 38"/>
                <a:gd name="T50" fmla="*/ 832283 w 77"/>
                <a:gd name="T51" fmla="*/ 431800 h 3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7"/>
                <a:gd name="T79" fmla="*/ 0 h 38"/>
                <a:gd name="T80" fmla="*/ 77 w 77"/>
                <a:gd name="T81" fmla="*/ 38 h 3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7" h="38">
                  <a:moveTo>
                    <a:pt x="73" y="38"/>
                  </a:moveTo>
                  <a:cubicBezTo>
                    <a:pt x="67" y="30"/>
                    <a:pt x="67" y="24"/>
                    <a:pt x="63" y="18"/>
                  </a:cubicBezTo>
                  <a:cubicBezTo>
                    <a:pt x="63" y="18"/>
                    <a:pt x="63" y="18"/>
                    <a:pt x="63" y="18"/>
                  </a:cubicBezTo>
                  <a:cubicBezTo>
                    <a:pt x="57" y="8"/>
                    <a:pt x="50" y="4"/>
                    <a:pt x="44" y="4"/>
                  </a:cubicBezTo>
                  <a:cubicBezTo>
                    <a:pt x="44" y="4"/>
                    <a:pt x="44" y="4"/>
                    <a:pt x="44" y="4"/>
                  </a:cubicBezTo>
                  <a:cubicBezTo>
                    <a:pt x="39" y="4"/>
                    <a:pt x="35" y="6"/>
                    <a:pt x="30" y="9"/>
                  </a:cubicBezTo>
                  <a:cubicBezTo>
                    <a:pt x="30" y="9"/>
                    <a:pt x="30" y="9"/>
                    <a:pt x="30" y="9"/>
                  </a:cubicBezTo>
                  <a:cubicBezTo>
                    <a:pt x="20" y="14"/>
                    <a:pt x="10" y="30"/>
                    <a:pt x="4" y="37"/>
                  </a:cubicBezTo>
                  <a:cubicBezTo>
                    <a:pt x="4" y="37"/>
                    <a:pt x="4" y="37"/>
                    <a:pt x="4" y="37"/>
                  </a:cubicBezTo>
                  <a:cubicBezTo>
                    <a:pt x="3" y="38"/>
                    <a:pt x="2" y="38"/>
                    <a:pt x="1" y="38"/>
                  </a:cubicBezTo>
                  <a:cubicBezTo>
                    <a:pt x="1" y="38"/>
                    <a:pt x="1" y="38"/>
                    <a:pt x="1" y="38"/>
                  </a:cubicBezTo>
                  <a:cubicBezTo>
                    <a:pt x="0" y="37"/>
                    <a:pt x="0" y="36"/>
                    <a:pt x="1" y="35"/>
                  </a:cubicBezTo>
                  <a:cubicBezTo>
                    <a:pt x="1" y="35"/>
                    <a:pt x="1" y="35"/>
                    <a:pt x="1" y="35"/>
                  </a:cubicBezTo>
                  <a:cubicBezTo>
                    <a:pt x="7" y="28"/>
                    <a:pt x="17" y="12"/>
                    <a:pt x="28" y="5"/>
                  </a:cubicBezTo>
                  <a:cubicBezTo>
                    <a:pt x="28" y="5"/>
                    <a:pt x="28" y="5"/>
                    <a:pt x="28" y="5"/>
                  </a:cubicBezTo>
                  <a:cubicBezTo>
                    <a:pt x="33" y="2"/>
                    <a:pt x="38" y="1"/>
                    <a:pt x="44" y="1"/>
                  </a:cubicBezTo>
                  <a:cubicBezTo>
                    <a:pt x="44" y="1"/>
                    <a:pt x="44" y="1"/>
                    <a:pt x="44" y="1"/>
                  </a:cubicBezTo>
                  <a:cubicBezTo>
                    <a:pt x="52" y="0"/>
                    <a:pt x="60" y="5"/>
                    <a:pt x="66" y="16"/>
                  </a:cubicBezTo>
                  <a:cubicBezTo>
                    <a:pt x="66" y="16"/>
                    <a:pt x="66" y="16"/>
                    <a:pt x="66" y="16"/>
                  </a:cubicBezTo>
                  <a:cubicBezTo>
                    <a:pt x="70" y="23"/>
                    <a:pt x="71" y="28"/>
                    <a:pt x="76" y="35"/>
                  </a:cubicBezTo>
                  <a:cubicBezTo>
                    <a:pt x="76" y="35"/>
                    <a:pt x="76" y="35"/>
                    <a:pt x="76" y="35"/>
                  </a:cubicBezTo>
                  <a:cubicBezTo>
                    <a:pt x="77" y="36"/>
                    <a:pt x="77" y="37"/>
                    <a:pt x="76" y="38"/>
                  </a:cubicBezTo>
                  <a:cubicBezTo>
                    <a:pt x="76" y="38"/>
                    <a:pt x="76" y="38"/>
                    <a:pt x="76" y="38"/>
                  </a:cubicBezTo>
                  <a:cubicBezTo>
                    <a:pt x="76" y="38"/>
                    <a:pt x="75" y="38"/>
                    <a:pt x="75" y="38"/>
                  </a:cubicBezTo>
                  <a:cubicBezTo>
                    <a:pt x="75" y="38"/>
                    <a:pt x="75" y="38"/>
                    <a:pt x="75" y="38"/>
                  </a:cubicBezTo>
                  <a:cubicBezTo>
                    <a:pt x="74" y="38"/>
                    <a:pt x="74" y="38"/>
                    <a:pt x="73" y="38"/>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56" name="Freeform 204"/>
            <p:cNvSpPr>
              <a:spLocks/>
            </p:cNvSpPr>
            <p:nvPr/>
          </p:nvSpPr>
          <p:spPr bwMode="auto">
            <a:xfrm>
              <a:off x="7321550" y="2311401"/>
              <a:ext cx="639763" cy="339725"/>
            </a:xfrm>
            <a:custGeom>
              <a:avLst/>
              <a:gdLst>
                <a:gd name="T0" fmla="*/ 0 w 56"/>
                <a:gd name="T1" fmla="*/ 317077 h 30"/>
                <a:gd name="T2" fmla="*/ 11424 w 56"/>
                <a:gd name="T3" fmla="*/ 294428 h 30"/>
                <a:gd name="T4" fmla="*/ 11424 w 56"/>
                <a:gd name="T5" fmla="*/ 294428 h 30"/>
                <a:gd name="T6" fmla="*/ 217062 w 56"/>
                <a:gd name="T7" fmla="*/ 237808 h 30"/>
                <a:gd name="T8" fmla="*/ 217062 w 56"/>
                <a:gd name="T9" fmla="*/ 237808 h 30"/>
                <a:gd name="T10" fmla="*/ 434125 w 56"/>
                <a:gd name="T11" fmla="*/ 22648 h 30"/>
                <a:gd name="T12" fmla="*/ 434125 w 56"/>
                <a:gd name="T13" fmla="*/ 22648 h 30"/>
                <a:gd name="T14" fmla="*/ 445549 w 56"/>
                <a:gd name="T15" fmla="*/ 0 h 30"/>
                <a:gd name="T16" fmla="*/ 445549 w 56"/>
                <a:gd name="T17" fmla="*/ 0 h 30"/>
                <a:gd name="T18" fmla="*/ 468398 w 56"/>
                <a:gd name="T19" fmla="*/ 11324 h 30"/>
                <a:gd name="T20" fmla="*/ 468398 w 56"/>
                <a:gd name="T21" fmla="*/ 11324 h 30"/>
                <a:gd name="T22" fmla="*/ 479822 w 56"/>
                <a:gd name="T23" fmla="*/ 33973 h 30"/>
                <a:gd name="T24" fmla="*/ 479822 w 56"/>
                <a:gd name="T25" fmla="*/ 33973 h 30"/>
                <a:gd name="T26" fmla="*/ 525520 w 56"/>
                <a:gd name="T27" fmla="*/ 67945 h 30"/>
                <a:gd name="T28" fmla="*/ 525520 w 56"/>
                <a:gd name="T29" fmla="*/ 67945 h 30"/>
                <a:gd name="T30" fmla="*/ 628339 w 56"/>
                <a:gd name="T31" fmla="*/ 147214 h 30"/>
                <a:gd name="T32" fmla="*/ 628339 w 56"/>
                <a:gd name="T33" fmla="*/ 147214 h 30"/>
                <a:gd name="T34" fmla="*/ 639763 w 56"/>
                <a:gd name="T35" fmla="*/ 181187 h 30"/>
                <a:gd name="T36" fmla="*/ 639763 w 56"/>
                <a:gd name="T37" fmla="*/ 181187 h 30"/>
                <a:gd name="T38" fmla="*/ 605490 w 56"/>
                <a:gd name="T39" fmla="*/ 181187 h 30"/>
                <a:gd name="T40" fmla="*/ 605490 w 56"/>
                <a:gd name="T41" fmla="*/ 181187 h 30"/>
                <a:gd name="T42" fmla="*/ 456974 w 56"/>
                <a:gd name="T43" fmla="*/ 67945 h 30"/>
                <a:gd name="T44" fmla="*/ 456974 w 56"/>
                <a:gd name="T45" fmla="*/ 67945 h 30"/>
                <a:gd name="T46" fmla="*/ 239911 w 56"/>
                <a:gd name="T47" fmla="*/ 283104 h 30"/>
                <a:gd name="T48" fmla="*/ 239911 w 56"/>
                <a:gd name="T49" fmla="*/ 283104 h 30"/>
                <a:gd name="T50" fmla="*/ 22849 w 56"/>
                <a:gd name="T51" fmla="*/ 339725 h 30"/>
                <a:gd name="T52" fmla="*/ 22849 w 56"/>
                <a:gd name="T53" fmla="*/ 339725 h 30"/>
                <a:gd name="T54" fmla="*/ 22849 w 56"/>
                <a:gd name="T55" fmla="*/ 339725 h 30"/>
                <a:gd name="T56" fmla="*/ 22849 w 56"/>
                <a:gd name="T57" fmla="*/ 339725 h 30"/>
                <a:gd name="T58" fmla="*/ 22849 w 56"/>
                <a:gd name="T59" fmla="*/ 339725 h 30"/>
                <a:gd name="T60" fmla="*/ 0 w 56"/>
                <a:gd name="T61" fmla="*/ 317077 h 3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6"/>
                <a:gd name="T94" fmla="*/ 0 h 30"/>
                <a:gd name="T95" fmla="*/ 56 w 56"/>
                <a:gd name="T96" fmla="*/ 30 h 3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6" h="30">
                  <a:moveTo>
                    <a:pt x="0" y="28"/>
                  </a:moveTo>
                  <a:cubicBezTo>
                    <a:pt x="0" y="27"/>
                    <a:pt x="0" y="26"/>
                    <a:pt x="1" y="26"/>
                  </a:cubicBezTo>
                  <a:cubicBezTo>
                    <a:pt x="1" y="26"/>
                    <a:pt x="1" y="26"/>
                    <a:pt x="1" y="26"/>
                  </a:cubicBezTo>
                  <a:cubicBezTo>
                    <a:pt x="5" y="26"/>
                    <a:pt x="12" y="25"/>
                    <a:pt x="19" y="21"/>
                  </a:cubicBezTo>
                  <a:cubicBezTo>
                    <a:pt x="19" y="21"/>
                    <a:pt x="19" y="21"/>
                    <a:pt x="19" y="21"/>
                  </a:cubicBezTo>
                  <a:cubicBezTo>
                    <a:pt x="27" y="18"/>
                    <a:pt x="34" y="12"/>
                    <a:pt x="38" y="2"/>
                  </a:cubicBezTo>
                  <a:cubicBezTo>
                    <a:pt x="38" y="2"/>
                    <a:pt x="38" y="2"/>
                    <a:pt x="38" y="2"/>
                  </a:cubicBezTo>
                  <a:cubicBezTo>
                    <a:pt x="38" y="1"/>
                    <a:pt x="39" y="1"/>
                    <a:pt x="39" y="0"/>
                  </a:cubicBezTo>
                  <a:cubicBezTo>
                    <a:pt x="39" y="0"/>
                    <a:pt x="39" y="0"/>
                    <a:pt x="39" y="0"/>
                  </a:cubicBezTo>
                  <a:cubicBezTo>
                    <a:pt x="40" y="0"/>
                    <a:pt x="41" y="1"/>
                    <a:pt x="41" y="1"/>
                  </a:cubicBezTo>
                  <a:cubicBezTo>
                    <a:pt x="41" y="1"/>
                    <a:pt x="41" y="1"/>
                    <a:pt x="41" y="1"/>
                  </a:cubicBezTo>
                  <a:cubicBezTo>
                    <a:pt x="41" y="1"/>
                    <a:pt x="42" y="2"/>
                    <a:pt x="42" y="3"/>
                  </a:cubicBezTo>
                  <a:cubicBezTo>
                    <a:pt x="42" y="3"/>
                    <a:pt x="42" y="3"/>
                    <a:pt x="42" y="3"/>
                  </a:cubicBezTo>
                  <a:cubicBezTo>
                    <a:pt x="43" y="3"/>
                    <a:pt x="44" y="5"/>
                    <a:pt x="46" y="6"/>
                  </a:cubicBezTo>
                  <a:cubicBezTo>
                    <a:pt x="46" y="6"/>
                    <a:pt x="46" y="6"/>
                    <a:pt x="46" y="6"/>
                  </a:cubicBezTo>
                  <a:cubicBezTo>
                    <a:pt x="48" y="8"/>
                    <a:pt x="52" y="11"/>
                    <a:pt x="55" y="13"/>
                  </a:cubicBezTo>
                  <a:cubicBezTo>
                    <a:pt x="55" y="13"/>
                    <a:pt x="55" y="13"/>
                    <a:pt x="55" y="13"/>
                  </a:cubicBezTo>
                  <a:cubicBezTo>
                    <a:pt x="56" y="13"/>
                    <a:pt x="56" y="15"/>
                    <a:pt x="56" y="16"/>
                  </a:cubicBezTo>
                  <a:cubicBezTo>
                    <a:pt x="56" y="16"/>
                    <a:pt x="56" y="16"/>
                    <a:pt x="56" y="16"/>
                  </a:cubicBezTo>
                  <a:cubicBezTo>
                    <a:pt x="55" y="17"/>
                    <a:pt x="54" y="17"/>
                    <a:pt x="53" y="16"/>
                  </a:cubicBezTo>
                  <a:cubicBezTo>
                    <a:pt x="53" y="16"/>
                    <a:pt x="53" y="16"/>
                    <a:pt x="53" y="16"/>
                  </a:cubicBezTo>
                  <a:cubicBezTo>
                    <a:pt x="48" y="14"/>
                    <a:pt x="43" y="9"/>
                    <a:pt x="40" y="6"/>
                  </a:cubicBezTo>
                  <a:cubicBezTo>
                    <a:pt x="40" y="6"/>
                    <a:pt x="40" y="6"/>
                    <a:pt x="40" y="6"/>
                  </a:cubicBezTo>
                  <a:cubicBezTo>
                    <a:pt x="36" y="16"/>
                    <a:pt x="28" y="21"/>
                    <a:pt x="21" y="25"/>
                  </a:cubicBezTo>
                  <a:cubicBezTo>
                    <a:pt x="21" y="25"/>
                    <a:pt x="21" y="25"/>
                    <a:pt x="21" y="25"/>
                  </a:cubicBezTo>
                  <a:cubicBezTo>
                    <a:pt x="13" y="29"/>
                    <a:pt x="6" y="30"/>
                    <a:pt x="2" y="30"/>
                  </a:cubicBezTo>
                  <a:cubicBezTo>
                    <a:pt x="2" y="30"/>
                    <a:pt x="2" y="30"/>
                    <a:pt x="2" y="30"/>
                  </a:cubicBezTo>
                  <a:cubicBezTo>
                    <a:pt x="2" y="30"/>
                    <a:pt x="2" y="30"/>
                    <a:pt x="2" y="30"/>
                  </a:cubicBezTo>
                  <a:cubicBezTo>
                    <a:pt x="2" y="30"/>
                    <a:pt x="2" y="30"/>
                    <a:pt x="2" y="30"/>
                  </a:cubicBezTo>
                  <a:cubicBezTo>
                    <a:pt x="2" y="30"/>
                    <a:pt x="2" y="30"/>
                    <a:pt x="2" y="30"/>
                  </a:cubicBezTo>
                  <a:cubicBezTo>
                    <a:pt x="0" y="30"/>
                    <a:pt x="0" y="29"/>
                    <a:pt x="0" y="28"/>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57" name="Freeform 205"/>
            <p:cNvSpPr>
              <a:spLocks/>
            </p:cNvSpPr>
            <p:nvPr/>
          </p:nvSpPr>
          <p:spPr bwMode="auto">
            <a:xfrm>
              <a:off x="7516813" y="2719388"/>
              <a:ext cx="169863" cy="57150"/>
            </a:xfrm>
            <a:custGeom>
              <a:avLst/>
              <a:gdLst>
                <a:gd name="T0" fmla="*/ 0 w 15"/>
                <a:gd name="T1" fmla="*/ 45720 h 5"/>
                <a:gd name="T2" fmla="*/ 11324 w 15"/>
                <a:gd name="T3" fmla="*/ 11430 h 5"/>
                <a:gd name="T4" fmla="*/ 11324 w 15"/>
                <a:gd name="T5" fmla="*/ 11430 h 5"/>
                <a:gd name="T6" fmla="*/ 79269 w 15"/>
                <a:gd name="T7" fmla="*/ 0 h 5"/>
                <a:gd name="T8" fmla="*/ 79269 w 15"/>
                <a:gd name="T9" fmla="*/ 0 h 5"/>
                <a:gd name="T10" fmla="*/ 147215 w 15"/>
                <a:gd name="T11" fmla="*/ 11430 h 5"/>
                <a:gd name="T12" fmla="*/ 147215 w 15"/>
                <a:gd name="T13" fmla="*/ 11430 h 5"/>
                <a:gd name="T14" fmla="*/ 158539 w 15"/>
                <a:gd name="T15" fmla="*/ 34290 h 5"/>
                <a:gd name="T16" fmla="*/ 158539 w 15"/>
                <a:gd name="T17" fmla="*/ 34290 h 5"/>
                <a:gd name="T18" fmla="*/ 135890 w 15"/>
                <a:gd name="T19" fmla="*/ 57150 h 5"/>
                <a:gd name="T20" fmla="*/ 135890 w 15"/>
                <a:gd name="T21" fmla="*/ 57150 h 5"/>
                <a:gd name="T22" fmla="*/ 79269 w 15"/>
                <a:gd name="T23" fmla="*/ 45720 h 5"/>
                <a:gd name="T24" fmla="*/ 79269 w 15"/>
                <a:gd name="T25" fmla="*/ 45720 h 5"/>
                <a:gd name="T26" fmla="*/ 33973 w 15"/>
                <a:gd name="T27" fmla="*/ 57150 h 5"/>
                <a:gd name="T28" fmla="*/ 33973 w 15"/>
                <a:gd name="T29" fmla="*/ 57150 h 5"/>
                <a:gd name="T30" fmla="*/ 33973 w 15"/>
                <a:gd name="T31" fmla="*/ 57150 h 5"/>
                <a:gd name="T32" fmla="*/ 22648 w 15"/>
                <a:gd name="T33" fmla="*/ 57150 h 5"/>
                <a:gd name="T34" fmla="*/ 22648 w 15"/>
                <a:gd name="T35" fmla="*/ 57150 h 5"/>
                <a:gd name="T36" fmla="*/ 0 w 15"/>
                <a:gd name="T37" fmla="*/ 45720 h 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
                <a:gd name="T58" fmla="*/ 0 h 5"/>
                <a:gd name="T59" fmla="*/ 15 w 15"/>
                <a:gd name="T60" fmla="*/ 5 h 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 h="5">
                  <a:moveTo>
                    <a:pt x="0" y="4"/>
                  </a:moveTo>
                  <a:cubicBezTo>
                    <a:pt x="0" y="3"/>
                    <a:pt x="0" y="2"/>
                    <a:pt x="1" y="1"/>
                  </a:cubicBezTo>
                  <a:cubicBezTo>
                    <a:pt x="1" y="1"/>
                    <a:pt x="1" y="1"/>
                    <a:pt x="1" y="1"/>
                  </a:cubicBezTo>
                  <a:cubicBezTo>
                    <a:pt x="3" y="0"/>
                    <a:pt x="5" y="0"/>
                    <a:pt x="7" y="0"/>
                  </a:cubicBezTo>
                  <a:cubicBezTo>
                    <a:pt x="7" y="0"/>
                    <a:pt x="7" y="0"/>
                    <a:pt x="7" y="0"/>
                  </a:cubicBezTo>
                  <a:cubicBezTo>
                    <a:pt x="10" y="0"/>
                    <a:pt x="12" y="0"/>
                    <a:pt x="13" y="1"/>
                  </a:cubicBezTo>
                  <a:cubicBezTo>
                    <a:pt x="13" y="1"/>
                    <a:pt x="13" y="1"/>
                    <a:pt x="13" y="1"/>
                  </a:cubicBezTo>
                  <a:cubicBezTo>
                    <a:pt x="14" y="1"/>
                    <a:pt x="15" y="2"/>
                    <a:pt x="14" y="3"/>
                  </a:cubicBezTo>
                  <a:cubicBezTo>
                    <a:pt x="14" y="3"/>
                    <a:pt x="14" y="3"/>
                    <a:pt x="14" y="3"/>
                  </a:cubicBezTo>
                  <a:cubicBezTo>
                    <a:pt x="14" y="4"/>
                    <a:pt x="13" y="5"/>
                    <a:pt x="12" y="5"/>
                  </a:cubicBezTo>
                  <a:cubicBezTo>
                    <a:pt x="12" y="5"/>
                    <a:pt x="12" y="5"/>
                    <a:pt x="12" y="5"/>
                  </a:cubicBezTo>
                  <a:cubicBezTo>
                    <a:pt x="11" y="4"/>
                    <a:pt x="9" y="4"/>
                    <a:pt x="7" y="4"/>
                  </a:cubicBezTo>
                  <a:cubicBezTo>
                    <a:pt x="7" y="4"/>
                    <a:pt x="7" y="4"/>
                    <a:pt x="7" y="4"/>
                  </a:cubicBezTo>
                  <a:cubicBezTo>
                    <a:pt x="6" y="4"/>
                    <a:pt x="4" y="4"/>
                    <a:pt x="3" y="5"/>
                  </a:cubicBezTo>
                  <a:cubicBezTo>
                    <a:pt x="3" y="5"/>
                    <a:pt x="3" y="5"/>
                    <a:pt x="3" y="5"/>
                  </a:cubicBezTo>
                  <a:cubicBezTo>
                    <a:pt x="3" y="5"/>
                    <a:pt x="3" y="5"/>
                    <a:pt x="3" y="5"/>
                  </a:cubicBezTo>
                  <a:cubicBezTo>
                    <a:pt x="2" y="5"/>
                    <a:pt x="2" y="5"/>
                    <a:pt x="2" y="5"/>
                  </a:cubicBezTo>
                  <a:cubicBezTo>
                    <a:pt x="2" y="5"/>
                    <a:pt x="2" y="5"/>
                    <a:pt x="2" y="5"/>
                  </a:cubicBezTo>
                  <a:cubicBezTo>
                    <a:pt x="1" y="5"/>
                    <a:pt x="0" y="5"/>
                    <a:pt x="0" y="4"/>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grpSp>
      <p:sp>
        <p:nvSpPr>
          <p:cNvPr id="428" name="Freeform 575"/>
          <p:cNvSpPr>
            <a:spLocks noEditPoints="1"/>
          </p:cNvSpPr>
          <p:nvPr/>
        </p:nvSpPr>
        <p:spPr bwMode="auto">
          <a:xfrm>
            <a:off x="8350556" y="4476947"/>
            <a:ext cx="1053058" cy="2129222"/>
          </a:xfrm>
          <a:custGeom>
            <a:avLst/>
            <a:gdLst>
              <a:gd name="T0" fmla="*/ 156 w 180"/>
              <a:gd name="T1" fmla="*/ 0 h 364"/>
              <a:gd name="T2" fmla="*/ 0 w 180"/>
              <a:gd name="T3" fmla="*/ 0 h 364"/>
              <a:gd name="T4" fmla="*/ 0 w 180"/>
              <a:gd name="T5" fmla="*/ 340 h 364"/>
              <a:gd name="T6" fmla="*/ 24 w 180"/>
              <a:gd name="T7" fmla="*/ 364 h 364"/>
              <a:gd name="T8" fmla="*/ 180 w 180"/>
              <a:gd name="T9" fmla="*/ 364 h 364"/>
              <a:gd name="T10" fmla="*/ 180 w 180"/>
              <a:gd name="T11" fmla="*/ 24 h 364"/>
              <a:gd name="T12" fmla="*/ 156 w 180"/>
              <a:gd name="T13" fmla="*/ 0 h 364"/>
              <a:gd name="T14" fmla="*/ 76 w 180"/>
              <a:gd name="T15" fmla="*/ 292 h 364"/>
              <a:gd name="T16" fmla="*/ 28 w 180"/>
              <a:gd name="T17" fmla="*/ 292 h 364"/>
              <a:gd name="T18" fmla="*/ 28 w 180"/>
              <a:gd name="T19" fmla="*/ 244 h 364"/>
              <a:gd name="T20" fmla="*/ 76 w 180"/>
              <a:gd name="T21" fmla="*/ 244 h 364"/>
              <a:gd name="T22" fmla="*/ 76 w 180"/>
              <a:gd name="T23" fmla="*/ 292 h 364"/>
              <a:gd name="T24" fmla="*/ 76 w 180"/>
              <a:gd name="T25" fmla="*/ 220 h 364"/>
              <a:gd name="T26" fmla="*/ 28 w 180"/>
              <a:gd name="T27" fmla="*/ 220 h 364"/>
              <a:gd name="T28" fmla="*/ 28 w 180"/>
              <a:gd name="T29" fmla="*/ 172 h 364"/>
              <a:gd name="T30" fmla="*/ 76 w 180"/>
              <a:gd name="T31" fmla="*/ 172 h 364"/>
              <a:gd name="T32" fmla="*/ 76 w 180"/>
              <a:gd name="T33" fmla="*/ 220 h 364"/>
              <a:gd name="T34" fmla="*/ 76 w 180"/>
              <a:gd name="T35" fmla="*/ 148 h 364"/>
              <a:gd name="T36" fmla="*/ 28 w 180"/>
              <a:gd name="T37" fmla="*/ 148 h 364"/>
              <a:gd name="T38" fmla="*/ 28 w 180"/>
              <a:gd name="T39" fmla="*/ 100 h 364"/>
              <a:gd name="T40" fmla="*/ 76 w 180"/>
              <a:gd name="T41" fmla="*/ 100 h 364"/>
              <a:gd name="T42" fmla="*/ 76 w 180"/>
              <a:gd name="T43" fmla="*/ 148 h 364"/>
              <a:gd name="T44" fmla="*/ 76 w 180"/>
              <a:gd name="T45" fmla="*/ 76 h 364"/>
              <a:gd name="T46" fmla="*/ 28 w 180"/>
              <a:gd name="T47" fmla="*/ 76 h 364"/>
              <a:gd name="T48" fmla="*/ 28 w 180"/>
              <a:gd name="T49" fmla="*/ 28 h 364"/>
              <a:gd name="T50" fmla="*/ 76 w 180"/>
              <a:gd name="T51" fmla="*/ 28 h 364"/>
              <a:gd name="T52" fmla="*/ 76 w 180"/>
              <a:gd name="T53" fmla="*/ 76 h 364"/>
              <a:gd name="T54" fmla="*/ 152 w 180"/>
              <a:gd name="T55" fmla="*/ 220 h 364"/>
              <a:gd name="T56" fmla="*/ 104 w 180"/>
              <a:gd name="T57" fmla="*/ 220 h 364"/>
              <a:gd name="T58" fmla="*/ 104 w 180"/>
              <a:gd name="T59" fmla="*/ 172 h 364"/>
              <a:gd name="T60" fmla="*/ 152 w 180"/>
              <a:gd name="T61" fmla="*/ 172 h 364"/>
              <a:gd name="T62" fmla="*/ 152 w 180"/>
              <a:gd name="T63" fmla="*/ 220 h 364"/>
              <a:gd name="T64" fmla="*/ 152 w 180"/>
              <a:gd name="T65" fmla="*/ 148 h 364"/>
              <a:gd name="T66" fmla="*/ 104 w 180"/>
              <a:gd name="T67" fmla="*/ 148 h 364"/>
              <a:gd name="T68" fmla="*/ 104 w 180"/>
              <a:gd name="T69" fmla="*/ 100 h 364"/>
              <a:gd name="T70" fmla="*/ 152 w 180"/>
              <a:gd name="T71" fmla="*/ 100 h 364"/>
              <a:gd name="T72" fmla="*/ 152 w 180"/>
              <a:gd name="T73" fmla="*/ 148 h 364"/>
              <a:gd name="T74" fmla="*/ 152 w 180"/>
              <a:gd name="T75" fmla="*/ 76 h 364"/>
              <a:gd name="T76" fmla="*/ 104 w 180"/>
              <a:gd name="T77" fmla="*/ 76 h 364"/>
              <a:gd name="T78" fmla="*/ 104 w 180"/>
              <a:gd name="T79" fmla="*/ 28 h 364"/>
              <a:gd name="T80" fmla="*/ 152 w 180"/>
              <a:gd name="T81" fmla="*/ 28 h 364"/>
              <a:gd name="T82" fmla="*/ 152 w 180"/>
              <a:gd name="T83" fmla="*/ 76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0" h="364">
                <a:moveTo>
                  <a:pt x="156" y="0"/>
                </a:moveTo>
                <a:cubicBezTo>
                  <a:pt x="0" y="0"/>
                  <a:pt x="0" y="0"/>
                  <a:pt x="0" y="0"/>
                </a:cubicBezTo>
                <a:cubicBezTo>
                  <a:pt x="0" y="340"/>
                  <a:pt x="0" y="340"/>
                  <a:pt x="0" y="340"/>
                </a:cubicBezTo>
                <a:cubicBezTo>
                  <a:pt x="0" y="353"/>
                  <a:pt x="10" y="364"/>
                  <a:pt x="24" y="364"/>
                </a:cubicBezTo>
                <a:cubicBezTo>
                  <a:pt x="180" y="364"/>
                  <a:pt x="180" y="364"/>
                  <a:pt x="180" y="364"/>
                </a:cubicBezTo>
                <a:cubicBezTo>
                  <a:pt x="180" y="24"/>
                  <a:pt x="180" y="24"/>
                  <a:pt x="180" y="24"/>
                </a:cubicBezTo>
                <a:cubicBezTo>
                  <a:pt x="180" y="11"/>
                  <a:pt x="169" y="0"/>
                  <a:pt x="156" y="0"/>
                </a:cubicBezTo>
                <a:moveTo>
                  <a:pt x="76" y="292"/>
                </a:moveTo>
                <a:cubicBezTo>
                  <a:pt x="28" y="292"/>
                  <a:pt x="28" y="292"/>
                  <a:pt x="28" y="292"/>
                </a:cubicBezTo>
                <a:cubicBezTo>
                  <a:pt x="28" y="244"/>
                  <a:pt x="28" y="244"/>
                  <a:pt x="28" y="244"/>
                </a:cubicBezTo>
                <a:cubicBezTo>
                  <a:pt x="76" y="244"/>
                  <a:pt x="76" y="244"/>
                  <a:pt x="76" y="244"/>
                </a:cubicBezTo>
                <a:lnTo>
                  <a:pt x="76" y="292"/>
                </a:lnTo>
                <a:close/>
                <a:moveTo>
                  <a:pt x="76" y="220"/>
                </a:moveTo>
                <a:cubicBezTo>
                  <a:pt x="28" y="220"/>
                  <a:pt x="28" y="220"/>
                  <a:pt x="28" y="220"/>
                </a:cubicBezTo>
                <a:cubicBezTo>
                  <a:pt x="28" y="172"/>
                  <a:pt x="28" y="172"/>
                  <a:pt x="28" y="172"/>
                </a:cubicBezTo>
                <a:cubicBezTo>
                  <a:pt x="76" y="172"/>
                  <a:pt x="76" y="172"/>
                  <a:pt x="76" y="172"/>
                </a:cubicBezTo>
                <a:lnTo>
                  <a:pt x="76" y="220"/>
                </a:lnTo>
                <a:close/>
                <a:moveTo>
                  <a:pt x="76" y="148"/>
                </a:moveTo>
                <a:cubicBezTo>
                  <a:pt x="28" y="148"/>
                  <a:pt x="28" y="148"/>
                  <a:pt x="28" y="148"/>
                </a:cubicBezTo>
                <a:cubicBezTo>
                  <a:pt x="28" y="100"/>
                  <a:pt x="28" y="100"/>
                  <a:pt x="28" y="100"/>
                </a:cubicBezTo>
                <a:cubicBezTo>
                  <a:pt x="76" y="100"/>
                  <a:pt x="76" y="100"/>
                  <a:pt x="76" y="100"/>
                </a:cubicBezTo>
                <a:lnTo>
                  <a:pt x="76" y="148"/>
                </a:lnTo>
                <a:close/>
                <a:moveTo>
                  <a:pt x="76" y="76"/>
                </a:moveTo>
                <a:cubicBezTo>
                  <a:pt x="28" y="76"/>
                  <a:pt x="28" y="76"/>
                  <a:pt x="28" y="76"/>
                </a:cubicBezTo>
                <a:cubicBezTo>
                  <a:pt x="28" y="28"/>
                  <a:pt x="28" y="28"/>
                  <a:pt x="28" y="28"/>
                </a:cubicBezTo>
                <a:cubicBezTo>
                  <a:pt x="76" y="28"/>
                  <a:pt x="76" y="28"/>
                  <a:pt x="76" y="28"/>
                </a:cubicBezTo>
                <a:lnTo>
                  <a:pt x="76" y="76"/>
                </a:lnTo>
                <a:close/>
                <a:moveTo>
                  <a:pt x="152" y="220"/>
                </a:moveTo>
                <a:cubicBezTo>
                  <a:pt x="104" y="220"/>
                  <a:pt x="104" y="220"/>
                  <a:pt x="104" y="220"/>
                </a:cubicBezTo>
                <a:cubicBezTo>
                  <a:pt x="104" y="172"/>
                  <a:pt x="104" y="172"/>
                  <a:pt x="104" y="172"/>
                </a:cubicBezTo>
                <a:cubicBezTo>
                  <a:pt x="152" y="172"/>
                  <a:pt x="152" y="172"/>
                  <a:pt x="152" y="172"/>
                </a:cubicBezTo>
                <a:lnTo>
                  <a:pt x="152" y="220"/>
                </a:lnTo>
                <a:close/>
                <a:moveTo>
                  <a:pt x="152" y="148"/>
                </a:moveTo>
                <a:cubicBezTo>
                  <a:pt x="104" y="148"/>
                  <a:pt x="104" y="148"/>
                  <a:pt x="104" y="148"/>
                </a:cubicBezTo>
                <a:cubicBezTo>
                  <a:pt x="104" y="100"/>
                  <a:pt x="104" y="100"/>
                  <a:pt x="104" y="100"/>
                </a:cubicBezTo>
                <a:cubicBezTo>
                  <a:pt x="152" y="100"/>
                  <a:pt x="152" y="100"/>
                  <a:pt x="152" y="100"/>
                </a:cubicBezTo>
                <a:lnTo>
                  <a:pt x="152" y="148"/>
                </a:lnTo>
                <a:close/>
                <a:moveTo>
                  <a:pt x="152" y="76"/>
                </a:moveTo>
                <a:cubicBezTo>
                  <a:pt x="104" y="76"/>
                  <a:pt x="104" y="76"/>
                  <a:pt x="104" y="76"/>
                </a:cubicBezTo>
                <a:cubicBezTo>
                  <a:pt x="104" y="28"/>
                  <a:pt x="104" y="28"/>
                  <a:pt x="104" y="28"/>
                </a:cubicBezTo>
                <a:cubicBezTo>
                  <a:pt x="152" y="28"/>
                  <a:pt x="152" y="28"/>
                  <a:pt x="152" y="28"/>
                </a:cubicBezTo>
                <a:lnTo>
                  <a:pt x="152" y="76"/>
                </a:lnTo>
                <a:close/>
              </a:path>
            </a:pathLst>
          </a:custGeom>
          <a:solidFill>
            <a:schemeClr val="accent4">
              <a:lumMod val="40000"/>
              <a:lumOff val="60000"/>
            </a:schemeClr>
          </a:solidFill>
          <a:ln>
            <a:noFill/>
          </a:ln>
        </p:spPr>
        <p:txBody>
          <a:bodyPr vert="horz" wrap="square" lIns="129909" tIns="64954" rIns="129909" bIns="64954" numCol="1" anchor="t" anchorCtr="0" compatLnSpc="1">
            <a:prstTxWarp prst="textNoShape">
              <a:avLst/>
            </a:prstTxWarp>
          </a:bodyPr>
          <a:lstStyle/>
          <a:p>
            <a:endParaRPr lang="en-US">
              <a:latin typeface="微软雅黑" pitchFamily="34" charset="-122"/>
              <a:ea typeface="微软雅黑" pitchFamily="34" charset="-122"/>
            </a:endParaRPr>
          </a:p>
        </p:txBody>
      </p:sp>
      <p:grpSp>
        <p:nvGrpSpPr>
          <p:cNvPr id="6" name="Group 5"/>
          <p:cNvGrpSpPr/>
          <p:nvPr/>
        </p:nvGrpSpPr>
        <p:grpSpPr>
          <a:xfrm>
            <a:off x="3000810" y="1414046"/>
            <a:ext cx="1481740" cy="1221955"/>
            <a:chOff x="2113298" y="994251"/>
            <a:chExt cx="1043504" cy="859187"/>
          </a:xfrm>
        </p:grpSpPr>
        <p:grpSp>
          <p:nvGrpSpPr>
            <p:cNvPr id="405" name="Group 404"/>
            <p:cNvGrpSpPr/>
            <p:nvPr/>
          </p:nvGrpSpPr>
          <p:grpSpPr>
            <a:xfrm>
              <a:off x="2113298" y="994251"/>
              <a:ext cx="1043504" cy="321946"/>
              <a:chOff x="161386" y="954156"/>
              <a:chExt cx="314542" cy="387627"/>
            </a:xfrm>
          </p:grpSpPr>
          <p:sp>
            <p:nvSpPr>
              <p:cNvPr id="406" name="Round Diagonal Corner Rectangle 405"/>
              <p:cNvSpPr/>
              <p:nvPr/>
            </p:nvSpPr>
            <p:spPr>
              <a:xfrm flipV="1">
                <a:off x="171035" y="954156"/>
                <a:ext cx="291924" cy="387626"/>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00" dirty="0">
                  <a:latin typeface="微软雅黑" pitchFamily="34" charset="-122"/>
                  <a:ea typeface="微软雅黑" pitchFamily="34" charset="-122"/>
                </a:endParaRPr>
              </a:p>
            </p:txBody>
          </p:sp>
          <p:sp>
            <p:nvSpPr>
              <p:cNvPr id="407" name="Round Diagonal Corner Rectangle 406"/>
              <p:cNvSpPr/>
              <p:nvPr/>
            </p:nvSpPr>
            <p:spPr>
              <a:xfrm>
                <a:off x="161386" y="954157"/>
                <a:ext cx="314542" cy="387626"/>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2300" dirty="0">
                    <a:latin typeface="微软雅黑" pitchFamily="34" charset="-122"/>
                    <a:ea typeface="微软雅黑" pitchFamily="34" charset="-122"/>
                  </a:rPr>
                  <a:t>研究</a:t>
                </a:r>
                <a:endParaRPr lang="en-US" sz="2300" dirty="0">
                  <a:latin typeface="微软雅黑" pitchFamily="34" charset="-122"/>
                  <a:ea typeface="微软雅黑" pitchFamily="34" charset="-122"/>
                </a:endParaRPr>
              </a:p>
            </p:txBody>
          </p:sp>
        </p:grpSp>
        <p:sp>
          <p:nvSpPr>
            <p:cNvPr id="422" name="Freeform 248"/>
            <p:cNvSpPr>
              <a:spLocks noEditPoints="1"/>
            </p:cNvSpPr>
            <p:nvPr/>
          </p:nvSpPr>
          <p:spPr bwMode="auto">
            <a:xfrm>
              <a:off x="2246142" y="1370083"/>
              <a:ext cx="492004" cy="483355"/>
            </a:xfrm>
            <a:custGeom>
              <a:avLst/>
              <a:gdLst>
                <a:gd name="T0" fmla="*/ 136 w 216"/>
                <a:gd name="T1" fmla="*/ 134 h 212"/>
                <a:gd name="T2" fmla="*/ 116 w 216"/>
                <a:gd name="T3" fmla="*/ 130 h 212"/>
                <a:gd name="T4" fmla="*/ 87 w 216"/>
                <a:gd name="T5" fmla="*/ 101 h 212"/>
                <a:gd name="T6" fmla="*/ 83 w 216"/>
                <a:gd name="T7" fmla="*/ 81 h 212"/>
                <a:gd name="T8" fmla="*/ 136 w 216"/>
                <a:gd name="T9" fmla="*/ 28 h 212"/>
                <a:gd name="T10" fmla="*/ 189 w 216"/>
                <a:gd name="T11" fmla="*/ 81 h 212"/>
                <a:gd name="T12" fmla="*/ 136 w 216"/>
                <a:gd name="T13" fmla="*/ 134 h 212"/>
                <a:gd name="T14" fmla="*/ 136 w 216"/>
                <a:gd name="T15" fmla="*/ 0 h 212"/>
                <a:gd name="T16" fmla="*/ 56 w 216"/>
                <a:gd name="T17" fmla="*/ 81 h 212"/>
                <a:gd name="T18" fmla="*/ 67 w 216"/>
                <a:gd name="T19" fmla="*/ 121 h 212"/>
                <a:gd name="T20" fmla="*/ 15 w 216"/>
                <a:gd name="T21" fmla="*/ 173 h 212"/>
                <a:gd name="T22" fmla="*/ 15 w 216"/>
                <a:gd name="T23" fmla="*/ 173 h 212"/>
                <a:gd name="T24" fmla="*/ 0 w 216"/>
                <a:gd name="T25" fmla="*/ 189 h 212"/>
                <a:gd name="T26" fmla="*/ 17 w 216"/>
                <a:gd name="T27" fmla="*/ 207 h 212"/>
                <a:gd name="T28" fmla="*/ 39 w 216"/>
                <a:gd name="T29" fmla="*/ 207 h 212"/>
                <a:gd name="T30" fmla="*/ 96 w 216"/>
                <a:gd name="T31" fmla="*/ 150 h 212"/>
                <a:gd name="T32" fmla="*/ 136 w 216"/>
                <a:gd name="T33" fmla="*/ 161 h 212"/>
                <a:gd name="T34" fmla="*/ 216 w 216"/>
                <a:gd name="T35" fmla="*/ 81 h 212"/>
                <a:gd name="T36" fmla="*/ 136 w 216"/>
                <a:gd name="T3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6" h="212">
                  <a:moveTo>
                    <a:pt x="136" y="134"/>
                  </a:moveTo>
                  <a:cubicBezTo>
                    <a:pt x="129" y="134"/>
                    <a:pt x="122" y="132"/>
                    <a:pt x="116" y="130"/>
                  </a:cubicBezTo>
                  <a:cubicBezTo>
                    <a:pt x="103" y="124"/>
                    <a:pt x="93" y="114"/>
                    <a:pt x="87" y="101"/>
                  </a:cubicBezTo>
                  <a:cubicBezTo>
                    <a:pt x="84" y="95"/>
                    <a:pt x="83" y="88"/>
                    <a:pt x="83" y="81"/>
                  </a:cubicBezTo>
                  <a:cubicBezTo>
                    <a:pt x="83" y="51"/>
                    <a:pt x="107" y="28"/>
                    <a:pt x="136" y="28"/>
                  </a:cubicBezTo>
                  <a:cubicBezTo>
                    <a:pt x="165" y="28"/>
                    <a:pt x="189" y="51"/>
                    <a:pt x="189" y="81"/>
                  </a:cubicBezTo>
                  <a:cubicBezTo>
                    <a:pt x="189" y="110"/>
                    <a:pt x="165" y="134"/>
                    <a:pt x="136" y="134"/>
                  </a:cubicBezTo>
                  <a:moveTo>
                    <a:pt x="136" y="0"/>
                  </a:moveTo>
                  <a:cubicBezTo>
                    <a:pt x="92" y="0"/>
                    <a:pt x="56" y="36"/>
                    <a:pt x="56" y="81"/>
                  </a:cubicBezTo>
                  <a:cubicBezTo>
                    <a:pt x="56" y="95"/>
                    <a:pt x="60" y="109"/>
                    <a:pt x="67" y="121"/>
                  </a:cubicBezTo>
                  <a:cubicBezTo>
                    <a:pt x="15" y="173"/>
                    <a:pt x="15" y="173"/>
                    <a:pt x="15" y="173"/>
                  </a:cubicBezTo>
                  <a:cubicBezTo>
                    <a:pt x="15" y="173"/>
                    <a:pt x="15" y="173"/>
                    <a:pt x="15" y="173"/>
                  </a:cubicBezTo>
                  <a:cubicBezTo>
                    <a:pt x="0" y="189"/>
                    <a:pt x="0" y="189"/>
                    <a:pt x="0" y="189"/>
                  </a:cubicBezTo>
                  <a:cubicBezTo>
                    <a:pt x="17" y="207"/>
                    <a:pt x="17" y="207"/>
                    <a:pt x="17" y="207"/>
                  </a:cubicBezTo>
                  <a:cubicBezTo>
                    <a:pt x="23" y="212"/>
                    <a:pt x="33" y="212"/>
                    <a:pt x="39" y="207"/>
                  </a:cubicBezTo>
                  <a:cubicBezTo>
                    <a:pt x="96" y="150"/>
                    <a:pt x="96" y="150"/>
                    <a:pt x="96" y="150"/>
                  </a:cubicBezTo>
                  <a:cubicBezTo>
                    <a:pt x="108" y="157"/>
                    <a:pt x="121" y="161"/>
                    <a:pt x="136" y="161"/>
                  </a:cubicBezTo>
                  <a:cubicBezTo>
                    <a:pt x="180" y="161"/>
                    <a:pt x="216" y="125"/>
                    <a:pt x="216" y="81"/>
                  </a:cubicBezTo>
                  <a:cubicBezTo>
                    <a:pt x="216" y="36"/>
                    <a:pt x="180" y="0"/>
                    <a:pt x="136" y="0"/>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nvGrpSpPr>
          <p:cNvPr id="432" name="Group 431"/>
          <p:cNvGrpSpPr/>
          <p:nvPr/>
        </p:nvGrpSpPr>
        <p:grpSpPr>
          <a:xfrm>
            <a:off x="3055350" y="5170062"/>
            <a:ext cx="1004809" cy="1200649"/>
            <a:chOff x="4008438" y="1887538"/>
            <a:chExt cx="1135063" cy="1354138"/>
          </a:xfrm>
          <a:solidFill>
            <a:srgbClr val="000000"/>
          </a:solidFill>
        </p:grpSpPr>
        <p:sp>
          <p:nvSpPr>
            <p:cNvPr id="433" name="Oval 796"/>
            <p:cNvSpPr>
              <a:spLocks noChangeArrowheads="1"/>
            </p:cNvSpPr>
            <p:nvPr/>
          </p:nvSpPr>
          <p:spPr bwMode="auto">
            <a:xfrm>
              <a:off x="4094163" y="2252663"/>
              <a:ext cx="184150" cy="195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34" name="Freeform 797"/>
            <p:cNvSpPr>
              <a:spLocks/>
            </p:cNvSpPr>
            <p:nvPr/>
          </p:nvSpPr>
          <p:spPr bwMode="auto">
            <a:xfrm>
              <a:off x="4008438" y="2478088"/>
              <a:ext cx="357188" cy="665163"/>
            </a:xfrm>
            <a:custGeom>
              <a:avLst/>
              <a:gdLst>
                <a:gd name="T0" fmla="*/ 75 w 95"/>
                <a:gd name="T1" fmla="*/ 0 h 177"/>
                <a:gd name="T2" fmla="*/ 48 w 95"/>
                <a:gd name="T3" fmla="*/ 0 h 177"/>
                <a:gd name="T4" fmla="*/ 20 w 95"/>
                <a:gd name="T5" fmla="*/ 0 h 177"/>
                <a:gd name="T6" fmla="*/ 0 w 95"/>
                <a:gd name="T7" fmla="*/ 21 h 177"/>
                <a:gd name="T8" fmla="*/ 0 w 95"/>
                <a:gd name="T9" fmla="*/ 24 h 177"/>
                <a:gd name="T10" fmla="*/ 0 w 95"/>
                <a:gd name="T11" fmla="*/ 40 h 177"/>
                <a:gd name="T12" fmla="*/ 0 w 95"/>
                <a:gd name="T13" fmla="*/ 55 h 177"/>
                <a:gd name="T14" fmla="*/ 0 w 95"/>
                <a:gd name="T15" fmla="*/ 83 h 177"/>
                <a:gd name="T16" fmla="*/ 0 w 95"/>
                <a:gd name="T17" fmla="*/ 83 h 177"/>
                <a:gd name="T18" fmla="*/ 8 w 95"/>
                <a:gd name="T19" fmla="*/ 91 h 177"/>
                <a:gd name="T20" fmla="*/ 16 w 95"/>
                <a:gd name="T21" fmla="*/ 84 h 177"/>
                <a:gd name="T22" fmla="*/ 16 w 95"/>
                <a:gd name="T23" fmla="*/ 83 h 177"/>
                <a:gd name="T24" fmla="*/ 16 w 95"/>
                <a:gd name="T25" fmla="*/ 27 h 177"/>
                <a:gd name="T26" fmla="*/ 18 w 95"/>
                <a:gd name="T27" fmla="*/ 25 h 177"/>
                <a:gd name="T28" fmla="*/ 20 w 95"/>
                <a:gd name="T29" fmla="*/ 27 h 177"/>
                <a:gd name="T30" fmla="*/ 20 w 95"/>
                <a:gd name="T31" fmla="*/ 87 h 177"/>
                <a:gd name="T32" fmla="*/ 20 w 95"/>
                <a:gd name="T33" fmla="*/ 95 h 177"/>
                <a:gd name="T34" fmla="*/ 20 w 95"/>
                <a:gd name="T35" fmla="*/ 96 h 177"/>
                <a:gd name="T36" fmla="*/ 20 w 95"/>
                <a:gd name="T37" fmla="*/ 96 h 177"/>
                <a:gd name="T38" fmla="*/ 26 w 95"/>
                <a:gd name="T39" fmla="*/ 163 h 177"/>
                <a:gd name="T40" fmla="*/ 40 w 95"/>
                <a:gd name="T41" fmla="*/ 177 h 177"/>
                <a:gd name="T42" fmla="*/ 48 w 95"/>
                <a:gd name="T43" fmla="*/ 177 h 177"/>
                <a:gd name="T44" fmla="*/ 55 w 95"/>
                <a:gd name="T45" fmla="*/ 177 h 177"/>
                <a:gd name="T46" fmla="*/ 69 w 95"/>
                <a:gd name="T47" fmla="*/ 163 h 177"/>
                <a:gd name="T48" fmla="*/ 75 w 95"/>
                <a:gd name="T49" fmla="*/ 96 h 177"/>
                <a:gd name="T50" fmla="*/ 75 w 95"/>
                <a:gd name="T51" fmla="*/ 96 h 177"/>
                <a:gd name="T52" fmla="*/ 75 w 95"/>
                <a:gd name="T53" fmla="*/ 95 h 177"/>
                <a:gd name="T54" fmla="*/ 75 w 95"/>
                <a:gd name="T55" fmla="*/ 87 h 177"/>
                <a:gd name="T56" fmla="*/ 75 w 95"/>
                <a:gd name="T57" fmla="*/ 27 h 177"/>
                <a:gd name="T58" fmla="*/ 77 w 95"/>
                <a:gd name="T59" fmla="*/ 25 h 177"/>
                <a:gd name="T60" fmla="*/ 79 w 95"/>
                <a:gd name="T61" fmla="*/ 27 h 177"/>
                <a:gd name="T62" fmla="*/ 79 w 95"/>
                <a:gd name="T63" fmla="*/ 83 h 177"/>
                <a:gd name="T64" fmla="*/ 79 w 95"/>
                <a:gd name="T65" fmla="*/ 84 h 177"/>
                <a:gd name="T66" fmla="*/ 87 w 95"/>
                <a:gd name="T67" fmla="*/ 91 h 177"/>
                <a:gd name="T68" fmla="*/ 95 w 95"/>
                <a:gd name="T69" fmla="*/ 83 h 177"/>
                <a:gd name="T70" fmla="*/ 95 w 95"/>
                <a:gd name="T71" fmla="*/ 83 h 177"/>
                <a:gd name="T72" fmla="*/ 95 w 95"/>
                <a:gd name="T73" fmla="*/ 40 h 177"/>
                <a:gd name="T74" fmla="*/ 95 w 95"/>
                <a:gd name="T75" fmla="*/ 24 h 177"/>
                <a:gd name="T76" fmla="*/ 95 w 95"/>
                <a:gd name="T77" fmla="*/ 21 h 177"/>
                <a:gd name="T78" fmla="*/ 75 w 95"/>
                <a:gd name="T79"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5" h="177">
                  <a:moveTo>
                    <a:pt x="75" y="0"/>
                  </a:moveTo>
                  <a:cubicBezTo>
                    <a:pt x="48" y="0"/>
                    <a:pt x="48" y="0"/>
                    <a:pt x="48" y="0"/>
                  </a:cubicBezTo>
                  <a:cubicBezTo>
                    <a:pt x="20" y="0"/>
                    <a:pt x="20" y="0"/>
                    <a:pt x="20" y="0"/>
                  </a:cubicBezTo>
                  <a:cubicBezTo>
                    <a:pt x="7" y="0"/>
                    <a:pt x="0" y="6"/>
                    <a:pt x="0" y="21"/>
                  </a:cubicBezTo>
                  <a:cubicBezTo>
                    <a:pt x="0" y="24"/>
                    <a:pt x="0" y="24"/>
                    <a:pt x="0" y="24"/>
                  </a:cubicBezTo>
                  <a:cubicBezTo>
                    <a:pt x="0" y="40"/>
                    <a:pt x="0" y="40"/>
                    <a:pt x="0" y="40"/>
                  </a:cubicBezTo>
                  <a:cubicBezTo>
                    <a:pt x="0" y="55"/>
                    <a:pt x="0" y="55"/>
                    <a:pt x="0" y="55"/>
                  </a:cubicBezTo>
                  <a:cubicBezTo>
                    <a:pt x="0" y="83"/>
                    <a:pt x="0" y="83"/>
                    <a:pt x="0" y="83"/>
                  </a:cubicBezTo>
                  <a:cubicBezTo>
                    <a:pt x="0" y="83"/>
                    <a:pt x="0" y="83"/>
                    <a:pt x="0" y="83"/>
                  </a:cubicBezTo>
                  <a:cubicBezTo>
                    <a:pt x="0" y="88"/>
                    <a:pt x="4" y="91"/>
                    <a:pt x="8" y="91"/>
                  </a:cubicBezTo>
                  <a:cubicBezTo>
                    <a:pt x="12" y="91"/>
                    <a:pt x="15" y="88"/>
                    <a:pt x="16" y="84"/>
                  </a:cubicBezTo>
                  <a:cubicBezTo>
                    <a:pt x="16" y="84"/>
                    <a:pt x="16" y="84"/>
                    <a:pt x="16" y="83"/>
                  </a:cubicBezTo>
                  <a:cubicBezTo>
                    <a:pt x="16" y="27"/>
                    <a:pt x="16" y="27"/>
                    <a:pt x="16" y="27"/>
                  </a:cubicBezTo>
                  <a:cubicBezTo>
                    <a:pt x="16" y="26"/>
                    <a:pt x="17" y="25"/>
                    <a:pt x="18" y="25"/>
                  </a:cubicBezTo>
                  <a:cubicBezTo>
                    <a:pt x="19" y="25"/>
                    <a:pt x="20" y="26"/>
                    <a:pt x="20" y="27"/>
                  </a:cubicBezTo>
                  <a:cubicBezTo>
                    <a:pt x="20" y="87"/>
                    <a:pt x="20" y="87"/>
                    <a:pt x="20" y="87"/>
                  </a:cubicBezTo>
                  <a:cubicBezTo>
                    <a:pt x="20" y="87"/>
                    <a:pt x="20" y="92"/>
                    <a:pt x="20" y="95"/>
                  </a:cubicBezTo>
                  <a:cubicBezTo>
                    <a:pt x="20" y="96"/>
                    <a:pt x="20" y="96"/>
                    <a:pt x="20" y="96"/>
                  </a:cubicBezTo>
                  <a:cubicBezTo>
                    <a:pt x="20" y="96"/>
                    <a:pt x="20" y="96"/>
                    <a:pt x="20" y="96"/>
                  </a:cubicBezTo>
                  <a:cubicBezTo>
                    <a:pt x="26" y="163"/>
                    <a:pt x="26" y="163"/>
                    <a:pt x="26" y="163"/>
                  </a:cubicBezTo>
                  <a:cubicBezTo>
                    <a:pt x="27" y="173"/>
                    <a:pt x="31" y="177"/>
                    <a:pt x="40" y="177"/>
                  </a:cubicBezTo>
                  <a:cubicBezTo>
                    <a:pt x="48" y="177"/>
                    <a:pt x="48" y="177"/>
                    <a:pt x="48" y="177"/>
                  </a:cubicBezTo>
                  <a:cubicBezTo>
                    <a:pt x="55" y="177"/>
                    <a:pt x="55" y="177"/>
                    <a:pt x="55" y="177"/>
                  </a:cubicBezTo>
                  <a:cubicBezTo>
                    <a:pt x="64" y="177"/>
                    <a:pt x="68" y="173"/>
                    <a:pt x="69" y="163"/>
                  </a:cubicBezTo>
                  <a:cubicBezTo>
                    <a:pt x="75" y="96"/>
                    <a:pt x="75" y="96"/>
                    <a:pt x="75" y="96"/>
                  </a:cubicBezTo>
                  <a:cubicBezTo>
                    <a:pt x="75" y="96"/>
                    <a:pt x="75" y="96"/>
                    <a:pt x="75" y="96"/>
                  </a:cubicBezTo>
                  <a:cubicBezTo>
                    <a:pt x="75" y="95"/>
                    <a:pt x="75" y="95"/>
                    <a:pt x="75" y="95"/>
                  </a:cubicBezTo>
                  <a:cubicBezTo>
                    <a:pt x="75" y="92"/>
                    <a:pt x="75" y="87"/>
                    <a:pt x="75" y="87"/>
                  </a:cubicBezTo>
                  <a:cubicBezTo>
                    <a:pt x="75" y="27"/>
                    <a:pt x="75" y="27"/>
                    <a:pt x="75" y="27"/>
                  </a:cubicBezTo>
                  <a:cubicBezTo>
                    <a:pt x="75" y="26"/>
                    <a:pt x="76" y="25"/>
                    <a:pt x="77" y="25"/>
                  </a:cubicBezTo>
                  <a:cubicBezTo>
                    <a:pt x="78" y="25"/>
                    <a:pt x="79" y="26"/>
                    <a:pt x="79" y="27"/>
                  </a:cubicBezTo>
                  <a:cubicBezTo>
                    <a:pt x="79" y="83"/>
                    <a:pt x="79" y="83"/>
                    <a:pt x="79" y="83"/>
                  </a:cubicBezTo>
                  <a:cubicBezTo>
                    <a:pt x="79" y="84"/>
                    <a:pt x="79" y="84"/>
                    <a:pt x="79" y="84"/>
                  </a:cubicBezTo>
                  <a:cubicBezTo>
                    <a:pt x="80" y="88"/>
                    <a:pt x="83" y="91"/>
                    <a:pt x="87" y="91"/>
                  </a:cubicBezTo>
                  <a:cubicBezTo>
                    <a:pt x="91" y="91"/>
                    <a:pt x="95" y="88"/>
                    <a:pt x="95" y="83"/>
                  </a:cubicBezTo>
                  <a:cubicBezTo>
                    <a:pt x="95" y="83"/>
                    <a:pt x="95" y="83"/>
                    <a:pt x="95" y="83"/>
                  </a:cubicBezTo>
                  <a:cubicBezTo>
                    <a:pt x="95" y="40"/>
                    <a:pt x="95" y="40"/>
                    <a:pt x="95" y="40"/>
                  </a:cubicBezTo>
                  <a:cubicBezTo>
                    <a:pt x="95" y="24"/>
                    <a:pt x="95" y="24"/>
                    <a:pt x="95" y="24"/>
                  </a:cubicBezTo>
                  <a:cubicBezTo>
                    <a:pt x="95" y="21"/>
                    <a:pt x="95" y="21"/>
                    <a:pt x="95" y="21"/>
                  </a:cubicBezTo>
                  <a:cubicBezTo>
                    <a:pt x="95" y="6"/>
                    <a:pt x="88" y="0"/>
                    <a:pt x="7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35" name="Oval 798"/>
            <p:cNvSpPr>
              <a:spLocks noChangeArrowheads="1"/>
            </p:cNvSpPr>
            <p:nvPr/>
          </p:nvSpPr>
          <p:spPr bwMode="auto">
            <a:xfrm>
              <a:off x="4778376" y="2041526"/>
              <a:ext cx="249238" cy="2667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36" name="Freeform 799"/>
            <p:cNvSpPr>
              <a:spLocks/>
            </p:cNvSpPr>
            <p:nvPr/>
          </p:nvSpPr>
          <p:spPr bwMode="auto">
            <a:xfrm>
              <a:off x="4157663" y="1887538"/>
              <a:ext cx="771525" cy="250825"/>
            </a:xfrm>
            <a:custGeom>
              <a:avLst/>
              <a:gdLst>
                <a:gd name="T0" fmla="*/ 16 w 205"/>
                <a:gd name="T1" fmla="*/ 16 h 67"/>
                <a:gd name="T2" fmla="*/ 104 w 205"/>
                <a:gd name="T3" fmla="*/ 16 h 67"/>
                <a:gd name="T4" fmla="*/ 104 w 205"/>
                <a:gd name="T5" fmla="*/ 67 h 67"/>
                <a:gd name="T6" fmla="*/ 120 w 205"/>
                <a:gd name="T7" fmla="*/ 67 h 67"/>
                <a:gd name="T8" fmla="*/ 120 w 205"/>
                <a:gd name="T9" fmla="*/ 16 h 67"/>
                <a:gd name="T10" fmla="*/ 189 w 205"/>
                <a:gd name="T11" fmla="*/ 16 h 67"/>
                <a:gd name="T12" fmla="*/ 189 w 205"/>
                <a:gd name="T13" fmla="*/ 32 h 67"/>
                <a:gd name="T14" fmla="*/ 198 w 205"/>
                <a:gd name="T15" fmla="*/ 32 h 67"/>
                <a:gd name="T16" fmla="*/ 205 w 205"/>
                <a:gd name="T17" fmla="*/ 32 h 67"/>
                <a:gd name="T18" fmla="*/ 205 w 205"/>
                <a:gd name="T19" fmla="*/ 0 h 67"/>
                <a:gd name="T20" fmla="*/ 0 w 205"/>
                <a:gd name="T21" fmla="*/ 0 h 67"/>
                <a:gd name="T22" fmla="*/ 0 w 205"/>
                <a:gd name="T23" fmla="*/ 67 h 67"/>
                <a:gd name="T24" fmla="*/ 16 w 205"/>
                <a:gd name="T25" fmla="*/ 67 h 67"/>
                <a:gd name="T26" fmla="*/ 16 w 205"/>
                <a:gd name="T27" fmla="*/ 16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5" h="67">
                  <a:moveTo>
                    <a:pt x="16" y="16"/>
                  </a:moveTo>
                  <a:cubicBezTo>
                    <a:pt x="104" y="16"/>
                    <a:pt x="104" y="16"/>
                    <a:pt x="104" y="16"/>
                  </a:cubicBezTo>
                  <a:cubicBezTo>
                    <a:pt x="104" y="67"/>
                    <a:pt x="104" y="67"/>
                    <a:pt x="104" y="67"/>
                  </a:cubicBezTo>
                  <a:cubicBezTo>
                    <a:pt x="120" y="67"/>
                    <a:pt x="120" y="67"/>
                    <a:pt x="120" y="67"/>
                  </a:cubicBezTo>
                  <a:cubicBezTo>
                    <a:pt x="120" y="16"/>
                    <a:pt x="120" y="16"/>
                    <a:pt x="120" y="16"/>
                  </a:cubicBezTo>
                  <a:cubicBezTo>
                    <a:pt x="189" y="16"/>
                    <a:pt x="189" y="16"/>
                    <a:pt x="189" y="16"/>
                  </a:cubicBezTo>
                  <a:cubicBezTo>
                    <a:pt x="189" y="32"/>
                    <a:pt x="189" y="32"/>
                    <a:pt x="189" y="32"/>
                  </a:cubicBezTo>
                  <a:cubicBezTo>
                    <a:pt x="192" y="32"/>
                    <a:pt x="195" y="32"/>
                    <a:pt x="198" y="32"/>
                  </a:cubicBezTo>
                  <a:cubicBezTo>
                    <a:pt x="201" y="32"/>
                    <a:pt x="203" y="32"/>
                    <a:pt x="205" y="32"/>
                  </a:cubicBezTo>
                  <a:cubicBezTo>
                    <a:pt x="205" y="0"/>
                    <a:pt x="205" y="0"/>
                    <a:pt x="205" y="0"/>
                  </a:cubicBezTo>
                  <a:cubicBezTo>
                    <a:pt x="0" y="0"/>
                    <a:pt x="0" y="0"/>
                    <a:pt x="0" y="0"/>
                  </a:cubicBezTo>
                  <a:cubicBezTo>
                    <a:pt x="0" y="67"/>
                    <a:pt x="0" y="67"/>
                    <a:pt x="0" y="67"/>
                  </a:cubicBezTo>
                  <a:cubicBezTo>
                    <a:pt x="16" y="67"/>
                    <a:pt x="16" y="67"/>
                    <a:pt x="16" y="67"/>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37" name="Freeform 800"/>
            <p:cNvSpPr>
              <a:spLocks/>
            </p:cNvSpPr>
            <p:nvPr/>
          </p:nvSpPr>
          <p:spPr bwMode="auto">
            <a:xfrm>
              <a:off x="4489451" y="2252663"/>
              <a:ext cx="184150" cy="195263"/>
            </a:xfrm>
            <a:custGeom>
              <a:avLst/>
              <a:gdLst>
                <a:gd name="T0" fmla="*/ 0 w 49"/>
                <a:gd name="T1" fmla="*/ 26 h 52"/>
                <a:gd name="T2" fmla="*/ 25 w 49"/>
                <a:gd name="T3" fmla="*/ 52 h 52"/>
                <a:gd name="T4" fmla="*/ 38 w 49"/>
                <a:gd name="T5" fmla="*/ 50 h 52"/>
                <a:gd name="T6" fmla="*/ 49 w 49"/>
                <a:gd name="T7" fmla="*/ 25 h 52"/>
                <a:gd name="T8" fmla="*/ 25 w 49"/>
                <a:gd name="T9" fmla="*/ 0 h 52"/>
                <a:gd name="T10" fmla="*/ 0 w 49"/>
                <a:gd name="T11" fmla="*/ 26 h 52"/>
              </a:gdLst>
              <a:ahLst/>
              <a:cxnLst>
                <a:cxn ang="0">
                  <a:pos x="T0" y="T1"/>
                </a:cxn>
                <a:cxn ang="0">
                  <a:pos x="T2" y="T3"/>
                </a:cxn>
                <a:cxn ang="0">
                  <a:pos x="T4" y="T5"/>
                </a:cxn>
                <a:cxn ang="0">
                  <a:pos x="T6" y="T7"/>
                </a:cxn>
                <a:cxn ang="0">
                  <a:pos x="T8" y="T9"/>
                </a:cxn>
                <a:cxn ang="0">
                  <a:pos x="T10" y="T11"/>
                </a:cxn>
              </a:cxnLst>
              <a:rect l="0" t="0" r="r" b="b"/>
              <a:pathLst>
                <a:path w="49" h="52">
                  <a:moveTo>
                    <a:pt x="0" y="26"/>
                  </a:moveTo>
                  <a:cubicBezTo>
                    <a:pt x="0" y="45"/>
                    <a:pt x="7" y="52"/>
                    <a:pt x="25" y="52"/>
                  </a:cubicBezTo>
                  <a:cubicBezTo>
                    <a:pt x="30" y="52"/>
                    <a:pt x="35" y="52"/>
                    <a:pt x="38" y="50"/>
                  </a:cubicBezTo>
                  <a:cubicBezTo>
                    <a:pt x="39" y="39"/>
                    <a:pt x="43" y="30"/>
                    <a:pt x="49" y="25"/>
                  </a:cubicBezTo>
                  <a:cubicBezTo>
                    <a:pt x="49" y="7"/>
                    <a:pt x="42" y="0"/>
                    <a:pt x="25" y="0"/>
                  </a:cubicBezTo>
                  <a:cubicBezTo>
                    <a:pt x="7" y="0"/>
                    <a:pt x="0" y="7"/>
                    <a:pt x="0" y="2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38" name="Freeform 801"/>
            <p:cNvSpPr>
              <a:spLocks/>
            </p:cNvSpPr>
            <p:nvPr/>
          </p:nvSpPr>
          <p:spPr bwMode="auto">
            <a:xfrm>
              <a:off x="4402138" y="2478088"/>
              <a:ext cx="282575" cy="665163"/>
            </a:xfrm>
            <a:custGeom>
              <a:avLst/>
              <a:gdLst>
                <a:gd name="T0" fmla="*/ 61 w 75"/>
                <a:gd name="T1" fmla="*/ 77 h 177"/>
                <a:gd name="T2" fmla="*/ 61 w 75"/>
                <a:gd name="T3" fmla="*/ 0 h 177"/>
                <a:gd name="T4" fmla="*/ 48 w 75"/>
                <a:gd name="T5" fmla="*/ 0 h 177"/>
                <a:gd name="T6" fmla="*/ 20 w 75"/>
                <a:gd name="T7" fmla="*/ 0 h 177"/>
                <a:gd name="T8" fmla="*/ 0 w 75"/>
                <a:gd name="T9" fmla="*/ 21 h 177"/>
                <a:gd name="T10" fmla="*/ 0 w 75"/>
                <a:gd name="T11" fmla="*/ 24 h 177"/>
                <a:gd name="T12" fmla="*/ 0 w 75"/>
                <a:gd name="T13" fmla="*/ 40 h 177"/>
                <a:gd name="T14" fmla="*/ 0 w 75"/>
                <a:gd name="T15" fmla="*/ 55 h 177"/>
                <a:gd name="T16" fmla="*/ 0 w 75"/>
                <a:gd name="T17" fmla="*/ 83 h 177"/>
                <a:gd name="T18" fmla="*/ 0 w 75"/>
                <a:gd name="T19" fmla="*/ 83 h 177"/>
                <a:gd name="T20" fmla="*/ 8 w 75"/>
                <a:gd name="T21" fmla="*/ 91 h 177"/>
                <a:gd name="T22" fmla="*/ 16 w 75"/>
                <a:gd name="T23" fmla="*/ 84 h 177"/>
                <a:gd name="T24" fmla="*/ 16 w 75"/>
                <a:gd name="T25" fmla="*/ 83 h 177"/>
                <a:gd name="T26" fmla="*/ 16 w 75"/>
                <a:gd name="T27" fmla="*/ 27 h 177"/>
                <a:gd name="T28" fmla="*/ 18 w 75"/>
                <a:gd name="T29" fmla="*/ 25 h 177"/>
                <a:gd name="T30" fmla="*/ 20 w 75"/>
                <a:gd name="T31" fmla="*/ 27 h 177"/>
                <a:gd name="T32" fmla="*/ 20 w 75"/>
                <a:gd name="T33" fmla="*/ 87 h 177"/>
                <a:gd name="T34" fmla="*/ 20 w 75"/>
                <a:gd name="T35" fmla="*/ 95 h 177"/>
                <a:gd name="T36" fmla="*/ 20 w 75"/>
                <a:gd name="T37" fmla="*/ 96 h 177"/>
                <a:gd name="T38" fmla="*/ 20 w 75"/>
                <a:gd name="T39" fmla="*/ 96 h 177"/>
                <a:gd name="T40" fmla="*/ 27 w 75"/>
                <a:gd name="T41" fmla="*/ 163 h 177"/>
                <a:gd name="T42" fmla="*/ 40 w 75"/>
                <a:gd name="T43" fmla="*/ 177 h 177"/>
                <a:gd name="T44" fmla="*/ 48 w 75"/>
                <a:gd name="T45" fmla="*/ 177 h 177"/>
                <a:gd name="T46" fmla="*/ 55 w 75"/>
                <a:gd name="T47" fmla="*/ 177 h 177"/>
                <a:gd name="T48" fmla="*/ 69 w 75"/>
                <a:gd name="T49" fmla="*/ 163 h 177"/>
                <a:gd name="T50" fmla="*/ 75 w 75"/>
                <a:gd name="T51" fmla="*/ 96 h 177"/>
                <a:gd name="T52" fmla="*/ 75 w 75"/>
                <a:gd name="T53" fmla="*/ 96 h 177"/>
                <a:gd name="T54" fmla="*/ 75 w 75"/>
                <a:gd name="T55" fmla="*/ 95 h 177"/>
                <a:gd name="T56" fmla="*/ 75 w 75"/>
                <a:gd name="T57" fmla="*/ 95 h 177"/>
                <a:gd name="T58" fmla="*/ 61 w 75"/>
                <a:gd name="T59" fmla="*/ 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5" h="177">
                  <a:moveTo>
                    <a:pt x="61" y="77"/>
                  </a:moveTo>
                  <a:cubicBezTo>
                    <a:pt x="61" y="0"/>
                    <a:pt x="61" y="0"/>
                    <a:pt x="61" y="0"/>
                  </a:cubicBezTo>
                  <a:cubicBezTo>
                    <a:pt x="48" y="0"/>
                    <a:pt x="48" y="0"/>
                    <a:pt x="48" y="0"/>
                  </a:cubicBezTo>
                  <a:cubicBezTo>
                    <a:pt x="20" y="0"/>
                    <a:pt x="20" y="0"/>
                    <a:pt x="20" y="0"/>
                  </a:cubicBezTo>
                  <a:cubicBezTo>
                    <a:pt x="7" y="0"/>
                    <a:pt x="0" y="6"/>
                    <a:pt x="0" y="21"/>
                  </a:cubicBezTo>
                  <a:cubicBezTo>
                    <a:pt x="0" y="24"/>
                    <a:pt x="0" y="24"/>
                    <a:pt x="0" y="24"/>
                  </a:cubicBezTo>
                  <a:cubicBezTo>
                    <a:pt x="0" y="40"/>
                    <a:pt x="0" y="40"/>
                    <a:pt x="0" y="40"/>
                  </a:cubicBezTo>
                  <a:cubicBezTo>
                    <a:pt x="0" y="55"/>
                    <a:pt x="0" y="55"/>
                    <a:pt x="0" y="55"/>
                  </a:cubicBezTo>
                  <a:cubicBezTo>
                    <a:pt x="0" y="83"/>
                    <a:pt x="0" y="83"/>
                    <a:pt x="0" y="83"/>
                  </a:cubicBezTo>
                  <a:cubicBezTo>
                    <a:pt x="0" y="83"/>
                    <a:pt x="0" y="83"/>
                    <a:pt x="0" y="83"/>
                  </a:cubicBezTo>
                  <a:cubicBezTo>
                    <a:pt x="0" y="88"/>
                    <a:pt x="4" y="91"/>
                    <a:pt x="8" y="91"/>
                  </a:cubicBezTo>
                  <a:cubicBezTo>
                    <a:pt x="12" y="91"/>
                    <a:pt x="15" y="88"/>
                    <a:pt x="16" y="84"/>
                  </a:cubicBezTo>
                  <a:cubicBezTo>
                    <a:pt x="16" y="84"/>
                    <a:pt x="16" y="84"/>
                    <a:pt x="16" y="83"/>
                  </a:cubicBezTo>
                  <a:cubicBezTo>
                    <a:pt x="16" y="27"/>
                    <a:pt x="16" y="27"/>
                    <a:pt x="16" y="27"/>
                  </a:cubicBezTo>
                  <a:cubicBezTo>
                    <a:pt x="16" y="26"/>
                    <a:pt x="17" y="25"/>
                    <a:pt x="18" y="25"/>
                  </a:cubicBezTo>
                  <a:cubicBezTo>
                    <a:pt x="19" y="25"/>
                    <a:pt x="20" y="26"/>
                    <a:pt x="20" y="27"/>
                  </a:cubicBezTo>
                  <a:cubicBezTo>
                    <a:pt x="20" y="87"/>
                    <a:pt x="20" y="87"/>
                    <a:pt x="20" y="87"/>
                  </a:cubicBezTo>
                  <a:cubicBezTo>
                    <a:pt x="20" y="87"/>
                    <a:pt x="20" y="92"/>
                    <a:pt x="20" y="95"/>
                  </a:cubicBezTo>
                  <a:cubicBezTo>
                    <a:pt x="20" y="96"/>
                    <a:pt x="20" y="96"/>
                    <a:pt x="20" y="96"/>
                  </a:cubicBezTo>
                  <a:cubicBezTo>
                    <a:pt x="20" y="96"/>
                    <a:pt x="20" y="96"/>
                    <a:pt x="20" y="96"/>
                  </a:cubicBezTo>
                  <a:cubicBezTo>
                    <a:pt x="27" y="163"/>
                    <a:pt x="27" y="163"/>
                    <a:pt x="27" y="163"/>
                  </a:cubicBezTo>
                  <a:cubicBezTo>
                    <a:pt x="28" y="173"/>
                    <a:pt x="31" y="177"/>
                    <a:pt x="40" y="177"/>
                  </a:cubicBezTo>
                  <a:cubicBezTo>
                    <a:pt x="48" y="177"/>
                    <a:pt x="48" y="177"/>
                    <a:pt x="48" y="177"/>
                  </a:cubicBezTo>
                  <a:cubicBezTo>
                    <a:pt x="55" y="177"/>
                    <a:pt x="55" y="177"/>
                    <a:pt x="55" y="177"/>
                  </a:cubicBezTo>
                  <a:cubicBezTo>
                    <a:pt x="64" y="177"/>
                    <a:pt x="68" y="173"/>
                    <a:pt x="69" y="163"/>
                  </a:cubicBezTo>
                  <a:cubicBezTo>
                    <a:pt x="75" y="96"/>
                    <a:pt x="75" y="96"/>
                    <a:pt x="75" y="96"/>
                  </a:cubicBezTo>
                  <a:cubicBezTo>
                    <a:pt x="75" y="96"/>
                    <a:pt x="75" y="96"/>
                    <a:pt x="75" y="96"/>
                  </a:cubicBezTo>
                  <a:cubicBezTo>
                    <a:pt x="75" y="95"/>
                    <a:pt x="75" y="95"/>
                    <a:pt x="75" y="95"/>
                  </a:cubicBezTo>
                  <a:cubicBezTo>
                    <a:pt x="75" y="95"/>
                    <a:pt x="75" y="95"/>
                    <a:pt x="75" y="95"/>
                  </a:cubicBezTo>
                  <a:cubicBezTo>
                    <a:pt x="67" y="93"/>
                    <a:pt x="61" y="85"/>
                    <a:pt x="61" y="7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39" name="Freeform 802"/>
            <p:cNvSpPr>
              <a:spLocks/>
            </p:cNvSpPr>
            <p:nvPr/>
          </p:nvSpPr>
          <p:spPr bwMode="auto">
            <a:xfrm>
              <a:off x="4662488" y="2346326"/>
              <a:ext cx="481013" cy="895350"/>
            </a:xfrm>
            <a:custGeom>
              <a:avLst/>
              <a:gdLst>
                <a:gd name="T0" fmla="*/ 101 w 128"/>
                <a:gd name="T1" fmla="*/ 0 h 238"/>
                <a:gd name="T2" fmla="*/ 64 w 128"/>
                <a:gd name="T3" fmla="*/ 0 h 238"/>
                <a:gd name="T4" fmla="*/ 27 w 128"/>
                <a:gd name="T5" fmla="*/ 0 h 238"/>
                <a:gd name="T6" fmla="*/ 0 w 128"/>
                <a:gd name="T7" fmla="*/ 29 h 238"/>
                <a:gd name="T8" fmla="*/ 0 w 128"/>
                <a:gd name="T9" fmla="*/ 32 h 238"/>
                <a:gd name="T10" fmla="*/ 0 w 128"/>
                <a:gd name="T11" fmla="*/ 54 h 238"/>
                <a:gd name="T12" fmla="*/ 0 w 128"/>
                <a:gd name="T13" fmla="*/ 74 h 238"/>
                <a:gd name="T14" fmla="*/ 0 w 128"/>
                <a:gd name="T15" fmla="*/ 112 h 238"/>
                <a:gd name="T16" fmla="*/ 0 w 128"/>
                <a:gd name="T17" fmla="*/ 112 h 238"/>
                <a:gd name="T18" fmla="*/ 11 w 128"/>
                <a:gd name="T19" fmla="*/ 122 h 238"/>
                <a:gd name="T20" fmla="*/ 21 w 128"/>
                <a:gd name="T21" fmla="*/ 113 h 238"/>
                <a:gd name="T22" fmla="*/ 21 w 128"/>
                <a:gd name="T23" fmla="*/ 112 h 238"/>
                <a:gd name="T24" fmla="*/ 21 w 128"/>
                <a:gd name="T25" fmla="*/ 36 h 238"/>
                <a:gd name="T26" fmla="*/ 24 w 128"/>
                <a:gd name="T27" fmla="*/ 33 h 238"/>
                <a:gd name="T28" fmla="*/ 27 w 128"/>
                <a:gd name="T29" fmla="*/ 36 h 238"/>
                <a:gd name="T30" fmla="*/ 27 w 128"/>
                <a:gd name="T31" fmla="*/ 116 h 238"/>
                <a:gd name="T32" fmla="*/ 27 w 128"/>
                <a:gd name="T33" fmla="*/ 128 h 238"/>
                <a:gd name="T34" fmla="*/ 27 w 128"/>
                <a:gd name="T35" fmla="*/ 128 h 238"/>
                <a:gd name="T36" fmla="*/ 27 w 128"/>
                <a:gd name="T37" fmla="*/ 128 h 238"/>
                <a:gd name="T38" fmla="*/ 36 w 128"/>
                <a:gd name="T39" fmla="*/ 219 h 238"/>
                <a:gd name="T40" fmla="*/ 54 w 128"/>
                <a:gd name="T41" fmla="*/ 238 h 238"/>
                <a:gd name="T42" fmla="*/ 64 w 128"/>
                <a:gd name="T43" fmla="*/ 238 h 238"/>
                <a:gd name="T44" fmla="*/ 74 w 128"/>
                <a:gd name="T45" fmla="*/ 238 h 238"/>
                <a:gd name="T46" fmla="*/ 92 w 128"/>
                <a:gd name="T47" fmla="*/ 219 h 238"/>
                <a:gd name="T48" fmla="*/ 101 w 128"/>
                <a:gd name="T49" fmla="*/ 128 h 238"/>
                <a:gd name="T50" fmla="*/ 101 w 128"/>
                <a:gd name="T51" fmla="*/ 128 h 238"/>
                <a:gd name="T52" fmla="*/ 101 w 128"/>
                <a:gd name="T53" fmla="*/ 128 h 238"/>
                <a:gd name="T54" fmla="*/ 101 w 128"/>
                <a:gd name="T55" fmla="*/ 116 h 238"/>
                <a:gd name="T56" fmla="*/ 101 w 128"/>
                <a:gd name="T57" fmla="*/ 36 h 238"/>
                <a:gd name="T58" fmla="*/ 104 w 128"/>
                <a:gd name="T59" fmla="*/ 33 h 238"/>
                <a:gd name="T60" fmla="*/ 106 w 128"/>
                <a:gd name="T61" fmla="*/ 36 h 238"/>
                <a:gd name="T62" fmla="*/ 106 w 128"/>
                <a:gd name="T63" fmla="*/ 112 h 238"/>
                <a:gd name="T64" fmla="*/ 107 w 128"/>
                <a:gd name="T65" fmla="*/ 113 h 238"/>
                <a:gd name="T66" fmla="*/ 117 w 128"/>
                <a:gd name="T67" fmla="*/ 122 h 238"/>
                <a:gd name="T68" fmla="*/ 128 w 128"/>
                <a:gd name="T69" fmla="*/ 112 h 238"/>
                <a:gd name="T70" fmla="*/ 128 w 128"/>
                <a:gd name="T71" fmla="*/ 112 h 238"/>
                <a:gd name="T72" fmla="*/ 128 w 128"/>
                <a:gd name="T73" fmla="*/ 54 h 238"/>
                <a:gd name="T74" fmla="*/ 128 w 128"/>
                <a:gd name="T75" fmla="*/ 32 h 238"/>
                <a:gd name="T76" fmla="*/ 128 w 128"/>
                <a:gd name="T77" fmla="*/ 29 h 238"/>
                <a:gd name="T78" fmla="*/ 101 w 128"/>
                <a:gd name="T79"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238">
                  <a:moveTo>
                    <a:pt x="101" y="0"/>
                  </a:moveTo>
                  <a:cubicBezTo>
                    <a:pt x="64" y="0"/>
                    <a:pt x="64" y="0"/>
                    <a:pt x="64" y="0"/>
                  </a:cubicBezTo>
                  <a:cubicBezTo>
                    <a:pt x="27" y="0"/>
                    <a:pt x="27" y="0"/>
                    <a:pt x="27" y="0"/>
                  </a:cubicBezTo>
                  <a:cubicBezTo>
                    <a:pt x="10" y="0"/>
                    <a:pt x="0" y="8"/>
                    <a:pt x="0" y="29"/>
                  </a:cubicBezTo>
                  <a:cubicBezTo>
                    <a:pt x="0" y="32"/>
                    <a:pt x="0" y="32"/>
                    <a:pt x="0" y="32"/>
                  </a:cubicBezTo>
                  <a:cubicBezTo>
                    <a:pt x="0" y="54"/>
                    <a:pt x="0" y="54"/>
                    <a:pt x="0" y="54"/>
                  </a:cubicBezTo>
                  <a:cubicBezTo>
                    <a:pt x="0" y="74"/>
                    <a:pt x="0" y="74"/>
                    <a:pt x="0" y="74"/>
                  </a:cubicBezTo>
                  <a:cubicBezTo>
                    <a:pt x="0" y="112"/>
                    <a:pt x="0" y="112"/>
                    <a:pt x="0" y="112"/>
                  </a:cubicBezTo>
                  <a:cubicBezTo>
                    <a:pt x="0" y="112"/>
                    <a:pt x="0" y="112"/>
                    <a:pt x="0" y="112"/>
                  </a:cubicBezTo>
                  <a:cubicBezTo>
                    <a:pt x="0" y="118"/>
                    <a:pt x="5" y="122"/>
                    <a:pt x="11" y="122"/>
                  </a:cubicBezTo>
                  <a:cubicBezTo>
                    <a:pt x="16" y="122"/>
                    <a:pt x="20" y="119"/>
                    <a:pt x="21" y="113"/>
                  </a:cubicBezTo>
                  <a:cubicBezTo>
                    <a:pt x="21" y="113"/>
                    <a:pt x="21" y="112"/>
                    <a:pt x="21" y="112"/>
                  </a:cubicBezTo>
                  <a:cubicBezTo>
                    <a:pt x="21" y="36"/>
                    <a:pt x="21" y="36"/>
                    <a:pt x="21" y="36"/>
                  </a:cubicBezTo>
                  <a:cubicBezTo>
                    <a:pt x="21" y="34"/>
                    <a:pt x="23" y="33"/>
                    <a:pt x="24" y="33"/>
                  </a:cubicBezTo>
                  <a:cubicBezTo>
                    <a:pt x="26" y="33"/>
                    <a:pt x="27" y="34"/>
                    <a:pt x="27" y="36"/>
                  </a:cubicBezTo>
                  <a:cubicBezTo>
                    <a:pt x="27" y="116"/>
                    <a:pt x="27" y="116"/>
                    <a:pt x="27" y="116"/>
                  </a:cubicBezTo>
                  <a:cubicBezTo>
                    <a:pt x="27" y="116"/>
                    <a:pt x="27" y="123"/>
                    <a:pt x="27" y="128"/>
                  </a:cubicBezTo>
                  <a:cubicBezTo>
                    <a:pt x="27" y="128"/>
                    <a:pt x="27" y="128"/>
                    <a:pt x="27" y="128"/>
                  </a:cubicBezTo>
                  <a:cubicBezTo>
                    <a:pt x="27" y="128"/>
                    <a:pt x="27" y="128"/>
                    <a:pt x="27" y="128"/>
                  </a:cubicBezTo>
                  <a:cubicBezTo>
                    <a:pt x="36" y="219"/>
                    <a:pt x="36" y="219"/>
                    <a:pt x="36" y="219"/>
                  </a:cubicBezTo>
                  <a:cubicBezTo>
                    <a:pt x="37" y="233"/>
                    <a:pt x="42" y="238"/>
                    <a:pt x="54" y="238"/>
                  </a:cubicBezTo>
                  <a:cubicBezTo>
                    <a:pt x="64" y="238"/>
                    <a:pt x="64" y="238"/>
                    <a:pt x="64" y="238"/>
                  </a:cubicBezTo>
                  <a:cubicBezTo>
                    <a:pt x="74" y="238"/>
                    <a:pt x="74" y="238"/>
                    <a:pt x="74" y="238"/>
                  </a:cubicBezTo>
                  <a:cubicBezTo>
                    <a:pt x="86" y="238"/>
                    <a:pt x="91" y="233"/>
                    <a:pt x="92" y="219"/>
                  </a:cubicBezTo>
                  <a:cubicBezTo>
                    <a:pt x="101" y="128"/>
                    <a:pt x="101" y="128"/>
                    <a:pt x="101" y="128"/>
                  </a:cubicBezTo>
                  <a:cubicBezTo>
                    <a:pt x="101" y="128"/>
                    <a:pt x="101" y="128"/>
                    <a:pt x="101" y="128"/>
                  </a:cubicBezTo>
                  <a:cubicBezTo>
                    <a:pt x="101" y="128"/>
                    <a:pt x="101" y="128"/>
                    <a:pt x="101" y="128"/>
                  </a:cubicBezTo>
                  <a:cubicBezTo>
                    <a:pt x="101" y="123"/>
                    <a:pt x="101" y="116"/>
                    <a:pt x="101" y="116"/>
                  </a:cubicBezTo>
                  <a:cubicBezTo>
                    <a:pt x="101" y="36"/>
                    <a:pt x="101" y="36"/>
                    <a:pt x="101" y="36"/>
                  </a:cubicBezTo>
                  <a:cubicBezTo>
                    <a:pt x="101" y="34"/>
                    <a:pt x="102" y="33"/>
                    <a:pt x="104" y="33"/>
                  </a:cubicBezTo>
                  <a:cubicBezTo>
                    <a:pt x="105" y="33"/>
                    <a:pt x="106" y="34"/>
                    <a:pt x="106" y="36"/>
                  </a:cubicBezTo>
                  <a:cubicBezTo>
                    <a:pt x="106" y="112"/>
                    <a:pt x="106" y="112"/>
                    <a:pt x="106" y="112"/>
                  </a:cubicBezTo>
                  <a:cubicBezTo>
                    <a:pt x="106" y="112"/>
                    <a:pt x="107" y="113"/>
                    <a:pt x="107" y="113"/>
                  </a:cubicBezTo>
                  <a:cubicBezTo>
                    <a:pt x="107" y="119"/>
                    <a:pt x="112" y="122"/>
                    <a:pt x="117" y="122"/>
                  </a:cubicBezTo>
                  <a:cubicBezTo>
                    <a:pt x="123" y="122"/>
                    <a:pt x="128" y="118"/>
                    <a:pt x="128" y="112"/>
                  </a:cubicBezTo>
                  <a:cubicBezTo>
                    <a:pt x="128" y="112"/>
                    <a:pt x="128" y="112"/>
                    <a:pt x="128" y="112"/>
                  </a:cubicBezTo>
                  <a:cubicBezTo>
                    <a:pt x="128" y="54"/>
                    <a:pt x="128" y="54"/>
                    <a:pt x="128" y="54"/>
                  </a:cubicBezTo>
                  <a:cubicBezTo>
                    <a:pt x="128" y="32"/>
                    <a:pt x="128" y="32"/>
                    <a:pt x="128" y="32"/>
                  </a:cubicBezTo>
                  <a:cubicBezTo>
                    <a:pt x="128" y="29"/>
                    <a:pt x="128" y="29"/>
                    <a:pt x="128" y="29"/>
                  </a:cubicBezTo>
                  <a:cubicBezTo>
                    <a:pt x="128" y="8"/>
                    <a:pt x="118" y="0"/>
                    <a:pt x="10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nvGrpSpPr>
          <p:cNvPr id="452" name="Group 451"/>
          <p:cNvGrpSpPr/>
          <p:nvPr/>
        </p:nvGrpSpPr>
        <p:grpSpPr>
          <a:xfrm>
            <a:off x="2756746" y="4588742"/>
            <a:ext cx="1540924" cy="480994"/>
            <a:chOff x="2541226" y="2809769"/>
            <a:chExt cx="1282879" cy="399811"/>
          </a:xfrm>
        </p:grpSpPr>
        <p:grpSp>
          <p:nvGrpSpPr>
            <p:cNvPr id="440" name="Group 439"/>
            <p:cNvGrpSpPr/>
            <p:nvPr/>
          </p:nvGrpSpPr>
          <p:grpSpPr>
            <a:xfrm>
              <a:off x="2541226" y="2809769"/>
              <a:ext cx="399347" cy="399811"/>
              <a:chOff x="3879851" y="1882776"/>
              <a:chExt cx="1368425" cy="1370013"/>
            </a:xfrm>
            <a:solidFill>
              <a:srgbClr val="000000"/>
            </a:solidFill>
          </p:grpSpPr>
          <p:sp>
            <p:nvSpPr>
              <p:cNvPr id="441" name="Freeform 513"/>
              <p:cNvSpPr>
                <a:spLocks noEditPoints="1"/>
              </p:cNvSpPr>
              <p:nvPr/>
            </p:nvSpPr>
            <p:spPr bwMode="auto">
              <a:xfrm>
                <a:off x="3879851" y="1882776"/>
                <a:ext cx="1368425" cy="1370013"/>
              </a:xfrm>
              <a:custGeom>
                <a:avLst/>
                <a:gdLst>
                  <a:gd name="T0" fmla="*/ 342 w 364"/>
                  <a:gd name="T1" fmla="*/ 0 h 364"/>
                  <a:gd name="T2" fmla="*/ 0 w 364"/>
                  <a:gd name="T3" fmla="*/ 0 h 364"/>
                  <a:gd name="T4" fmla="*/ 0 w 364"/>
                  <a:gd name="T5" fmla="*/ 341 h 364"/>
                  <a:gd name="T6" fmla="*/ 22 w 364"/>
                  <a:gd name="T7" fmla="*/ 364 h 364"/>
                  <a:gd name="T8" fmla="*/ 364 w 364"/>
                  <a:gd name="T9" fmla="*/ 364 h 364"/>
                  <a:gd name="T10" fmla="*/ 364 w 364"/>
                  <a:gd name="T11" fmla="*/ 25 h 364"/>
                  <a:gd name="T12" fmla="*/ 342 w 364"/>
                  <a:gd name="T13" fmla="*/ 0 h 364"/>
                  <a:gd name="T14" fmla="*/ 255 w 364"/>
                  <a:gd name="T15" fmla="*/ 259 h 364"/>
                  <a:gd name="T16" fmla="*/ 242 w 364"/>
                  <a:gd name="T17" fmla="*/ 280 h 364"/>
                  <a:gd name="T18" fmla="*/ 219 w 364"/>
                  <a:gd name="T19" fmla="*/ 292 h 364"/>
                  <a:gd name="T20" fmla="*/ 188 w 364"/>
                  <a:gd name="T21" fmla="*/ 296 h 364"/>
                  <a:gd name="T22" fmla="*/ 185 w 364"/>
                  <a:gd name="T23" fmla="*/ 330 h 364"/>
                  <a:gd name="T24" fmla="*/ 168 w 364"/>
                  <a:gd name="T25" fmla="*/ 330 h 364"/>
                  <a:gd name="T26" fmla="*/ 161 w 364"/>
                  <a:gd name="T27" fmla="*/ 327 h 364"/>
                  <a:gd name="T28" fmla="*/ 159 w 364"/>
                  <a:gd name="T29" fmla="*/ 320 h 364"/>
                  <a:gd name="T30" fmla="*/ 161 w 364"/>
                  <a:gd name="T31" fmla="*/ 296 h 364"/>
                  <a:gd name="T32" fmla="*/ 140 w 364"/>
                  <a:gd name="T33" fmla="*/ 294 h 364"/>
                  <a:gd name="T34" fmla="*/ 124 w 364"/>
                  <a:gd name="T35" fmla="*/ 290 h 364"/>
                  <a:gd name="T36" fmla="*/ 114 w 364"/>
                  <a:gd name="T37" fmla="*/ 284 h 364"/>
                  <a:gd name="T38" fmla="*/ 111 w 364"/>
                  <a:gd name="T39" fmla="*/ 275 h 364"/>
                  <a:gd name="T40" fmla="*/ 111 w 364"/>
                  <a:gd name="T41" fmla="*/ 251 h 364"/>
                  <a:gd name="T42" fmla="*/ 124 w 364"/>
                  <a:gd name="T43" fmla="*/ 252 h 364"/>
                  <a:gd name="T44" fmla="*/ 138 w 364"/>
                  <a:gd name="T45" fmla="*/ 252 h 364"/>
                  <a:gd name="T46" fmla="*/ 152 w 364"/>
                  <a:gd name="T47" fmla="*/ 253 h 364"/>
                  <a:gd name="T48" fmla="*/ 165 w 364"/>
                  <a:gd name="T49" fmla="*/ 253 h 364"/>
                  <a:gd name="T50" fmla="*/ 169 w 364"/>
                  <a:gd name="T51" fmla="*/ 202 h 364"/>
                  <a:gd name="T52" fmla="*/ 141 w 364"/>
                  <a:gd name="T53" fmla="*/ 191 h 364"/>
                  <a:gd name="T54" fmla="*/ 122 w 364"/>
                  <a:gd name="T55" fmla="*/ 176 h 364"/>
                  <a:gd name="T56" fmla="*/ 112 w 364"/>
                  <a:gd name="T57" fmla="*/ 159 h 364"/>
                  <a:gd name="T58" fmla="*/ 109 w 364"/>
                  <a:gd name="T59" fmla="*/ 137 h 364"/>
                  <a:gd name="T60" fmla="*/ 114 w 364"/>
                  <a:gd name="T61" fmla="*/ 106 h 364"/>
                  <a:gd name="T62" fmla="*/ 128 w 364"/>
                  <a:gd name="T63" fmla="*/ 85 h 364"/>
                  <a:gd name="T64" fmla="*/ 150 w 364"/>
                  <a:gd name="T65" fmla="*/ 74 h 364"/>
                  <a:gd name="T66" fmla="*/ 179 w 364"/>
                  <a:gd name="T67" fmla="*/ 69 h 364"/>
                  <a:gd name="T68" fmla="*/ 181 w 364"/>
                  <a:gd name="T69" fmla="*/ 37 h 364"/>
                  <a:gd name="T70" fmla="*/ 198 w 364"/>
                  <a:gd name="T71" fmla="*/ 37 h 364"/>
                  <a:gd name="T72" fmla="*/ 206 w 364"/>
                  <a:gd name="T73" fmla="*/ 40 h 364"/>
                  <a:gd name="T74" fmla="*/ 207 w 364"/>
                  <a:gd name="T75" fmla="*/ 48 h 364"/>
                  <a:gd name="T76" fmla="*/ 206 w 364"/>
                  <a:gd name="T77" fmla="*/ 69 h 364"/>
                  <a:gd name="T78" fmla="*/ 226 w 364"/>
                  <a:gd name="T79" fmla="*/ 71 h 364"/>
                  <a:gd name="T80" fmla="*/ 240 w 364"/>
                  <a:gd name="T81" fmla="*/ 75 h 364"/>
                  <a:gd name="T82" fmla="*/ 250 w 364"/>
                  <a:gd name="T83" fmla="*/ 83 h 364"/>
                  <a:gd name="T84" fmla="*/ 252 w 364"/>
                  <a:gd name="T85" fmla="*/ 93 h 364"/>
                  <a:gd name="T86" fmla="*/ 252 w 364"/>
                  <a:gd name="T87" fmla="*/ 114 h 364"/>
                  <a:gd name="T88" fmla="*/ 227 w 364"/>
                  <a:gd name="T89" fmla="*/ 112 h 364"/>
                  <a:gd name="T90" fmla="*/ 202 w 364"/>
                  <a:gd name="T91" fmla="*/ 111 h 364"/>
                  <a:gd name="T92" fmla="*/ 198 w 364"/>
                  <a:gd name="T93" fmla="*/ 161 h 364"/>
                  <a:gd name="T94" fmla="*/ 227 w 364"/>
                  <a:gd name="T95" fmla="*/ 173 h 364"/>
                  <a:gd name="T96" fmla="*/ 246 w 364"/>
                  <a:gd name="T97" fmla="*/ 185 h 364"/>
                  <a:gd name="T98" fmla="*/ 257 w 364"/>
                  <a:gd name="T99" fmla="*/ 203 h 364"/>
                  <a:gd name="T100" fmla="*/ 260 w 364"/>
                  <a:gd name="T101" fmla="*/ 227 h 364"/>
                  <a:gd name="T102" fmla="*/ 255 w 364"/>
                  <a:gd name="T103" fmla="*/ 25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4" h="364">
                    <a:moveTo>
                      <a:pt x="342" y="0"/>
                    </a:moveTo>
                    <a:cubicBezTo>
                      <a:pt x="0" y="0"/>
                      <a:pt x="0" y="0"/>
                      <a:pt x="0" y="0"/>
                    </a:cubicBezTo>
                    <a:cubicBezTo>
                      <a:pt x="0" y="341"/>
                      <a:pt x="0" y="341"/>
                      <a:pt x="0" y="341"/>
                    </a:cubicBezTo>
                    <a:cubicBezTo>
                      <a:pt x="0" y="354"/>
                      <a:pt x="10" y="364"/>
                      <a:pt x="22" y="364"/>
                    </a:cubicBezTo>
                    <a:cubicBezTo>
                      <a:pt x="364" y="364"/>
                      <a:pt x="364" y="364"/>
                      <a:pt x="364" y="364"/>
                    </a:cubicBezTo>
                    <a:cubicBezTo>
                      <a:pt x="364" y="25"/>
                      <a:pt x="364" y="25"/>
                      <a:pt x="364" y="25"/>
                    </a:cubicBezTo>
                    <a:cubicBezTo>
                      <a:pt x="364" y="12"/>
                      <a:pt x="354" y="0"/>
                      <a:pt x="342" y="0"/>
                    </a:cubicBezTo>
                    <a:moveTo>
                      <a:pt x="255" y="259"/>
                    </a:moveTo>
                    <a:cubicBezTo>
                      <a:pt x="252" y="267"/>
                      <a:pt x="248" y="274"/>
                      <a:pt x="242" y="280"/>
                    </a:cubicBezTo>
                    <a:cubicBezTo>
                      <a:pt x="236" y="285"/>
                      <a:pt x="228" y="289"/>
                      <a:pt x="219" y="292"/>
                    </a:cubicBezTo>
                    <a:cubicBezTo>
                      <a:pt x="210" y="294"/>
                      <a:pt x="200" y="296"/>
                      <a:pt x="188" y="296"/>
                    </a:cubicBezTo>
                    <a:cubicBezTo>
                      <a:pt x="185" y="330"/>
                      <a:pt x="185" y="330"/>
                      <a:pt x="185" y="330"/>
                    </a:cubicBezTo>
                    <a:cubicBezTo>
                      <a:pt x="168" y="330"/>
                      <a:pt x="168" y="330"/>
                      <a:pt x="168" y="330"/>
                    </a:cubicBezTo>
                    <a:cubicBezTo>
                      <a:pt x="164" y="330"/>
                      <a:pt x="162" y="329"/>
                      <a:pt x="161" y="327"/>
                    </a:cubicBezTo>
                    <a:cubicBezTo>
                      <a:pt x="160" y="325"/>
                      <a:pt x="159" y="323"/>
                      <a:pt x="159" y="320"/>
                    </a:cubicBezTo>
                    <a:cubicBezTo>
                      <a:pt x="161" y="296"/>
                      <a:pt x="161" y="296"/>
                      <a:pt x="161" y="296"/>
                    </a:cubicBezTo>
                    <a:cubicBezTo>
                      <a:pt x="153" y="296"/>
                      <a:pt x="146" y="295"/>
                      <a:pt x="140" y="294"/>
                    </a:cubicBezTo>
                    <a:cubicBezTo>
                      <a:pt x="133" y="293"/>
                      <a:pt x="128" y="292"/>
                      <a:pt x="124" y="290"/>
                    </a:cubicBezTo>
                    <a:cubicBezTo>
                      <a:pt x="119" y="288"/>
                      <a:pt x="116" y="286"/>
                      <a:pt x="114" y="284"/>
                    </a:cubicBezTo>
                    <a:cubicBezTo>
                      <a:pt x="112" y="281"/>
                      <a:pt x="111" y="278"/>
                      <a:pt x="111" y="275"/>
                    </a:cubicBezTo>
                    <a:cubicBezTo>
                      <a:pt x="111" y="251"/>
                      <a:pt x="111" y="251"/>
                      <a:pt x="111" y="251"/>
                    </a:cubicBezTo>
                    <a:cubicBezTo>
                      <a:pt x="115" y="251"/>
                      <a:pt x="119" y="251"/>
                      <a:pt x="124" y="252"/>
                    </a:cubicBezTo>
                    <a:cubicBezTo>
                      <a:pt x="129" y="252"/>
                      <a:pt x="134" y="252"/>
                      <a:pt x="138" y="252"/>
                    </a:cubicBezTo>
                    <a:cubicBezTo>
                      <a:pt x="143" y="252"/>
                      <a:pt x="148" y="253"/>
                      <a:pt x="152" y="253"/>
                    </a:cubicBezTo>
                    <a:cubicBezTo>
                      <a:pt x="157" y="253"/>
                      <a:pt x="161" y="253"/>
                      <a:pt x="165" y="253"/>
                    </a:cubicBezTo>
                    <a:cubicBezTo>
                      <a:pt x="169" y="202"/>
                      <a:pt x="169" y="202"/>
                      <a:pt x="169" y="202"/>
                    </a:cubicBezTo>
                    <a:cubicBezTo>
                      <a:pt x="158" y="198"/>
                      <a:pt x="149" y="195"/>
                      <a:pt x="141" y="191"/>
                    </a:cubicBezTo>
                    <a:cubicBezTo>
                      <a:pt x="133" y="186"/>
                      <a:pt x="127" y="182"/>
                      <a:pt x="122" y="176"/>
                    </a:cubicBezTo>
                    <a:cubicBezTo>
                      <a:pt x="117" y="171"/>
                      <a:pt x="114" y="165"/>
                      <a:pt x="112" y="159"/>
                    </a:cubicBezTo>
                    <a:cubicBezTo>
                      <a:pt x="110" y="152"/>
                      <a:pt x="109" y="145"/>
                      <a:pt x="109" y="137"/>
                    </a:cubicBezTo>
                    <a:cubicBezTo>
                      <a:pt x="109" y="124"/>
                      <a:pt x="110" y="114"/>
                      <a:pt x="114" y="106"/>
                    </a:cubicBezTo>
                    <a:cubicBezTo>
                      <a:pt x="117" y="97"/>
                      <a:pt x="122" y="90"/>
                      <a:pt x="128" y="85"/>
                    </a:cubicBezTo>
                    <a:cubicBezTo>
                      <a:pt x="134" y="80"/>
                      <a:pt x="142" y="76"/>
                      <a:pt x="150" y="74"/>
                    </a:cubicBezTo>
                    <a:cubicBezTo>
                      <a:pt x="159" y="71"/>
                      <a:pt x="168" y="70"/>
                      <a:pt x="179" y="69"/>
                    </a:cubicBezTo>
                    <a:cubicBezTo>
                      <a:pt x="181" y="37"/>
                      <a:pt x="181" y="37"/>
                      <a:pt x="181" y="37"/>
                    </a:cubicBezTo>
                    <a:cubicBezTo>
                      <a:pt x="198" y="37"/>
                      <a:pt x="198" y="37"/>
                      <a:pt x="198" y="37"/>
                    </a:cubicBezTo>
                    <a:cubicBezTo>
                      <a:pt x="202" y="37"/>
                      <a:pt x="205" y="38"/>
                      <a:pt x="206" y="40"/>
                    </a:cubicBezTo>
                    <a:cubicBezTo>
                      <a:pt x="207" y="42"/>
                      <a:pt x="207" y="45"/>
                      <a:pt x="207" y="48"/>
                    </a:cubicBezTo>
                    <a:cubicBezTo>
                      <a:pt x="206" y="69"/>
                      <a:pt x="206" y="69"/>
                      <a:pt x="206" y="69"/>
                    </a:cubicBezTo>
                    <a:cubicBezTo>
                      <a:pt x="213" y="69"/>
                      <a:pt x="220" y="70"/>
                      <a:pt x="226" y="71"/>
                    </a:cubicBezTo>
                    <a:cubicBezTo>
                      <a:pt x="231" y="73"/>
                      <a:pt x="236" y="74"/>
                      <a:pt x="240" y="75"/>
                    </a:cubicBezTo>
                    <a:cubicBezTo>
                      <a:pt x="246" y="78"/>
                      <a:pt x="249" y="80"/>
                      <a:pt x="250" y="83"/>
                    </a:cubicBezTo>
                    <a:cubicBezTo>
                      <a:pt x="251" y="87"/>
                      <a:pt x="252" y="90"/>
                      <a:pt x="252" y="93"/>
                    </a:cubicBezTo>
                    <a:cubicBezTo>
                      <a:pt x="252" y="114"/>
                      <a:pt x="252" y="114"/>
                      <a:pt x="252" y="114"/>
                    </a:cubicBezTo>
                    <a:cubicBezTo>
                      <a:pt x="244" y="113"/>
                      <a:pt x="236" y="112"/>
                      <a:pt x="227" y="112"/>
                    </a:cubicBezTo>
                    <a:cubicBezTo>
                      <a:pt x="219" y="112"/>
                      <a:pt x="211" y="111"/>
                      <a:pt x="202" y="111"/>
                    </a:cubicBezTo>
                    <a:cubicBezTo>
                      <a:pt x="198" y="161"/>
                      <a:pt x="198" y="161"/>
                      <a:pt x="198" y="161"/>
                    </a:cubicBezTo>
                    <a:cubicBezTo>
                      <a:pt x="210" y="165"/>
                      <a:pt x="219" y="169"/>
                      <a:pt x="227" y="173"/>
                    </a:cubicBezTo>
                    <a:cubicBezTo>
                      <a:pt x="235" y="176"/>
                      <a:pt x="241" y="180"/>
                      <a:pt x="246" y="185"/>
                    </a:cubicBezTo>
                    <a:cubicBezTo>
                      <a:pt x="251" y="190"/>
                      <a:pt x="254" y="196"/>
                      <a:pt x="257" y="203"/>
                    </a:cubicBezTo>
                    <a:cubicBezTo>
                      <a:pt x="259" y="209"/>
                      <a:pt x="260" y="218"/>
                      <a:pt x="260" y="227"/>
                    </a:cubicBezTo>
                    <a:cubicBezTo>
                      <a:pt x="260" y="240"/>
                      <a:pt x="258" y="250"/>
                      <a:pt x="255" y="2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42" name="Freeform 514"/>
              <p:cNvSpPr>
                <a:spLocks/>
              </p:cNvSpPr>
              <p:nvPr/>
            </p:nvSpPr>
            <p:spPr bwMode="auto">
              <a:xfrm>
                <a:off x="4459288" y="2305051"/>
                <a:ext cx="79375" cy="165100"/>
              </a:xfrm>
              <a:custGeom>
                <a:avLst/>
                <a:gdLst>
                  <a:gd name="T0" fmla="*/ 4 w 21"/>
                  <a:gd name="T1" fmla="*/ 6 h 44"/>
                  <a:gd name="T2" fmla="*/ 0 w 21"/>
                  <a:gd name="T3" fmla="*/ 22 h 44"/>
                  <a:gd name="T4" fmla="*/ 4 w 21"/>
                  <a:gd name="T5" fmla="*/ 36 h 44"/>
                  <a:gd name="T6" fmla="*/ 18 w 21"/>
                  <a:gd name="T7" fmla="*/ 44 h 44"/>
                  <a:gd name="T8" fmla="*/ 21 w 21"/>
                  <a:gd name="T9" fmla="*/ 0 h 44"/>
                  <a:gd name="T10" fmla="*/ 4 w 21"/>
                  <a:gd name="T11" fmla="*/ 6 h 44"/>
                </a:gdLst>
                <a:ahLst/>
                <a:cxnLst>
                  <a:cxn ang="0">
                    <a:pos x="T0" y="T1"/>
                  </a:cxn>
                  <a:cxn ang="0">
                    <a:pos x="T2" y="T3"/>
                  </a:cxn>
                  <a:cxn ang="0">
                    <a:pos x="T4" y="T5"/>
                  </a:cxn>
                  <a:cxn ang="0">
                    <a:pos x="T6" y="T7"/>
                  </a:cxn>
                  <a:cxn ang="0">
                    <a:pos x="T8" y="T9"/>
                  </a:cxn>
                  <a:cxn ang="0">
                    <a:pos x="T10" y="T11"/>
                  </a:cxn>
                </a:cxnLst>
                <a:rect l="0" t="0" r="r" b="b"/>
                <a:pathLst>
                  <a:path w="21" h="44">
                    <a:moveTo>
                      <a:pt x="4" y="6"/>
                    </a:moveTo>
                    <a:cubicBezTo>
                      <a:pt x="1" y="10"/>
                      <a:pt x="0" y="15"/>
                      <a:pt x="0" y="22"/>
                    </a:cubicBezTo>
                    <a:cubicBezTo>
                      <a:pt x="0" y="28"/>
                      <a:pt x="1" y="33"/>
                      <a:pt x="4" y="36"/>
                    </a:cubicBezTo>
                    <a:cubicBezTo>
                      <a:pt x="7" y="39"/>
                      <a:pt x="11" y="42"/>
                      <a:pt x="18" y="44"/>
                    </a:cubicBezTo>
                    <a:cubicBezTo>
                      <a:pt x="21" y="0"/>
                      <a:pt x="21" y="0"/>
                      <a:pt x="21" y="0"/>
                    </a:cubicBezTo>
                    <a:cubicBezTo>
                      <a:pt x="13" y="0"/>
                      <a:pt x="7" y="3"/>
                      <a:pt x="4"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43" name="Freeform 515"/>
              <p:cNvSpPr>
                <a:spLocks/>
              </p:cNvSpPr>
              <p:nvPr/>
            </p:nvSpPr>
            <p:spPr bwMode="auto">
              <a:xfrm>
                <a:off x="4598988" y="2662238"/>
                <a:ext cx="82550" cy="173038"/>
              </a:xfrm>
              <a:custGeom>
                <a:avLst/>
                <a:gdLst>
                  <a:gd name="T0" fmla="*/ 4 w 22"/>
                  <a:gd name="T1" fmla="*/ 0 h 46"/>
                  <a:gd name="T2" fmla="*/ 0 w 22"/>
                  <a:gd name="T3" fmla="*/ 46 h 46"/>
                  <a:gd name="T4" fmla="*/ 18 w 22"/>
                  <a:gd name="T5" fmla="*/ 39 h 46"/>
                  <a:gd name="T6" fmla="*/ 22 w 22"/>
                  <a:gd name="T7" fmla="*/ 23 h 46"/>
                  <a:gd name="T8" fmla="*/ 18 w 22"/>
                  <a:gd name="T9" fmla="*/ 7 h 46"/>
                  <a:gd name="T10" fmla="*/ 4 w 22"/>
                  <a:gd name="T11" fmla="*/ 0 h 46"/>
                </a:gdLst>
                <a:ahLst/>
                <a:cxnLst>
                  <a:cxn ang="0">
                    <a:pos x="T0" y="T1"/>
                  </a:cxn>
                  <a:cxn ang="0">
                    <a:pos x="T2" y="T3"/>
                  </a:cxn>
                  <a:cxn ang="0">
                    <a:pos x="T4" y="T5"/>
                  </a:cxn>
                  <a:cxn ang="0">
                    <a:pos x="T6" y="T7"/>
                  </a:cxn>
                  <a:cxn ang="0">
                    <a:pos x="T8" y="T9"/>
                  </a:cxn>
                  <a:cxn ang="0">
                    <a:pos x="T10" y="T11"/>
                  </a:cxn>
                </a:cxnLst>
                <a:rect l="0" t="0" r="r" b="b"/>
                <a:pathLst>
                  <a:path w="22" h="46">
                    <a:moveTo>
                      <a:pt x="4" y="0"/>
                    </a:moveTo>
                    <a:cubicBezTo>
                      <a:pt x="0" y="46"/>
                      <a:pt x="0" y="46"/>
                      <a:pt x="0" y="46"/>
                    </a:cubicBezTo>
                    <a:cubicBezTo>
                      <a:pt x="9" y="45"/>
                      <a:pt x="14" y="43"/>
                      <a:pt x="18" y="39"/>
                    </a:cubicBezTo>
                    <a:cubicBezTo>
                      <a:pt x="21" y="35"/>
                      <a:pt x="22" y="30"/>
                      <a:pt x="22" y="23"/>
                    </a:cubicBezTo>
                    <a:cubicBezTo>
                      <a:pt x="22" y="15"/>
                      <a:pt x="21" y="10"/>
                      <a:pt x="18" y="7"/>
                    </a:cubicBezTo>
                    <a:cubicBezTo>
                      <a:pt x="15" y="5"/>
                      <a:pt x="10"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nvGrpSpPr>
            <p:cNvPr id="444" name="Group 443"/>
            <p:cNvGrpSpPr/>
            <p:nvPr/>
          </p:nvGrpSpPr>
          <p:grpSpPr>
            <a:xfrm>
              <a:off x="2982992" y="2809769"/>
              <a:ext cx="399347" cy="399811"/>
              <a:chOff x="3879851" y="1882776"/>
              <a:chExt cx="1368425" cy="1370013"/>
            </a:xfrm>
            <a:solidFill>
              <a:srgbClr val="000000"/>
            </a:solidFill>
          </p:grpSpPr>
          <p:sp>
            <p:nvSpPr>
              <p:cNvPr id="445" name="Freeform 513"/>
              <p:cNvSpPr>
                <a:spLocks noEditPoints="1"/>
              </p:cNvSpPr>
              <p:nvPr/>
            </p:nvSpPr>
            <p:spPr bwMode="auto">
              <a:xfrm>
                <a:off x="3879851" y="1882776"/>
                <a:ext cx="1368425" cy="1370013"/>
              </a:xfrm>
              <a:custGeom>
                <a:avLst/>
                <a:gdLst>
                  <a:gd name="T0" fmla="*/ 342 w 364"/>
                  <a:gd name="T1" fmla="*/ 0 h 364"/>
                  <a:gd name="T2" fmla="*/ 0 w 364"/>
                  <a:gd name="T3" fmla="*/ 0 h 364"/>
                  <a:gd name="T4" fmla="*/ 0 w 364"/>
                  <a:gd name="T5" fmla="*/ 341 h 364"/>
                  <a:gd name="T6" fmla="*/ 22 w 364"/>
                  <a:gd name="T7" fmla="*/ 364 h 364"/>
                  <a:gd name="T8" fmla="*/ 364 w 364"/>
                  <a:gd name="T9" fmla="*/ 364 h 364"/>
                  <a:gd name="T10" fmla="*/ 364 w 364"/>
                  <a:gd name="T11" fmla="*/ 25 h 364"/>
                  <a:gd name="T12" fmla="*/ 342 w 364"/>
                  <a:gd name="T13" fmla="*/ 0 h 364"/>
                  <a:gd name="T14" fmla="*/ 255 w 364"/>
                  <a:gd name="T15" fmla="*/ 259 h 364"/>
                  <a:gd name="T16" fmla="*/ 242 w 364"/>
                  <a:gd name="T17" fmla="*/ 280 h 364"/>
                  <a:gd name="T18" fmla="*/ 219 w 364"/>
                  <a:gd name="T19" fmla="*/ 292 h 364"/>
                  <a:gd name="T20" fmla="*/ 188 w 364"/>
                  <a:gd name="T21" fmla="*/ 296 h 364"/>
                  <a:gd name="T22" fmla="*/ 185 w 364"/>
                  <a:gd name="T23" fmla="*/ 330 h 364"/>
                  <a:gd name="T24" fmla="*/ 168 w 364"/>
                  <a:gd name="T25" fmla="*/ 330 h 364"/>
                  <a:gd name="T26" fmla="*/ 161 w 364"/>
                  <a:gd name="T27" fmla="*/ 327 h 364"/>
                  <a:gd name="T28" fmla="*/ 159 w 364"/>
                  <a:gd name="T29" fmla="*/ 320 h 364"/>
                  <a:gd name="T30" fmla="*/ 161 w 364"/>
                  <a:gd name="T31" fmla="*/ 296 h 364"/>
                  <a:gd name="T32" fmla="*/ 140 w 364"/>
                  <a:gd name="T33" fmla="*/ 294 h 364"/>
                  <a:gd name="T34" fmla="*/ 124 w 364"/>
                  <a:gd name="T35" fmla="*/ 290 h 364"/>
                  <a:gd name="T36" fmla="*/ 114 w 364"/>
                  <a:gd name="T37" fmla="*/ 284 h 364"/>
                  <a:gd name="T38" fmla="*/ 111 w 364"/>
                  <a:gd name="T39" fmla="*/ 275 h 364"/>
                  <a:gd name="T40" fmla="*/ 111 w 364"/>
                  <a:gd name="T41" fmla="*/ 251 h 364"/>
                  <a:gd name="T42" fmla="*/ 124 w 364"/>
                  <a:gd name="T43" fmla="*/ 252 h 364"/>
                  <a:gd name="T44" fmla="*/ 138 w 364"/>
                  <a:gd name="T45" fmla="*/ 252 h 364"/>
                  <a:gd name="T46" fmla="*/ 152 w 364"/>
                  <a:gd name="T47" fmla="*/ 253 h 364"/>
                  <a:gd name="T48" fmla="*/ 165 w 364"/>
                  <a:gd name="T49" fmla="*/ 253 h 364"/>
                  <a:gd name="T50" fmla="*/ 169 w 364"/>
                  <a:gd name="T51" fmla="*/ 202 h 364"/>
                  <a:gd name="T52" fmla="*/ 141 w 364"/>
                  <a:gd name="T53" fmla="*/ 191 h 364"/>
                  <a:gd name="T54" fmla="*/ 122 w 364"/>
                  <a:gd name="T55" fmla="*/ 176 h 364"/>
                  <a:gd name="T56" fmla="*/ 112 w 364"/>
                  <a:gd name="T57" fmla="*/ 159 h 364"/>
                  <a:gd name="T58" fmla="*/ 109 w 364"/>
                  <a:gd name="T59" fmla="*/ 137 h 364"/>
                  <a:gd name="T60" fmla="*/ 114 w 364"/>
                  <a:gd name="T61" fmla="*/ 106 h 364"/>
                  <a:gd name="T62" fmla="*/ 128 w 364"/>
                  <a:gd name="T63" fmla="*/ 85 h 364"/>
                  <a:gd name="T64" fmla="*/ 150 w 364"/>
                  <a:gd name="T65" fmla="*/ 74 h 364"/>
                  <a:gd name="T66" fmla="*/ 179 w 364"/>
                  <a:gd name="T67" fmla="*/ 69 h 364"/>
                  <a:gd name="T68" fmla="*/ 181 w 364"/>
                  <a:gd name="T69" fmla="*/ 37 h 364"/>
                  <a:gd name="T70" fmla="*/ 198 w 364"/>
                  <a:gd name="T71" fmla="*/ 37 h 364"/>
                  <a:gd name="T72" fmla="*/ 206 w 364"/>
                  <a:gd name="T73" fmla="*/ 40 h 364"/>
                  <a:gd name="T74" fmla="*/ 207 w 364"/>
                  <a:gd name="T75" fmla="*/ 48 h 364"/>
                  <a:gd name="T76" fmla="*/ 206 w 364"/>
                  <a:gd name="T77" fmla="*/ 69 h 364"/>
                  <a:gd name="T78" fmla="*/ 226 w 364"/>
                  <a:gd name="T79" fmla="*/ 71 h 364"/>
                  <a:gd name="T80" fmla="*/ 240 w 364"/>
                  <a:gd name="T81" fmla="*/ 75 h 364"/>
                  <a:gd name="T82" fmla="*/ 250 w 364"/>
                  <a:gd name="T83" fmla="*/ 83 h 364"/>
                  <a:gd name="T84" fmla="*/ 252 w 364"/>
                  <a:gd name="T85" fmla="*/ 93 h 364"/>
                  <a:gd name="T86" fmla="*/ 252 w 364"/>
                  <a:gd name="T87" fmla="*/ 114 h 364"/>
                  <a:gd name="T88" fmla="*/ 227 w 364"/>
                  <a:gd name="T89" fmla="*/ 112 h 364"/>
                  <a:gd name="T90" fmla="*/ 202 w 364"/>
                  <a:gd name="T91" fmla="*/ 111 h 364"/>
                  <a:gd name="T92" fmla="*/ 198 w 364"/>
                  <a:gd name="T93" fmla="*/ 161 h 364"/>
                  <a:gd name="T94" fmla="*/ 227 w 364"/>
                  <a:gd name="T95" fmla="*/ 173 h 364"/>
                  <a:gd name="T96" fmla="*/ 246 w 364"/>
                  <a:gd name="T97" fmla="*/ 185 h 364"/>
                  <a:gd name="T98" fmla="*/ 257 w 364"/>
                  <a:gd name="T99" fmla="*/ 203 h 364"/>
                  <a:gd name="T100" fmla="*/ 260 w 364"/>
                  <a:gd name="T101" fmla="*/ 227 h 364"/>
                  <a:gd name="T102" fmla="*/ 255 w 364"/>
                  <a:gd name="T103" fmla="*/ 25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4" h="364">
                    <a:moveTo>
                      <a:pt x="342" y="0"/>
                    </a:moveTo>
                    <a:cubicBezTo>
                      <a:pt x="0" y="0"/>
                      <a:pt x="0" y="0"/>
                      <a:pt x="0" y="0"/>
                    </a:cubicBezTo>
                    <a:cubicBezTo>
                      <a:pt x="0" y="341"/>
                      <a:pt x="0" y="341"/>
                      <a:pt x="0" y="341"/>
                    </a:cubicBezTo>
                    <a:cubicBezTo>
                      <a:pt x="0" y="354"/>
                      <a:pt x="10" y="364"/>
                      <a:pt x="22" y="364"/>
                    </a:cubicBezTo>
                    <a:cubicBezTo>
                      <a:pt x="364" y="364"/>
                      <a:pt x="364" y="364"/>
                      <a:pt x="364" y="364"/>
                    </a:cubicBezTo>
                    <a:cubicBezTo>
                      <a:pt x="364" y="25"/>
                      <a:pt x="364" y="25"/>
                      <a:pt x="364" y="25"/>
                    </a:cubicBezTo>
                    <a:cubicBezTo>
                      <a:pt x="364" y="12"/>
                      <a:pt x="354" y="0"/>
                      <a:pt x="342" y="0"/>
                    </a:cubicBezTo>
                    <a:moveTo>
                      <a:pt x="255" y="259"/>
                    </a:moveTo>
                    <a:cubicBezTo>
                      <a:pt x="252" y="267"/>
                      <a:pt x="248" y="274"/>
                      <a:pt x="242" y="280"/>
                    </a:cubicBezTo>
                    <a:cubicBezTo>
                      <a:pt x="236" y="285"/>
                      <a:pt x="228" y="289"/>
                      <a:pt x="219" y="292"/>
                    </a:cubicBezTo>
                    <a:cubicBezTo>
                      <a:pt x="210" y="294"/>
                      <a:pt x="200" y="296"/>
                      <a:pt x="188" y="296"/>
                    </a:cubicBezTo>
                    <a:cubicBezTo>
                      <a:pt x="185" y="330"/>
                      <a:pt x="185" y="330"/>
                      <a:pt x="185" y="330"/>
                    </a:cubicBezTo>
                    <a:cubicBezTo>
                      <a:pt x="168" y="330"/>
                      <a:pt x="168" y="330"/>
                      <a:pt x="168" y="330"/>
                    </a:cubicBezTo>
                    <a:cubicBezTo>
                      <a:pt x="164" y="330"/>
                      <a:pt x="162" y="329"/>
                      <a:pt x="161" y="327"/>
                    </a:cubicBezTo>
                    <a:cubicBezTo>
                      <a:pt x="160" y="325"/>
                      <a:pt x="159" y="323"/>
                      <a:pt x="159" y="320"/>
                    </a:cubicBezTo>
                    <a:cubicBezTo>
                      <a:pt x="161" y="296"/>
                      <a:pt x="161" y="296"/>
                      <a:pt x="161" y="296"/>
                    </a:cubicBezTo>
                    <a:cubicBezTo>
                      <a:pt x="153" y="296"/>
                      <a:pt x="146" y="295"/>
                      <a:pt x="140" y="294"/>
                    </a:cubicBezTo>
                    <a:cubicBezTo>
                      <a:pt x="133" y="293"/>
                      <a:pt x="128" y="292"/>
                      <a:pt x="124" y="290"/>
                    </a:cubicBezTo>
                    <a:cubicBezTo>
                      <a:pt x="119" y="288"/>
                      <a:pt x="116" y="286"/>
                      <a:pt x="114" y="284"/>
                    </a:cubicBezTo>
                    <a:cubicBezTo>
                      <a:pt x="112" y="281"/>
                      <a:pt x="111" y="278"/>
                      <a:pt x="111" y="275"/>
                    </a:cubicBezTo>
                    <a:cubicBezTo>
                      <a:pt x="111" y="251"/>
                      <a:pt x="111" y="251"/>
                      <a:pt x="111" y="251"/>
                    </a:cubicBezTo>
                    <a:cubicBezTo>
                      <a:pt x="115" y="251"/>
                      <a:pt x="119" y="251"/>
                      <a:pt x="124" y="252"/>
                    </a:cubicBezTo>
                    <a:cubicBezTo>
                      <a:pt x="129" y="252"/>
                      <a:pt x="134" y="252"/>
                      <a:pt x="138" y="252"/>
                    </a:cubicBezTo>
                    <a:cubicBezTo>
                      <a:pt x="143" y="252"/>
                      <a:pt x="148" y="253"/>
                      <a:pt x="152" y="253"/>
                    </a:cubicBezTo>
                    <a:cubicBezTo>
                      <a:pt x="157" y="253"/>
                      <a:pt x="161" y="253"/>
                      <a:pt x="165" y="253"/>
                    </a:cubicBezTo>
                    <a:cubicBezTo>
                      <a:pt x="169" y="202"/>
                      <a:pt x="169" y="202"/>
                      <a:pt x="169" y="202"/>
                    </a:cubicBezTo>
                    <a:cubicBezTo>
                      <a:pt x="158" y="198"/>
                      <a:pt x="149" y="195"/>
                      <a:pt x="141" y="191"/>
                    </a:cubicBezTo>
                    <a:cubicBezTo>
                      <a:pt x="133" y="186"/>
                      <a:pt x="127" y="182"/>
                      <a:pt x="122" y="176"/>
                    </a:cubicBezTo>
                    <a:cubicBezTo>
                      <a:pt x="117" y="171"/>
                      <a:pt x="114" y="165"/>
                      <a:pt x="112" y="159"/>
                    </a:cubicBezTo>
                    <a:cubicBezTo>
                      <a:pt x="110" y="152"/>
                      <a:pt x="109" y="145"/>
                      <a:pt x="109" y="137"/>
                    </a:cubicBezTo>
                    <a:cubicBezTo>
                      <a:pt x="109" y="124"/>
                      <a:pt x="110" y="114"/>
                      <a:pt x="114" y="106"/>
                    </a:cubicBezTo>
                    <a:cubicBezTo>
                      <a:pt x="117" y="97"/>
                      <a:pt x="122" y="90"/>
                      <a:pt x="128" y="85"/>
                    </a:cubicBezTo>
                    <a:cubicBezTo>
                      <a:pt x="134" y="80"/>
                      <a:pt x="142" y="76"/>
                      <a:pt x="150" y="74"/>
                    </a:cubicBezTo>
                    <a:cubicBezTo>
                      <a:pt x="159" y="71"/>
                      <a:pt x="168" y="70"/>
                      <a:pt x="179" y="69"/>
                    </a:cubicBezTo>
                    <a:cubicBezTo>
                      <a:pt x="181" y="37"/>
                      <a:pt x="181" y="37"/>
                      <a:pt x="181" y="37"/>
                    </a:cubicBezTo>
                    <a:cubicBezTo>
                      <a:pt x="198" y="37"/>
                      <a:pt x="198" y="37"/>
                      <a:pt x="198" y="37"/>
                    </a:cubicBezTo>
                    <a:cubicBezTo>
                      <a:pt x="202" y="37"/>
                      <a:pt x="205" y="38"/>
                      <a:pt x="206" y="40"/>
                    </a:cubicBezTo>
                    <a:cubicBezTo>
                      <a:pt x="207" y="42"/>
                      <a:pt x="207" y="45"/>
                      <a:pt x="207" y="48"/>
                    </a:cubicBezTo>
                    <a:cubicBezTo>
                      <a:pt x="206" y="69"/>
                      <a:pt x="206" y="69"/>
                      <a:pt x="206" y="69"/>
                    </a:cubicBezTo>
                    <a:cubicBezTo>
                      <a:pt x="213" y="69"/>
                      <a:pt x="220" y="70"/>
                      <a:pt x="226" y="71"/>
                    </a:cubicBezTo>
                    <a:cubicBezTo>
                      <a:pt x="231" y="73"/>
                      <a:pt x="236" y="74"/>
                      <a:pt x="240" y="75"/>
                    </a:cubicBezTo>
                    <a:cubicBezTo>
                      <a:pt x="246" y="78"/>
                      <a:pt x="249" y="80"/>
                      <a:pt x="250" y="83"/>
                    </a:cubicBezTo>
                    <a:cubicBezTo>
                      <a:pt x="251" y="87"/>
                      <a:pt x="252" y="90"/>
                      <a:pt x="252" y="93"/>
                    </a:cubicBezTo>
                    <a:cubicBezTo>
                      <a:pt x="252" y="114"/>
                      <a:pt x="252" y="114"/>
                      <a:pt x="252" y="114"/>
                    </a:cubicBezTo>
                    <a:cubicBezTo>
                      <a:pt x="244" y="113"/>
                      <a:pt x="236" y="112"/>
                      <a:pt x="227" y="112"/>
                    </a:cubicBezTo>
                    <a:cubicBezTo>
                      <a:pt x="219" y="112"/>
                      <a:pt x="211" y="111"/>
                      <a:pt x="202" y="111"/>
                    </a:cubicBezTo>
                    <a:cubicBezTo>
                      <a:pt x="198" y="161"/>
                      <a:pt x="198" y="161"/>
                      <a:pt x="198" y="161"/>
                    </a:cubicBezTo>
                    <a:cubicBezTo>
                      <a:pt x="210" y="165"/>
                      <a:pt x="219" y="169"/>
                      <a:pt x="227" y="173"/>
                    </a:cubicBezTo>
                    <a:cubicBezTo>
                      <a:pt x="235" y="176"/>
                      <a:pt x="241" y="180"/>
                      <a:pt x="246" y="185"/>
                    </a:cubicBezTo>
                    <a:cubicBezTo>
                      <a:pt x="251" y="190"/>
                      <a:pt x="254" y="196"/>
                      <a:pt x="257" y="203"/>
                    </a:cubicBezTo>
                    <a:cubicBezTo>
                      <a:pt x="259" y="209"/>
                      <a:pt x="260" y="218"/>
                      <a:pt x="260" y="227"/>
                    </a:cubicBezTo>
                    <a:cubicBezTo>
                      <a:pt x="260" y="240"/>
                      <a:pt x="258" y="250"/>
                      <a:pt x="255" y="2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46" name="Freeform 514"/>
              <p:cNvSpPr>
                <a:spLocks/>
              </p:cNvSpPr>
              <p:nvPr/>
            </p:nvSpPr>
            <p:spPr bwMode="auto">
              <a:xfrm>
                <a:off x="4459288" y="2305051"/>
                <a:ext cx="79375" cy="165100"/>
              </a:xfrm>
              <a:custGeom>
                <a:avLst/>
                <a:gdLst>
                  <a:gd name="T0" fmla="*/ 4 w 21"/>
                  <a:gd name="T1" fmla="*/ 6 h 44"/>
                  <a:gd name="T2" fmla="*/ 0 w 21"/>
                  <a:gd name="T3" fmla="*/ 22 h 44"/>
                  <a:gd name="T4" fmla="*/ 4 w 21"/>
                  <a:gd name="T5" fmla="*/ 36 h 44"/>
                  <a:gd name="T6" fmla="*/ 18 w 21"/>
                  <a:gd name="T7" fmla="*/ 44 h 44"/>
                  <a:gd name="T8" fmla="*/ 21 w 21"/>
                  <a:gd name="T9" fmla="*/ 0 h 44"/>
                  <a:gd name="T10" fmla="*/ 4 w 21"/>
                  <a:gd name="T11" fmla="*/ 6 h 44"/>
                </a:gdLst>
                <a:ahLst/>
                <a:cxnLst>
                  <a:cxn ang="0">
                    <a:pos x="T0" y="T1"/>
                  </a:cxn>
                  <a:cxn ang="0">
                    <a:pos x="T2" y="T3"/>
                  </a:cxn>
                  <a:cxn ang="0">
                    <a:pos x="T4" y="T5"/>
                  </a:cxn>
                  <a:cxn ang="0">
                    <a:pos x="T6" y="T7"/>
                  </a:cxn>
                  <a:cxn ang="0">
                    <a:pos x="T8" y="T9"/>
                  </a:cxn>
                  <a:cxn ang="0">
                    <a:pos x="T10" y="T11"/>
                  </a:cxn>
                </a:cxnLst>
                <a:rect l="0" t="0" r="r" b="b"/>
                <a:pathLst>
                  <a:path w="21" h="44">
                    <a:moveTo>
                      <a:pt x="4" y="6"/>
                    </a:moveTo>
                    <a:cubicBezTo>
                      <a:pt x="1" y="10"/>
                      <a:pt x="0" y="15"/>
                      <a:pt x="0" y="22"/>
                    </a:cubicBezTo>
                    <a:cubicBezTo>
                      <a:pt x="0" y="28"/>
                      <a:pt x="1" y="33"/>
                      <a:pt x="4" y="36"/>
                    </a:cubicBezTo>
                    <a:cubicBezTo>
                      <a:pt x="7" y="39"/>
                      <a:pt x="11" y="42"/>
                      <a:pt x="18" y="44"/>
                    </a:cubicBezTo>
                    <a:cubicBezTo>
                      <a:pt x="21" y="0"/>
                      <a:pt x="21" y="0"/>
                      <a:pt x="21" y="0"/>
                    </a:cubicBezTo>
                    <a:cubicBezTo>
                      <a:pt x="13" y="0"/>
                      <a:pt x="7" y="3"/>
                      <a:pt x="4"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47" name="Freeform 515"/>
              <p:cNvSpPr>
                <a:spLocks/>
              </p:cNvSpPr>
              <p:nvPr/>
            </p:nvSpPr>
            <p:spPr bwMode="auto">
              <a:xfrm>
                <a:off x="4598988" y="2662238"/>
                <a:ext cx="82550" cy="173038"/>
              </a:xfrm>
              <a:custGeom>
                <a:avLst/>
                <a:gdLst>
                  <a:gd name="T0" fmla="*/ 4 w 22"/>
                  <a:gd name="T1" fmla="*/ 0 h 46"/>
                  <a:gd name="T2" fmla="*/ 0 w 22"/>
                  <a:gd name="T3" fmla="*/ 46 h 46"/>
                  <a:gd name="T4" fmla="*/ 18 w 22"/>
                  <a:gd name="T5" fmla="*/ 39 h 46"/>
                  <a:gd name="T6" fmla="*/ 22 w 22"/>
                  <a:gd name="T7" fmla="*/ 23 h 46"/>
                  <a:gd name="T8" fmla="*/ 18 w 22"/>
                  <a:gd name="T9" fmla="*/ 7 h 46"/>
                  <a:gd name="T10" fmla="*/ 4 w 22"/>
                  <a:gd name="T11" fmla="*/ 0 h 46"/>
                </a:gdLst>
                <a:ahLst/>
                <a:cxnLst>
                  <a:cxn ang="0">
                    <a:pos x="T0" y="T1"/>
                  </a:cxn>
                  <a:cxn ang="0">
                    <a:pos x="T2" y="T3"/>
                  </a:cxn>
                  <a:cxn ang="0">
                    <a:pos x="T4" y="T5"/>
                  </a:cxn>
                  <a:cxn ang="0">
                    <a:pos x="T6" y="T7"/>
                  </a:cxn>
                  <a:cxn ang="0">
                    <a:pos x="T8" y="T9"/>
                  </a:cxn>
                  <a:cxn ang="0">
                    <a:pos x="T10" y="T11"/>
                  </a:cxn>
                </a:cxnLst>
                <a:rect l="0" t="0" r="r" b="b"/>
                <a:pathLst>
                  <a:path w="22" h="46">
                    <a:moveTo>
                      <a:pt x="4" y="0"/>
                    </a:moveTo>
                    <a:cubicBezTo>
                      <a:pt x="0" y="46"/>
                      <a:pt x="0" y="46"/>
                      <a:pt x="0" y="46"/>
                    </a:cubicBezTo>
                    <a:cubicBezTo>
                      <a:pt x="9" y="45"/>
                      <a:pt x="14" y="43"/>
                      <a:pt x="18" y="39"/>
                    </a:cubicBezTo>
                    <a:cubicBezTo>
                      <a:pt x="21" y="35"/>
                      <a:pt x="22" y="30"/>
                      <a:pt x="22" y="23"/>
                    </a:cubicBezTo>
                    <a:cubicBezTo>
                      <a:pt x="22" y="15"/>
                      <a:pt x="21" y="10"/>
                      <a:pt x="18" y="7"/>
                    </a:cubicBezTo>
                    <a:cubicBezTo>
                      <a:pt x="15" y="5"/>
                      <a:pt x="10"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nvGrpSpPr>
            <p:cNvPr id="448" name="Group 447"/>
            <p:cNvGrpSpPr/>
            <p:nvPr/>
          </p:nvGrpSpPr>
          <p:grpSpPr>
            <a:xfrm>
              <a:off x="3424758" y="2809769"/>
              <a:ext cx="399347" cy="399811"/>
              <a:chOff x="3879851" y="1882776"/>
              <a:chExt cx="1368425" cy="1370013"/>
            </a:xfrm>
            <a:solidFill>
              <a:srgbClr val="000000"/>
            </a:solidFill>
          </p:grpSpPr>
          <p:sp>
            <p:nvSpPr>
              <p:cNvPr id="449" name="Freeform 513"/>
              <p:cNvSpPr>
                <a:spLocks noEditPoints="1"/>
              </p:cNvSpPr>
              <p:nvPr/>
            </p:nvSpPr>
            <p:spPr bwMode="auto">
              <a:xfrm>
                <a:off x="3879851" y="1882776"/>
                <a:ext cx="1368425" cy="1370013"/>
              </a:xfrm>
              <a:custGeom>
                <a:avLst/>
                <a:gdLst>
                  <a:gd name="T0" fmla="*/ 342 w 364"/>
                  <a:gd name="T1" fmla="*/ 0 h 364"/>
                  <a:gd name="T2" fmla="*/ 0 w 364"/>
                  <a:gd name="T3" fmla="*/ 0 h 364"/>
                  <a:gd name="T4" fmla="*/ 0 w 364"/>
                  <a:gd name="T5" fmla="*/ 341 h 364"/>
                  <a:gd name="T6" fmla="*/ 22 w 364"/>
                  <a:gd name="T7" fmla="*/ 364 h 364"/>
                  <a:gd name="T8" fmla="*/ 364 w 364"/>
                  <a:gd name="T9" fmla="*/ 364 h 364"/>
                  <a:gd name="T10" fmla="*/ 364 w 364"/>
                  <a:gd name="T11" fmla="*/ 25 h 364"/>
                  <a:gd name="T12" fmla="*/ 342 w 364"/>
                  <a:gd name="T13" fmla="*/ 0 h 364"/>
                  <a:gd name="T14" fmla="*/ 255 w 364"/>
                  <a:gd name="T15" fmla="*/ 259 h 364"/>
                  <a:gd name="T16" fmla="*/ 242 w 364"/>
                  <a:gd name="T17" fmla="*/ 280 h 364"/>
                  <a:gd name="T18" fmla="*/ 219 w 364"/>
                  <a:gd name="T19" fmla="*/ 292 h 364"/>
                  <a:gd name="T20" fmla="*/ 188 w 364"/>
                  <a:gd name="T21" fmla="*/ 296 h 364"/>
                  <a:gd name="T22" fmla="*/ 185 w 364"/>
                  <a:gd name="T23" fmla="*/ 330 h 364"/>
                  <a:gd name="T24" fmla="*/ 168 w 364"/>
                  <a:gd name="T25" fmla="*/ 330 h 364"/>
                  <a:gd name="T26" fmla="*/ 161 w 364"/>
                  <a:gd name="T27" fmla="*/ 327 h 364"/>
                  <a:gd name="T28" fmla="*/ 159 w 364"/>
                  <a:gd name="T29" fmla="*/ 320 h 364"/>
                  <a:gd name="T30" fmla="*/ 161 w 364"/>
                  <a:gd name="T31" fmla="*/ 296 h 364"/>
                  <a:gd name="T32" fmla="*/ 140 w 364"/>
                  <a:gd name="T33" fmla="*/ 294 h 364"/>
                  <a:gd name="T34" fmla="*/ 124 w 364"/>
                  <a:gd name="T35" fmla="*/ 290 h 364"/>
                  <a:gd name="T36" fmla="*/ 114 w 364"/>
                  <a:gd name="T37" fmla="*/ 284 h 364"/>
                  <a:gd name="T38" fmla="*/ 111 w 364"/>
                  <a:gd name="T39" fmla="*/ 275 h 364"/>
                  <a:gd name="T40" fmla="*/ 111 w 364"/>
                  <a:gd name="T41" fmla="*/ 251 h 364"/>
                  <a:gd name="T42" fmla="*/ 124 w 364"/>
                  <a:gd name="T43" fmla="*/ 252 h 364"/>
                  <a:gd name="T44" fmla="*/ 138 w 364"/>
                  <a:gd name="T45" fmla="*/ 252 h 364"/>
                  <a:gd name="T46" fmla="*/ 152 w 364"/>
                  <a:gd name="T47" fmla="*/ 253 h 364"/>
                  <a:gd name="T48" fmla="*/ 165 w 364"/>
                  <a:gd name="T49" fmla="*/ 253 h 364"/>
                  <a:gd name="T50" fmla="*/ 169 w 364"/>
                  <a:gd name="T51" fmla="*/ 202 h 364"/>
                  <a:gd name="T52" fmla="*/ 141 w 364"/>
                  <a:gd name="T53" fmla="*/ 191 h 364"/>
                  <a:gd name="T54" fmla="*/ 122 w 364"/>
                  <a:gd name="T55" fmla="*/ 176 h 364"/>
                  <a:gd name="T56" fmla="*/ 112 w 364"/>
                  <a:gd name="T57" fmla="*/ 159 h 364"/>
                  <a:gd name="T58" fmla="*/ 109 w 364"/>
                  <a:gd name="T59" fmla="*/ 137 h 364"/>
                  <a:gd name="T60" fmla="*/ 114 w 364"/>
                  <a:gd name="T61" fmla="*/ 106 h 364"/>
                  <a:gd name="T62" fmla="*/ 128 w 364"/>
                  <a:gd name="T63" fmla="*/ 85 h 364"/>
                  <a:gd name="T64" fmla="*/ 150 w 364"/>
                  <a:gd name="T65" fmla="*/ 74 h 364"/>
                  <a:gd name="T66" fmla="*/ 179 w 364"/>
                  <a:gd name="T67" fmla="*/ 69 h 364"/>
                  <a:gd name="T68" fmla="*/ 181 w 364"/>
                  <a:gd name="T69" fmla="*/ 37 h 364"/>
                  <a:gd name="T70" fmla="*/ 198 w 364"/>
                  <a:gd name="T71" fmla="*/ 37 h 364"/>
                  <a:gd name="T72" fmla="*/ 206 w 364"/>
                  <a:gd name="T73" fmla="*/ 40 h 364"/>
                  <a:gd name="T74" fmla="*/ 207 w 364"/>
                  <a:gd name="T75" fmla="*/ 48 h 364"/>
                  <a:gd name="T76" fmla="*/ 206 w 364"/>
                  <a:gd name="T77" fmla="*/ 69 h 364"/>
                  <a:gd name="T78" fmla="*/ 226 w 364"/>
                  <a:gd name="T79" fmla="*/ 71 h 364"/>
                  <a:gd name="T80" fmla="*/ 240 w 364"/>
                  <a:gd name="T81" fmla="*/ 75 h 364"/>
                  <a:gd name="T82" fmla="*/ 250 w 364"/>
                  <a:gd name="T83" fmla="*/ 83 h 364"/>
                  <a:gd name="T84" fmla="*/ 252 w 364"/>
                  <a:gd name="T85" fmla="*/ 93 h 364"/>
                  <a:gd name="T86" fmla="*/ 252 w 364"/>
                  <a:gd name="T87" fmla="*/ 114 h 364"/>
                  <a:gd name="T88" fmla="*/ 227 w 364"/>
                  <a:gd name="T89" fmla="*/ 112 h 364"/>
                  <a:gd name="T90" fmla="*/ 202 w 364"/>
                  <a:gd name="T91" fmla="*/ 111 h 364"/>
                  <a:gd name="T92" fmla="*/ 198 w 364"/>
                  <a:gd name="T93" fmla="*/ 161 h 364"/>
                  <a:gd name="T94" fmla="*/ 227 w 364"/>
                  <a:gd name="T95" fmla="*/ 173 h 364"/>
                  <a:gd name="T96" fmla="*/ 246 w 364"/>
                  <a:gd name="T97" fmla="*/ 185 h 364"/>
                  <a:gd name="T98" fmla="*/ 257 w 364"/>
                  <a:gd name="T99" fmla="*/ 203 h 364"/>
                  <a:gd name="T100" fmla="*/ 260 w 364"/>
                  <a:gd name="T101" fmla="*/ 227 h 364"/>
                  <a:gd name="T102" fmla="*/ 255 w 364"/>
                  <a:gd name="T103" fmla="*/ 25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4" h="364">
                    <a:moveTo>
                      <a:pt x="342" y="0"/>
                    </a:moveTo>
                    <a:cubicBezTo>
                      <a:pt x="0" y="0"/>
                      <a:pt x="0" y="0"/>
                      <a:pt x="0" y="0"/>
                    </a:cubicBezTo>
                    <a:cubicBezTo>
                      <a:pt x="0" y="341"/>
                      <a:pt x="0" y="341"/>
                      <a:pt x="0" y="341"/>
                    </a:cubicBezTo>
                    <a:cubicBezTo>
                      <a:pt x="0" y="354"/>
                      <a:pt x="10" y="364"/>
                      <a:pt x="22" y="364"/>
                    </a:cubicBezTo>
                    <a:cubicBezTo>
                      <a:pt x="364" y="364"/>
                      <a:pt x="364" y="364"/>
                      <a:pt x="364" y="364"/>
                    </a:cubicBezTo>
                    <a:cubicBezTo>
                      <a:pt x="364" y="25"/>
                      <a:pt x="364" y="25"/>
                      <a:pt x="364" y="25"/>
                    </a:cubicBezTo>
                    <a:cubicBezTo>
                      <a:pt x="364" y="12"/>
                      <a:pt x="354" y="0"/>
                      <a:pt x="342" y="0"/>
                    </a:cubicBezTo>
                    <a:moveTo>
                      <a:pt x="255" y="259"/>
                    </a:moveTo>
                    <a:cubicBezTo>
                      <a:pt x="252" y="267"/>
                      <a:pt x="248" y="274"/>
                      <a:pt x="242" y="280"/>
                    </a:cubicBezTo>
                    <a:cubicBezTo>
                      <a:pt x="236" y="285"/>
                      <a:pt x="228" y="289"/>
                      <a:pt x="219" y="292"/>
                    </a:cubicBezTo>
                    <a:cubicBezTo>
                      <a:pt x="210" y="294"/>
                      <a:pt x="200" y="296"/>
                      <a:pt x="188" y="296"/>
                    </a:cubicBezTo>
                    <a:cubicBezTo>
                      <a:pt x="185" y="330"/>
                      <a:pt x="185" y="330"/>
                      <a:pt x="185" y="330"/>
                    </a:cubicBezTo>
                    <a:cubicBezTo>
                      <a:pt x="168" y="330"/>
                      <a:pt x="168" y="330"/>
                      <a:pt x="168" y="330"/>
                    </a:cubicBezTo>
                    <a:cubicBezTo>
                      <a:pt x="164" y="330"/>
                      <a:pt x="162" y="329"/>
                      <a:pt x="161" y="327"/>
                    </a:cubicBezTo>
                    <a:cubicBezTo>
                      <a:pt x="160" y="325"/>
                      <a:pt x="159" y="323"/>
                      <a:pt x="159" y="320"/>
                    </a:cubicBezTo>
                    <a:cubicBezTo>
                      <a:pt x="161" y="296"/>
                      <a:pt x="161" y="296"/>
                      <a:pt x="161" y="296"/>
                    </a:cubicBezTo>
                    <a:cubicBezTo>
                      <a:pt x="153" y="296"/>
                      <a:pt x="146" y="295"/>
                      <a:pt x="140" y="294"/>
                    </a:cubicBezTo>
                    <a:cubicBezTo>
                      <a:pt x="133" y="293"/>
                      <a:pt x="128" y="292"/>
                      <a:pt x="124" y="290"/>
                    </a:cubicBezTo>
                    <a:cubicBezTo>
                      <a:pt x="119" y="288"/>
                      <a:pt x="116" y="286"/>
                      <a:pt x="114" y="284"/>
                    </a:cubicBezTo>
                    <a:cubicBezTo>
                      <a:pt x="112" y="281"/>
                      <a:pt x="111" y="278"/>
                      <a:pt x="111" y="275"/>
                    </a:cubicBezTo>
                    <a:cubicBezTo>
                      <a:pt x="111" y="251"/>
                      <a:pt x="111" y="251"/>
                      <a:pt x="111" y="251"/>
                    </a:cubicBezTo>
                    <a:cubicBezTo>
                      <a:pt x="115" y="251"/>
                      <a:pt x="119" y="251"/>
                      <a:pt x="124" y="252"/>
                    </a:cubicBezTo>
                    <a:cubicBezTo>
                      <a:pt x="129" y="252"/>
                      <a:pt x="134" y="252"/>
                      <a:pt x="138" y="252"/>
                    </a:cubicBezTo>
                    <a:cubicBezTo>
                      <a:pt x="143" y="252"/>
                      <a:pt x="148" y="253"/>
                      <a:pt x="152" y="253"/>
                    </a:cubicBezTo>
                    <a:cubicBezTo>
                      <a:pt x="157" y="253"/>
                      <a:pt x="161" y="253"/>
                      <a:pt x="165" y="253"/>
                    </a:cubicBezTo>
                    <a:cubicBezTo>
                      <a:pt x="169" y="202"/>
                      <a:pt x="169" y="202"/>
                      <a:pt x="169" y="202"/>
                    </a:cubicBezTo>
                    <a:cubicBezTo>
                      <a:pt x="158" y="198"/>
                      <a:pt x="149" y="195"/>
                      <a:pt x="141" y="191"/>
                    </a:cubicBezTo>
                    <a:cubicBezTo>
                      <a:pt x="133" y="186"/>
                      <a:pt x="127" y="182"/>
                      <a:pt x="122" y="176"/>
                    </a:cubicBezTo>
                    <a:cubicBezTo>
                      <a:pt x="117" y="171"/>
                      <a:pt x="114" y="165"/>
                      <a:pt x="112" y="159"/>
                    </a:cubicBezTo>
                    <a:cubicBezTo>
                      <a:pt x="110" y="152"/>
                      <a:pt x="109" y="145"/>
                      <a:pt x="109" y="137"/>
                    </a:cubicBezTo>
                    <a:cubicBezTo>
                      <a:pt x="109" y="124"/>
                      <a:pt x="110" y="114"/>
                      <a:pt x="114" y="106"/>
                    </a:cubicBezTo>
                    <a:cubicBezTo>
                      <a:pt x="117" y="97"/>
                      <a:pt x="122" y="90"/>
                      <a:pt x="128" y="85"/>
                    </a:cubicBezTo>
                    <a:cubicBezTo>
                      <a:pt x="134" y="80"/>
                      <a:pt x="142" y="76"/>
                      <a:pt x="150" y="74"/>
                    </a:cubicBezTo>
                    <a:cubicBezTo>
                      <a:pt x="159" y="71"/>
                      <a:pt x="168" y="70"/>
                      <a:pt x="179" y="69"/>
                    </a:cubicBezTo>
                    <a:cubicBezTo>
                      <a:pt x="181" y="37"/>
                      <a:pt x="181" y="37"/>
                      <a:pt x="181" y="37"/>
                    </a:cubicBezTo>
                    <a:cubicBezTo>
                      <a:pt x="198" y="37"/>
                      <a:pt x="198" y="37"/>
                      <a:pt x="198" y="37"/>
                    </a:cubicBezTo>
                    <a:cubicBezTo>
                      <a:pt x="202" y="37"/>
                      <a:pt x="205" y="38"/>
                      <a:pt x="206" y="40"/>
                    </a:cubicBezTo>
                    <a:cubicBezTo>
                      <a:pt x="207" y="42"/>
                      <a:pt x="207" y="45"/>
                      <a:pt x="207" y="48"/>
                    </a:cubicBezTo>
                    <a:cubicBezTo>
                      <a:pt x="206" y="69"/>
                      <a:pt x="206" y="69"/>
                      <a:pt x="206" y="69"/>
                    </a:cubicBezTo>
                    <a:cubicBezTo>
                      <a:pt x="213" y="69"/>
                      <a:pt x="220" y="70"/>
                      <a:pt x="226" y="71"/>
                    </a:cubicBezTo>
                    <a:cubicBezTo>
                      <a:pt x="231" y="73"/>
                      <a:pt x="236" y="74"/>
                      <a:pt x="240" y="75"/>
                    </a:cubicBezTo>
                    <a:cubicBezTo>
                      <a:pt x="246" y="78"/>
                      <a:pt x="249" y="80"/>
                      <a:pt x="250" y="83"/>
                    </a:cubicBezTo>
                    <a:cubicBezTo>
                      <a:pt x="251" y="87"/>
                      <a:pt x="252" y="90"/>
                      <a:pt x="252" y="93"/>
                    </a:cubicBezTo>
                    <a:cubicBezTo>
                      <a:pt x="252" y="114"/>
                      <a:pt x="252" y="114"/>
                      <a:pt x="252" y="114"/>
                    </a:cubicBezTo>
                    <a:cubicBezTo>
                      <a:pt x="244" y="113"/>
                      <a:pt x="236" y="112"/>
                      <a:pt x="227" y="112"/>
                    </a:cubicBezTo>
                    <a:cubicBezTo>
                      <a:pt x="219" y="112"/>
                      <a:pt x="211" y="111"/>
                      <a:pt x="202" y="111"/>
                    </a:cubicBezTo>
                    <a:cubicBezTo>
                      <a:pt x="198" y="161"/>
                      <a:pt x="198" y="161"/>
                      <a:pt x="198" y="161"/>
                    </a:cubicBezTo>
                    <a:cubicBezTo>
                      <a:pt x="210" y="165"/>
                      <a:pt x="219" y="169"/>
                      <a:pt x="227" y="173"/>
                    </a:cubicBezTo>
                    <a:cubicBezTo>
                      <a:pt x="235" y="176"/>
                      <a:pt x="241" y="180"/>
                      <a:pt x="246" y="185"/>
                    </a:cubicBezTo>
                    <a:cubicBezTo>
                      <a:pt x="251" y="190"/>
                      <a:pt x="254" y="196"/>
                      <a:pt x="257" y="203"/>
                    </a:cubicBezTo>
                    <a:cubicBezTo>
                      <a:pt x="259" y="209"/>
                      <a:pt x="260" y="218"/>
                      <a:pt x="260" y="227"/>
                    </a:cubicBezTo>
                    <a:cubicBezTo>
                      <a:pt x="260" y="240"/>
                      <a:pt x="258" y="250"/>
                      <a:pt x="255" y="2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50" name="Freeform 514"/>
              <p:cNvSpPr>
                <a:spLocks/>
              </p:cNvSpPr>
              <p:nvPr/>
            </p:nvSpPr>
            <p:spPr bwMode="auto">
              <a:xfrm>
                <a:off x="4459288" y="2305051"/>
                <a:ext cx="79375" cy="165100"/>
              </a:xfrm>
              <a:custGeom>
                <a:avLst/>
                <a:gdLst>
                  <a:gd name="T0" fmla="*/ 4 w 21"/>
                  <a:gd name="T1" fmla="*/ 6 h 44"/>
                  <a:gd name="T2" fmla="*/ 0 w 21"/>
                  <a:gd name="T3" fmla="*/ 22 h 44"/>
                  <a:gd name="T4" fmla="*/ 4 w 21"/>
                  <a:gd name="T5" fmla="*/ 36 h 44"/>
                  <a:gd name="T6" fmla="*/ 18 w 21"/>
                  <a:gd name="T7" fmla="*/ 44 h 44"/>
                  <a:gd name="T8" fmla="*/ 21 w 21"/>
                  <a:gd name="T9" fmla="*/ 0 h 44"/>
                  <a:gd name="T10" fmla="*/ 4 w 21"/>
                  <a:gd name="T11" fmla="*/ 6 h 44"/>
                </a:gdLst>
                <a:ahLst/>
                <a:cxnLst>
                  <a:cxn ang="0">
                    <a:pos x="T0" y="T1"/>
                  </a:cxn>
                  <a:cxn ang="0">
                    <a:pos x="T2" y="T3"/>
                  </a:cxn>
                  <a:cxn ang="0">
                    <a:pos x="T4" y="T5"/>
                  </a:cxn>
                  <a:cxn ang="0">
                    <a:pos x="T6" y="T7"/>
                  </a:cxn>
                  <a:cxn ang="0">
                    <a:pos x="T8" y="T9"/>
                  </a:cxn>
                  <a:cxn ang="0">
                    <a:pos x="T10" y="T11"/>
                  </a:cxn>
                </a:cxnLst>
                <a:rect l="0" t="0" r="r" b="b"/>
                <a:pathLst>
                  <a:path w="21" h="44">
                    <a:moveTo>
                      <a:pt x="4" y="6"/>
                    </a:moveTo>
                    <a:cubicBezTo>
                      <a:pt x="1" y="10"/>
                      <a:pt x="0" y="15"/>
                      <a:pt x="0" y="22"/>
                    </a:cubicBezTo>
                    <a:cubicBezTo>
                      <a:pt x="0" y="28"/>
                      <a:pt x="1" y="33"/>
                      <a:pt x="4" y="36"/>
                    </a:cubicBezTo>
                    <a:cubicBezTo>
                      <a:pt x="7" y="39"/>
                      <a:pt x="11" y="42"/>
                      <a:pt x="18" y="44"/>
                    </a:cubicBezTo>
                    <a:cubicBezTo>
                      <a:pt x="21" y="0"/>
                      <a:pt x="21" y="0"/>
                      <a:pt x="21" y="0"/>
                    </a:cubicBezTo>
                    <a:cubicBezTo>
                      <a:pt x="13" y="0"/>
                      <a:pt x="7" y="3"/>
                      <a:pt x="4"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51" name="Freeform 515"/>
              <p:cNvSpPr>
                <a:spLocks/>
              </p:cNvSpPr>
              <p:nvPr/>
            </p:nvSpPr>
            <p:spPr bwMode="auto">
              <a:xfrm>
                <a:off x="4598988" y="2662238"/>
                <a:ext cx="82550" cy="173038"/>
              </a:xfrm>
              <a:custGeom>
                <a:avLst/>
                <a:gdLst>
                  <a:gd name="T0" fmla="*/ 4 w 22"/>
                  <a:gd name="T1" fmla="*/ 0 h 46"/>
                  <a:gd name="T2" fmla="*/ 0 w 22"/>
                  <a:gd name="T3" fmla="*/ 46 h 46"/>
                  <a:gd name="T4" fmla="*/ 18 w 22"/>
                  <a:gd name="T5" fmla="*/ 39 h 46"/>
                  <a:gd name="T6" fmla="*/ 22 w 22"/>
                  <a:gd name="T7" fmla="*/ 23 h 46"/>
                  <a:gd name="T8" fmla="*/ 18 w 22"/>
                  <a:gd name="T9" fmla="*/ 7 h 46"/>
                  <a:gd name="T10" fmla="*/ 4 w 22"/>
                  <a:gd name="T11" fmla="*/ 0 h 46"/>
                </a:gdLst>
                <a:ahLst/>
                <a:cxnLst>
                  <a:cxn ang="0">
                    <a:pos x="T0" y="T1"/>
                  </a:cxn>
                  <a:cxn ang="0">
                    <a:pos x="T2" y="T3"/>
                  </a:cxn>
                  <a:cxn ang="0">
                    <a:pos x="T4" y="T5"/>
                  </a:cxn>
                  <a:cxn ang="0">
                    <a:pos x="T6" y="T7"/>
                  </a:cxn>
                  <a:cxn ang="0">
                    <a:pos x="T8" y="T9"/>
                  </a:cxn>
                  <a:cxn ang="0">
                    <a:pos x="T10" y="T11"/>
                  </a:cxn>
                </a:cxnLst>
                <a:rect l="0" t="0" r="r" b="b"/>
                <a:pathLst>
                  <a:path w="22" h="46">
                    <a:moveTo>
                      <a:pt x="4" y="0"/>
                    </a:moveTo>
                    <a:cubicBezTo>
                      <a:pt x="0" y="46"/>
                      <a:pt x="0" y="46"/>
                      <a:pt x="0" y="46"/>
                    </a:cubicBezTo>
                    <a:cubicBezTo>
                      <a:pt x="9" y="45"/>
                      <a:pt x="14" y="43"/>
                      <a:pt x="18" y="39"/>
                    </a:cubicBezTo>
                    <a:cubicBezTo>
                      <a:pt x="21" y="35"/>
                      <a:pt x="22" y="30"/>
                      <a:pt x="22" y="23"/>
                    </a:cubicBezTo>
                    <a:cubicBezTo>
                      <a:pt x="22" y="15"/>
                      <a:pt x="21" y="10"/>
                      <a:pt x="18" y="7"/>
                    </a:cubicBezTo>
                    <a:cubicBezTo>
                      <a:pt x="15" y="5"/>
                      <a:pt x="10"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sp>
        <p:nvSpPr>
          <p:cNvPr id="453" name="TextBox 452"/>
          <p:cNvSpPr txBox="1"/>
          <p:nvPr/>
        </p:nvSpPr>
        <p:spPr>
          <a:xfrm>
            <a:off x="8313785" y="3523523"/>
            <a:ext cx="2028685" cy="408176"/>
          </a:xfrm>
          <a:prstGeom prst="rect">
            <a:avLst/>
          </a:prstGeom>
          <a:noFill/>
        </p:spPr>
        <p:txBody>
          <a:bodyPr wrap="square" lIns="129909" tIns="64954" rIns="129909" bIns="64954" rtlCol="0">
            <a:spAutoFit/>
          </a:bodyPr>
          <a:lstStyle/>
          <a:p>
            <a:pPr defTabSz="611204">
              <a:spcAft>
                <a:spcPts val="568"/>
              </a:spcAft>
              <a:buSzPct val="100000"/>
            </a:pPr>
            <a:r>
              <a:rPr lang="zh-CN" altLang="en-US" sz="1800" b="1" dirty="0" smtClean="0">
                <a:solidFill>
                  <a:srgbClr val="002060"/>
                </a:solidFill>
                <a:latin typeface="微软雅黑" pitchFamily="34" charset="-122"/>
                <a:ea typeface="微软雅黑" pitchFamily="34" charset="-122"/>
                <a:cs typeface="HP Simplified" pitchFamily="34" charset="0"/>
              </a:rPr>
              <a:t>我们的企业</a:t>
            </a:r>
            <a:endParaRPr lang="en-US" sz="1800" b="1" dirty="0" smtClean="0">
              <a:solidFill>
                <a:srgbClr val="002060"/>
              </a:solidFill>
              <a:latin typeface="微软雅黑" pitchFamily="34" charset="-122"/>
              <a:ea typeface="微软雅黑" pitchFamily="34" charset="-122"/>
              <a:cs typeface="HP Simplified" pitchFamily="34" charset="0"/>
            </a:endParaRPr>
          </a:p>
        </p:txBody>
      </p:sp>
      <p:sp>
        <p:nvSpPr>
          <p:cNvPr id="455" name="TextBox 454"/>
          <p:cNvSpPr txBox="1"/>
          <p:nvPr/>
        </p:nvSpPr>
        <p:spPr>
          <a:xfrm>
            <a:off x="2641694" y="3523524"/>
            <a:ext cx="2462650" cy="408176"/>
          </a:xfrm>
          <a:prstGeom prst="rect">
            <a:avLst/>
          </a:prstGeom>
          <a:noFill/>
        </p:spPr>
        <p:txBody>
          <a:bodyPr wrap="square" lIns="129909" tIns="64954" rIns="129909" bIns="64954" rtlCol="0">
            <a:spAutoFit/>
          </a:bodyPr>
          <a:lstStyle/>
          <a:p>
            <a:pPr defTabSz="611204">
              <a:spcAft>
                <a:spcPts val="568"/>
              </a:spcAft>
              <a:buSzPct val="100000"/>
            </a:pPr>
            <a:r>
              <a:rPr lang="zh-CN" altLang="en-US" sz="1800" b="1" dirty="0" smtClean="0">
                <a:solidFill>
                  <a:srgbClr val="000000"/>
                </a:solidFill>
                <a:latin typeface="微软雅黑" pitchFamily="34" charset="-122"/>
                <a:ea typeface="微软雅黑" pitchFamily="34" charset="-122"/>
                <a:cs typeface="HP Simplified" pitchFamily="34" charset="0"/>
              </a:rPr>
              <a:t>对手的生态系统</a:t>
            </a:r>
            <a:endParaRPr lang="en-US" sz="1800" b="1" dirty="0" smtClean="0">
              <a:solidFill>
                <a:srgbClr val="000000"/>
              </a:solidFill>
              <a:latin typeface="微软雅黑" pitchFamily="34" charset="-122"/>
              <a:ea typeface="微软雅黑" pitchFamily="34" charset="-122"/>
              <a:cs typeface="HP Simplified" pitchFamily="34" charset="0"/>
            </a:endParaRPr>
          </a:p>
        </p:txBody>
      </p:sp>
      <p:grpSp>
        <p:nvGrpSpPr>
          <p:cNvPr id="2" name="Group 1"/>
          <p:cNvGrpSpPr/>
          <p:nvPr/>
        </p:nvGrpSpPr>
        <p:grpSpPr>
          <a:xfrm>
            <a:off x="5395404" y="1084107"/>
            <a:ext cx="510443" cy="5578311"/>
            <a:chOff x="5326950" y="727538"/>
            <a:chExt cx="385877" cy="4210312"/>
          </a:xfrm>
          <a:solidFill>
            <a:schemeClr val="accent3"/>
          </a:solidFill>
        </p:grpSpPr>
        <p:grpSp>
          <p:nvGrpSpPr>
            <p:cNvPr id="206" name="Group 205"/>
            <p:cNvGrpSpPr/>
            <p:nvPr/>
          </p:nvGrpSpPr>
          <p:grpSpPr>
            <a:xfrm>
              <a:off x="5478169" y="960699"/>
              <a:ext cx="83439" cy="3576577"/>
              <a:chOff x="5396292" y="1038173"/>
              <a:chExt cx="120650" cy="3594099"/>
            </a:xfrm>
            <a:grpFill/>
          </p:grpSpPr>
          <p:sp>
            <p:nvSpPr>
              <p:cNvPr id="219" name="Rectangle 218"/>
              <p:cNvSpPr/>
              <p:nvPr/>
            </p:nvSpPr>
            <p:spPr bwMode="gray">
              <a:xfrm>
                <a:off x="5396292" y="1038173"/>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0" name="Rectangle 219"/>
              <p:cNvSpPr/>
              <p:nvPr/>
            </p:nvSpPr>
            <p:spPr bwMode="gray">
              <a:xfrm>
                <a:off x="5396292" y="1281202"/>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1" name="Rectangle 220"/>
              <p:cNvSpPr/>
              <p:nvPr/>
            </p:nvSpPr>
            <p:spPr bwMode="gray">
              <a:xfrm>
                <a:off x="5396292" y="1524231"/>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2" name="Rectangle 221"/>
              <p:cNvSpPr/>
              <p:nvPr/>
            </p:nvSpPr>
            <p:spPr bwMode="gray">
              <a:xfrm>
                <a:off x="5396292" y="1767260"/>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3" name="Rectangle 222"/>
              <p:cNvSpPr/>
              <p:nvPr/>
            </p:nvSpPr>
            <p:spPr bwMode="gray">
              <a:xfrm>
                <a:off x="5396292" y="2010289"/>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4" name="Rectangle 223"/>
              <p:cNvSpPr/>
              <p:nvPr/>
            </p:nvSpPr>
            <p:spPr bwMode="gray">
              <a:xfrm>
                <a:off x="5396292" y="2253319"/>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5" name="Rectangle 224"/>
              <p:cNvSpPr/>
              <p:nvPr/>
            </p:nvSpPr>
            <p:spPr bwMode="gray">
              <a:xfrm>
                <a:off x="5396292" y="2496349"/>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6" name="Rectangle 225"/>
              <p:cNvSpPr/>
              <p:nvPr/>
            </p:nvSpPr>
            <p:spPr bwMode="gray">
              <a:xfrm>
                <a:off x="5396292" y="2739379"/>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7" name="Rectangle 226"/>
              <p:cNvSpPr/>
              <p:nvPr/>
            </p:nvSpPr>
            <p:spPr bwMode="gray">
              <a:xfrm>
                <a:off x="5396292" y="2982408"/>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8" name="Rectangle 227"/>
              <p:cNvSpPr/>
              <p:nvPr/>
            </p:nvSpPr>
            <p:spPr bwMode="gray">
              <a:xfrm>
                <a:off x="5396292" y="3225437"/>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9" name="Rectangle 228"/>
              <p:cNvSpPr/>
              <p:nvPr/>
            </p:nvSpPr>
            <p:spPr bwMode="gray">
              <a:xfrm>
                <a:off x="5396292" y="3468466"/>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30" name="Rectangle 229"/>
              <p:cNvSpPr/>
              <p:nvPr/>
            </p:nvSpPr>
            <p:spPr bwMode="gray">
              <a:xfrm>
                <a:off x="5396292" y="3711496"/>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31" name="Rectangle 230"/>
              <p:cNvSpPr/>
              <p:nvPr/>
            </p:nvSpPr>
            <p:spPr bwMode="gray">
              <a:xfrm>
                <a:off x="5396292" y="3954526"/>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41" name="Rectangle 240"/>
              <p:cNvSpPr/>
              <p:nvPr/>
            </p:nvSpPr>
            <p:spPr bwMode="gray">
              <a:xfrm>
                <a:off x="5396292" y="4197555"/>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42" name="Rectangle 241"/>
              <p:cNvSpPr/>
              <p:nvPr/>
            </p:nvSpPr>
            <p:spPr bwMode="gray">
              <a:xfrm>
                <a:off x="5396292" y="4440581"/>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grpSp>
        <p:sp>
          <p:nvSpPr>
            <p:cNvPr id="457" name="Freeform 745"/>
            <p:cNvSpPr>
              <a:spLocks noEditPoints="1"/>
            </p:cNvSpPr>
            <p:nvPr/>
          </p:nvSpPr>
          <p:spPr bwMode="auto">
            <a:xfrm>
              <a:off x="5326950" y="727538"/>
              <a:ext cx="385877" cy="460375"/>
            </a:xfrm>
            <a:custGeom>
              <a:avLst/>
              <a:gdLst>
                <a:gd name="T0" fmla="*/ 259 w 280"/>
                <a:gd name="T1" fmla="*/ 153 h 334"/>
                <a:gd name="T2" fmla="*/ 238 w 280"/>
                <a:gd name="T3" fmla="*/ 153 h 334"/>
                <a:gd name="T4" fmla="*/ 238 w 280"/>
                <a:gd name="T5" fmla="*/ 99 h 334"/>
                <a:gd name="T6" fmla="*/ 138 w 280"/>
                <a:gd name="T7" fmla="*/ 0 h 334"/>
                <a:gd name="T8" fmla="*/ 39 w 280"/>
                <a:gd name="T9" fmla="*/ 99 h 334"/>
                <a:gd name="T10" fmla="*/ 39 w 280"/>
                <a:gd name="T11" fmla="*/ 153 h 334"/>
                <a:gd name="T12" fmla="*/ 0 w 280"/>
                <a:gd name="T13" fmla="*/ 153 h 334"/>
                <a:gd name="T14" fmla="*/ 0 w 280"/>
                <a:gd name="T15" fmla="*/ 312 h 334"/>
                <a:gd name="T16" fmla="*/ 21 w 280"/>
                <a:gd name="T17" fmla="*/ 334 h 334"/>
                <a:gd name="T18" fmla="*/ 280 w 280"/>
                <a:gd name="T19" fmla="*/ 334 h 334"/>
                <a:gd name="T20" fmla="*/ 280 w 280"/>
                <a:gd name="T21" fmla="*/ 174 h 334"/>
                <a:gd name="T22" fmla="*/ 259 w 280"/>
                <a:gd name="T23" fmla="*/ 153 h 334"/>
                <a:gd name="T24" fmla="*/ 81 w 280"/>
                <a:gd name="T25" fmla="*/ 99 h 334"/>
                <a:gd name="T26" fmla="*/ 138 w 280"/>
                <a:gd name="T27" fmla="*/ 43 h 334"/>
                <a:gd name="T28" fmla="*/ 195 w 280"/>
                <a:gd name="T29" fmla="*/ 99 h 334"/>
                <a:gd name="T30" fmla="*/ 195 w 280"/>
                <a:gd name="T31" fmla="*/ 153 h 334"/>
                <a:gd name="T32" fmla="*/ 81 w 280"/>
                <a:gd name="T33" fmla="*/ 153 h 334"/>
                <a:gd name="T34" fmla="*/ 81 w 280"/>
                <a:gd name="T35" fmla="*/ 9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0" h="334">
                  <a:moveTo>
                    <a:pt x="259" y="153"/>
                  </a:moveTo>
                  <a:cubicBezTo>
                    <a:pt x="238" y="153"/>
                    <a:pt x="238" y="153"/>
                    <a:pt x="238" y="153"/>
                  </a:cubicBezTo>
                  <a:cubicBezTo>
                    <a:pt x="238" y="99"/>
                    <a:pt x="238" y="99"/>
                    <a:pt x="238" y="99"/>
                  </a:cubicBezTo>
                  <a:cubicBezTo>
                    <a:pt x="238" y="45"/>
                    <a:pt x="193" y="0"/>
                    <a:pt x="138" y="0"/>
                  </a:cubicBezTo>
                  <a:cubicBezTo>
                    <a:pt x="83" y="0"/>
                    <a:pt x="39" y="45"/>
                    <a:pt x="39" y="99"/>
                  </a:cubicBezTo>
                  <a:cubicBezTo>
                    <a:pt x="39" y="153"/>
                    <a:pt x="39" y="153"/>
                    <a:pt x="39" y="153"/>
                  </a:cubicBezTo>
                  <a:cubicBezTo>
                    <a:pt x="0" y="153"/>
                    <a:pt x="0" y="153"/>
                    <a:pt x="0" y="153"/>
                  </a:cubicBezTo>
                  <a:cubicBezTo>
                    <a:pt x="0" y="312"/>
                    <a:pt x="0" y="312"/>
                    <a:pt x="0" y="312"/>
                  </a:cubicBezTo>
                  <a:cubicBezTo>
                    <a:pt x="0" y="324"/>
                    <a:pt x="9" y="334"/>
                    <a:pt x="21" y="334"/>
                  </a:cubicBezTo>
                  <a:cubicBezTo>
                    <a:pt x="280" y="334"/>
                    <a:pt x="280" y="334"/>
                    <a:pt x="280" y="334"/>
                  </a:cubicBezTo>
                  <a:cubicBezTo>
                    <a:pt x="280" y="174"/>
                    <a:pt x="280" y="174"/>
                    <a:pt x="280" y="174"/>
                  </a:cubicBezTo>
                  <a:cubicBezTo>
                    <a:pt x="280" y="162"/>
                    <a:pt x="271" y="153"/>
                    <a:pt x="259" y="153"/>
                  </a:cubicBezTo>
                  <a:moveTo>
                    <a:pt x="81" y="99"/>
                  </a:moveTo>
                  <a:cubicBezTo>
                    <a:pt x="81" y="68"/>
                    <a:pt x="107" y="43"/>
                    <a:pt x="138" y="43"/>
                  </a:cubicBezTo>
                  <a:cubicBezTo>
                    <a:pt x="169" y="43"/>
                    <a:pt x="195" y="68"/>
                    <a:pt x="195" y="99"/>
                  </a:cubicBezTo>
                  <a:cubicBezTo>
                    <a:pt x="195" y="153"/>
                    <a:pt x="195" y="153"/>
                    <a:pt x="195" y="153"/>
                  </a:cubicBezTo>
                  <a:cubicBezTo>
                    <a:pt x="81" y="153"/>
                    <a:pt x="81" y="153"/>
                    <a:pt x="81" y="153"/>
                  </a:cubicBezTo>
                  <a:lnTo>
                    <a:pt x="81" y="99"/>
                  </a:ln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216" name="Freeform 745"/>
            <p:cNvSpPr>
              <a:spLocks noEditPoints="1"/>
            </p:cNvSpPr>
            <p:nvPr/>
          </p:nvSpPr>
          <p:spPr bwMode="auto">
            <a:xfrm>
              <a:off x="5326950" y="4477475"/>
              <a:ext cx="385877" cy="460375"/>
            </a:xfrm>
            <a:custGeom>
              <a:avLst/>
              <a:gdLst>
                <a:gd name="T0" fmla="*/ 259 w 280"/>
                <a:gd name="T1" fmla="*/ 153 h 334"/>
                <a:gd name="T2" fmla="*/ 238 w 280"/>
                <a:gd name="T3" fmla="*/ 153 h 334"/>
                <a:gd name="T4" fmla="*/ 238 w 280"/>
                <a:gd name="T5" fmla="*/ 99 h 334"/>
                <a:gd name="T6" fmla="*/ 138 w 280"/>
                <a:gd name="T7" fmla="*/ 0 h 334"/>
                <a:gd name="T8" fmla="*/ 39 w 280"/>
                <a:gd name="T9" fmla="*/ 99 h 334"/>
                <a:gd name="T10" fmla="*/ 39 w 280"/>
                <a:gd name="T11" fmla="*/ 153 h 334"/>
                <a:gd name="T12" fmla="*/ 0 w 280"/>
                <a:gd name="T13" fmla="*/ 153 h 334"/>
                <a:gd name="T14" fmla="*/ 0 w 280"/>
                <a:gd name="T15" fmla="*/ 312 h 334"/>
                <a:gd name="T16" fmla="*/ 21 w 280"/>
                <a:gd name="T17" fmla="*/ 334 h 334"/>
                <a:gd name="T18" fmla="*/ 280 w 280"/>
                <a:gd name="T19" fmla="*/ 334 h 334"/>
                <a:gd name="T20" fmla="*/ 280 w 280"/>
                <a:gd name="T21" fmla="*/ 174 h 334"/>
                <a:gd name="T22" fmla="*/ 259 w 280"/>
                <a:gd name="T23" fmla="*/ 153 h 334"/>
                <a:gd name="T24" fmla="*/ 81 w 280"/>
                <a:gd name="T25" fmla="*/ 99 h 334"/>
                <a:gd name="T26" fmla="*/ 138 w 280"/>
                <a:gd name="T27" fmla="*/ 43 h 334"/>
                <a:gd name="T28" fmla="*/ 195 w 280"/>
                <a:gd name="T29" fmla="*/ 99 h 334"/>
                <a:gd name="T30" fmla="*/ 195 w 280"/>
                <a:gd name="T31" fmla="*/ 153 h 334"/>
                <a:gd name="T32" fmla="*/ 81 w 280"/>
                <a:gd name="T33" fmla="*/ 153 h 334"/>
                <a:gd name="T34" fmla="*/ 81 w 280"/>
                <a:gd name="T35" fmla="*/ 9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0" h="334">
                  <a:moveTo>
                    <a:pt x="259" y="153"/>
                  </a:moveTo>
                  <a:cubicBezTo>
                    <a:pt x="238" y="153"/>
                    <a:pt x="238" y="153"/>
                    <a:pt x="238" y="153"/>
                  </a:cubicBezTo>
                  <a:cubicBezTo>
                    <a:pt x="238" y="99"/>
                    <a:pt x="238" y="99"/>
                    <a:pt x="238" y="99"/>
                  </a:cubicBezTo>
                  <a:cubicBezTo>
                    <a:pt x="238" y="45"/>
                    <a:pt x="193" y="0"/>
                    <a:pt x="138" y="0"/>
                  </a:cubicBezTo>
                  <a:cubicBezTo>
                    <a:pt x="83" y="0"/>
                    <a:pt x="39" y="45"/>
                    <a:pt x="39" y="99"/>
                  </a:cubicBezTo>
                  <a:cubicBezTo>
                    <a:pt x="39" y="153"/>
                    <a:pt x="39" y="153"/>
                    <a:pt x="39" y="153"/>
                  </a:cubicBezTo>
                  <a:cubicBezTo>
                    <a:pt x="0" y="153"/>
                    <a:pt x="0" y="153"/>
                    <a:pt x="0" y="153"/>
                  </a:cubicBezTo>
                  <a:cubicBezTo>
                    <a:pt x="0" y="312"/>
                    <a:pt x="0" y="312"/>
                    <a:pt x="0" y="312"/>
                  </a:cubicBezTo>
                  <a:cubicBezTo>
                    <a:pt x="0" y="324"/>
                    <a:pt x="9" y="334"/>
                    <a:pt x="21" y="334"/>
                  </a:cubicBezTo>
                  <a:cubicBezTo>
                    <a:pt x="280" y="334"/>
                    <a:pt x="280" y="334"/>
                    <a:pt x="280" y="334"/>
                  </a:cubicBezTo>
                  <a:cubicBezTo>
                    <a:pt x="280" y="174"/>
                    <a:pt x="280" y="174"/>
                    <a:pt x="280" y="174"/>
                  </a:cubicBezTo>
                  <a:cubicBezTo>
                    <a:pt x="280" y="162"/>
                    <a:pt x="271" y="153"/>
                    <a:pt x="259" y="153"/>
                  </a:cubicBezTo>
                  <a:moveTo>
                    <a:pt x="81" y="99"/>
                  </a:moveTo>
                  <a:cubicBezTo>
                    <a:pt x="81" y="68"/>
                    <a:pt x="107" y="43"/>
                    <a:pt x="138" y="43"/>
                  </a:cubicBezTo>
                  <a:cubicBezTo>
                    <a:pt x="169" y="43"/>
                    <a:pt x="195" y="68"/>
                    <a:pt x="195" y="99"/>
                  </a:cubicBezTo>
                  <a:cubicBezTo>
                    <a:pt x="195" y="153"/>
                    <a:pt x="195" y="153"/>
                    <a:pt x="195" y="153"/>
                  </a:cubicBezTo>
                  <a:cubicBezTo>
                    <a:pt x="81" y="153"/>
                    <a:pt x="81" y="153"/>
                    <a:pt x="81" y="153"/>
                  </a:cubicBezTo>
                  <a:lnTo>
                    <a:pt x="81" y="99"/>
                  </a:ln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nvGrpSpPr>
          <p:cNvPr id="4" name="Group 3"/>
          <p:cNvGrpSpPr/>
          <p:nvPr/>
        </p:nvGrpSpPr>
        <p:grpSpPr>
          <a:xfrm>
            <a:off x="2850414" y="2650350"/>
            <a:ext cx="1008667" cy="701163"/>
            <a:chOff x="3687587" y="1770927"/>
            <a:chExt cx="710346" cy="493005"/>
          </a:xfrm>
        </p:grpSpPr>
        <p:grpSp>
          <p:nvGrpSpPr>
            <p:cNvPr id="217" name="Group 216"/>
            <p:cNvGrpSpPr/>
            <p:nvPr/>
          </p:nvGrpSpPr>
          <p:grpSpPr>
            <a:xfrm>
              <a:off x="3687587" y="1770927"/>
              <a:ext cx="197202" cy="493005"/>
              <a:chOff x="4305301" y="1846263"/>
              <a:chExt cx="568325" cy="1420813"/>
            </a:xfrm>
            <a:solidFill>
              <a:srgbClr val="000000"/>
            </a:solidFill>
          </p:grpSpPr>
          <p:sp>
            <p:nvSpPr>
              <p:cNvPr id="218" name="Oval 633"/>
              <p:cNvSpPr>
                <a:spLocks noChangeArrowheads="1"/>
              </p:cNvSpPr>
              <p:nvPr/>
            </p:nvSpPr>
            <p:spPr bwMode="auto">
              <a:xfrm>
                <a:off x="4440238" y="1846263"/>
                <a:ext cx="296863" cy="3111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232" name="Freeform 634"/>
              <p:cNvSpPr>
                <a:spLocks/>
              </p:cNvSpPr>
              <p:nvPr/>
            </p:nvSpPr>
            <p:spPr bwMode="auto">
              <a:xfrm>
                <a:off x="4305301" y="2203451"/>
                <a:ext cx="568325" cy="1063625"/>
              </a:xfrm>
              <a:custGeom>
                <a:avLst/>
                <a:gdLst>
                  <a:gd name="T0" fmla="*/ 119 w 151"/>
                  <a:gd name="T1" fmla="*/ 0 h 283"/>
                  <a:gd name="T2" fmla="*/ 75 w 151"/>
                  <a:gd name="T3" fmla="*/ 0 h 283"/>
                  <a:gd name="T4" fmla="*/ 32 w 151"/>
                  <a:gd name="T5" fmla="*/ 0 h 283"/>
                  <a:gd name="T6" fmla="*/ 0 w 151"/>
                  <a:gd name="T7" fmla="*/ 34 h 283"/>
                  <a:gd name="T8" fmla="*/ 0 w 151"/>
                  <a:gd name="T9" fmla="*/ 39 h 283"/>
                  <a:gd name="T10" fmla="*/ 0 w 151"/>
                  <a:gd name="T11" fmla="*/ 65 h 283"/>
                  <a:gd name="T12" fmla="*/ 0 w 151"/>
                  <a:gd name="T13" fmla="*/ 88 h 283"/>
                  <a:gd name="T14" fmla="*/ 0 w 151"/>
                  <a:gd name="T15" fmla="*/ 133 h 283"/>
                  <a:gd name="T16" fmla="*/ 0 w 151"/>
                  <a:gd name="T17" fmla="*/ 133 h 283"/>
                  <a:gd name="T18" fmla="*/ 12 w 151"/>
                  <a:gd name="T19" fmla="*/ 145 h 283"/>
                  <a:gd name="T20" fmla="*/ 25 w 151"/>
                  <a:gd name="T21" fmla="*/ 135 h 283"/>
                  <a:gd name="T22" fmla="*/ 25 w 151"/>
                  <a:gd name="T23" fmla="*/ 133 h 283"/>
                  <a:gd name="T24" fmla="*/ 25 w 151"/>
                  <a:gd name="T25" fmla="*/ 43 h 283"/>
                  <a:gd name="T26" fmla="*/ 28 w 151"/>
                  <a:gd name="T27" fmla="*/ 39 h 283"/>
                  <a:gd name="T28" fmla="*/ 31 w 151"/>
                  <a:gd name="T29" fmla="*/ 43 h 283"/>
                  <a:gd name="T30" fmla="*/ 31 w 151"/>
                  <a:gd name="T31" fmla="*/ 138 h 283"/>
                  <a:gd name="T32" fmla="*/ 32 w 151"/>
                  <a:gd name="T33" fmla="*/ 152 h 283"/>
                  <a:gd name="T34" fmla="*/ 32 w 151"/>
                  <a:gd name="T35" fmla="*/ 152 h 283"/>
                  <a:gd name="T36" fmla="*/ 32 w 151"/>
                  <a:gd name="T37" fmla="*/ 152 h 283"/>
                  <a:gd name="T38" fmla="*/ 42 w 151"/>
                  <a:gd name="T39" fmla="*/ 260 h 283"/>
                  <a:gd name="T40" fmla="*/ 64 w 151"/>
                  <a:gd name="T41" fmla="*/ 283 h 283"/>
                  <a:gd name="T42" fmla="*/ 75 w 151"/>
                  <a:gd name="T43" fmla="*/ 283 h 283"/>
                  <a:gd name="T44" fmla="*/ 87 w 151"/>
                  <a:gd name="T45" fmla="*/ 283 h 283"/>
                  <a:gd name="T46" fmla="*/ 109 w 151"/>
                  <a:gd name="T47" fmla="*/ 260 h 283"/>
                  <a:gd name="T48" fmla="*/ 119 w 151"/>
                  <a:gd name="T49" fmla="*/ 152 h 283"/>
                  <a:gd name="T50" fmla="*/ 119 w 151"/>
                  <a:gd name="T51" fmla="*/ 152 h 283"/>
                  <a:gd name="T52" fmla="*/ 119 w 151"/>
                  <a:gd name="T53" fmla="*/ 152 h 283"/>
                  <a:gd name="T54" fmla="*/ 119 w 151"/>
                  <a:gd name="T55" fmla="*/ 138 h 283"/>
                  <a:gd name="T56" fmla="*/ 119 w 151"/>
                  <a:gd name="T57" fmla="*/ 43 h 283"/>
                  <a:gd name="T58" fmla="*/ 123 w 151"/>
                  <a:gd name="T59" fmla="*/ 39 h 283"/>
                  <a:gd name="T60" fmla="*/ 126 w 151"/>
                  <a:gd name="T61" fmla="*/ 43 h 283"/>
                  <a:gd name="T62" fmla="*/ 126 w 151"/>
                  <a:gd name="T63" fmla="*/ 133 h 283"/>
                  <a:gd name="T64" fmla="*/ 126 w 151"/>
                  <a:gd name="T65" fmla="*/ 135 h 283"/>
                  <a:gd name="T66" fmla="*/ 139 w 151"/>
                  <a:gd name="T67" fmla="*/ 145 h 283"/>
                  <a:gd name="T68" fmla="*/ 151 w 151"/>
                  <a:gd name="T69" fmla="*/ 133 h 283"/>
                  <a:gd name="T70" fmla="*/ 151 w 151"/>
                  <a:gd name="T71" fmla="*/ 133 h 283"/>
                  <a:gd name="T72" fmla="*/ 151 w 151"/>
                  <a:gd name="T73" fmla="*/ 65 h 283"/>
                  <a:gd name="T74" fmla="*/ 151 w 151"/>
                  <a:gd name="T75" fmla="*/ 39 h 283"/>
                  <a:gd name="T76" fmla="*/ 151 w 151"/>
                  <a:gd name="T77" fmla="*/ 34 h 283"/>
                  <a:gd name="T78" fmla="*/ 119 w 151"/>
                  <a:gd name="T79"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1" h="283">
                    <a:moveTo>
                      <a:pt x="119" y="0"/>
                    </a:moveTo>
                    <a:cubicBezTo>
                      <a:pt x="75" y="0"/>
                      <a:pt x="75" y="0"/>
                      <a:pt x="75" y="0"/>
                    </a:cubicBezTo>
                    <a:cubicBezTo>
                      <a:pt x="32" y="0"/>
                      <a:pt x="32" y="0"/>
                      <a:pt x="32" y="0"/>
                    </a:cubicBezTo>
                    <a:cubicBezTo>
                      <a:pt x="11" y="0"/>
                      <a:pt x="0" y="10"/>
                      <a:pt x="0" y="34"/>
                    </a:cubicBezTo>
                    <a:cubicBezTo>
                      <a:pt x="0" y="39"/>
                      <a:pt x="0" y="39"/>
                      <a:pt x="0" y="39"/>
                    </a:cubicBezTo>
                    <a:cubicBezTo>
                      <a:pt x="0" y="65"/>
                      <a:pt x="0" y="65"/>
                      <a:pt x="0" y="65"/>
                    </a:cubicBezTo>
                    <a:cubicBezTo>
                      <a:pt x="0" y="88"/>
                      <a:pt x="0" y="88"/>
                      <a:pt x="0" y="88"/>
                    </a:cubicBezTo>
                    <a:cubicBezTo>
                      <a:pt x="0" y="133"/>
                      <a:pt x="0" y="133"/>
                      <a:pt x="0" y="133"/>
                    </a:cubicBezTo>
                    <a:cubicBezTo>
                      <a:pt x="0" y="133"/>
                      <a:pt x="0" y="133"/>
                      <a:pt x="0" y="133"/>
                    </a:cubicBezTo>
                    <a:cubicBezTo>
                      <a:pt x="0" y="140"/>
                      <a:pt x="5" y="145"/>
                      <a:pt x="12" y="145"/>
                    </a:cubicBezTo>
                    <a:cubicBezTo>
                      <a:pt x="19" y="145"/>
                      <a:pt x="24" y="141"/>
                      <a:pt x="25" y="135"/>
                    </a:cubicBezTo>
                    <a:cubicBezTo>
                      <a:pt x="25" y="134"/>
                      <a:pt x="25" y="133"/>
                      <a:pt x="25" y="133"/>
                    </a:cubicBezTo>
                    <a:cubicBezTo>
                      <a:pt x="25" y="43"/>
                      <a:pt x="25" y="43"/>
                      <a:pt x="25" y="43"/>
                    </a:cubicBezTo>
                    <a:cubicBezTo>
                      <a:pt x="25" y="41"/>
                      <a:pt x="26" y="39"/>
                      <a:pt x="28" y="39"/>
                    </a:cubicBezTo>
                    <a:cubicBezTo>
                      <a:pt x="30" y="39"/>
                      <a:pt x="31" y="41"/>
                      <a:pt x="31" y="43"/>
                    </a:cubicBezTo>
                    <a:cubicBezTo>
                      <a:pt x="31" y="138"/>
                      <a:pt x="31" y="138"/>
                      <a:pt x="31" y="138"/>
                    </a:cubicBezTo>
                    <a:cubicBezTo>
                      <a:pt x="31" y="138"/>
                      <a:pt x="31" y="147"/>
                      <a:pt x="32" y="152"/>
                    </a:cubicBezTo>
                    <a:cubicBezTo>
                      <a:pt x="32" y="152"/>
                      <a:pt x="32" y="152"/>
                      <a:pt x="32" y="152"/>
                    </a:cubicBezTo>
                    <a:cubicBezTo>
                      <a:pt x="32" y="152"/>
                      <a:pt x="32" y="152"/>
                      <a:pt x="32" y="152"/>
                    </a:cubicBezTo>
                    <a:cubicBezTo>
                      <a:pt x="42" y="260"/>
                      <a:pt x="42" y="260"/>
                      <a:pt x="42" y="260"/>
                    </a:cubicBezTo>
                    <a:cubicBezTo>
                      <a:pt x="43" y="276"/>
                      <a:pt x="50" y="283"/>
                      <a:pt x="64" y="283"/>
                    </a:cubicBezTo>
                    <a:cubicBezTo>
                      <a:pt x="75" y="283"/>
                      <a:pt x="75" y="283"/>
                      <a:pt x="75" y="283"/>
                    </a:cubicBezTo>
                    <a:cubicBezTo>
                      <a:pt x="87" y="283"/>
                      <a:pt x="87" y="283"/>
                      <a:pt x="87" y="283"/>
                    </a:cubicBezTo>
                    <a:cubicBezTo>
                      <a:pt x="101" y="283"/>
                      <a:pt x="108" y="276"/>
                      <a:pt x="109" y="260"/>
                    </a:cubicBezTo>
                    <a:cubicBezTo>
                      <a:pt x="119" y="152"/>
                      <a:pt x="119" y="152"/>
                      <a:pt x="119" y="152"/>
                    </a:cubicBezTo>
                    <a:cubicBezTo>
                      <a:pt x="119" y="152"/>
                      <a:pt x="119" y="152"/>
                      <a:pt x="119" y="152"/>
                    </a:cubicBezTo>
                    <a:cubicBezTo>
                      <a:pt x="119" y="152"/>
                      <a:pt x="119" y="152"/>
                      <a:pt x="119" y="152"/>
                    </a:cubicBezTo>
                    <a:cubicBezTo>
                      <a:pt x="119" y="147"/>
                      <a:pt x="119" y="138"/>
                      <a:pt x="119" y="138"/>
                    </a:cubicBezTo>
                    <a:cubicBezTo>
                      <a:pt x="119" y="43"/>
                      <a:pt x="119" y="43"/>
                      <a:pt x="119" y="43"/>
                    </a:cubicBezTo>
                    <a:cubicBezTo>
                      <a:pt x="119" y="41"/>
                      <a:pt x="121" y="39"/>
                      <a:pt x="123" y="39"/>
                    </a:cubicBezTo>
                    <a:cubicBezTo>
                      <a:pt x="124" y="39"/>
                      <a:pt x="126" y="41"/>
                      <a:pt x="126" y="43"/>
                    </a:cubicBezTo>
                    <a:cubicBezTo>
                      <a:pt x="126" y="133"/>
                      <a:pt x="126" y="133"/>
                      <a:pt x="126" y="133"/>
                    </a:cubicBezTo>
                    <a:cubicBezTo>
                      <a:pt x="126" y="133"/>
                      <a:pt x="126" y="134"/>
                      <a:pt x="126" y="135"/>
                    </a:cubicBezTo>
                    <a:cubicBezTo>
                      <a:pt x="127" y="141"/>
                      <a:pt x="132" y="145"/>
                      <a:pt x="139" y="145"/>
                    </a:cubicBezTo>
                    <a:cubicBezTo>
                      <a:pt x="146" y="145"/>
                      <a:pt x="151" y="140"/>
                      <a:pt x="151" y="133"/>
                    </a:cubicBezTo>
                    <a:cubicBezTo>
                      <a:pt x="151" y="133"/>
                      <a:pt x="151" y="133"/>
                      <a:pt x="151" y="133"/>
                    </a:cubicBezTo>
                    <a:cubicBezTo>
                      <a:pt x="151" y="65"/>
                      <a:pt x="151" y="65"/>
                      <a:pt x="151" y="65"/>
                    </a:cubicBezTo>
                    <a:cubicBezTo>
                      <a:pt x="151" y="39"/>
                      <a:pt x="151" y="39"/>
                      <a:pt x="151" y="39"/>
                    </a:cubicBezTo>
                    <a:cubicBezTo>
                      <a:pt x="151" y="34"/>
                      <a:pt x="151" y="34"/>
                      <a:pt x="151" y="34"/>
                    </a:cubicBezTo>
                    <a:cubicBezTo>
                      <a:pt x="151" y="10"/>
                      <a:pt x="140" y="0"/>
                      <a:pt x="1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nvGrpSpPr>
            <p:cNvPr id="233" name="Group 232"/>
            <p:cNvGrpSpPr/>
            <p:nvPr/>
          </p:nvGrpSpPr>
          <p:grpSpPr>
            <a:xfrm>
              <a:off x="3944159" y="1770927"/>
              <a:ext cx="197202" cy="493005"/>
              <a:chOff x="4305301" y="1846263"/>
              <a:chExt cx="568325" cy="1420813"/>
            </a:xfrm>
            <a:solidFill>
              <a:srgbClr val="000000"/>
            </a:solidFill>
          </p:grpSpPr>
          <p:sp>
            <p:nvSpPr>
              <p:cNvPr id="234" name="Oval 633"/>
              <p:cNvSpPr>
                <a:spLocks noChangeArrowheads="1"/>
              </p:cNvSpPr>
              <p:nvPr/>
            </p:nvSpPr>
            <p:spPr bwMode="auto">
              <a:xfrm>
                <a:off x="4440238" y="1846263"/>
                <a:ext cx="296863" cy="3111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235" name="Freeform 634"/>
              <p:cNvSpPr>
                <a:spLocks/>
              </p:cNvSpPr>
              <p:nvPr/>
            </p:nvSpPr>
            <p:spPr bwMode="auto">
              <a:xfrm>
                <a:off x="4305301" y="2203451"/>
                <a:ext cx="568325" cy="1063625"/>
              </a:xfrm>
              <a:custGeom>
                <a:avLst/>
                <a:gdLst>
                  <a:gd name="T0" fmla="*/ 119 w 151"/>
                  <a:gd name="T1" fmla="*/ 0 h 283"/>
                  <a:gd name="T2" fmla="*/ 75 w 151"/>
                  <a:gd name="T3" fmla="*/ 0 h 283"/>
                  <a:gd name="T4" fmla="*/ 32 w 151"/>
                  <a:gd name="T5" fmla="*/ 0 h 283"/>
                  <a:gd name="T6" fmla="*/ 0 w 151"/>
                  <a:gd name="T7" fmla="*/ 34 h 283"/>
                  <a:gd name="T8" fmla="*/ 0 w 151"/>
                  <a:gd name="T9" fmla="*/ 39 h 283"/>
                  <a:gd name="T10" fmla="*/ 0 w 151"/>
                  <a:gd name="T11" fmla="*/ 65 h 283"/>
                  <a:gd name="T12" fmla="*/ 0 w 151"/>
                  <a:gd name="T13" fmla="*/ 88 h 283"/>
                  <a:gd name="T14" fmla="*/ 0 w 151"/>
                  <a:gd name="T15" fmla="*/ 133 h 283"/>
                  <a:gd name="T16" fmla="*/ 0 w 151"/>
                  <a:gd name="T17" fmla="*/ 133 h 283"/>
                  <a:gd name="T18" fmla="*/ 12 w 151"/>
                  <a:gd name="T19" fmla="*/ 145 h 283"/>
                  <a:gd name="T20" fmla="*/ 25 w 151"/>
                  <a:gd name="T21" fmla="*/ 135 h 283"/>
                  <a:gd name="T22" fmla="*/ 25 w 151"/>
                  <a:gd name="T23" fmla="*/ 133 h 283"/>
                  <a:gd name="T24" fmla="*/ 25 w 151"/>
                  <a:gd name="T25" fmla="*/ 43 h 283"/>
                  <a:gd name="T26" fmla="*/ 28 w 151"/>
                  <a:gd name="T27" fmla="*/ 39 h 283"/>
                  <a:gd name="T28" fmla="*/ 31 w 151"/>
                  <a:gd name="T29" fmla="*/ 43 h 283"/>
                  <a:gd name="T30" fmla="*/ 31 w 151"/>
                  <a:gd name="T31" fmla="*/ 138 h 283"/>
                  <a:gd name="T32" fmla="*/ 32 w 151"/>
                  <a:gd name="T33" fmla="*/ 152 h 283"/>
                  <a:gd name="T34" fmla="*/ 32 w 151"/>
                  <a:gd name="T35" fmla="*/ 152 h 283"/>
                  <a:gd name="T36" fmla="*/ 32 w 151"/>
                  <a:gd name="T37" fmla="*/ 152 h 283"/>
                  <a:gd name="T38" fmla="*/ 42 w 151"/>
                  <a:gd name="T39" fmla="*/ 260 h 283"/>
                  <a:gd name="T40" fmla="*/ 64 w 151"/>
                  <a:gd name="T41" fmla="*/ 283 h 283"/>
                  <a:gd name="T42" fmla="*/ 75 w 151"/>
                  <a:gd name="T43" fmla="*/ 283 h 283"/>
                  <a:gd name="T44" fmla="*/ 87 w 151"/>
                  <a:gd name="T45" fmla="*/ 283 h 283"/>
                  <a:gd name="T46" fmla="*/ 109 w 151"/>
                  <a:gd name="T47" fmla="*/ 260 h 283"/>
                  <a:gd name="T48" fmla="*/ 119 w 151"/>
                  <a:gd name="T49" fmla="*/ 152 h 283"/>
                  <a:gd name="T50" fmla="*/ 119 w 151"/>
                  <a:gd name="T51" fmla="*/ 152 h 283"/>
                  <a:gd name="T52" fmla="*/ 119 w 151"/>
                  <a:gd name="T53" fmla="*/ 152 h 283"/>
                  <a:gd name="T54" fmla="*/ 119 w 151"/>
                  <a:gd name="T55" fmla="*/ 138 h 283"/>
                  <a:gd name="T56" fmla="*/ 119 w 151"/>
                  <a:gd name="T57" fmla="*/ 43 h 283"/>
                  <a:gd name="T58" fmla="*/ 123 w 151"/>
                  <a:gd name="T59" fmla="*/ 39 h 283"/>
                  <a:gd name="T60" fmla="*/ 126 w 151"/>
                  <a:gd name="T61" fmla="*/ 43 h 283"/>
                  <a:gd name="T62" fmla="*/ 126 w 151"/>
                  <a:gd name="T63" fmla="*/ 133 h 283"/>
                  <a:gd name="T64" fmla="*/ 126 w 151"/>
                  <a:gd name="T65" fmla="*/ 135 h 283"/>
                  <a:gd name="T66" fmla="*/ 139 w 151"/>
                  <a:gd name="T67" fmla="*/ 145 h 283"/>
                  <a:gd name="T68" fmla="*/ 151 w 151"/>
                  <a:gd name="T69" fmla="*/ 133 h 283"/>
                  <a:gd name="T70" fmla="*/ 151 w 151"/>
                  <a:gd name="T71" fmla="*/ 133 h 283"/>
                  <a:gd name="T72" fmla="*/ 151 w 151"/>
                  <a:gd name="T73" fmla="*/ 65 h 283"/>
                  <a:gd name="T74" fmla="*/ 151 w 151"/>
                  <a:gd name="T75" fmla="*/ 39 h 283"/>
                  <a:gd name="T76" fmla="*/ 151 w 151"/>
                  <a:gd name="T77" fmla="*/ 34 h 283"/>
                  <a:gd name="T78" fmla="*/ 119 w 151"/>
                  <a:gd name="T79"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1" h="283">
                    <a:moveTo>
                      <a:pt x="119" y="0"/>
                    </a:moveTo>
                    <a:cubicBezTo>
                      <a:pt x="75" y="0"/>
                      <a:pt x="75" y="0"/>
                      <a:pt x="75" y="0"/>
                    </a:cubicBezTo>
                    <a:cubicBezTo>
                      <a:pt x="32" y="0"/>
                      <a:pt x="32" y="0"/>
                      <a:pt x="32" y="0"/>
                    </a:cubicBezTo>
                    <a:cubicBezTo>
                      <a:pt x="11" y="0"/>
                      <a:pt x="0" y="10"/>
                      <a:pt x="0" y="34"/>
                    </a:cubicBezTo>
                    <a:cubicBezTo>
                      <a:pt x="0" y="39"/>
                      <a:pt x="0" y="39"/>
                      <a:pt x="0" y="39"/>
                    </a:cubicBezTo>
                    <a:cubicBezTo>
                      <a:pt x="0" y="65"/>
                      <a:pt x="0" y="65"/>
                      <a:pt x="0" y="65"/>
                    </a:cubicBezTo>
                    <a:cubicBezTo>
                      <a:pt x="0" y="88"/>
                      <a:pt x="0" y="88"/>
                      <a:pt x="0" y="88"/>
                    </a:cubicBezTo>
                    <a:cubicBezTo>
                      <a:pt x="0" y="133"/>
                      <a:pt x="0" y="133"/>
                      <a:pt x="0" y="133"/>
                    </a:cubicBezTo>
                    <a:cubicBezTo>
                      <a:pt x="0" y="133"/>
                      <a:pt x="0" y="133"/>
                      <a:pt x="0" y="133"/>
                    </a:cubicBezTo>
                    <a:cubicBezTo>
                      <a:pt x="0" y="140"/>
                      <a:pt x="5" y="145"/>
                      <a:pt x="12" y="145"/>
                    </a:cubicBezTo>
                    <a:cubicBezTo>
                      <a:pt x="19" y="145"/>
                      <a:pt x="24" y="141"/>
                      <a:pt x="25" y="135"/>
                    </a:cubicBezTo>
                    <a:cubicBezTo>
                      <a:pt x="25" y="134"/>
                      <a:pt x="25" y="133"/>
                      <a:pt x="25" y="133"/>
                    </a:cubicBezTo>
                    <a:cubicBezTo>
                      <a:pt x="25" y="43"/>
                      <a:pt x="25" y="43"/>
                      <a:pt x="25" y="43"/>
                    </a:cubicBezTo>
                    <a:cubicBezTo>
                      <a:pt x="25" y="41"/>
                      <a:pt x="26" y="39"/>
                      <a:pt x="28" y="39"/>
                    </a:cubicBezTo>
                    <a:cubicBezTo>
                      <a:pt x="30" y="39"/>
                      <a:pt x="31" y="41"/>
                      <a:pt x="31" y="43"/>
                    </a:cubicBezTo>
                    <a:cubicBezTo>
                      <a:pt x="31" y="138"/>
                      <a:pt x="31" y="138"/>
                      <a:pt x="31" y="138"/>
                    </a:cubicBezTo>
                    <a:cubicBezTo>
                      <a:pt x="31" y="138"/>
                      <a:pt x="31" y="147"/>
                      <a:pt x="32" y="152"/>
                    </a:cubicBezTo>
                    <a:cubicBezTo>
                      <a:pt x="32" y="152"/>
                      <a:pt x="32" y="152"/>
                      <a:pt x="32" y="152"/>
                    </a:cubicBezTo>
                    <a:cubicBezTo>
                      <a:pt x="32" y="152"/>
                      <a:pt x="32" y="152"/>
                      <a:pt x="32" y="152"/>
                    </a:cubicBezTo>
                    <a:cubicBezTo>
                      <a:pt x="42" y="260"/>
                      <a:pt x="42" y="260"/>
                      <a:pt x="42" y="260"/>
                    </a:cubicBezTo>
                    <a:cubicBezTo>
                      <a:pt x="43" y="276"/>
                      <a:pt x="50" y="283"/>
                      <a:pt x="64" y="283"/>
                    </a:cubicBezTo>
                    <a:cubicBezTo>
                      <a:pt x="75" y="283"/>
                      <a:pt x="75" y="283"/>
                      <a:pt x="75" y="283"/>
                    </a:cubicBezTo>
                    <a:cubicBezTo>
                      <a:pt x="87" y="283"/>
                      <a:pt x="87" y="283"/>
                      <a:pt x="87" y="283"/>
                    </a:cubicBezTo>
                    <a:cubicBezTo>
                      <a:pt x="101" y="283"/>
                      <a:pt x="108" y="276"/>
                      <a:pt x="109" y="260"/>
                    </a:cubicBezTo>
                    <a:cubicBezTo>
                      <a:pt x="119" y="152"/>
                      <a:pt x="119" y="152"/>
                      <a:pt x="119" y="152"/>
                    </a:cubicBezTo>
                    <a:cubicBezTo>
                      <a:pt x="119" y="152"/>
                      <a:pt x="119" y="152"/>
                      <a:pt x="119" y="152"/>
                    </a:cubicBezTo>
                    <a:cubicBezTo>
                      <a:pt x="119" y="152"/>
                      <a:pt x="119" y="152"/>
                      <a:pt x="119" y="152"/>
                    </a:cubicBezTo>
                    <a:cubicBezTo>
                      <a:pt x="119" y="147"/>
                      <a:pt x="119" y="138"/>
                      <a:pt x="119" y="138"/>
                    </a:cubicBezTo>
                    <a:cubicBezTo>
                      <a:pt x="119" y="43"/>
                      <a:pt x="119" y="43"/>
                      <a:pt x="119" y="43"/>
                    </a:cubicBezTo>
                    <a:cubicBezTo>
                      <a:pt x="119" y="41"/>
                      <a:pt x="121" y="39"/>
                      <a:pt x="123" y="39"/>
                    </a:cubicBezTo>
                    <a:cubicBezTo>
                      <a:pt x="124" y="39"/>
                      <a:pt x="126" y="41"/>
                      <a:pt x="126" y="43"/>
                    </a:cubicBezTo>
                    <a:cubicBezTo>
                      <a:pt x="126" y="133"/>
                      <a:pt x="126" y="133"/>
                      <a:pt x="126" y="133"/>
                    </a:cubicBezTo>
                    <a:cubicBezTo>
                      <a:pt x="126" y="133"/>
                      <a:pt x="126" y="134"/>
                      <a:pt x="126" y="135"/>
                    </a:cubicBezTo>
                    <a:cubicBezTo>
                      <a:pt x="127" y="141"/>
                      <a:pt x="132" y="145"/>
                      <a:pt x="139" y="145"/>
                    </a:cubicBezTo>
                    <a:cubicBezTo>
                      <a:pt x="146" y="145"/>
                      <a:pt x="151" y="140"/>
                      <a:pt x="151" y="133"/>
                    </a:cubicBezTo>
                    <a:cubicBezTo>
                      <a:pt x="151" y="133"/>
                      <a:pt x="151" y="133"/>
                      <a:pt x="151" y="133"/>
                    </a:cubicBezTo>
                    <a:cubicBezTo>
                      <a:pt x="151" y="65"/>
                      <a:pt x="151" y="65"/>
                      <a:pt x="151" y="65"/>
                    </a:cubicBezTo>
                    <a:cubicBezTo>
                      <a:pt x="151" y="39"/>
                      <a:pt x="151" y="39"/>
                      <a:pt x="151" y="39"/>
                    </a:cubicBezTo>
                    <a:cubicBezTo>
                      <a:pt x="151" y="34"/>
                      <a:pt x="151" y="34"/>
                      <a:pt x="151" y="34"/>
                    </a:cubicBezTo>
                    <a:cubicBezTo>
                      <a:pt x="151" y="10"/>
                      <a:pt x="140" y="0"/>
                      <a:pt x="1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nvGrpSpPr>
            <p:cNvPr id="236" name="Group 235"/>
            <p:cNvGrpSpPr/>
            <p:nvPr/>
          </p:nvGrpSpPr>
          <p:grpSpPr>
            <a:xfrm>
              <a:off x="4200731" y="1770927"/>
              <a:ext cx="197202" cy="493005"/>
              <a:chOff x="4305301" y="1846263"/>
              <a:chExt cx="568325" cy="1420813"/>
            </a:xfrm>
            <a:solidFill>
              <a:srgbClr val="000000"/>
            </a:solidFill>
          </p:grpSpPr>
          <p:sp>
            <p:nvSpPr>
              <p:cNvPr id="237" name="Oval 633"/>
              <p:cNvSpPr>
                <a:spLocks noChangeArrowheads="1"/>
              </p:cNvSpPr>
              <p:nvPr/>
            </p:nvSpPr>
            <p:spPr bwMode="auto">
              <a:xfrm>
                <a:off x="4440238" y="1846263"/>
                <a:ext cx="296863" cy="3111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238" name="Freeform 634"/>
              <p:cNvSpPr>
                <a:spLocks/>
              </p:cNvSpPr>
              <p:nvPr/>
            </p:nvSpPr>
            <p:spPr bwMode="auto">
              <a:xfrm>
                <a:off x="4305301" y="2203451"/>
                <a:ext cx="568325" cy="1063625"/>
              </a:xfrm>
              <a:custGeom>
                <a:avLst/>
                <a:gdLst>
                  <a:gd name="T0" fmla="*/ 119 w 151"/>
                  <a:gd name="T1" fmla="*/ 0 h 283"/>
                  <a:gd name="T2" fmla="*/ 75 w 151"/>
                  <a:gd name="T3" fmla="*/ 0 h 283"/>
                  <a:gd name="T4" fmla="*/ 32 w 151"/>
                  <a:gd name="T5" fmla="*/ 0 h 283"/>
                  <a:gd name="T6" fmla="*/ 0 w 151"/>
                  <a:gd name="T7" fmla="*/ 34 h 283"/>
                  <a:gd name="T8" fmla="*/ 0 w 151"/>
                  <a:gd name="T9" fmla="*/ 39 h 283"/>
                  <a:gd name="T10" fmla="*/ 0 w 151"/>
                  <a:gd name="T11" fmla="*/ 65 h 283"/>
                  <a:gd name="T12" fmla="*/ 0 w 151"/>
                  <a:gd name="T13" fmla="*/ 88 h 283"/>
                  <a:gd name="T14" fmla="*/ 0 w 151"/>
                  <a:gd name="T15" fmla="*/ 133 h 283"/>
                  <a:gd name="T16" fmla="*/ 0 w 151"/>
                  <a:gd name="T17" fmla="*/ 133 h 283"/>
                  <a:gd name="T18" fmla="*/ 12 w 151"/>
                  <a:gd name="T19" fmla="*/ 145 h 283"/>
                  <a:gd name="T20" fmla="*/ 25 w 151"/>
                  <a:gd name="T21" fmla="*/ 135 h 283"/>
                  <a:gd name="T22" fmla="*/ 25 w 151"/>
                  <a:gd name="T23" fmla="*/ 133 h 283"/>
                  <a:gd name="T24" fmla="*/ 25 w 151"/>
                  <a:gd name="T25" fmla="*/ 43 h 283"/>
                  <a:gd name="T26" fmla="*/ 28 w 151"/>
                  <a:gd name="T27" fmla="*/ 39 h 283"/>
                  <a:gd name="T28" fmla="*/ 31 w 151"/>
                  <a:gd name="T29" fmla="*/ 43 h 283"/>
                  <a:gd name="T30" fmla="*/ 31 w 151"/>
                  <a:gd name="T31" fmla="*/ 138 h 283"/>
                  <a:gd name="T32" fmla="*/ 32 w 151"/>
                  <a:gd name="T33" fmla="*/ 152 h 283"/>
                  <a:gd name="T34" fmla="*/ 32 w 151"/>
                  <a:gd name="T35" fmla="*/ 152 h 283"/>
                  <a:gd name="T36" fmla="*/ 32 w 151"/>
                  <a:gd name="T37" fmla="*/ 152 h 283"/>
                  <a:gd name="T38" fmla="*/ 42 w 151"/>
                  <a:gd name="T39" fmla="*/ 260 h 283"/>
                  <a:gd name="T40" fmla="*/ 64 w 151"/>
                  <a:gd name="T41" fmla="*/ 283 h 283"/>
                  <a:gd name="T42" fmla="*/ 75 w 151"/>
                  <a:gd name="T43" fmla="*/ 283 h 283"/>
                  <a:gd name="T44" fmla="*/ 87 w 151"/>
                  <a:gd name="T45" fmla="*/ 283 h 283"/>
                  <a:gd name="T46" fmla="*/ 109 w 151"/>
                  <a:gd name="T47" fmla="*/ 260 h 283"/>
                  <a:gd name="T48" fmla="*/ 119 w 151"/>
                  <a:gd name="T49" fmla="*/ 152 h 283"/>
                  <a:gd name="T50" fmla="*/ 119 w 151"/>
                  <a:gd name="T51" fmla="*/ 152 h 283"/>
                  <a:gd name="T52" fmla="*/ 119 w 151"/>
                  <a:gd name="T53" fmla="*/ 152 h 283"/>
                  <a:gd name="T54" fmla="*/ 119 w 151"/>
                  <a:gd name="T55" fmla="*/ 138 h 283"/>
                  <a:gd name="T56" fmla="*/ 119 w 151"/>
                  <a:gd name="T57" fmla="*/ 43 h 283"/>
                  <a:gd name="T58" fmla="*/ 123 w 151"/>
                  <a:gd name="T59" fmla="*/ 39 h 283"/>
                  <a:gd name="T60" fmla="*/ 126 w 151"/>
                  <a:gd name="T61" fmla="*/ 43 h 283"/>
                  <a:gd name="T62" fmla="*/ 126 w 151"/>
                  <a:gd name="T63" fmla="*/ 133 h 283"/>
                  <a:gd name="T64" fmla="*/ 126 w 151"/>
                  <a:gd name="T65" fmla="*/ 135 h 283"/>
                  <a:gd name="T66" fmla="*/ 139 w 151"/>
                  <a:gd name="T67" fmla="*/ 145 h 283"/>
                  <a:gd name="T68" fmla="*/ 151 w 151"/>
                  <a:gd name="T69" fmla="*/ 133 h 283"/>
                  <a:gd name="T70" fmla="*/ 151 w 151"/>
                  <a:gd name="T71" fmla="*/ 133 h 283"/>
                  <a:gd name="T72" fmla="*/ 151 w 151"/>
                  <a:gd name="T73" fmla="*/ 65 h 283"/>
                  <a:gd name="T74" fmla="*/ 151 w 151"/>
                  <a:gd name="T75" fmla="*/ 39 h 283"/>
                  <a:gd name="T76" fmla="*/ 151 w 151"/>
                  <a:gd name="T77" fmla="*/ 34 h 283"/>
                  <a:gd name="T78" fmla="*/ 119 w 151"/>
                  <a:gd name="T79"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1" h="283">
                    <a:moveTo>
                      <a:pt x="119" y="0"/>
                    </a:moveTo>
                    <a:cubicBezTo>
                      <a:pt x="75" y="0"/>
                      <a:pt x="75" y="0"/>
                      <a:pt x="75" y="0"/>
                    </a:cubicBezTo>
                    <a:cubicBezTo>
                      <a:pt x="32" y="0"/>
                      <a:pt x="32" y="0"/>
                      <a:pt x="32" y="0"/>
                    </a:cubicBezTo>
                    <a:cubicBezTo>
                      <a:pt x="11" y="0"/>
                      <a:pt x="0" y="10"/>
                      <a:pt x="0" y="34"/>
                    </a:cubicBezTo>
                    <a:cubicBezTo>
                      <a:pt x="0" y="39"/>
                      <a:pt x="0" y="39"/>
                      <a:pt x="0" y="39"/>
                    </a:cubicBezTo>
                    <a:cubicBezTo>
                      <a:pt x="0" y="65"/>
                      <a:pt x="0" y="65"/>
                      <a:pt x="0" y="65"/>
                    </a:cubicBezTo>
                    <a:cubicBezTo>
                      <a:pt x="0" y="88"/>
                      <a:pt x="0" y="88"/>
                      <a:pt x="0" y="88"/>
                    </a:cubicBezTo>
                    <a:cubicBezTo>
                      <a:pt x="0" y="133"/>
                      <a:pt x="0" y="133"/>
                      <a:pt x="0" y="133"/>
                    </a:cubicBezTo>
                    <a:cubicBezTo>
                      <a:pt x="0" y="133"/>
                      <a:pt x="0" y="133"/>
                      <a:pt x="0" y="133"/>
                    </a:cubicBezTo>
                    <a:cubicBezTo>
                      <a:pt x="0" y="140"/>
                      <a:pt x="5" y="145"/>
                      <a:pt x="12" y="145"/>
                    </a:cubicBezTo>
                    <a:cubicBezTo>
                      <a:pt x="19" y="145"/>
                      <a:pt x="24" y="141"/>
                      <a:pt x="25" y="135"/>
                    </a:cubicBezTo>
                    <a:cubicBezTo>
                      <a:pt x="25" y="134"/>
                      <a:pt x="25" y="133"/>
                      <a:pt x="25" y="133"/>
                    </a:cubicBezTo>
                    <a:cubicBezTo>
                      <a:pt x="25" y="43"/>
                      <a:pt x="25" y="43"/>
                      <a:pt x="25" y="43"/>
                    </a:cubicBezTo>
                    <a:cubicBezTo>
                      <a:pt x="25" y="41"/>
                      <a:pt x="26" y="39"/>
                      <a:pt x="28" y="39"/>
                    </a:cubicBezTo>
                    <a:cubicBezTo>
                      <a:pt x="30" y="39"/>
                      <a:pt x="31" y="41"/>
                      <a:pt x="31" y="43"/>
                    </a:cubicBezTo>
                    <a:cubicBezTo>
                      <a:pt x="31" y="138"/>
                      <a:pt x="31" y="138"/>
                      <a:pt x="31" y="138"/>
                    </a:cubicBezTo>
                    <a:cubicBezTo>
                      <a:pt x="31" y="138"/>
                      <a:pt x="31" y="147"/>
                      <a:pt x="32" y="152"/>
                    </a:cubicBezTo>
                    <a:cubicBezTo>
                      <a:pt x="32" y="152"/>
                      <a:pt x="32" y="152"/>
                      <a:pt x="32" y="152"/>
                    </a:cubicBezTo>
                    <a:cubicBezTo>
                      <a:pt x="32" y="152"/>
                      <a:pt x="32" y="152"/>
                      <a:pt x="32" y="152"/>
                    </a:cubicBezTo>
                    <a:cubicBezTo>
                      <a:pt x="42" y="260"/>
                      <a:pt x="42" y="260"/>
                      <a:pt x="42" y="260"/>
                    </a:cubicBezTo>
                    <a:cubicBezTo>
                      <a:pt x="43" y="276"/>
                      <a:pt x="50" y="283"/>
                      <a:pt x="64" y="283"/>
                    </a:cubicBezTo>
                    <a:cubicBezTo>
                      <a:pt x="75" y="283"/>
                      <a:pt x="75" y="283"/>
                      <a:pt x="75" y="283"/>
                    </a:cubicBezTo>
                    <a:cubicBezTo>
                      <a:pt x="87" y="283"/>
                      <a:pt x="87" y="283"/>
                      <a:pt x="87" y="283"/>
                    </a:cubicBezTo>
                    <a:cubicBezTo>
                      <a:pt x="101" y="283"/>
                      <a:pt x="108" y="276"/>
                      <a:pt x="109" y="260"/>
                    </a:cubicBezTo>
                    <a:cubicBezTo>
                      <a:pt x="119" y="152"/>
                      <a:pt x="119" y="152"/>
                      <a:pt x="119" y="152"/>
                    </a:cubicBezTo>
                    <a:cubicBezTo>
                      <a:pt x="119" y="152"/>
                      <a:pt x="119" y="152"/>
                      <a:pt x="119" y="152"/>
                    </a:cubicBezTo>
                    <a:cubicBezTo>
                      <a:pt x="119" y="152"/>
                      <a:pt x="119" y="152"/>
                      <a:pt x="119" y="152"/>
                    </a:cubicBezTo>
                    <a:cubicBezTo>
                      <a:pt x="119" y="147"/>
                      <a:pt x="119" y="138"/>
                      <a:pt x="119" y="138"/>
                    </a:cubicBezTo>
                    <a:cubicBezTo>
                      <a:pt x="119" y="43"/>
                      <a:pt x="119" y="43"/>
                      <a:pt x="119" y="43"/>
                    </a:cubicBezTo>
                    <a:cubicBezTo>
                      <a:pt x="119" y="41"/>
                      <a:pt x="121" y="39"/>
                      <a:pt x="123" y="39"/>
                    </a:cubicBezTo>
                    <a:cubicBezTo>
                      <a:pt x="124" y="39"/>
                      <a:pt x="126" y="41"/>
                      <a:pt x="126" y="43"/>
                    </a:cubicBezTo>
                    <a:cubicBezTo>
                      <a:pt x="126" y="133"/>
                      <a:pt x="126" y="133"/>
                      <a:pt x="126" y="133"/>
                    </a:cubicBezTo>
                    <a:cubicBezTo>
                      <a:pt x="126" y="133"/>
                      <a:pt x="126" y="134"/>
                      <a:pt x="126" y="135"/>
                    </a:cubicBezTo>
                    <a:cubicBezTo>
                      <a:pt x="127" y="141"/>
                      <a:pt x="132" y="145"/>
                      <a:pt x="139" y="145"/>
                    </a:cubicBezTo>
                    <a:cubicBezTo>
                      <a:pt x="146" y="145"/>
                      <a:pt x="151" y="140"/>
                      <a:pt x="151" y="133"/>
                    </a:cubicBezTo>
                    <a:cubicBezTo>
                      <a:pt x="151" y="133"/>
                      <a:pt x="151" y="133"/>
                      <a:pt x="151" y="133"/>
                    </a:cubicBezTo>
                    <a:cubicBezTo>
                      <a:pt x="151" y="65"/>
                      <a:pt x="151" y="65"/>
                      <a:pt x="151" y="65"/>
                    </a:cubicBezTo>
                    <a:cubicBezTo>
                      <a:pt x="151" y="39"/>
                      <a:pt x="151" y="39"/>
                      <a:pt x="151" y="39"/>
                    </a:cubicBezTo>
                    <a:cubicBezTo>
                      <a:pt x="151" y="34"/>
                      <a:pt x="151" y="34"/>
                      <a:pt x="151" y="34"/>
                    </a:cubicBezTo>
                    <a:cubicBezTo>
                      <a:pt x="151" y="10"/>
                      <a:pt x="140" y="0"/>
                      <a:pt x="1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sp>
        <p:nvSpPr>
          <p:cNvPr id="240" name="Freeform 239"/>
          <p:cNvSpPr>
            <a:spLocks noEditPoints="1"/>
          </p:cNvSpPr>
          <p:nvPr/>
        </p:nvSpPr>
        <p:spPr bwMode="auto">
          <a:xfrm>
            <a:off x="8352326" y="1382790"/>
            <a:ext cx="1670532" cy="915954"/>
          </a:xfrm>
          <a:custGeom>
            <a:avLst/>
            <a:gdLst>
              <a:gd name="T0" fmla="*/ 77 w 427"/>
              <a:gd name="T1" fmla="*/ 234 h 234"/>
              <a:gd name="T2" fmla="*/ 47 w 427"/>
              <a:gd name="T3" fmla="*/ 227 h 234"/>
              <a:gd name="T4" fmla="*/ 0 w 427"/>
              <a:gd name="T5" fmla="*/ 156 h 234"/>
              <a:gd name="T6" fmla="*/ 7 w 427"/>
              <a:gd name="T7" fmla="*/ 125 h 234"/>
              <a:gd name="T8" fmla="*/ 78 w 427"/>
              <a:gd name="T9" fmla="*/ 79 h 234"/>
              <a:gd name="T10" fmla="*/ 79 w 427"/>
              <a:gd name="T11" fmla="*/ 79 h 234"/>
              <a:gd name="T12" fmla="*/ 84 w 427"/>
              <a:gd name="T13" fmla="*/ 62 h 234"/>
              <a:gd name="T14" fmla="*/ 179 w 427"/>
              <a:gd name="T15" fmla="*/ 0 h 234"/>
              <a:gd name="T16" fmla="*/ 220 w 427"/>
              <a:gd name="T17" fmla="*/ 8 h 234"/>
              <a:gd name="T18" fmla="*/ 277 w 427"/>
              <a:gd name="T19" fmla="*/ 70 h 234"/>
              <a:gd name="T20" fmla="*/ 301 w 427"/>
              <a:gd name="T21" fmla="*/ 67 h 234"/>
              <a:gd name="T22" fmla="*/ 334 w 427"/>
              <a:gd name="T23" fmla="*/ 74 h 234"/>
              <a:gd name="T24" fmla="*/ 382 w 427"/>
              <a:gd name="T25" fmla="*/ 133 h 234"/>
              <a:gd name="T26" fmla="*/ 397 w 427"/>
              <a:gd name="T27" fmla="*/ 137 h 234"/>
              <a:gd name="T28" fmla="*/ 397 w 427"/>
              <a:gd name="T29" fmla="*/ 137 h 234"/>
              <a:gd name="T30" fmla="*/ 427 w 427"/>
              <a:gd name="T31" fmla="*/ 183 h 234"/>
              <a:gd name="T32" fmla="*/ 423 w 427"/>
              <a:gd name="T33" fmla="*/ 203 h 234"/>
              <a:gd name="T34" fmla="*/ 382 w 427"/>
              <a:gd name="T35" fmla="*/ 234 h 234"/>
              <a:gd name="T36" fmla="*/ 77 w 427"/>
              <a:gd name="T37" fmla="*/ 234 h 234"/>
              <a:gd name="T38" fmla="*/ 404 w 427"/>
              <a:gd name="T39" fmla="*/ 195 h 234"/>
              <a:gd name="T40" fmla="*/ 407 w 427"/>
              <a:gd name="T41" fmla="*/ 183 h 234"/>
              <a:gd name="T42" fmla="*/ 389 w 427"/>
              <a:gd name="T43" fmla="*/ 155 h 234"/>
              <a:gd name="T44" fmla="*/ 389 w 427"/>
              <a:gd name="T45" fmla="*/ 155 h 234"/>
              <a:gd name="T46" fmla="*/ 377 w 427"/>
              <a:gd name="T47" fmla="*/ 153 h 234"/>
              <a:gd name="T48" fmla="*/ 375 w 427"/>
              <a:gd name="T49" fmla="*/ 153 h 234"/>
              <a:gd name="T50" fmla="*/ 364 w 427"/>
              <a:gd name="T51" fmla="*/ 144 h 234"/>
              <a:gd name="T52" fmla="*/ 326 w 427"/>
              <a:gd name="T53" fmla="*/ 92 h 234"/>
              <a:gd name="T54" fmla="*/ 301 w 427"/>
              <a:gd name="T55" fmla="*/ 87 h 234"/>
              <a:gd name="T56" fmla="*/ 274 w 427"/>
              <a:gd name="T57" fmla="*/ 93 h 234"/>
              <a:gd name="T58" fmla="*/ 261 w 427"/>
              <a:gd name="T59" fmla="*/ 86 h 234"/>
              <a:gd name="T60" fmla="*/ 212 w 427"/>
              <a:gd name="T61" fmla="*/ 27 h 234"/>
              <a:gd name="T62" fmla="*/ 179 w 427"/>
              <a:gd name="T63" fmla="*/ 20 h 234"/>
              <a:gd name="T64" fmla="*/ 103 w 427"/>
              <a:gd name="T65" fmla="*/ 70 h 234"/>
              <a:gd name="T66" fmla="*/ 97 w 427"/>
              <a:gd name="T67" fmla="*/ 91 h 234"/>
              <a:gd name="T68" fmla="*/ 86 w 427"/>
              <a:gd name="T69" fmla="*/ 99 h 234"/>
              <a:gd name="T70" fmla="*/ 78 w 427"/>
              <a:gd name="T71" fmla="*/ 99 h 234"/>
              <a:gd name="T72" fmla="*/ 25 w 427"/>
              <a:gd name="T73" fmla="*/ 133 h 234"/>
              <a:gd name="T74" fmla="*/ 20 w 427"/>
              <a:gd name="T75" fmla="*/ 156 h 234"/>
              <a:gd name="T76" fmla="*/ 55 w 427"/>
              <a:gd name="T77" fmla="*/ 209 h 234"/>
              <a:gd name="T78" fmla="*/ 78 w 427"/>
              <a:gd name="T79" fmla="*/ 214 h 234"/>
              <a:gd name="T80" fmla="*/ 78 w 427"/>
              <a:gd name="T81" fmla="*/ 214 h 234"/>
              <a:gd name="T82" fmla="*/ 380 w 427"/>
              <a:gd name="T83" fmla="*/ 21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234">
                <a:moveTo>
                  <a:pt x="77" y="234"/>
                </a:moveTo>
                <a:cubicBezTo>
                  <a:pt x="77" y="234"/>
                  <a:pt x="77" y="234"/>
                  <a:pt x="77" y="234"/>
                </a:cubicBezTo>
                <a:cubicBezTo>
                  <a:pt x="67" y="234"/>
                  <a:pt x="57" y="231"/>
                  <a:pt x="47" y="227"/>
                </a:cubicBezTo>
                <a:cubicBezTo>
                  <a:pt x="47" y="227"/>
                  <a:pt x="47" y="227"/>
                  <a:pt x="47" y="227"/>
                </a:cubicBezTo>
                <a:cubicBezTo>
                  <a:pt x="18" y="215"/>
                  <a:pt x="0" y="186"/>
                  <a:pt x="0" y="156"/>
                </a:cubicBezTo>
                <a:cubicBezTo>
                  <a:pt x="0" y="156"/>
                  <a:pt x="0" y="156"/>
                  <a:pt x="0" y="156"/>
                </a:cubicBezTo>
                <a:cubicBezTo>
                  <a:pt x="0" y="146"/>
                  <a:pt x="2" y="135"/>
                  <a:pt x="7" y="125"/>
                </a:cubicBezTo>
                <a:cubicBezTo>
                  <a:pt x="7" y="125"/>
                  <a:pt x="7" y="125"/>
                  <a:pt x="7" y="125"/>
                </a:cubicBezTo>
                <a:cubicBezTo>
                  <a:pt x="19" y="96"/>
                  <a:pt x="48" y="79"/>
                  <a:pt x="78" y="79"/>
                </a:cubicBezTo>
                <a:cubicBezTo>
                  <a:pt x="78" y="79"/>
                  <a:pt x="78" y="79"/>
                  <a:pt x="78" y="79"/>
                </a:cubicBezTo>
                <a:cubicBezTo>
                  <a:pt x="78" y="79"/>
                  <a:pt x="78" y="79"/>
                  <a:pt x="79" y="79"/>
                </a:cubicBezTo>
                <a:cubicBezTo>
                  <a:pt x="79" y="79"/>
                  <a:pt x="79" y="79"/>
                  <a:pt x="79" y="79"/>
                </a:cubicBezTo>
                <a:cubicBezTo>
                  <a:pt x="80" y="73"/>
                  <a:pt x="82" y="67"/>
                  <a:pt x="84" y="62"/>
                </a:cubicBezTo>
                <a:cubicBezTo>
                  <a:pt x="84" y="62"/>
                  <a:pt x="84" y="62"/>
                  <a:pt x="84" y="62"/>
                </a:cubicBezTo>
                <a:cubicBezTo>
                  <a:pt x="101" y="23"/>
                  <a:pt x="139" y="0"/>
                  <a:pt x="179" y="0"/>
                </a:cubicBezTo>
                <a:cubicBezTo>
                  <a:pt x="179" y="0"/>
                  <a:pt x="179" y="0"/>
                  <a:pt x="179" y="0"/>
                </a:cubicBezTo>
                <a:cubicBezTo>
                  <a:pt x="193" y="0"/>
                  <a:pt x="207" y="2"/>
                  <a:pt x="220" y="8"/>
                </a:cubicBezTo>
                <a:cubicBezTo>
                  <a:pt x="220" y="8"/>
                  <a:pt x="220" y="8"/>
                  <a:pt x="220" y="8"/>
                </a:cubicBezTo>
                <a:cubicBezTo>
                  <a:pt x="248" y="20"/>
                  <a:pt x="268" y="43"/>
                  <a:pt x="277" y="70"/>
                </a:cubicBezTo>
                <a:cubicBezTo>
                  <a:pt x="277" y="70"/>
                  <a:pt x="277" y="70"/>
                  <a:pt x="277" y="70"/>
                </a:cubicBezTo>
                <a:cubicBezTo>
                  <a:pt x="285" y="68"/>
                  <a:pt x="293" y="67"/>
                  <a:pt x="301" y="67"/>
                </a:cubicBezTo>
                <a:cubicBezTo>
                  <a:pt x="301" y="67"/>
                  <a:pt x="301" y="67"/>
                  <a:pt x="301" y="67"/>
                </a:cubicBezTo>
                <a:cubicBezTo>
                  <a:pt x="312" y="67"/>
                  <a:pt x="323" y="69"/>
                  <a:pt x="334" y="74"/>
                </a:cubicBezTo>
                <a:cubicBezTo>
                  <a:pt x="334" y="74"/>
                  <a:pt x="334" y="74"/>
                  <a:pt x="334" y="74"/>
                </a:cubicBezTo>
                <a:cubicBezTo>
                  <a:pt x="360" y="85"/>
                  <a:pt x="377" y="108"/>
                  <a:pt x="382" y="133"/>
                </a:cubicBezTo>
                <a:cubicBezTo>
                  <a:pt x="382" y="133"/>
                  <a:pt x="382" y="133"/>
                  <a:pt x="382" y="133"/>
                </a:cubicBezTo>
                <a:cubicBezTo>
                  <a:pt x="387" y="134"/>
                  <a:pt x="392" y="135"/>
                  <a:pt x="397" y="137"/>
                </a:cubicBezTo>
                <a:cubicBezTo>
                  <a:pt x="397" y="137"/>
                  <a:pt x="397" y="137"/>
                  <a:pt x="397" y="137"/>
                </a:cubicBezTo>
                <a:cubicBezTo>
                  <a:pt x="397" y="137"/>
                  <a:pt x="397" y="137"/>
                  <a:pt x="397" y="137"/>
                </a:cubicBezTo>
                <a:cubicBezTo>
                  <a:pt x="397" y="137"/>
                  <a:pt x="397" y="137"/>
                  <a:pt x="397" y="137"/>
                </a:cubicBezTo>
                <a:cubicBezTo>
                  <a:pt x="416" y="145"/>
                  <a:pt x="427" y="164"/>
                  <a:pt x="427" y="183"/>
                </a:cubicBezTo>
                <a:cubicBezTo>
                  <a:pt x="427" y="183"/>
                  <a:pt x="427" y="183"/>
                  <a:pt x="427" y="183"/>
                </a:cubicBezTo>
                <a:cubicBezTo>
                  <a:pt x="427" y="190"/>
                  <a:pt x="426" y="196"/>
                  <a:pt x="423" y="203"/>
                </a:cubicBezTo>
                <a:cubicBezTo>
                  <a:pt x="423" y="203"/>
                  <a:pt x="423" y="203"/>
                  <a:pt x="423" y="203"/>
                </a:cubicBezTo>
                <a:cubicBezTo>
                  <a:pt x="415" y="220"/>
                  <a:pt x="400" y="232"/>
                  <a:pt x="382" y="234"/>
                </a:cubicBezTo>
                <a:cubicBezTo>
                  <a:pt x="382" y="234"/>
                  <a:pt x="382" y="234"/>
                  <a:pt x="382" y="234"/>
                </a:cubicBezTo>
                <a:cubicBezTo>
                  <a:pt x="381" y="234"/>
                  <a:pt x="381" y="234"/>
                  <a:pt x="381" y="234"/>
                </a:cubicBezTo>
                <a:cubicBezTo>
                  <a:pt x="77" y="234"/>
                  <a:pt x="77" y="234"/>
                  <a:pt x="77" y="234"/>
                </a:cubicBezTo>
                <a:close/>
                <a:moveTo>
                  <a:pt x="380" y="214"/>
                </a:moveTo>
                <a:cubicBezTo>
                  <a:pt x="390" y="213"/>
                  <a:pt x="400" y="205"/>
                  <a:pt x="404" y="195"/>
                </a:cubicBezTo>
                <a:cubicBezTo>
                  <a:pt x="404" y="195"/>
                  <a:pt x="404" y="195"/>
                  <a:pt x="404" y="195"/>
                </a:cubicBezTo>
                <a:cubicBezTo>
                  <a:pt x="406" y="191"/>
                  <a:pt x="407" y="187"/>
                  <a:pt x="407" y="183"/>
                </a:cubicBezTo>
                <a:cubicBezTo>
                  <a:pt x="407" y="183"/>
                  <a:pt x="407" y="183"/>
                  <a:pt x="407" y="183"/>
                </a:cubicBezTo>
                <a:cubicBezTo>
                  <a:pt x="407" y="171"/>
                  <a:pt x="400" y="160"/>
                  <a:pt x="389" y="155"/>
                </a:cubicBezTo>
                <a:cubicBezTo>
                  <a:pt x="389" y="155"/>
                  <a:pt x="389" y="155"/>
                  <a:pt x="389" y="155"/>
                </a:cubicBezTo>
                <a:cubicBezTo>
                  <a:pt x="389" y="155"/>
                  <a:pt x="389" y="155"/>
                  <a:pt x="389" y="155"/>
                </a:cubicBezTo>
                <a:cubicBezTo>
                  <a:pt x="385" y="154"/>
                  <a:pt x="381" y="153"/>
                  <a:pt x="377" y="153"/>
                </a:cubicBezTo>
                <a:cubicBezTo>
                  <a:pt x="377" y="153"/>
                  <a:pt x="377" y="153"/>
                  <a:pt x="377" y="153"/>
                </a:cubicBezTo>
                <a:cubicBezTo>
                  <a:pt x="376" y="153"/>
                  <a:pt x="375" y="153"/>
                  <a:pt x="375" y="153"/>
                </a:cubicBezTo>
                <a:cubicBezTo>
                  <a:pt x="375" y="153"/>
                  <a:pt x="375" y="153"/>
                  <a:pt x="375" y="153"/>
                </a:cubicBezTo>
                <a:cubicBezTo>
                  <a:pt x="365" y="154"/>
                  <a:pt x="365" y="154"/>
                  <a:pt x="365" y="154"/>
                </a:cubicBezTo>
                <a:cubicBezTo>
                  <a:pt x="364" y="144"/>
                  <a:pt x="364" y="144"/>
                  <a:pt x="364" y="144"/>
                </a:cubicBezTo>
                <a:cubicBezTo>
                  <a:pt x="362" y="122"/>
                  <a:pt x="348" y="102"/>
                  <a:pt x="326" y="92"/>
                </a:cubicBezTo>
                <a:cubicBezTo>
                  <a:pt x="326" y="92"/>
                  <a:pt x="326" y="92"/>
                  <a:pt x="326" y="92"/>
                </a:cubicBezTo>
                <a:cubicBezTo>
                  <a:pt x="318" y="88"/>
                  <a:pt x="309" y="87"/>
                  <a:pt x="301" y="87"/>
                </a:cubicBezTo>
                <a:cubicBezTo>
                  <a:pt x="301" y="87"/>
                  <a:pt x="301" y="87"/>
                  <a:pt x="301" y="87"/>
                </a:cubicBezTo>
                <a:cubicBezTo>
                  <a:pt x="292" y="87"/>
                  <a:pt x="283" y="89"/>
                  <a:pt x="274" y="93"/>
                </a:cubicBezTo>
                <a:cubicBezTo>
                  <a:pt x="274" y="93"/>
                  <a:pt x="274" y="93"/>
                  <a:pt x="274" y="93"/>
                </a:cubicBezTo>
                <a:cubicBezTo>
                  <a:pt x="263" y="98"/>
                  <a:pt x="263" y="98"/>
                  <a:pt x="263" y="98"/>
                </a:cubicBezTo>
                <a:cubicBezTo>
                  <a:pt x="261" y="86"/>
                  <a:pt x="261" y="86"/>
                  <a:pt x="261" y="86"/>
                </a:cubicBezTo>
                <a:cubicBezTo>
                  <a:pt x="255" y="60"/>
                  <a:pt x="238" y="38"/>
                  <a:pt x="212" y="27"/>
                </a:cubicBezTo>
                <a:cubicBezTo>
                  <a:pt x="212" y="27"/>
                  <a:pt x="212" y="27"/>
                  <a:pt x="212" y="27"/>
                </a:cubicBezTo>
                <a:cubicBezTo>
                  <a:pt x="201" y="22"/>
                  <a:pt x="190" y="20"/>
                  <a:pt x="179" y="20"/>
                </a:cubicBezTo>
                <a:cubicBezTo>
                  <a:pt x="179" y="20"/>
                  <a:pt x="179" y="20"/>
                  <a:pt x="179" y="20"/>
                </a:cubicBezTo>
                <a:cubicBezTo>
                  <a:pt x="147" y="20"/>
                  <a:pt x="116" y="38"/>
                  <a:pt x="103" y="70"/>
                </a:cubicBezTo>
                <a:cubicBezTo>
                  <a:pt x="103" y="70"/>
                  <a:pt x="103" y="70"/>
                  <a:pt x="103" y="70"/>
                </a:cubicBezTo>
                <a:cubicBezTo>
                  <a:pt x="100" y="77"/>
                  <a:pt x="98" y="84"/>
                  <a:pt x="97" y="91"/>
                </a:cubicBezTo>
                <a:cubicBezTo>
                  <a:pt x="97" y="91"/>
                  <a:pt x="97" y="91"/>
                  <a:pt x="97" y="91"/>
                </a:cubicBezTo>
                <a:cubicBezTo>
                  <a:pt x="95" y="100"/>
                  <a:pt x="95" y="100"/>
                  <a:pt x="95" y="100"/>
                </a:cubicBezTo>
                <a:cubicBezTo>
                  <a:pt x="86" y="99"/>
                  <a:pt x="86" y="99"/>
                  <a:pt x="86" y="99"/>
                </a:cubicBezTo>
                <a:cubicBezTo>
                  <a:pt x="83" y="99"/>
                  <a:pt x="80" y="99"/>
                  <a:pt x="78" y="99"/>
                </a:cubicBezTo>
                <a:cubicBezTo>
                  <a:pt x="78" y="99"/>
                  <a:pt x="78" y="99"/>
                  <a:pt x="78" y="99"/>
                </a:cubicBezTo>
                <a:cubicBezTo>
                  <a:pt x="56" y="99"/>
                  <a:pt x="35" y="112"/>
                  <a:pt x="25" y="133"/>
                </a:cubicBezTo>
                <a:cubicBezTo>
                  <a:pt x="25" y="133"/>
                  <a:pt x="25" y="133"/>
                  <a:pt x="25" y="133"/>
                </a:cubicBezTo>
                <a:cubicBezTo>
                  <a:pt x="22" y="141"/>
                  <a:pt x="20" y="148"/>
                  <a:pt x="20" y="156"/>
                </a:cubicBezTo>
                <a:cubicBezTo>
                  <a:pt x="20" y="156"/>
                  <a:pt x="20" y="156"/>
                  <a:pt x="20" y="156"/>
                </a:cubicBezTo>
                <a:cubicBezTo>
                  <a:pt x="20" y="178"/>
                  <a:pt x="33" y="200"/>
                  <a:pt x="55" y="209"/>
                </a:cubicBezTo>
                <a:cubicBezTo>
                  <a:pt x="55" y="209"/>
                  <a:pt x="55" y="209"/>
                  <a:pt x="55" y="209"/>
                </a:cubicBezTo>
                <a:cubicBezTo>
                  <a:pt x="62" y="212"/>
                  <a:pt x="70" y="214"/>
                  <a:pt x="78" y="214"/>
                </a:cubicBezTo>
                <a:cubicBezTo>
                  <a:pt x="78" y="214"/>
                  <a:pt x="78" y="214"/>
                  <a:pt x="78" y="214"/>
                </a:cubicBezTo>
                <a:cubicBezTo>
                  <a:pt x="78" y="214"/>
                  <a:pt x="78" y="214"/>
                  <a:pt x="78" y="214"/>
                </a:cubicBezTo>
                <a:cubicBezTo>
                  <a:pt x="78" y="214"/>
                  <a:pt x="78" y="214"/>
                  <a:pt x="78" y="214"/>
                </a:cubicBezTo>
                <a:cubicBezTo>
                  <a:pt x="78" y="214"/>
                  <a:pt x="78" y="214"/>
                  <a:pt x="78" y="214"/>
                </a:cubicBezTo>
                <a:cubicBezTo>
                  <a:pt x="380" y="214"/>
                  <a:pt x="380" y="214"/>
                  <a:pt x="380" y="214"/>
                </a:cubicBezTo>
                <a:close/>
              </a:path>
            </a:pathLst>
          </a:custGeom>
          <a:solidFill>
            <a:schemeClr val="accent4">
              <a:lumMod val="40000"/>
              <a:lumOff val="60000"/>
            </a:schemeClr>
          </a:solidFill>
          <a:ln>
            <a:noFill/>
          </a:ln>
        </p:spPr>
        <p:txBody>
          <a:bodyPr vert="horz" wrap="square" lIns="129909" tIns="64954" rIns="129909" bIns="64954"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259" name="Freeform 137"/>
          <p:cNvSpPr>
            <a:spLocks noChangeAspect="1"/>
          </p:cNvSpPr>
          <p:nvPr/>
        </p:nvSpPr>
        <p:spPr bwMode="auto">
          <a:xfrm>
            <a:off x="8563428" y="2043290"/>
            <a:ext cx="1691370" cy="910336"/>
          </a:xfrm>
          <a:custGeom>
            <a:avLst/>
            <a:gdLst>
              <a:gd name="T0" fmla="*/ 414 w 446"/>
              <a:gd name="T1" fmla="*/ 158 h 240"/>
              <a:gd name="T2" fmla="*/ 394 w 446"/>
              <a:gd name="T3" fmla="*/ 155 h 240"/>
              <a:gd name="T4" fmla="*/ 348 w 446"/>
              <a:gd name="T5" fmla="*/ 91 h 240"/>
              <a:gd name="T6" fmla="*/ 285 w 446"/>
              <a:gd name="T7" fmla="*/ 92 h 240"/>
              <a:gd name="T8" fmla="*/ 228 w 446"/>
              <a:gd name="T9" fmla="*/ 22 h 240"/>
              <a:gd name="T10" fmla="*/ 98 w 446"/>
              <a:gd name="T11" fmla="*/ 73 h 240"/>
              <a:gd name="T12" fmla="*/ 91 w 446"/>
              <a:gd name="T13" fmla="*/ 98 h 240"/>
              <a:gd name="T14" fmla="*/ 16 w 446"/>
              <a:gd name="T15" fmla="*/ 140 h 240"/>
              <a:gd name="T16" fmla="*/ 53 w 446"/>
              <a:gd name="T17" fmla="*/ 234 h 240"/>
              <a:gd name="T18" fmla="*/ 81 w 446"/>
              <a:gd name="T19" fmla="*/ 240 h 240"/>
              <a:gd name="T20" fmla="*/ 402 w 446"/>
              <a:gd name="T21" fmla="*/ 240 h 240"/>
              <a:gd name="T22" fmla="*/ 436 w 446"/>
              <a:gd name="T23" fmla="*/ 214 h 240"/>
              <a:gd name="T24" fmla="*/ 414 w 446"/>
              <a:gd name="T25" fmla="*/ 15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6" h="240">
                <a:moveTo>
                  <a:pt x="414" y="158"/>
                </a:moveTo>
                <a:cubicBezTo>
                  <a:pt x="408" y="155"/>
                  <a:pt x="401" y="154"/>
                  <a:pt x="394" y="155"/>
                </a:cubicBezTo>
                <a:cubicBezTo>
                  <a:pt x="392" y="128"/>
                  <a:pt x="375" y="103"/>
                  <a:pt x="348" y="91"/>
                </a:cubicBezTo>
                <a:cubicBezTo>
                  <a:pt x="327" y="82"/>
                  <a:pt x="304" y="83"/>
                  <a:pt x="285" y="92"/>
                </a:cubicBezTo>
                <a:cubicBezTo>
                  <a:pt x="278" y="61"/>
                  <a:pt x="258" y="35"/>
                  <a:pt x="228" y="22"/>
                </a:cubicBezTo>
                <a:cubicBezTo>
                  <a:pt x="178" y="0"/>
                  <a:pt x="120" y="23"/>
                  <a:pt x="98" y="73"/>
                </a:cubicBezTo>
                <a:cubicBezTo>
                  <a:pt x="94" y="81"/>
                  <a:pt x="92" y="89"/>
                  <a:pt x="91" y="98"/>
                </a:cubicBezTo>
                <a:cubicBezTo>
                  <a:pt x="60" y="94"/>
                  <a:pt x="29" y="110"/>
                  <a:pt x="16" y="140"/>
                </a:cubicBezTo>
                <a:cubicBezTo>
                  <a:pt x="0" y="176"/>
                  <a:pt x="17" y="218"/>
                  <a:pt x="53" y="234"/>
                </a:cubicBezTo>
                <a:cubicBezTo>
                  <a:pt x="62" y="238"/>
                  <a:pt x="72" y="240"/>
                  <a:pt x="81" y="240"/>
                </a:cubicBezTo>
                <a:cubicBezTo>
                  <a:pt x="402" y="240"/>
                  <a:pt x="402" y="240"/>
                  <a:pt x="402" y="240"/>
                </a:cubicBezTo>
                <a:cubicBezTo>
                  <a:pt x="417" y="238"/>
                  <a:pt x="430" y="228"/>
                  <a:pt x="436" y="214"/>
                </a:cubicBezTo>
                <a:cubicBezTo>
                  <a:pt x="446" y="192"/>
                  <a:pt x="436" y="167"/>
                  <a:pt x="414" y="158"/>
                </a:cubicBezTo>
              </a:path>
            </a:pathLst>
          </a:custGeom>
          <a:solidFill>
            <a:schemeClr val="accent4">
              <a:lumMod val="40000"/>
              <a:lumOff val="60000"/>
            </a:schemeClr>
          </a:solidFill>
          <a:ln>
            <a:noFill/>
          </a:ln>
        </p:spPr>
        <p:txBody>
          <a:bodyPr vert="horz" wrap="square" lIns="129909" tIns="64954" rIns="129909" bIns="64954" numCol="1" anchor="t" anchorCtr="0" compatLnSpc="1">
            <a:prstTxWarp prst="textNoShape">
              <a:avLst/>
            </a:prstTxWarp>
          </a:bodyPr>
          <a:lstStyle/>
          <a:p>
            <a:endParaRPr lang="en-US">
              <a:latin typeface="微软雅黑" pitchFamily="34" charset="-122"/>
              <a:ea typeface="微软雅黑" pitchFamily="34" charset="-122"/>
            </a:endParaRPr>
          </a:p>
        </p:txBody>
      </p:sp>
      <p:grpSp>
        <p:nvGrpSpPr>
          <p:cNvPr id="10" name="Group 9"/>
          <p:cNvGrpSpPr/>
          <p:nvPr/>
        </p:nvGrpSpPr>
        <p:grpSpPr>
          <a:xfrm>
            <a:off x="3828664" y="2045487"/>
            <a:ext cx="3576545" cy="438764"/>
            <a:chOff x="2696308" y="1438233"/>
            <a:chExt cx="2518755" cy="308506"/>
          </a:xfrm>
        </p:grpSpPr>
        <p:sp>
          <p:nvSpPr>
            <p:cNvPr id="295" name="Oval 294"/>
            <p:cNvSpPr/>
            <p:nvPr/>
          </p:nvSpPr>
          <p:spPr>
            <a:xfrm>
              <a:off x="5012582" y="1493414"/>
              <a:ext cx="202481" cy="198146"/>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微软雅黑" pitchFamily="34" charset="-122"/>
                <a:ea typeface="微软雅黑" pitchFamily="34" charset="-122"/>
              </a:endParaRPr>
            </a:p>
          </p:txBody>
        </p:sp>
        <p:sp>
          <p:nvSpPr>
            <p:cNvPr id="430" name="Right Arrow 429"/>
            <p:cNvSpPr/>
            <p:nvPr/>
          </p:nvSpPr>
          <p:spPr>
            <a:xfrm>
              <a:off x="2696308" y="1438233"/>
              <a:ext cx="2323540" cy="308506"/>
            </a:xfrm>
            <a:prstGeom prst="rightArrow">
              <a:avLst>
                <a:gd name="adj1" fmla="val 42593"/>
                <a:gd name="adj2" fmla="val 87037"/>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微软雅黑" pitchFamily="34" charset="-122"/>
                <a:ea typeface="微软雅黑" pitchFamily="34" charset="-122"/>
              </a:endParaRPr>
            </a:p>
          </p:txBody>
        </p:sp>
      </p:grpSp>
      <p:grpSp>
        <p:nvGrpSpPr>
          <p:cNvPr id="262" name="Group 261"/>
          <p:cNvGrpSpPr/>
          <p:nvPr/>
        </p:nvGrpSpPr>
        <p:grpSpPr>
          <a:xfrm>
            <a:off x="4719599" y="2015746"/>
            <a:ext cx="1857816" cy="452001"/>
            <a:chOff x="171035" y="954157"/>
            <a:chExt cx="390949" cy="387626"/>
          </a:xfrm>
        </p:grpSpPr>
        <p:sp>
          <p:nvSpPr>
            <p:cNvPr id="263" name="Round Diagonal Corner Rectangle 262"/>
            <p:cNvSpPr/>
            <p:nvPr/>
          </p:nvSpPr>
          <p:spPr>
            <a:xfrm flipV="1">
              <a:off x="171035" y="954157"/>
              <a:ext cx="387626" cy="387626"/>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dirty="0">
                <a:latin typeface="微软雅黑" pitchFamily="34" charset="-122"/>
                <a:ea typeface="微软雅黑" pitchFamily="34" charset="-122"/>
              </a:endParaRPr>
            </a:p>
          </p:txBody>
        </p:sp>
        <p:sp>
          <p:nvSpPr>
            <p:cNvPr id="264" name="Round Diagonal Corner Rectangle 263"/>
            <p:cNvSpPr/>
            <p:nvPr/>
          </p:nvSpPr>
          <p:spPr>
            <a:xfrm>
              <a:off x="174358" y="954157"/>
              <a:ext cx="387626" cy="387626"/>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2300" dirty="0">
                  <a:latin typeface="微软雅黑" pitchFamily="34" charset="-122"/>
                  <a:ea typeface="微软雅黑" pitchFamily="34" charset="-122"/>
                </a:rPr>
                <a:t>渗透</a:t>
              </a:r>
              <a:endParaRPr lang="en-US" sz="2300" dirty="0">
                <a:latin typeface="微软雅黑" pitchFamily="34" charset="-122"/>
                <a:ea typeface="微软雅黑" pitchFamily="34" charset="-122"/>
              </a:endParaRPr>
            </a:p>
          </p:txBody>
        </p:sp>
      </p:grpSp>
      <p:sp>
        <p:nvSpPr>
          <p:cNvPr id="271" name="Freeform 310"/>
          <p:cNvSpPr>
            <a:spLocks/>
          </p:cNvSpPr>
          <p:nvPr/>
        </p:nvSpPr>
        <p:spPr bwMode="auto">
          <a:xfrm>
            <a:off x="6794108" y="5042495"/>
            <a:ext cx="42505" cy="113734"/>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solidFill>
            <a:srgbClr val="000000"/>
          </a:solidFill>
          <a:ln w="9525">
            <a:noFill/>
            <a:round/>
            <a:headEnd/>
            <a:tailEnd/>
          </a:ln>
        </p:spPr>
        <p:txBody>
          <a:bodyPr lIns="129909" tIns="64954" rIns="129909" bIns="64954"/>
          <a:lstStyle/>
          <a:p>
            <a:endParaRPr lang="en-US" sz="2000" dirty="0">
              <a:latin typeface="微软雅黑" pitchFamily="34" charset="-122"/>
              <a:ea typeface="微软雅黑" pitchFamily="34" charset="-122"/>
            </a:endParaRPr>
          </a:p>
        </p:txBody>
      </p:sp>
      <p:grpSp>
        <p:nvGrpSpPr>
          <p:cNvPr id="268" name="Group 267"/>
          <p:cNvGrpSpPr/>
          <p:nvPr/>
        </p:nvGrpSpPr>
        <p:grpSpPr>
          <a:xfrm>
            <a:off x="6521830" y="4318883"/>
            <a:ext cx="1481740" cy="457879"/>
            <a:chOff x="161386" y="954156"/>
            <a:chExt cx="314542" cy="387627"/>
          </a:xfrm>
        </p:grpSpPr>
        <p:sp>
          <p:nvSpPr>
            <p:cNvPr id="269" name="Round Diagonal Corner Rectangle 268"/>
            <p:cNvSpPr/>
            <p:nvPr/>
          </p:nvSpPr>
          <p:spPr>
            <a:xfrm flipV="1">
              <a:off x="171035" y="954156"/>
              <a:ext cx="291924" cy="387626"/>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00" dirty="0">
                <a:latin typeface="微软雅黑" pitchFamily="34" charset="-122"/>
                <a:ea typeface="微软雅黑" pitchFamily="34" charset="-122"/>
              </a:endParaRPr>
            </a:p>
          </p:txBody>
        </p:sp>
        <p:sp>
          <p:nvSpPr>
            <p:cNvPr id="270" name="Round Diagonal Corner Rectangle 269"/>
            <p:cNvSpPr/>
            <p:nvPr/>
          </p:nvSpPr>
          <p:spPr>
            <a:xfrm>
              <a:off x="161386" y="954157"/>
              <a:ext cx="314542" cy="387626"/>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2300" dirty="0">
                  <a:latin typeface="微软雅黑" pitchFamily="34" charset="-122"/>
                  <a:ea typeface="微软雅黑" pitchFamily="34" charset="-122"/>
                </a:rPr>
                <a:t>捕获</a:t>
              </a:r>
              <a:endParaRPr lang="en-US" sz="2300" dirty="0">
                <a:latin typeface="微软雅黑" pitchFamily="34" charset="-122"/>
                <a:ea typeface="微软雅黑" pitchFamily="34" charset="-122"/>
              </a:endParaRPr>
            </a:p>
          </p:txBody>
        </p:sp>
      </p:grpSp>
      <p:grpSp>
        <p:nvGrpSpPr>
          <p:cNvPr id="9" name="Group 8"/>
          <p:cNvGrpSpPr/>
          <p:nvPr/>
        </p:nvGrpSpPr>
        <p:grpSpPr>
          <a:xfrm>
            <a:off x="4325899" y="4805243"/>
            <a:ext cx="2399571" cy="1062370"/>
            <a:chOff x="3046482" y="3378686"/>
            <a:chExt cx="1689880" cy="746979"/>
          </a:xfrm>
        </p:grpSpPr>
        <p:sp>
          <p:nvSpPr>
            <p:cNvPr id="292" name="Freeform 94"/>
            <p:cNvSpPr>
              <a:spLocks noEditPoints="1"/>
            </p:cNvSpPr>
            <p:nvPr/>
          </p:nvSpPr>
          <p:spPr bwMode="auto">
            <a:xfrm rot="4109834">
              <a:off x="3606505" y="2818663"/>
              <a:ext cx="569834" cy="1689880"/>
            </a:xfrm>
            <a:custGeom>
              <a:avLst/>
              <a:gdLst/>
              <a:ahLst/>
              <a:cxnLst>
                <a:cxn ang="0">
                  <a:pos x="360" y="3404"/>
                </a:cxn>
                <a:cxn ang="0">
                  <a:pos x="358" y="3462"/>
                </a:cxn>
                <a:cxn ang="0">
                  <a:pos x="268" y="3158"/>
                </a:cxn>
                <a:cxn ang="0">
                  <a:pos x="402" y="3008"/>
                </a:cxn>
                <a:cxn ang="0">
                  <a:pos x="388" y="3050"/>
                </a:cxn>
                <a:cxn ang="0">
                  <a:pos x="422" y="2898"/>
                </a:cxn>
                <a:cxn ang="0">
                  <a:pos x="370" y="2872"/>
                </a:cxn>
                <a:cxn ang="0">
                  <a:pos x="432" y="2780"/>
                </a:cxn>
                <a:cxn ang="0">
                  <a:pos x="360" y="2742"/>
                </a:cxn>
                <a:cxn ang="0">
                  <a:pos x="456" y="2520"/>
                </a:cxn>
                <a:cxn ang="0">
                  <a:pos x="492" y="2382"/>
                </a:cxn>
                <a:cxn ang="0">
                  <a:pos x="496" y="2344"/>
                </a:cxn>
                <a:cxn ang="0">
                  <a:pos x="514" y="2088"/>
                </a:cxn>
                <a:cxn ang="0">
                  <a:pos x="560" y="1948"/>
                </a:cxn>
                <a:cxn ang="0">
                  <a:pos x="634" y="1680"/>
                </a:cxn>
                <a:cxn ang="0">
                  <a:pos x="630" y="1696"/>
                </a:cxn>
                <a:cxn ang="0">
                  <a:pos x="662" y="1540"/>
                </a:cxn>
                <a:cxn ang="0">
                  <a:pos x="700" y="1450"/>
                </a:cxn>
                <a:cxn ang="0">
                  <a:pos x="726" y="1406"/>
                </a:cxn>
                <a:cxn ang="0">
                  <a:pos x="728" y="1314"/>
                </a:cxn>
                <a:cxn ang="0">
                  <a:pos x="812" y="1120"/>
                </a:cxn>
                <a:cxn ang="0">
                  <a:pos x="880" y="862"/>
                </a:cxn>
                <a:cxn ang="0">
                  <a:pos x="808" y="840"/>
                </a:cxn>
                <a:cxn ang="0">
                  <a:pos x="800" y="712"/>
                </a:cxn>
                <a:cxn ang="0">
                  <a:pos x="828" y="456"/>
                </a:cxn>
                <a:cxn ang="0">
                  <a:pos x="986" y="164"/>
                </a:cxn>
                <a:cxn ang="0">
                  <a:pos x="976" y="182"/>
                </a:cxn>
                <a:cxn ang="0">
                  <a:pos x="850" y="34"/>
                </a:cxn>
                <a:cxn ang="0">
                  <a:pos x="142" y="3294"/>
                </a:cxn>
                <a:cxn ang="0">
                  <a:pos x="158" y="3160"/>
                </a:cxn>
                <a:cxn ang="0">
                  <a:pos x="96" y="3144"/>
                </a:cxn>
                <a:cxn ang="0">
                  <a:pos x="90" y="2900"/>
                </a:cxn>
                <a:cxn ang="0">
                  <a:pos x="178" y="2918"/>
                </a:cxn>
                <a:cxn ang="0">
                  <a:pos x="208" y="2792"/>
                </a:cxn>
                <a:cxn ang="0">
                  <a:pos x="202" y="2600"/>
                </a:cxn>
                <a:cxn ang="0">
                  <a:pos x="220" y="2654"/>
                </a:cxn>
                <a:cxn ang="0">
                  <a:pos x="310" y="2342"/>
                </a:cxn>
                <a:cxn ang="0">
                  <a:pos x="358" y="2258"/>
                </a:cxn>
                <a:cxn ang="0">
                  <a:pos x="452" y="2116"/>
                </a:cxn>
                <a:cxn ang="0">
                  <a:pos x="468" y="2084"/>
                </a:cxn>
                <a:cxn ang="0">
                  <a:pos x="576" y="1812"/>
                </a:cxn>
                <a:cxn ang="0">
                  <a:pos x="588" y="1788"/>
                </a:cxn>
                <a:cxn ang="0">
                  <a:pos x="648" y="1678"/>
                </a:cxn>
                <a:cxn ang="0">
                  <a:pos x="708" y="1506"/>
                </a:cxn>
                <a:cxn ang="0">
                  <a:pos x="704" y="1520"/>
                </a:cxn>
                <a:cxn ang="0">
                  <a:pos x="796" y="1366"/>
                </a:cxn>
                <a:cxn ang="0">
                  <a:pos x="798" y="1298"/>
                </a:cxn>
                <a:cxn ang="0">
                  <a:pos x="902" y="1160"/>
                </a:cxn>
                <a:cxn ang="0">
                  <a:pos x="908" y="1110"/>
                </a:cxn>
                <a:cxn ang="0">
                  <a:pos x="986" y="988"/>
                </a:cxn>
                <a:cxn ang="0">
                  <a:pos x="974" y="986"/>
                </a:cxn>
                <a:cxn ang="0">
                  <a:pos x="1042" y="842"/>
                </a:cxn>
                <a:cxn ang="0">
                  <a:pos x="1028" y="850"/>
                </a:cxn>
                <a:cxn ang="0">
                  <a:pos x="1092" y="708"/>
                </a:cxn>
                <a:cxn ang="0">
                  <a:pos x="1062" y="702"/>
                </a:cxn>
                <a:cxn ang="0">
                  <a:pos x="1134" y="592"/>
                </a:cxn>
                <a:cxn ang="0">
                  <a:pos x="1072" y="562"/>
                </a:cxn>
                <a:cxn ang="0">
                  <a:pos x="1152" y="482"/>
                </a:cxn>
                <a:cxn ang="0">
                  <a:pos x="1060" y="438"/>
                </a:cxn>
                <a:cxn ang="0">
                  <a:pos x="1100" y="210"/>
                </a:cxn>
                <a:cxn ang="0">
                  <a:pos x="1176" y="90"/>
                </a:cxn>
                <a:cxn ang="0">
                  <a:pos x="1144" y="20"/>
                </a:cxn>
              </a:cxnLst>
              <a:rect l="0" t="0" r="r" b="b"/>
              <a:pathLst>
                <a:path w="1226" h="3488">
                  <a:moveTo>
                    <a:pt x="320" y="3396"/>
                  </a:moveTo>
                  <a:lnTo>
                    <a:pt x="320" y="3396"/>
                  </a:lnTo>
                  <a:lnTo>
                    <a:pt x="304" y="3398"/>
                  </a:lnTo>
                  <a:lnTo>
                    <a:pt x="290" y="3400"/>
                  </a:lnTo>
                  <a:lnTo>
                    <a:pt x="276" y="3404"/>
                  </a:lnTo>
                  <a:lnTo>
                    <a:pt x="266" y="3408"/>
                  </a:lnTo>
                  <a:lnTo>
                    <a:pt x="258" y="3416"/>
                  </a:lnTo>
                  <a:lnTo>
                    <a:pt x="252" y="3424"/>
                  </a:lnTo>
                  <a:lnTo>
                    <a:pt x="248" y="3432"/>
                  </a:lnTo>
                  <a:lnTo>
                    <a:pt x="248" y="3444"/>
                  </a:lnTo>
                  <a:lnTo>
                    <a:pt x="248" y="3444"/>
                  </a:lnTo>
                  <a:lnTo>
                    <a:pt x="248" y="3452"/>
                  </a:lnTo>
                  <a:lnTo>
                    <a:pt x="252" y="3462"/>
                  </a:lnTo>
                  <a:lnTo>
                    <a:pt x="258" y="3470"/>
                  </a:lnTo>
                  <a:lnTo>
                    <a:pt x="264" y="3476"/>
                  </a:lnTo>
                  <a:lnTo>
                    <a:pt x="274" y="3480"/>
                  </a:lnTo>
                  <a:lnTo>
                    <a:pt x="286" y="3484"/>
                  </a:lnTo>
                  <a:lnTo>
                    <a:pt x="300" y="3488"/>
                  </a:lnTo>
                  <a:lnTo>
                    <a:pt x="316" y="3488"/>
                  </a:lnTo>
                  <a:lnTo>
                    <a:pt x="316" y="3488"/>
                  </a:lnTo>
                  <a:lnTo>
                    <a:pt x="332" y="3488"/>
                  </a:lnTo>
                  <a:lnTo>
                    <a:pt x="346" y="3484"/>
                  </a:lnTo>
                  <a:lnTo>
                    <a:pt x="358" y="3480"/>
                  </a:lnTo>
                  <a:lnTo>
                    <a:pt x="368" y="3476"/>
                  </a:lnTo>
                  <a:lnTo>
                    <a:pt x="376" y="3468"/>
                  </a:lnTo>
                  <a:lnTo>
                    <a:pt x="382" y="3460"/>
                  </a:lnTo>
                  <a:lnTo>
                    <a:pt x="386" y="3452"/>
                  </a:lnTo>
                  <a:lnTo>
                    <a:pt x="386" y="3442"/>
                  </a:lnTo>
                  <a:lnTo>
                    <a:pt x="386" y="3442"/>
                  </a:lnTo>
                  <a:lnTo>
                    <a:pt x="386" y="3432"/>
                  </a:lnTo>
                  <a:lnTo>
                    <a:pt x="382" y="3422"/>
                  </a:lnTo>
                  <a:lnTo>
                    <a:pt x="378" y="3414"/>
                  </a:lnTo>
                  <a:lnTo>
                    <a:pt x="370" y="3408"/>
                  </a:lnTo>
                  <a:lnTo>
                    <a:pt x="360" y="3404"/>
                  </a:lnTo>
                  <a:lnTo>
                    <a:pt x="348" y="3400"/>
                  </a:lnTo>
                  <a:lnTo>
                    <a:pt x="336" y="3398"/>
                  </a:lnTo>
                  <a:lnTo>
                    <a:pt x="320" y="3396"/>
                  </a:lnTo>
                  <a:lnTo>
                    <a:pt x="320" y="3396"/>
                  </a:lnTo>
                  <a:close/>
                  <a:moveTo>
                    <a:pt x="316" y="3470"/>
                  </a:moveTo>
                  <a:lnTo>
                    <a:pt x="316" y="3470"/>
                  </a:lnTo>
                  <a:lnTo>
                    <a:pt x="292" y="3468"/>
                  </a:lnTo>
                  <a:lnTo>
                    <a:pt x="284" y="3466"/>
                  </a:lnTo>
                  <a:lnTo>
                    <a:pt x="276" y="3462"/>
                  </a:lnTo>
                  <a:lnTo>
                    <a:pt x="270" y="3458"/>
                  </a:lnTo>
                  <a:lnTo>
                    <a:pt x="266" y="3454"/>
                  </a:lnTo>
                  <a:lnTo>
                    <a:pt x="262" y="3448"/>
                  </a:lnTo>
                  <a:lnTo>
                    <a:pt x="262" y="3442"/>
                  </a:lnTo>
                  <a:lnTo>
                    <a:pt x="262" y="3442"/>
                  </a:lnTo>
                  <a:lnTo>
                    <a:pt x="262" y="3436"/>
                  </a:lnTo>
                  <a:lnTo>
                    <a:pt x="266" y="3430"/>
                  </a:lnTo>
                  <a:lnTo>
                    <a:pt x="270" y="3426"/>
                  </a:lnTo>
                  <a:lnTo>
                    <a:pt x="278" y="3422"/>
                  </a:lnTo>
                  <a:lnTo>
                    <a:pt x="286" y="3418"/>
                  </a:lnTo>
                  <a:lnTo>
                    <a:pt x="296" y="3416"/>
                  </a:lnTo>
                  <a:lnTo>
                    <a:pt x="318" y="3414"/>
                  </a:lnTo>
                  <a:lnTo>
                    <a:pt x="318" y="3414"/>
                  </a:lnTo>
                  <a:lnTo>
                    <a:pt x="340" y="3416"/>
                  </a:lnTo>
                  <a:lnTo>
                    <a:pt x="350" y="3418"/>
                  </a:lnTo>
                  <a:lnTo>
                    <a:pt x="358" y="3422"/>
                  </a:lnTo>
                  <a:lnTo>
                    <a:pt x="364" y="3426"/>
                  </a:lnTo>
                  <a:lnTo>
                    <a:pt x="370" y="3430"/>
                  </a:lnTo>
                  <a:lnTo>
                    <a:pt x="372" y="3436"/>
                  </a:lnTo>
                  <a:lnTo>
                    <a:pt x="372" y="3442"/>
                  </a:lnTo>
                  <a:lnTo>
                    <a:pt x="372" y="3442"/>
                  </a:lnTo>
                  <a:lnTo>
                    <a:pt x="372" y="3448"/>
                  </a:lnTo>
                  <a:lnTo>
                    <a:pt x="370" y="3454"/>
                  </a:lnTo>
                  <a:lnTo>
                    <a:pt x="364" y="3458"/>
                  </a:lnTo>
                  <a:lnTo>
                    <a:pt x="358" y="3462"/>
                  </a:lnTo>
                  <a:lnTo>
                    <a:pt x="350" y="3466"/>
                  </a:lnTo>
                  <a:lnTo>
                    <a:pt x="340" y="3468"/>
                  </a:lnTo>
                  <a:lnTo>
                    <a:pt x="316" y="3470"/>
                  </a:lnTo>
                  <a:lnTo>
                    <a:pt x="316" y="3470"/>
                  </a:lnTo>
                  <a:close/>
                  <a:moveTo>
                    <a:pt x="256" y="3310"/>
                  </a:moveTo>
                  <a:lnTo>
                    <a:pt x="372" y="3310"/>
                  </a:lnTo>
                  <a:lnTo>
                    <a:pt x="372" y="3310"/>
                  </a:lnTo>
                  <a:lnTo>
                    <a:pt x="372" y="3312"/>
                  </a:lnTo>
                  <a:lnTo>
                    <a:pt x="372" y="3312"/>
                  </a:lnTo>
                  <a:lnTo>
                    <a:pt x="358" y="3334"/>
                  </a:lnTo>
                  <a:lnTo>
                    <a:pt x="358" y="3334"/>
                  </a:lnTo>
                  <a:lnTo>
                    <a:pt x="372" y="3338"/>
                  </a:lnTo>
                  <a:lnTo>
                    <a:pt x="372" y="3338"/>
                  </a:lnTo>
                  <a:lnTo>
                    <a:pt x="388" y="3308"/>
                  </a:lnTo>
                  <a:lnTo>
                    <a:pt x="388" y="3308"/>
                  </a:lnTo>
                  <a:lnTo>
                    <a:pt x="388" y="3294"/>
                  </a:lnTo>
                  <a:lnTo>
                    <a:pt x="256" y="3294"/>
                  </a:lnTo>
                  <a:lnTo>
                    <a:pt x="256" y="3294"/>
                  </a:lnTo>
                  <a:lnTo>
                    <a:pt x="256" y="3310"/>
                  </a:lnTo>
                  <a:lnTo>
                    <a:pt x="256" y="3310"/>
                  </a:lnTo>
                  <a:close/>
                  <a:moveTo>
                    <a:pt x="266" y="3174"/>
                  </a:moveTo>
                  <a:lnTo>
                    <a:pt x="380" y="3174"/>
                  </a:lnTo>
                  <a:lnTo>
                    <a:pt x="380" y="3174"/>
                  </a:lnTo>
                  <a:lnTo>
                    <a:pt x="380" y="3176"/>
                  </a:lnTo>
                  <a:lnTo>
                    <a:pt x="380" y="3176"/>
                  </a:lnTo>
                  <a:lnTo>
                    <a:pt x="366" y="3198"/>
                  </a:lnTo>
                  <a:lnTo>
                    <a:pt x="366" y="3198"/>
                  </a:lnTo>
                  <a:lnTo>
                    <a:pt x="378" y="3202"/>
                  </a:lnTo>
                  <a:lnTo>
                    <a:pt x="378" y="3202"/>
                  </a:lnTo>
                  <a:lnTo>
                    <a:pt x="396" y="3172"/>
                  </a:lnTo>
                  <a:lnTo>
                    <a:pt x="396" y="3172"/>
                  </a:lnTo>
                  <a:lnTo>
                    <a:pt x="396" y="3158"/>
                  </a:lnTo>
                  <a:lnTo>
                    <a:pt x="268" y="3158"/>
                  </a:lnTo>
                  <a:lnTo>
                    <a:pt x="268" y="3158"/>
                  </a:lnTo>
                  <a:lnTo>
                    <a:pt x="266" y="3174"/>
                  </a:lnTo>
                  <a:lnTo>
                    <a:pt x="266" y="3174"/>
                  </a:lnTo>
                  <a:close/>
                  <a:moveTo>
                    <a:pt x="354" y="2988"/>
                  </a:moveTo>
                  <a:lnTo>
                    <a:pt x="354" y="2988"/>
                  </a:lnTo>
                  <a:lnTo>
                    <a:pt x="340" y="2990"/>
                  </a:lnTo>
                  <a:lnTo>
                    <a:pt x="326" y="2992"/>
                  </a:lnTo>
                  <a:lnTo>
                    <a:pt x="314" y="2996"/>
                  </a:lnTo>
                  <a:lnTo>
                    <a:pt x="304" y="3002"/>
                  </a:lnTo>
                  <a:lnTo>
                    <a:pt x="296" y="3008"/>
                  </a:lnTo>
                  <a:lnTo>
                    <a:pt x="290" y="3016"/>
                  </a:lnTo>
                  <a:lnTo>
                    <a:pt x="284" y="3026"/>
                  </a:lnTo>
                  <a:lnTo>
                    <a:pt x="282" y="3036"/>
                  </a:lnTo>
                  <a:lnTo>
                    <a:pt x="282" y="3036"/>
                  </a:lnTo>
                  <a:lnTo>
                    <a:pt x="282" y="3046"/>
                  </a:lnTo>
                  <a:lnTo>
                    <a:pt x="284" y="3054"/>
                  </a:lnTo>
                  <a:lnTo>
                    <a:pt x="288" y="3062"/>
                  </a:lnTo>
                  <a:lnTo>
                    <a:pt x="294" y="3068"/>
                  </a:lnTo>
                  <a:lnTo>
                    <a:pt x="304" y="3074"/>
                  </a:lnTo>
                  <a:lnTo>
                    <a:pt x="314" y="3078"/>
                  </a:lnTo>
                  <a:lnTo>
                    <a:pt x="326" y="3080"/>
                  </a:lnTo>
                  <a:lnTo>
                    <a:pt x="340" y="3080"/>
                  </a:lnTo>
                  <a:lnTo>
                    <a:pt x="340" y="3080"/>
                  </a:lnTo>
                  <a:lnTo>
                    <a:pt x="356" y="3080"/>
                  </a:lnTo>
                  <a:lnTo>
                    <a:pt x="368" y="3078"/>
                  </a:lnTo>
                  <a:lnTo>
                    <a:pt x="380" y="3074"/>
                  </a:lnTo>
                  <a:lnTo>
                    <a:pt x="390" y="3068"/>
                  </a:lnTo>
                  <a:lnTo>
                    <a:pt x="396" y="3060"/>
                  </a:lnTo>
                  <a:lnTo>
                    <a:pt x="402" y="3052"/>
                  </a:lnTo>
                  <a:lnTo>
                    <a:pt x="406" y="3044"/>
                  </a:lnTo>
                  <a:lnTo>
                    <a:pt x="408" y="3034"/>
                  </a:lnTo>
                  <a:lnTo>
                    <a:pt x="408" y="3034"/>
                  </a:lnTo>
                  <a:lnTo>
                    <a:pt x="408" y="3024"/>
                  </a:lnTo>
                  <a:lnTo>
                    <a:pt x="406" y="3014"/>
                  </a:lnTo>
                  <a:lnTo>
                    <a:pt x="402" y="3008"/>
                  </a:lnTo>
                  <a:lnTo>
                    <a:pt x="396" y="3000"/>
                  </a:lnTo>
                  <a:lnTo>
                    <a:pt x="388" y="2996"/>
                  </a:lnTo>
                  <a:lnTo>
                    <a:pt x="378" y="2992"/>
                  </a:lnTo>
                  <a:lnTo>
                    <a:pt x="366" y="2990"/>
                  </a:lnTo>
                  <a:lnTo>
                    <a:pt x="354" y="2988"/>
                  </a:lnTo>
                  <a:lnTo>
                    <a:pt x="354" y="2988"/>
                  </a:lnTo>
                  <a:close/>
                  <a:moveTo>
                    <a:pt x="342" y="3062"/>
                  </a:moveTo>
                  <a:lnTo>
                    <a:pt x="342" y="3062"/>
                  </a:lnTo>
                  <a:lnTo>
                    <a:pt x="322" y="3060"/>
                  </a:lnTo>
                  <a:lnTo>
                    <a:pt x="314" y="3058"/>
                  </a:lnTo>
                  <a:lnTo>
                    <a:pt x="306" y="3054"/>
                  </a:lnTo>
                  <a:lnTo>
                    <a:pt x="300" y="3050"/>
                  </a:lnTo>
                  <a:lnTo>
                    <a:pt x="298" y="3046"/>
                  </a:lnTo>
                  <a:lnTo>
                    <a:pt x="296" y="3040"/>
                  </a:lnTo>
                  <a:lnTo>
                    <a:pt x="296" y="3034"/>
                  </a:lnTo>
                  <a:lnTo>
                    <a:pt x="296" y="3034"/>
                  </a:lnTo>
                  <a:lnTo>
                    <a:pt x="298" y="3028"/>
                  </a:lnTo>
                  <a:lnTo>
                    <a:pt x="300" y="3022"/>
                  </a:lnTo>
                  <a:lnTo>
                    <a:pt x="306" y="3018"/>
                  </a:lnTo>
                  <a:lnTo>
                    <a:pt x="312" y="3014"/>
                  </a:lnTo>
                  <a:lnTo>
                    <a:pt x="330" y="3008"/>
                  </a:lnTo>
                  <a:lnTo>
                    <a:pt x="350" y="3008"/>
                  </a:lnTo>
                  <a:lnTo>
                    <a:pt x="350" y="3008"/>
                  </a:lnTo>
                  <a:lnTo>
                    <a:pt x="370" y="3008"/>
                  </a:lnTo>
                  <a:lnTo>
                    <a:pt x="378" y="3010"/>
                  </a:lnTo>
                  <a:lnTo>
                    <a:pt x="384" y="3014"/>
                  </a:lnTo>
                  <a:lnTo>
                    <a:pt x="390" y="3018"/>
                  </a:lnTo>
                  <a:lnTo>
                    <a:pt x="394" y="3022"/>
                  </a:lnTo>
                  <a:lnTo>
                    <a:pt x="396" y="3028"/>
                  </a:lnTo>
                  <a:lnTo>
                    <a:pt x="396" y="3034"/>
                  </a:lnTo>
                  <a:lnTo>
                    <a:pt x="396" y="3034"/>
                  </a:lnTo>
                  <a:lnTo>
                    <a:pt x="394" y="3040"/>
                  </a:lnTo>
                  <a:lnTo>
                    <a:pt x="392" y="3046"/>
                  </a:lnTo>
                  <a:lnTo>
                    <a:pt x="388" y="3050"/>
                  </a:lnTo>
                  <a:lnTo>
                    <a:pt x="382" y="3054"/>
                  </a:lnTo>
                  <a:lnTo>
                    <a:pt x="374" y="3058"/>
                  </a:lnTo>
                  <a:lnTo>
                    <a:pt x="364" y="3060"/>
                  </a:lnTo>
                  <a:lnTo>
                    <a:pt x="342" y="3062"/>
                  </a:lnTo>
                  <a:lnTo>
                    <a:pt x="342" y="3062"/>
                  </a:lnTo>
                  <a:close/>
                  <a:moveTo>
                    <a:pt x="374" y="2854"/>
                  </a:moveTo>
                  <a:lnTo>
                    <a:pt x="374" y="2854"/>
                  </a:lnTo>
                  <a:lnTo>
                    <a:pt x="360" y="2854"/>
                  </a:lnTo>
                  <a:lnTo>
                    <a:pt x="348" y="2856"/>
                  </a:lnTo>
                  <a:lnTo>
                    <a:pt x="336" y="2860"/>
                  </a:lnTo>
                  <a:lnTo>
                    <a:pt x="326" y="2866"/>
                  </a:lnTo>
                  <a:lnTo>
                    <a:pt x="318" y="2872"/>
                  </a:lnTo>
                  <a:lnTo>
                    <a:pt x="312" y="2880"/>
                  </a:lnTo>
                  <a:lnTo>
                    <a:pt x="308" y="2890"/>
                  </a:lnTo>
                  <a:lnTo>
                    <a:pt x="304" y="2900"/>
                  </a:lnTo>
                  <a:lnTo>
                    <a:pt x="304" y="2900"/>
                  </a:lnTo>
                  <a:lnTo>
                    <a:pt x="304" y="2910"/>
                  </a:lnTo>
                  <a:lnTo>
                    <a:pt x="306" y="2918"/>
                  </a:lnTo>
                  <a:lnTo>
                    <a:pt x="310" y="2926"/>
                  </a:lnTo>
                  <a:lnTo>
                    <a:pt x="316" y="2932"/>
                  </a:lnTo>
                  <a:lnTo>
                    <a:pt x="322" y="2938"/>
                  </a:lnTo>
                  <a:lnTo>
                    <a:pt x="332" y="2942"/>
                  </a:lnTo>
                  <a:lnTo>
                    <a:pt x="344" y="2944"/>
                  </a:lnTo>
                  <a:lnTo>
                    <a:pt x="358" y="2944"/>
                  </a:lnTo>
                  <a:lnTo>
                    <a:pt x="358" y="2944"/>
                  </a:lnTo>
                  <a:lnTo>
                    <a:pt x="372" y="2944"/>
                  </a:lnTo>
                  <a:lnTo>
                    <a:pt x="384" y="2942"/>
                  </a:lnTo>
                  <a:lnTo>
                    <a:pt x="394" y="2938"/>
                  </a:lnTo>
                  <a:lnTo>
                    <a:pt x="404" y="2932"/>
                  </a:lnTo>
                  <a:lnTo>
                    <a:pt x="410" y="2924"/>
                  </a:lnTo>
                  <a:lnTo>
                    <a:pt x="416" y="2916"/>
                  </a:lnTo>
                  <a:lnTo>
                    <a:pt x="420" y="2908"/>
                  </a:lnTo>
                  <a:lnTo>
                    <a:pt x="422" y="2898"/>
                  </a:lnTo>
                  <a:lnTo>
                    <a:pt x="422" y="2898"/>
                  </a:lnTo>
                  <a:lnTo>
                    <a:pt x="422" y="2888"/>
                  </a:lnTo>
                  <a:lnTo>
                    <a:pt x="420" y="2878"/>
                  </a:lnTo>
                  <a:lnTo>
                    <a:pt x="418" y="2872"/>
                  </a:lnTo>
                  <a:lnTo>
                    <a:pt x="412" y="2864"/>
                  </a:lnTo>
                  <a:lnTo>
                    <a:pt x="404" y="2860"/>
                  </a:lnTo>
                  <a:lnTo>
                    <a:pt x="396" y="2856"/>
                  </a:lnTo>
                  <a:lnTo>
                    <a:pt x="386" y="2854"/>
                  </a:lnTo>
                  <a:lnTo>
                    <a:pt x="374" y="2854"/>
                  </a:lnTo>
                  <a:lnTo>
                    <a:pt x="374" y="2854"/>
                  </a:lnTo>
                  <a:close/>
                  <a:moveTo>
                    <a:pt x="410" y="2898"/>
                  </a:moveTo>
                  <a:lnTo>
                    <a:pt x="410" y="2898"/>
                  </a:lnTo>
                  <a:lnTo>
                    <a:pt x="410" y="2904"/>
                  </a:lnTo>
                  <a:lnTo>
                    <a:pt x="406" y="2910"/>
                  </a:lnTo>
                  <a:lnTo>
                    <a:pt x="402" y="2914"/>
                  </a:lnTo>
                  <a:lnTo>
                    <a:pt x="396" y="2918"/>
                  </a:lnTo>
                  <a:lnTo>
                    <a:pt x="390" y="2922"/>
                  </a:lnTo>
                  <a:lnTo>
                    <a:pt x="382" y="2924"/>
                  </a:lnTo>
                  <a:lnTo>
                    <a:pt x="360" y="2926"/>
                  </a:lnTo>
                  <a:lnTo>
                    <a:pt x="360" y="2926"/>
                  </a:lnTo>
                  <a:lnTo>
                    <a:pt x="340" y="2924"/>
                  </a:lnTo>
                  <a:lnTo>
                    <a:pt x="332" y="2922"/>
                  </a:lnTo>
                  <a:lnTo>
                    <a:pt x="326" y="2920"/>
                  </a:lnTo>
                  <a:lnTo>
                    <a:pt x="322" y="2916"/>
                  </a:lnTo>
                  <a:lnTo>
                    <a:pt x="318" y="2910"/>
                  </a:lnTo>
                  <a:lnTo>
                    <a:pt x="316" y="2906"/>
                  </a:lnTo>
                  <a:lnTo>
                    <a:pt x="318" y="2900"/>
                  </a:lnTo>
                  <a:lnTo>
                    <a:pt x="318" y="2900"/>
                  </a:lnTo>
                  <a:lnTo>
                    <a:pt x="320" y="2892"/>
                  </a:lnTo>
                  <a:lnTo>
                    <a:pt x="322" y="2886"/>
                  </a:lnTo>
                  <a:lnTo>
                    <a:pt x="328" y="2882"/>
                  </a:lnTo>
                  <a:lnTo>
                    <a:pt x="334" y="2878"/>
                  </a:lnTo>
                  <a:lnTo>
                    <a:pt x="350" y="2874"/>
                  </a:lnTo>
                  <a:lnTo>
                    <a:pt x="370" y="2872"/>
                  </a:lnTo>
                  <a:lnTo>
                    <a:pt x="370" y="2872"/>
                  </a:lnTo>
                  <a:lnTo>
                    <a:pt x="388" y="2874"/>
                  </a:lnTo>
                  <a:lnTo>
                    <a:pt x="396" y="2876"/>
                  </a:lnTo>
                  <a:lnTo>
                    <a:pt x="402" y="2878"/>
                  </a:lnTo>
                  <a:lnTo>
                    <a:pt x="406" y="2882"/>
                  </a:lnTo>
                  <a:lnTo>
                    <a:pt x="408" y="2886"/>
                  </a:lnTo>
                  <a:lnTo>
                    <a:pt x="410" y="2892"/>
                  </a:lnTo>
                  <a:lnTo>
                    <a:pt x="410" y="2898"/>
                  </a:lnTo>
                  <a:lnTo>
                    <a:pt x="410" y="2898"/>
                  </a:lnTo>
                  <a:close/>
                  <a:moveTo>
                    <a:pt x="396" y="2718"/>
                  </a:moveTo>
                  <a:lnTo>
                    <a:pt x="396" y="2718"/>
                  </a:lnTo>
                  <a:lnTo>
                    <a:pt x="384" y="2718"/>
                  </a:lnTo>
                  <a:lnTo>
                    <a:pt x="372" y="2720"/>
                  </a:lnTo>
                  <a:lnTo>
                    <a:pt x="362" y="2724"/>
                  </a:lnTo>
                  <a:lnTo>
                    <a:pt x="354" y="2730"/>
                  </a:lnTo>
                  <a:lnTo>
                    <a:pt x="346" y="2736"/>
                  </a:lnTo>
                  <a:lnTo>
                    <a:pt x="340" y="2744"/>
                  </a:lnTo>
                  <a:lnTo>
                    <a:pt x="334" y="2754"/>
                  </a:lnTo>
                  <a:lnTo>
                    <a:pt x="332" y="2764"/>
                  </a:lnTo>
                  <a:lnTo>
                    <a:pt x="332" y="2764"/>
                  </a:lnTo>
                  <a:lnTo>
                    <a:pt x="330" y="2774"/>
                  </a:lnTo>
                  <a:lnTo>
                    <a:pt x="332" y="2782"/>
                  </a:lnTo>
                  <a:lnTo>
                    <a:pt x="334" y="2790"/>
                  </a:lnTo>
                  <a:lnTo>
                    <a:pt x="340" y="2796"/>
                  </a:lnTo>
                  <a:lnTo>
                    <a:pt x="346" y="2802"/>
                  </a:lnTo>
                  <a:lnTo>
                    <a:pt x="356" y="2806"/>
                  </a:lnTo>
                  <a:lnTo>
                    <a:pt x="366" y="2808"/>
                  </a:lnTo>
                  <a:lnTo>
                    <a:pt x="378" y="2810"/>
                  </a:lnTo>
                  <a:lnTo>
                    <a:pt x="378" y="2810"/>
                  </a:lnTo>
                  <a:lnTo>
                    <a:pt x="392" y="2808"/>
                  </a:lnTo>
                  <a:lnTo>
                    <a:pt x="402" y="2806"/>
                  </a:lnTo>
                  <a:lnTo>
                    <a:pt x="412" y="2802"/>
                  </a:lnTo>
                  <a:lnTo>
                    <a:pt x="420" y="2796"/>
                  </a:lnTo>
                  <a:lnTo>
                    <a:pt x="428" y="2790"/>
                  </a:lnTo>
                  <a:lnTo>
                    <a:pt x="432" y="2780"/>
                  </a:lnTo>
                  <a:lnTo>
                    <a:pt x="436" y="2772"/>
                  </a:lnTo>
                  <a:lnTo>
                    <a:pt x="438" y="2762"/>
                  </a:lnTo>
                  <a:lnTo>
                    <a:pt x="438" y="2762"/>
                  </a:lnTo>
                  <a:lnTo>
                    <a:pt x="438" y="2752"/>
                  </a:lnTo>
                  <a:lnTo>
                    <a:pt x="438" y="2744"/>
                  </a:lnTo>
                  <a:lnTo>
                    <a:pt x="434" y="2736"/>
                  </a:lnTo>
                  <a:lnTo>
                    <a:pt x="430" y="2728"/>
                  </a:lnTo>
                  <a:lnTo>
                    <a:pt x="424" y="2724"/>
                  </a:lnTo>
                  <a:lnTo>
                    <a:pt x="416" y="2720"/>
                  </a:lnTo>
                  <a:lnTo>
                    <a:pt x="408" y="2718"/>
                  </a:lnTo>
                  <a:lnTo>
                    <a:pt x="396" y="2718"/>
                  </a:lnTo>
                  <a:lnTo>
                    <a:pt x="396" y="2718"/>
                  </a:lnTo>
                  <a:close/>
                  <a:moveTo>
                    <a:pt x="428" y="2764"/>
                  </a:moveTo>
                  <a:lnTo>
                    <a:pt x="428" y="2764"/>
                  </a:lnTo>
                  <a:lnTo>
                    <a:pt x="426" y="2768"/>
                  </a:lnTo>
                  <a:lnTo>
                    <a:pt x="424" y="2774"/>
                  </a:lnTo>
                  <a:lnTo>
                    <a:pt x="420" y="2778"/>
                  </a:lnTo>
                  <a:lnTo>
                    <a:pt x="414" y="2782"/>
                  </a:lnTo>
                  <a:lnTo>
                    <a:pt x="408" y="2786"/>
                  </a:lnTo>
                  <a:lnTo>
                    <a:pt x="400" y="2788"/>
                  </a:lnTo>
                  <a:lnTo>
                    <a:pt x="382" y="2790"/>
                  </a:lnTo>
                  <a:lnTo>
                    <a:pt x="382" y="2790"/>
                  </a:lnTo>
                  <a:lnTo>
                    <a:pt x="364" y="2788"/>
                  </a:lnTo>
                  <a:lnTo>
                    <a:pt x="356" y="2786"/>
                  </a:lnTo>
                  <a:lnTo>
                    <a:pt x="350" y="2784"/>
                  </a:lnTo>
                  <a:lnTo>
                    <a:pt x="346" y="2780"/>
                  </a:lnTo>
                  <a:lnTo>
                    <a:pt x="344" y="2774"/>
                  </a:lnTo>
                  <a:lnTo>
                    <a:pt x="342" y="2770"/>
                  </a:lnTo>
                  <a:lnTo>
                    <a:pt x="342" y="2764"/>
                  </a:lnTo>
                  <a:lnTo>
                    <a:pt x="342" y="2764"/>
                  </a:lnTo>
                  <a:lnTo>
                    <a:pt x="346" y="2756"/>
                  </a:lnTo>
                  <a:lnTo>
                    <a:pt x="348" y="2752"/>
                  </a:lnTo>
                  <a:lnTo>
                    <a:pt x="354" y="2746"/>
                  </a:lnTo>
                  <a:lnTo>
                    <a:pt x="360" y="2742"/>
                  </a:lnTo>
                  <a:lnTo>
                    <a:pt x="374" y="2738"/>
                  </a:lnTo>
                  <a:lnTo>
                    <a:pt x="392" y="2736"/>
                  </a:lnTo>
                  <a:lnTo>
                    <a:pt x="392" y="2736"/>
                  </a:lnTo>
                  <a:lnTo>
                    <a:pt x="408" y="2738"/>
                  </a:lnTo>
                  <a:lnTo>
                    <a:pt x="416" y="2740"/>
                  </a:lnTo>
                  <a:lnTo>
                    <a:pt x="420" y="2742"/>
                  </a:lnTo>
                  <a:lnTo>
                    <a:pt x="424" y="2746"/>
                  </a:lnTo>
                  <a:lnTo>
                    <a:pt x="428" y="2750"/>
                  </a:lnTo>
                  <a:lnTo>
                    <a:pt x="428" y="2756"/>
                  </a:lnTo>
                  <a:lnTo>
                    <a:pt x="428" y="2764"/>
                  </a:lnTo>
                  <a:lnTo>
                    <a:pt x="428" y="2764"/>
                  </a:lnTo>
                  <a:close/>
                  <a:moveTo>
                    <a:pt x="362" y="2632"/>
                  </a:moveTo>
                  <a:lnTo>
                    <a:pt x="444" y="2632"/>
                  </a:lnTo>
                  <a:lnTo>
                    <a:pt x="444" y="2632"/>
                  </a:lnTo>
                  <a:lnTo>
                    <a:pt x="444" y="2632"/>
                  </a:lnTo>
                  <a:lnTo>
                    <a:pt x="444" y="2632"/>
                  </a:lnTo>
                  <a:lnTo>
                    <a:pt x="432" y="2656"/>
                  </a:lnTo>
                  <a:lnTo>
                    <a:pt x="432" y="2656"/>
                  </a:lnTo>
                  <a:lnTo>
                    <a:pt x="440" y="2660"/>
                  </a:lnTo>
                  <a:lnTo>
                    <a:pt x="440" y="2660"/>
                  </a:lnTo>
                  <a:lnTo>
                    <a:pt x="456" y="2630"/>
                  </a:lnTo>
                  <a:lnTo>
                    <a:pt x="456" y="2630"/>
                  </a:lnTo>
                  <a:lnTo>
                    <a:pt x="458" y="2614"/>
                  </a:lnTo>
                  <a:lnTo>
                    <a:pt x="368" y="2614"/>
                  </a:lnTo>
                  <a:lnTo>
                    <a:pt x="368" y="2614"/>
                  </a:lnTo>
                  <a:lnTo>
                    <a:pt x="362" y="2632"/>
                  </a:lnTo>
                  <a:lnTo>
                    <a:pt x="362" y="2632"/>
                  </a:lnTo>
                  <a:close/>
                  <a:moveTo>
                    <a:pt x="396" y="2496"/>
                  </a:moveTo>
                  <a:lnTo>
                    <a:pt x="468" y="2496"/>
                  </a:lnTo>
                  <a:lnTo>
                    <a:pt x="468" y="2496"/>
                  </a:lnTo>
                  <a:lnTo>
                    <a:pt x="468" y="2496"/>
                  </a:lnTo>
                  <a:lnTo>
                    <a:pt x="468" y="2496"/>
                  </a:lnTo>
                  <a:lnTo>
                    <a:pt x="456" y="2520"/>
                  </a:lnTo>
                  <a:lnTo>
                    <a:pt x="456" y="2520"/>
                  </a:lnTo>
                  <a:lnTo>
                    <a:pt x="464" y="2524"/>
                  </a:lnTo>
                  <a:lnTo>
                    <a:pt x="464" y="2524"/>
                  </a:lnTo>
                  <a:lnTo>
                    <a:pt x="476" y="2494"/>
                  </a:lnTo>
                  <a:lnTo>
                    <a:pt x="476" y="2494"/>
                  </a:lnTo>
                  <a:lnTo>
                    <a:pt x="480" y="2478"/>
                  </a:lnTo>
                  <a:lnTo>
                    <a:pt x="402" y="2478"/>
                  </a:lnTo>
                  <a:lnTo>
                    <a:pt x="402" y="2478"/>
                  </a:lnTo>
                  <a:lnTo>
                    <a:pt x="396" y="2496"/>
                  </a:lnTo>
                  <a:lnTo>
                    <a:pt x="396" y="2496"/>
                  </a:lnTo>
                  <a:close/>
                  <a:moveTo>
                    <a:pt x="482" y="2310"/>
                  </a:moveTo>
                  <a:lnTo>
                    <a:pt x="482" y="2310"/>
                  </a:lnTo>
                  <a:lnTo>
                    <a:pt x="474" y="2310"/>
                  </a:lnTo>
                  <a:lnTo>
                    <a:pt x="466" y="2312"/>
                  </a:lnTo>
                  <a:lnTo>
                    <a:pt x="460" y="2316"/>
                  </a:lnTo>
                  <a:lnTo>
                    <a:pt x="452" y="2322"/>
                  </a:lnTo>
                  <a:lnTo>
                    <a:pt x="446" y="2328"/>
                  </a:lnTo>
                  <a:lnTo>
                    <a:pt x="442" y="2336"/>
                  </a:lnTo>
                  <a:lnTo>
                    <a:pt x="436" y="2346"/>
                  </a:lnTo>
                  <a:lnTo>
                    <a:pt x="432" y="2356"/>
                  </a:lnTo>
                  <a:lnTo>
                    <a:pt x="432" y="2356"/>
                  </a:lnTo>
                  <a:lnTo>
                    <a:pt x="430" y="2366"/>
                  </a:lnTo>
                  <a:lnTo>
                    <a:pt x="430" y="2374"/>
                  </a:lnTo>
                  <a:lnTo>
                    <a:pt x="432" y="2382"/>
                  </a:lnTo>
                  <a:lnTo>
                    <a:pt x="434" y="2390"/>
                  </a:lnTo>
                  <a:lnTo>
                    <a:pt x="438" y="2394"/>
                  </a:lnTo>
                  <a:lnTo>
                    <a:pt x="444" y="2398"/>
                  </a:lnTo>
                  <a:lnTo>
                    <a:pt x="452" y="2400"/>
                  </a:lnTo>
                  <a:lnTo>
                    <a:pt x="460" y="2402"/>
                  </a:lnTo>
                  <a:lnTo>
                    <a:pt x="460" y="2402"/>
                  </a:lnTo>
                  <a:lnTo>
                    <a:pt x="468" y="2400"/>
                  </a:lnTo>
                  <a:lnTo>
                    <a:pt x="476" y="2398"/>
                  </a:lnTo>
                  <a:lnTo>
                    <a:pt x="482" y="2394"/>
                  </a:lnTo>
                  <a:lnTo>
                    <a:pt x="488" y="2388"/>
                  </a:lnTo>
                  <a:lnTo>
                    <a:pt x="492" y="2382"/>
                  </a:lnTo>
                  <a:lnTo>
                    <a:pt x="496" y="2374"/>
                  </a:lnTo>
                  <a:lnTo>
                    <a:pt x="500" y="2354"/>
                  </a:lnTo>
                  <a:lnTo>
                    <a:pt x="500" y="2354"/>
                  </a:lnTo>
                  <a:lnTo>
                    <a:pt x="502" y="2336"/>
                  </a:lnTo>
                  <a:lnTo>
                    <a:pt x="502" y="2328"/>
                  </a:lnTo>
                  <a:lnTo>
                    <a:pt x="500" y="2322"/>
                  </a:lnTo>
                  <a:lnTo>
                    <a:pt x="498" y="2316"/>
                  </a:lnTo>
                  <a:lnTo>
                    <a:pt x="494" y="2312"/>
                  </a:lnTo>
                  <a:lnTo>
                    <a:pt x="488" y="2310"/>
                  </a:lnTo>
                  <a:lnTo>
                    <a:pt x="482" y="2310"/>
                  </a:lnTo>
                  <a:lnTo>
                    <a:pt x="482" y="2310"/>
                  </a:lnTo>
                  <a:close/>
                  <a:moveTo>
                    <a:pt x="496" y="2356"/>
                  </a:moveTo>
                  <a:lnTo>
                    <a:pt x="496" y="2356"/>
                  </a:lnTo>
                  <a:lnTo>
                    <a:pt x="492" y="2366"/>
                  </a:lnTo>
                  <a:lnTo>
                    <a:pt x="486" y="2376"/>
                  </a:lnTo>
                  <a:lnTo>
                    <a:pt x="476" y="2382"/>
                  </a:lnTo>
                  <a:lnTo>
                    <a:pt x="464" y="2384"/>
                  </a:lnTo>
                  <a:lnTo>
                    <a:pt x="464" y="2384"/>
                  </a:lnTo>
                  <a:lnTo>
                    <a:pt x="452" y="2382"/>
                  </a:lnTo>
                  <a:lnTo>
                    <a:pt x="448" y="2378"/>
                  </a:lnTo>
                  <a:lnTo>
                    <a:pt x="444" y="2376"/>
                  </a:lnTo>
                  <a:lnTo>
                    <a:pt x="442" y="2372"/>
                  </a:lnTo>
                  <a:lnTo>
                    <a:pt x="440" y="2368"/>
                  </a:lnTo>
                  <a:lnTo>
                    <a:pt x="442" y="2356"/>
                  </a:lnTo>
                  <a:lnTo>
                    <a:pt x="442" y="2356"/>
                  </a:lnTo>
                  <a:lnTo>
                    <a:pt x="446" y="2344"/>
                  </a:lnTo>
                  <a:lnTo>
                    <a:pt x="454" y="2334"/>
                  </a:lnTo>
                  <a:lnTo>
                    <a:pt x="466" y="2330"/>
                  </a:lnTo>
                  <a:lnTo>
                    <a:pt x="476" y="2328"/>
                  </a:lnTo>
                  <a:lnTo>
                    <a:pt x="476" y="2328"/>
                  </a:lnTo>
                  <a:lnTo>
                    <a:pt x="486" y="2330"/>
                  </a:lnTo>
                  <a:lnTo>
                    <a:pt x="490" y="2332"/>
                  </a:lnTo>
                  <a:lnTo>
                    <a:pt x="494" y="2334"/>
                  </a:lnTo>
                  <a:lnTo>
                    <a:pt x="496" y="2344"/>
                  </a:lnTo>
                  <a:lnTo>
                    <a:pt x="496" y="2356"/>
                  </a:lnTo>
                  <a:lnTo>
                    <a:pt x="496" y="2356"/>
                  </a:lnTo>
                  <a:close/>
                  <a:moveTo>
                    <a:pt x="472" y="2224"/>
                  </a:moveTo>
                  <a:lnTo>
                    <a:pt x="518" y="2224"/>
                  </a:lnTo>
                  <a:lnTo>
                    <a:pt x="518" y="2224"/>
                  </a:lnTo>
                  <a:lnTo>
                    <a:pt x="518" y="2224"/>
                  </a:lnTo>
                  <a:lnTo>
                    <a:pt x="518" y="2224"/>
                  </a:lnTo>
                  <a:lnTo>
                    <a:pt x="510" y="2248"/>
                  </a:lnTo>
                  <a:lnTo>
                    <a:pt x="510" y="2248"/>
                  </a:lnTo>
                  <a:lnTo>
                    <a:pt x="514" y="2252"/>
                  </a:lnTo>
                  <a:lnTo>
                    <a:pt x="514" y="2252"/>
                  </a:lnTo>
                  <a:lnTo>
                    <a:pt x="524" y="2222"/>
                  </a:lnTo>
                  <a:lnTo>
                    <a:pt x="524" y="2222"/>
                  </a:lnTo>
                  <a:lnTo>
                    <a:pt x="526" y="2206"/>
                  </a:lnTo>
                  <a:lnTo>
                    <a:pt x="478" y="2206"/>
                  </a:lnTo>
                  <a:lnTo>
                    <a:pt x="478" y="2206"/>
                  </a:lnTo>
                  <a:lnTo>
                    <a:pt x="472" y="2224"/>
                  </a:lnTo>
                  <a:lnTo>
                    <a:pt x="472" y="2224"/>
                  </a:lnTo>
                  <a:close/>
                  <a:moveTo>
                    <a:pt x="514" y="2088"/>
                  </a:moveTo>
                  <a:lnTo>
                    <a:pt x="546" y="2088"/>
                  </a:lnTo>
                  <a:lnTo>
                    <a:pt x="546" y="2088"/>
                  </a:lnTo>
                  <a:lnTo>
                    <a:pt x="546" y="2088"/>
                  </a:lnTo>
                  <a:lnTo>
                    <a:pt x="546" y="2088"/>
                  </a:lnTo>
                  <a:lnTo>
                    <a:pt x="538" y="2112"/>
                  </a:lnTo>
                  <a:lnTo>
                    <a:pt x="538" y="2112"/>
                  </a:lnTo>
                  <a:lnTo>
                    <a:pt x="542" y="2116"/>
                  </a:lnTo>
                  <a:lnTo>
                    <a:pt x="542" y="2116"/>
                  </a:lnTo>
                  <a:lnTo>
                    <a:pt x="550" y="2086"/>
                  </a:lnTo>
                  <a:lnTo>
                    <a:pt x="550" y="2086"/>
                  </a:lnTo>
                  <a:lnTo>
                    <a:pt x="552" y="2070"/>
                  </a:lnTo>
                  <a:lnTo>
                    <a:pt x="518" y="2070"/>
                  </a:lnTo>
                  <a:lnTo>
                    <a:pt x="518" y="2070"/>
                  </a:lnTo>
                  <a:lnTo>
                    <a:pt x="514" y="2088"/>
                  </a:lnTo>
                  <a:lnTo>
                    <a:pt x="514" y="2088"/>
                  </a:lnTo>
                  <a:close/>
                  <a:moveTo>
                    <a:pt x="582" y="1902"/>
                  </a:moveTo>
                  <a:lnTo>
                    <a:pt x="582" y="1902"/>
                  </a:lnTo>
                  <a:lnTo>
                    <a:pt x="578" y="1906"/>
                  </a:lnTo>
                  <a:lnTo>
                    <a:pt x="570" y="1914"/>
                  </a:lnTo>
                  <a:lnTo>
                    <a:pt x="564" y="1930"/>
                  </a:lnTo>
                  <a:lnTo>
                    <a:pt x="556" y="1950"/>
                  </a:lnTo>
                  <a:lnTo>
                    <a:pt x="556" y="1950"/>
                  </a:lnTo>
                  <a:lnTo>
                    <a:pt x="552" y="1968"/>
                  </a:lnTo>
                  <a:lnTo>
                    <a:pt x="550" y="1982"/>
                  </a:lnTo>
                  <a:lnTo>
                    <a:pt x="554" y="1990"/>
                  </a:lnTo>
                  <a:lnTo>
                    <a:pt x="556" y="1994"/>
                  </a:lnTo>
                  <a:lnTo>
                    <a:pt x="558" y="1994"/>
                  </a:lnTo>
                  <a:lnTo>
                    <a:pt x="558" y="1994"/>
                  </a:lnTo>
                  <a:lnTo>
                    <a:pt x="562" y="1994"/>
                  </a:lnTo>
                  <a:lnTo>
                    <a:pt x="564" y="1990"/>
                  </a:lnTo>
                  <a:lnTo>
                    <a:pt x="570" y="1980"/>
                  </a:lnTo>
                  <a:lnTo>
                    <a:pt x="574" y="1966"/>
                  </a:lnTo>
                  <a:lnTo>
                    <a:pt x="576" y="1948"/>
                  </a:lnTo>
                  <a:lnTo>
                    <a:pt x="576" y="1948"/>
                  </a:lnTo>
                  <a:lnTo>
                    <a:pt x="584" y="1914"/>
                  </a:lnTo>
                  <a:lnTo>
                    <a:pt x="584" y="1906"/>
                  </a:lnTo>
                  <a:lnTo>
                    <a:pt x="584" y="1904"/>
                  </a:lnTo>
                  <a:lnTo>
                    <a:pt x="582" y="1902"/>
                  </a:lnTo>
                  <a:lnTo>
                    <a:pt x="582" y="1902"/>
                  </a:lnTo>
                  <a:close/>
                  <a:moveTo>
                    <a:pt x="576" y="1948"/>
                  </a:moveTo>
                  <a:lnTo>
                    <a:pt x="576" y="1948"/>
                  </a:lnTo>
                  <a:lnTo>
                    <a:pt x="572" y="1968"/>
                  </a:lnTo>
                  <a:lnTo>
                    <a:pt x="568" y="1974"/>
                  </a:lnTo>
                  <a:lnTo>
                    <a:pt x="564" y="1976"/>
                  </a:lnTo>
                  <a:lnTo>
                    <a:pt x="564" y="1976"/>
                  </a:lnTo>
                  <a:lnTo>
                    <a:pt x="560" y="1974"/>
                  </a:lnTo>
                  <a:lnTo>
                    <a:pt x="558" y="1968"/>
                  </a:lnTo>
                  <a:lnTo>
                    <a:pt x="558" y="1960"/>
                  </a:lnTo>
                  <a:lnTo>
                    <a:pt x="560" y="1948"/>
                  </a:lnTo>
                  <a:lnTo>
                    <a:pt x="560" y="1948"/>
                  </a:lnTo>
                  <a:lnTo>
                    <a:pt x="564" y="1936"/>
                  </a:lnTo>
                  <a:lnTo>
                    <a:pt x="570" y="1928"/>
                  </a:lnTo>
                  <a:lnTo>
                    <a:pt x="574" y="1922"/>
                  </a:lnTo>
                  <a:lnTo>
                    <a:pt x="578" y="1920"/>
                  </a:lnTo>
                  <a:lnTo>
                    <a:pt x="578" y="1920"/>
                  </a:lnTo>
                  <a:lnTo>
                    <a:pt x="580" y="1922"/>
                  </a:lnTo>
                  <a:lnTo>
                    <a:pt x="580" y="1928"/>
                  </a:lnTo>
                  <a:lnTo>
                    <a:pt x="576" y="1948"/>
                  </a:lnTo>
                  <a:lnTo>
                    <a:pt x="576" y="1948"/>
                  </a:lnTo>
                  <a:close/>
                  <a:moveTo>
                    <a:pt x="600" y="1840"/>
                  </a:moveTo>
                  <a:lnTo>
                    <a:pt x="600" y="1840"/>
                  </a:lnTo>
                  <a:lnTo>
                    <a:pt x="604" y="1818"/>
                  </a:lnTo>
                  <a:lnTo>
                    <a:pt x="604" y="1818"/>
                  </a:lnTo>
                  <a:lnTo>
                    <a:pt x="604" y="1816"/>
                  </a:lnTo>
                  <a:lnTo>
                    <a:pt x="602" y="1816"/>
                  </a:lnTo>
                  <a:lnTo>
                    <a:pt x="602" y="1816"/>
                  </a:lnTo>
                  <a:lnTo>
                    <a:pt x="598" y="1844"/>
                  </a:lnTo>
                  <a:lnTo>
                    <a:pt x="598" y="1844"/>
                  </a:lnTo>
                  <a:lnTo>
                    <a:pt x="600" y="1840"/>
                  </a:lnTo>
                  <a:lnTo>
                    <a:pt x="600" y="1840"/>
                  </a:lnTo>
                  <a:close/>
                  <a:moveTo>
                    <a:pt x="606" y="1800"/>
                  </a:moveTo>
                  <a:lnTo>
                    <a:pt x="604" y="1800"/>
                  </a:lnTo>
                  <a:lnTo>
                    <a:pt x="604" y="1800"/>
                  </a:lnTo>
                  <a:lnTo>
                    <a:pt x="598" y="1816"/>
                  </a:lnTo>
                  <a:lnTo>
                    <a:pt x="602" y="1816"/>
                  </a:lnTo>
                  <a:lnTo>
                    <a:pt x="602" y="1816"/>
                  </a:lnTo>
                  <a:lnTo>
                    <a:pt x="604" y="1814"/>
                  </a:lnTo>
                  <a:lnTo>
                    <a:pt x="604" y="1814"/>
                  </a:lnTo>
                  <a:lnTo>
                    <a:pt x="606" y="1800"/>
                  </a:lnTo>
                  <a:lnTo>
                    <a:pt x="606" y="1800"/>
                  </a:lnTo>
                  <a:close/>
                  <a:moveTo>
                    <a:pt x="634" y="1682"/>
                  </a:moveTo>
                  <a:lnTo>
                    <a:pt x="634" y="1682"/>
                  </a:lnTo>
                  <a:lnTo>
                    <a:pt x="634" y="1680"/>
                  </a:lnTo>
                  <a:lnTo>
                    <a:pt x="636" y="1680"/>
                  </a:lnTo>
                  <a:lnTo>
                    <a:pt x="636" y="1680"/>
                  </a:lnTo>
                  <a:lnTo>
                    <a:pt x="638" y="1676"/>
                  </a:lnTo>
                  <a:lnTo>
                    <a:pt x="638" y="1676"/>
                  </a:lnTo>
                  <a:lnTo>
                    <a:pt x="642" y="1664"/>
                  </a:lnTo>
                  <a:lnTo>
                    <a:pt x="634" y="1664"/>
                  </a:lnTo>
                  <a:lnTo>
                    <a:pt x="634" y="1664"/>
                  </a:lnTo>
                  <a:lnTo>
                    <a:pt x="630" y="1678"/>
                  </a:lnTo>
                  <a:lnTo>
                    <a:pt x="630" y="1678"/>
                  </a:lnTo>
                  <a:lnTo>
                    <a:pt x="630" y="1694"/>
                  </a:lnTo>
                  <a:lnTo>
                    <a:pt x="630" y="1694"/>
                  </a:lnTo>
                  <a:lnTo>
                    <a:pt x="634" y="1684"/>
                  </a:lnTo>
                  <a:lnTo>
                    <a:pt x="634" y="1684"/>
                  </a:lnTo>
                  <a:lnTo>
                    <a:pt x="634" y="1682"/>
                  </a:lnTo>
                  <a:lnTo>
                    <a:pt x="634" y="1682"/>
                  </a:lnTo>
                  <a:close/>
                  <a:moveTo>
                    <a:pt x="648" y="1664"/>
                  </a:moveTo>
                  <a:lnTo>
                    <a:pt x="642" y="1664"/>
                  </a:lnTo>
                  <a:lnTo>
                    <a:pt x="642" y="1664"/>
                  </a:lnTo>
                  <a:lnTo>
                    <a:pt x="638" y="1676"/>
                  </a:lnTo>
                  <a:lnTo>
                    <a:pt x="638" y="1676"/>
                  </a:lnTo>
                  <a:lnTo>
                    <a:pt x="636" y="1680"/>
                  </a:lnTo>
                  <a:lnTo>
                    <a:pt x="642" y="1680"/>
                  </a:lnTo>
                  <a:lnTo>
                    <a:pt x="642" y="1680"/>
                  </a:lnTo>
                  <a:lnTo>
                    <a:pt x="648" y="1664"/>
                  </a:lnTo>
                  <a:lnTo>
                    <a:pt x="648" y="1664"/>
                  </a:lnTo>
                  <a:close/>
                  <a:moveTo>
                    <a:pt x="630" y="1696"/>
                  </a:moveTo>
                  <a:lnTo>
                    <a:pt x="630" y="1696"/>
                  </a:lnTo>
                  <a:lnTo>
                    <a:pt x="628" y="1702"/>
                  </a:lnTo>
                  <a:lnTo>
                    <a:pt x="628" y="1702"/>
                  </a:lnTo>
                  <a:lnTo>
                    <a:pt x="632" y="1698"/>
                  </a:lnTo>
                  <a:lnTo>
                    <a:pt x="632" y="1698"/>
                  </a:lnTo>
                  <a:lnTo>
                    <a:pt x="634" y="1686"/>
                  </a:lnTo>
                  <a:lnTo>
                    <a:pt x="634" y="1686"/>
                  </a:lnTo>
                  <a:lnTo>
                    <a:pt x="630" y="1696"/>
                  </a:lnTo>
                  <a:lnTo>
                    <a:pt x="630" y="1696"/>
                  </a:lnTo>
                  <a:close/>
                  <a:moveTo>
                    <a:pt x="688" y="1494"/>
                  </a:moveTo>
                  <a:lnTo>
                    <a:pt x="688" y="1494"/>
                  </a:lnTo>
                  <a:lnTo>
                    <a:pt x="684" y="1496"/>
                  </a:lnTo>
                  <a:lnTo>
                    <a:pt x="680" y="1498"/>
                  </a:lnTo>
                  <a:lnTo>
                    <a:pt x="672" y="1506"/>
                  </a:lnTo>
                  <a:lnTo>
                    <a:pt x="664" y="1520"/>
                  </a:lnTo>
                  <a:lnTo>
                    <a:pt x="658" y="1540"/>
                  </a:lnTo>
                  <a:lnTo>
                    <a:pt x="658" y="1540"/>
                  </a:lnTo>
                  <a:lnTo>
                    <a:pt x="656" y="1558"/>
                  </a:lnTo>
                  <a:lnTo>
                    <a:pt x="656" y="1574"/>
                  </a:lnTo>
                  <a:lnTo>
                    <a:pt x="660" y="1584"/>
                  </a:lnTo>
                  <a:lnTo>
                    <a:pt x="662" y="1586"/>
                  </a:lnTo>
                  <a:lnTo>
                    <a:pt x="666" y="1586"/>
                  </a:lnTo>
                  <a:lnTo>
                    <a:pt x="666" y="1586"/>
                  </a:lnTo>
                  <a:lnTo>
                    <a:pt x="668" y="1586"/>
                  </a:lnTo>
                  <a:lnTo>
                    <a:pt x="670" y="1584"/>
                  </a:lnTo>
                  <a:lnTo>
                    <a:pt x="674" y="1574"/>
                  </a:lnTo>
                  <a:lnTo>
                    <a:pt x="686" y="1542"/>
                  </a:lnTo>
                  <a:lnTo>
                    <a:pt x="686" y="1542"/>
                  </a:lnTo>
                  <a:lnTo>
                    <a:pt x="692" y="1522"/>
                  </a:lnTo>
                  <a:lnTo>
                    <a:pt x="694" y="1508"/>
                  </a:lnTo>
                  <a:lnTo>
                    <a:pt x="694" y="1502"/>
                  </a:lnTo>
                  <a:lnTo>
                    <a:pt x="694" y="1498"/>
                  </a:lnTo>
                  <a:lnTo>
                    <a:pt x="692" y="1496"/>
                  </a:lnTo>
                  <a:lnTo>
                    <a:pt x="688" y="1494"/>
                  </a:lnTo>
                  <a:lnTo>
                    <a:pt x="688" y="1494"/>
                  </a:lnTo>
                  <a:close/>
                  <a:moveTo>
                    <a:pt x="670" y="1568"/>
                  </a:moveTo>
                  <a:lnTo>
                    <a:pt x="670" y="1568"/>
                  </a:lnTo>
                  <a:lnTo>
                    <a:pt x="666" y="1566"/>
                  </a:lnTo>
                  <a:lnTo>
                    <a:pt x="662" y="1560"/>
                  </a:lnTo>
                  <a:lnTo>
                    <a:pt x="662" y="1552"/>
                  </a:lnTo>
                  <a:lnTo>
                    <a:pt x="662" y="1540"/>
                  </a:lnTo>
                  <a:lnTo>
                    <a:pt x="662" y="1540"/>
                  </a:lnTo>
                  <a:lnTo>
                    <a:pt x="666" y="1528"/>
                  </a:lnTo>
                  <a:lnTo>
                    <a:pt x="672" y="1520"/>
                  </a:lnTo>
                  <a:lnTo>
                    <a:pt x="678" y="1514"/>
                  </a:lnTo>
                  <a:lnTo>
                    <a:pt x="684" y="1514"/>
                  </a:lnTo>
                  <a:lnTo>
                    <a:pt x="684" y="1514"/>
                  </a:lnTo>
                  <a:lnTo>
                    <a:pt x="688" y="1514"/>
                  </a:lnTo>
                  <a:lnTo>
                    <a:pt x="690" y="1520"/>
                  </a:lnTo>
                  <a:lnTo>
                    <a:pt x="688" y="1528"/>
                  </a:lnTo>
                  <a:lnTo>
                    <a:pt x="684" y="1540"/>
                  </a:lnTo>
                  <a:lnTo>
                    <a:pt x="684" y="1540"/>
                  </a:lnTo>
                  <a:lnTo>
                    <a:pt x="678" y="1560"/>
                  </a:lnTo>
                  <a:lnTo>
                    <a:pt x="674" y="1566"/>
                  </a:lnTo>
                  <a:lnTo>
                    <a:pt x="670" y="1568"/>
                  </a:lnTo>
                  <a:lnTo>
                    <a:pt x="670" y="1568"/>
                  </a:lnTo>
                  <a:close/>
                  <a:moveTo>
                    <a:pt x="722" y="1360"/>
                  </a:moveTo>
                  <a:lnTo>
                    <a:pt x="722" y="1360"/>
                  </a:lnTo>
                  <a:lnTo>
                    <a:pt x="716" y="1360"/>
                  </a:lnTo>
                  <a:lnTo>
                    <a:pt x="710" y="1362"/>
                  </a:lnTo>
                  <a:lnTo>
                    <a:pt x="706" y="1366"/>
                  </a:lnTo>
                  <a:lnTo>
                    <a:pt x="700" y="1370"/>
                  </a:lnTo>
                  <a:lnTo>
                    <a:pt x="694" y="1378"/>
                  </a:lnTo>
                  <a:lnTo>
                    <a:pt x="690" y="1384"/>
                  </a:lnTo>
                  <a:lnTo>
                    <a:pt x="686" y="1394"/>
                  </a:lnTo>
                  <a:lnTo>
                    <a:pt x="684" y="1404"/>
                  </a:lnTo>
                  <a:lnTo>
                    <a:pt x="684" y="1404"/>
                  </a:lnTo>
                  <a:lnTo>
                    <a:pt x="682" y="1414"/>
                  </a:lnTo>
                  <a:lnTo>
                    <a:pt x="682" y="1422"/>
                  </a:lnTo>
                  <a:lnTo>
                    <a:pt x="684" y="1430"/>
                  </a:lnTo>
                  <a:lnTo>
                    <a:pt x="686" y="1438"/>
                  </a:lnTo>
                  <a:lnTo>
                    <a:pt x="688" y="1444"/>
                  </a:lnTo>
                  <a:lnTo>
                    <a:pt x="692" y="1448"/>
                  </a:lnTo>
                  <a:lnTo>
                    <a:pt x="696" y="1450"/>
                  </a:lnTo>
                  <a:lnTo>
                    <a:pt x="700" y="1450"/>
                  </a:lnTo>
                  <a:lnTo>
                    <a:pt x="700" y="1450"/>
                  </a:lnTo>
                  <a:lnTo>
                    <a:pt x="704" y="1450"/>
                  </a:lnTo>
                  <a:lnTo>
                    <a:pt x="708" y="1448"/>
                  </a:lnTo>
                  <a:lnTo>
                    <a:pt x="716" y="1438"/>
                  </a:lnTo>
                  <a:lnTo>
                    <a:pt x="722" y="1424"/>
                  </a:lnTo>
                  <a:lnTo>
                    <a:pt x="728" y="1406"/>
                  </a:lnTo>
                  <a:lnTo>
                    <a:pt x="728" y="1406"/>
                  </a:lnTo>
                  <a:lnTo>
                    <a:pt x="734" y="1386"/>
                  </a:lnTo>
                  <a:lnTo>
                    <a:pt x="734" y="1372"/>
                  </a:lnTo>
                  <a:lnTo>
                    <a:pt x="734" y="1366"/>
                  </a:lnTo>
                  <a:lnTo>
                    <a:pt x="732" y="1362"/>
                  </a:lnTo>
                  <a:lnTo>
                    <a:pt x="728" y="1360"/>
                  </a:lnTo>
                  <a:lnTo>
                    <a:pt x="722" y="1360"/>
                  </a:lnTo>
                  <a:lnTo>
                    <a:pt x="722" y="1360"/>
                  </a:lnTo>
                  <a:close/>
                  <a:moveTo>
                    <a:pt x="726" y="1406"/>
                  </a:moveTo>
                  <a:lnTo>
                    <a:pt x="726" y="1406"/>
                  </a:lnTo>
                  <a:lnTo>
                    <a:pt x="722" y="1416"/>
                  </a:lnTo>
                  <a:lnTo>
                    <a:pt x="718" y="1426"/>
                  </a:lnTo>
                  <a:lnTo>
                    <a:pt x="712" y="1430"/>
                  </a:lnTo>
                  <a:lnTo>
                    <a:pt x="704" y="1432"/>
                  </a:lnTo>
                  <a:lnTo>
                    <a:pt x="704" y="1432"/>
                  </a:lnTo>
                  <a:lnTo>
                    <a:pt x="698" y="1430"/>
                  </a:lnTo>
                  <a:lnTo>
                    <a:pt x="692" y="1424"/>
                  </a:lnTo>
                  <a:lnTo>
                    <a:pt x="690" y="1416"/>
                  </a:lnTo>
                  <a:lnTo>
                    <a:pt x="690" y="1404"/>
                  </a:lnTo>
                  <a:lnTo>
                    <a:pt x="690" y="1404"/>
                  </a:lnTo>
                  <a:lnTo>
                    <a:pt x="694" y="1392"/>
                  </a:lnTo>
                  <a:lnTo>
                    <a:pt x="702" y="1384"/>
                  </a:lnTo>
                  <a:lnTo>
                    <a:pt x="710" y="1380"/>
                  </a:lnTo>
                  <a:lnTo>
                    <a:pt x="718" y="1378"/>
                  </a:lnTo>
                  <a:lnTo>
                    <a:pt x="718" y="1378"/>
                  </a:lnTo>
                  <a:lnTo>
                    <a:pt x="726" y="1380"/>
                  </a:lnTo>
                  <a:lnTo>
                    <a:pt x="728" y="1384"/>
                  </a:lnTo>
                  <a:lnTo>
                    <a:pt x="728" y="1392"/>
                  </a:lnTo>
                  <a:lnTo>
                    <a:pt x="726" y="1406"/>
                  </a:lnTo>
                  <a:lnTo>
                    <a:pt x="726" y="1406"/>
                  </a:lnTo>
                  <a:close/>
                  <a:moveTo>
                    <a:pt x="734" y="1316"/>
                  </a:moveTo>
                  <a:lnTo>
                    <a:pt x="734" y="1316"/>
                  </a:lnTo>
                  <a:lnTo>
                    <a:pt x="740" y="1314"/>
                  </a:lnTo>
                  <a:lnTo>
                    <a:pt x="746" y="1312"/>
                  </a:lnTo>
                  <a:lnTo>
                    <a:pt x="750" y="1308"/>
                  </a:lnTo>
                  <a:lnTo>
                    <a:pt x="756" y="1302"/>
                  </a:lnTo>
                  <a:lnTo>
                    <a:pt x="762" y="1288"/>
                  </a:lnTo>
                  <a:lnTo>
                    <a:pt x="770" y="1270"/>
                  </a:lnTo>
                  <a:lnTo>
                    <a:pt x="770" y="1270"/>
                  </a:lnTo>
                  <a:lnTo>
                    <a:pt x="774" y="1250"/>
                  </a:lnTo>
                  <a:lnTo>
                    <a:pt x="774" y="1242"/>
                  </a:lnTo>
                  <a:lnTo>
                    <a:pt x="774" y="1236"/>
                  </a:lnTo>
                  <a:lnTo>
                    <a:pt x="772" y="1230"/>
                  </a:lnTo>
                  <a:lnTo>
                    <a:pt x="768" y="1226"/>
                  </a:lnTo>
                  <a:lnTo>
                    <a:pt x="762" y="1224"/>
                  </a:lnTo>
                  <a:lnTo>
                    <a:pt x="756" y="1224"/>
                  </a:lnTo>
                  <a:lnTo>
                    <a:pt x="756" y="1224"/>
                  </a:lnTo>
                  <a:lnTo>
                    <a:pt x="748" y="1224"/>
                  </a:lnTo>
                  <a:lnTo>
                    <a:pt x="740" y="1226"/>
                  </a:lnTo>
                  <a:lnTo>
                    <a:pt x="734" y="1230"/>
                  </a:lnTo>
                  <a:lnTo>
                    <a:pt x="726" y="1234"/>
                  </a:lnTo>
                  <a:lnTo>
                    <a:pt x="720" y="1242"/>
                  </a:lnTo>
                  <a:lnTo>
                    <a:pt x="716" y="1248"/>
                  </a:lnTo>
                  <a:lnTo>
                    <a:pt x="712" y="1258"/>
                  </a:lnTo>
                  <a:lnTo>
                    <a:pt x="708" y="1268"/>
                  </a:lnTo>
                  <a:lnTo>
                    <a:pt x="708" y="1268"/>
                  </a:lnTo>
                  <a:lnTo>
                    <a:pt x="708" y="1278"/>
                  </a:lnTo>
                  <a:lnTo>
                    <a:pt x="708" y="1286"/>
                  </a:lnTo>
                  <a:lnTo>
                    <a:pt x="710" y="1296"/>
                  </a:lnTo>
                  <a:lnTo>
                    <a:pt x="714" y="1302"/>
                  </a:lnTo>
                  <a:lnTo>
                    <a:pt x="718" y="1308"/>
                  </a:lnTo>
                  <a:lnTo>
                    <a:pt x="722" y="1312"/>
                  </a:lnTo>
                  <a:lnTo>
                    <a:pt x="728" y="1314"/>
                  </a:lnTo>
                  <a:lnTo>
                    <a:pt x="734" y="1316"/>
                  </a:lnTo>
                  <a:lnTo>
                    <a:pt x="734" y="1316"/>
                  </a:lnTo>
                  <a:close/>
                  <a:moveTo>
                    <a:pt x="718" y="1270"/>
                  </a:moveTo>
                  <a:lnTo>
                    <a:pt x="718" y="1270"/>
                  </a:lnTo>
                  <a:lnTo>
                    <a:pt x="720" y="1262"/>
                  </a:lnTo>
                  <a:lnTo>
                    <a:pt x="722" y="1256"/>
                  </a:lnTo>
                  <a:lnTo>
                    <a:pt x="730" y="1248"/>
                  </a:lnTo>
                  <a:lnTo>
                    <a:pt x="740" y="1244"/>
                  </a:lnTo>
                  <a:lnTo>
                    <a:pt x="752" y="1242"/>
                  </a:lnTo>
                  <a:lnTo>
                    <a:pt x="752" y="1242"/>
                  </a:lnTo>
                  <a:lnTo>
                    <a:pt x="762" y="1244"/>
                  </a:lnTo>
                  <a:lnTo>
                    <a:pt x="764" y="1246"/>
                  </a:lnTo>
                  <a:lnTo>
                    <a:pt x="766" y="1248"/>
                  </a:lnTo>
                  <a:lnTo>
                    <a:pt x="768" y="1258"/>
                  </a:lnTo>
                  <a:lnTo>
                    <a:pt x="766" y="1270"/>
                  </a:lnTo>
                  <a:lnTo>
                    <a:pt x="766" y="1270"/>
                  </a:lnTo>
                  <a:lnTo>
                    <a:pt x="762" y="1280"/>
                  </a:lnTo>
                  <a:lnTo>
                    <a:pt x="756" y="1290"/>
                  </a:lnTo>
                  <a:lnTo>
                    <a:pt x="748" y="1294"/>
                  </a:lnTo>
                  <a:lnTo>
                    <a:pt x="738" y="1296"/>
                  </a:lnTo>
                  <a:lnTo>
                    <a:pt x="738" y="1296"/>
                  </a:lnTo>
                  <a:lnTo>
                    <a:pt x="728" y="1294"/>
                  </a:lnTo>
                  <a:lnTo>
                    <a:pt x="722" y="1288"/>
                  </a:lnTo>
                  <a:lnTo>
                    <a:pt x="718" y="1280"/>
                  </a:lnTo>
                  <a:lnTo>
                    <a:pt x="718" y="1270"/>
                  </a:lnTo>
                  <a:lnTo>
                    <a:pt x="718" y="1270"/>
                  </a:lnTo>
                  <a:close/>
                  <a:moveTo>
                    <a:pt x="750" y="1162"/>
                  </a:moveTo>
                  <a:lnTo>
                    <a:pt x="750" y="1162"/>
                  </a:lnTo>
                  <a:lnTo>
                    <a:pt x="746" y="1138"/>
                  </a:lnTo>
                  <a:lnTo>
                    <a:pt x="746" y="1138"/>
                  </a:lnTo>
                  <a:lnTo>
                    <a:pt x="746" y="1138"/>
                  </a:lnTo>
                  <a:lnTo>
                    <a:pt x="806" y="1138"/>
                  </a:lnTo>
                  <a:lnTo>
                    <a:pt x="806" y="1138"/>
                  </a:lnTo>
                  <a:lnTo>
                    <a:pt x="812" y="1120"/>
                  </a:lnTo>
                  <a:lnTo>
                    <a:pt x="738" y="1120"/>
                  </a:lnTo>
                  <a:lnTo>
                    <a:pt x="738" y="1120"/>
                  </a:lnTo>
                  <a:lnTo>
                    <a:pt x="734" y="1136"/>
                  </a:lnTo>
                  <a:lnTo>
                    <a:pt x="734" y="1136"/>
                  </a:lnTo>
                  <a:lnTo>
                    <a:pt x="740" y="1166"/>
                  </a:lnTo>
                  <a:lnTo>
                    <a:pt x="740" y="1166"/>
                  </a:lnTo>
                  <a:lnTo>
                    <a:pt x="750" y="1162"/>
                  </a:lnTo>
                  <a:lnTo>
                    <a:pt x="750" y="1162"/>
                  </a:lnTo>
                  <a:close/>
                  <a:moveTo>
                    <a:pt x="776" y="1026"/>
                  </a:moveTo>
                  <a:lnTo>
                    <a:pt x="776" y="1026"/>
                  </a:lnTo>
                  <a:lnTo>
                    <a:pt x="772" y="1002"/>
                  </a:lnTo>
                  <a:lnTo>
                    <a:pt x="772" y="1002"/>
                  </a:lnTo>
                  <a:lnTo>
                    <a:pt x="772" y="1002"/>
                  </a:lnTo>
                  <a:lnTo>
                    <a:pt x="844" y="1002"/>
                  </a:lnTo>
                  <a:lnTo>
                    <a:pt x="844" y="1002"/>
                  </a:lnTo>
                  <a:lnTo>
                    <a:pt x="848" y="984"/>
                  </a:lnTo>
                  <a:lnTo>
                    <a:pt x="760" y="984"/>
                  </a:lnTo>
                  <a:lnTo>
                    <a:pt x="760" y="984"/>
                  </a:lnTo>
                  <a:lnTo>
                    <a:pt x="758" y="1000"/>
                  </a:lnTo>
                  <a:lnTo>
                    <a:pt x="758" y="1000"/>
                  </a:lnTo>
                  <a:lnTo>
                    <a:pt x="766" y="1030"/>
                  </a:lnTo>
                  <a:lnTo>
                    <a:pt x="766" y="1030"/>
                  </a:lnTo>
                  <a:lnTo>
                    <a:pt x="776" y="1026"/>
                  </a:lnTo>
                  <a:lnTo>
                    <a:pt x="776" y="1026"/>
                  </a:lnTo>
                  <a:close/>
                  <a:moveTo>
                    <a:pt x="826" y="908"/>
                  </a:moveTo>
                  <a:lnTo>
                    <a:pt x="826" y="908"/>
                  </a:lnTo>
                  <a:lnTo>
                    <a:pt x="838" y="906"/>
                  </a:lnTo>
                  <a:lnTo>
                    <a:pt x="848" y="904"/>
                  </a:lnTo>
                  <a:lnTo>
                    <a:pt x="856" y="900"/>
                  </a:lnTo>
                  <a:lnTo>
                    <a:pt x="862" y="896"/>
                  </a:lnTo>
                  <a:lnTo>
                    <a:pt x="868" y="888"/>
                  </a:lnTo>
                  <a:lnTo>
                    <a:pt x="872" y="880"/>
                  </a:lnTo>
                  <a:lnTo>
                    <a:pt x="876" y="872"/>
                  </a:lnTo>
                  <a:lnTo>
                    <a:pt x="880" y="862"/>
                  </a:lnTo>
                  <a:lnTo>
                    <a:pt x="880" y="862"/>
                  </a:lnTo>
                  <a:lnTo>
                    <a:pt x="882" y="852"/>
                  </a:lnTo>
                  <a:lnTo>
                    <a:pt x="882" y="842"/>
                  </a:lnTo>
                  <a:lnTo>
                    <a:pt x="880" y="834"/>
                  </a:lnTo>
                  <a:lnTo>
                    <a:pt x="878" y="828"/>
                  </a:lnTo>
                  <a:lnTo>
                    <a:pt x="872" y="822"/>
                  </a:lnTo>
                  <a:lnTo>
                    <a:pt x="864" y="818"/>
                  </a:lnTo>
                  <a:lnTo>
                    <a:pt x="856" y="816"/>
                  </a:lnTo>
                  <a:lnTo>
                    <a:pt x="844" y="816"/>
                  </a:lnTo>
                  <a:lnTo>
                    <a:pt x="844" y="816"/>
                  </a:lnTo>
                  <a:lnTo>
                    <a:pt x="832" y="816"/>
                  </a:lnTo>
                  <a:lnTo>
                    <a:pt x="820" y="818"/>
                  </a:lnTo>
                  <a:lnTo>
                    <a:pt x="810" y="822"/>
                  </a:lnTo>
                  <a:lnTo>
                    <a:pt x="800" y="828"/>
                  </a:lnTo>
                  <a:lnTo>
                    <a:pt x="792" y="834"/>
                  </a:lnTo>
                  <a:lnTo>
                    <a:pt x="784" y="842"/>
                  </a:lnTo>
                  <a:lnTo>
                    <a:pt x="780" y="850"/>
                  </a:lnTo>
                  <a:lnTo>
                    <a:pt x="776" y="860"/>
                  </a:lnTo>
                  <a:lnTo>
                    <a:pt x="776" y="860"/>
                  </a:lnTo>
                  <a:lnTo>
                    <a:pt x="776" y="870"/>
                  </a:lnTo>
                  <a:lnTo>
                    <a:pt x="778" y="880"/>
                  </a:lnTo>
                  <a:lnTo>
                    <a:pt x="782" y="888"/>
                  </a:lnTo>
                  <a:lnTo>
                    <a:pt x="788" y="894"/>
                  </a:lnTo>
                  <a:lnTo>
                    <a:pt x="796" y="900"/>
                  </a:lnTo>
                  <a:lnTo>
                    <a:pt x="806" y="904"/>
                  </a:lnTo>
                  <a:lnTo>
                    <a:pt x="816" y="906"/>
                  </a:lnTo>
                  <a:lnTo>
                    <a:pt x="826" y="908"/>
                  </a:lnTo>
                  <a:lnTo>
                    <a:pt x="826" y="908"/>
                  </a:lnTo>
                  <a:close/>
                  <a:moveTo>
                    <a:pt x="790" y="862"/>
                  </a:moveTo>
                  <a:lnTo>
                    <a:pt x="790" y="862"/>
                  </a:lnTo>
                  <a:lnTo>
                    <a:pt x="792" y="854"/>
                  </a:lnTo>
                  <a:lnTo>
                    <a:pt x="796" y="850"/>
                  </a:lnTo>
                  <a:lnTo>
                    <a:pt x="802" y="844"/>
                  </a:lnTo>
                  <a:lnTo>
                    <a:pt x="808" y="840"/>
                  </a:lnTo>
                  <a:lnTo>
                    <a:pt x="822" y="836"/>
                  </a:lnTo>
                  <a:lnTo>
                    <a:pt x="840" y="834"/>
                  </a:lnTo>
                  <a:lnTo>
                    <a:pt x="840" y="834"/>
                  </a:lnTo>
                  <a:lnTo>
                    <a:pt x="856" y="836"/>
                  </a:lnTo>
                  <a:lnTo>
                    <a:pt x="862" y="838"/>
                  </a:lnTo>
                  <a:lnTo>
                    <a:pt x="868" y="840"/>
                  </a:lnTo>
                  <a:lnTo>
                    <a:pt x="870" y="844"/>
                  </a:lnTo>
                  <a:lnTo>
                    <a:pt x="872" y="850"/>
                  </a:lnTo>
                  <a:lnTo>
                    <a:pt x="872" y="856"/>
                  </a:lnTo>
                  <a:lnTo>
                    <a:pt x="872" y="862"/>
                  </a:lnTo>
                  <a:lnTo>
                    <a:pt x="872" y="862"/>
                  </a:lnTo>
                  <a:lnTo>
                    <a:pt x="868" y="874"/>
                  </a:lnTo>
                  <a:lnTo>
                    <a:pt x="858" y="882"/>
                  </a:lnTo>
                  <a:lnTo>
                    <a:pt x="854" y="884"/>
                  </a:lnTo>
                  <a:lnTo>
                    <a:pt x="846" y="888"/>
                  </a:lnTo>
                  <a:lnTo>
                    <a:pt x="830" y="890"/>
                  </a:lnTo>
                  <a:lnTo>
                    <a:pt x="830" y="890"/>
                  </a:lnTo>
                  <a:lnTo>
                    <a:pt x="814" y="888"/>
                  </a:lnTo>
                  <a:lnTo>
                    <a:pt x="806" y="884"/>
                  </a:lnTo>
                  <a:lnTo>
                    <a:pt x="800" y="882"/>
                  </a:lnTo>
                  <a:lnTo>
                    <a:pt x="796" y="878"/>
                  </a:lnTo>
                  <a:lnTo>
                    <a:pt x="792" y="872"/>
                  </a:lnTo>
                  <a:lnTo>
                    <a:pt x="790" y="868"/>
                  </a:lnTo>
                  <a:lnTo>
                    <a:pt x="790" y="862"/>
                  </a:lnTo>
                  <a:lnTo>
                    <a:pt x="790" y="862"/>
                  </a:lnTo>
                  <a:close/>
                  <a:moveTo>
                    <a:pt x="824" y="754"/>
                  </a:moveTo>
                  <a:lnTo>
                    <a:pt x="824" y="754"/>
                  </a:lnTo>
                  <a:lnTo>
                    <a:pt x="816" y="730"/>
                  </a:lnTo>
                  <a:lnTo>
                    <a:pt x="816" y="730"/>
                  </a:lnTo>
                  <a:lnTo>
                    <a:pt x="816" y="730"/>
                  </a:lnTo>
                  <a:lnTo>
                    <a:pt x="908" y="730"/>
                  </a:lnTo>
                  <a:lnTo>
                    <a:pt x="908" y="730"/>
                  </a:lnTo>
                  <a:lnTo>
                    <a:pt x="912" y="712"/>
                  </a:lnTo>
                  <a:lnTo>
                    <a:pt x="800" y="712"/>
                  </a:lnTo>
                  <a:lnTo>
                    <a:pt x="800" y="712"/>
                  </a:lnTo>
                  <a:lnTo>
                    <a:pt x="798" y="728"/>
                  </a:lnTo>
                  <a:lnTo>
                    <a:pt x="798" y="728"/>
                  </a:lnTo>
                  <a:lnTo>
                    <a:pt x="810" y="758"/>
                  </a:lnTo>
                  <a:lnTo>
                    <a:pt x="810" y="758"/>
                  </a:lnTo>
                  <a:lnTo>
                    <a:pt x="824" y="754"/>
                  </a:lnTo>
                  <a:lnTo>
                    <a:pt x="824" y="754"/>
                  </a:lnTo>
                  <a:close/>
                  <a:moveTo>
                    <a:pt x="844" y="618"/>
                  </a:moveTo>
                  <a:lnTo>
                    <a:pt x="844" y="618"/>
                  </a:lnTo>
                  <a:lnTo>
                    <a:pt x="834" y="594"/>
                  </a:lnTo>
                  <a:lnTo>
                    <a:pt x="834" y="594"/>
                  </a:lnTo>
                  <a:lnTo>
                    <a:pt x="834" y="594"/>
                  </a:lnTo>
                  <a:lnTo>
                    <a:pt x="934" y="594"/>
                  </a:lnTo>
                  <a:lnTo>
                    <a:pt x="934" y="594"/>
                  </a:lnTo>
                  <a:lnTo>
                    <a:pt x="938" y="576"/>
                  </a:lnTo>
                  <a:lnTo>
                    <a:pt x="816" y="576"/>
                  </a:lnTo>
                  <a:lnTo>
                    <a:pt x="816" y="576"/>
                  </a:lnTo>
                  <a:lnTo>
                    <a:pt x="814" y="592"/>
                  </a:lnTo>
                  <a:lnTo>
                    <a:pt x="814" y="592"/>
                  </a:lnTo>
                  <a:lnTo>
                    <a:pt x="828" y="622"/>
                  </a:lnTo>
                  <a:lnTo>
                    <a:pt x="828" y="622"/>
                  </a:lnTo>
                  <a:lnTo>
                    <a:pt x="844" y="618"/>
                  </a:lnTo>
                  <a:lnTo>
                    <a:pt x="844" y="618"/>
                  </a:lnTo>
                  <a:close/>
                  <a:moveTo>
                    <a:pt x="860" y="482"/>
                  </a:moveTo>
                  <a:lnTo>
                    <a:pt x="860" y="482"/>
                  </a:lnTo>
                  <a:lnTo>
                    <a:pt x="848" y="458"/>
                  </a:lnTo>
                  <a:lnTo>
                    <a:pt x="848" y="458"/>
                  </a:lnTo>
                  <a:lnTo>
                    <a:pt x="848" y="458"/>
                  </a:lnTo>
                  <a:lnTo>
                    <a:pt x="958" y="458"/>
                  </a:lnTo>
                  <a:lnTo>
                    <a:pt x="958" y="458"/>
                  </a:lnTo>
                  <a:lnTo>
                    <a:pt x="960" y="440"/>
                  </a:lnTo>
                  <a:lnTo>
                    <a:pt x="830" y="440"/>
                  </a:lnTo>
                  <a:lnTo>
                    <a:pt x="830" y="440"/>
                  </a:lnTo>
                  <a:lnTo>
                    <a:pt x="828" y="456"/>
                  </a:lnTo>
                  <a:lnTo>
                    <a:pt x="828" y="456"/>
                  </a:lnTo>
                  <a:lnTo>
                    <a:pt x="844" y="486"/>
                  </a:lnTo>
                  <a:lnTo>
                    <a:pt x="844" y="486"/>
                  </a:lnTo>
                  <a:lnTo>
                    <a:pt x="860" y="482"/>
                  </a:lnTo>
                  <a:lnTo>
                    <a:pt x="860" y="482"/>
                  </a:lnTo>
                  <a:close/>
                  <a:moveTo>
                    <a:pt x="874" y="346"/>
                  </a:moveTo>
                  <a:lnTo>
                    <a:pt x="874" y="346"/>
                  </a:lnTo>
                  <a:lnTo>
                    <a:pt x="860" y="324"/>
                  </a:lnTo>
                  <a:lnTo>
                    <a:pt x="860" y="324"/>
                  </a:lnTo>
                  <a:lnTo>
                    <a:pt x="860" y="322"/>
                  </a:lnTo>
                  <a:lnTo>
                    <a:pt x="974" y="322"/>
                  </a:lnTo>
                  <a:lnTo>
                    <a:pt x="974" y="322"/>
                  </a:lnTo>
                  <a:lnTo>
                    <a:pt x="976" y="304"/>
                  </a:lnTo>
                  <a:lnTo>
                    <a:pt x="840" y="304"/>
                  </a:lnTo>
                  <a:lnTo>
                    <a:pt x="840" y="304"/>
                  </a:lnTo>
                  <a:lnTo>
                    <a:pt x="840" y="320"/>
                  </a:lnTo>
                  <a:lnTo>
                    <a:pt x="840" y="320"/>
                  </a:lnTo>
                  <a:lnTo>
                    <a:pt x="856" y="350"/>
                  </a:lnTo>
                  <a:lnTo>
                    <a:pt x="856" y="350"/>
                  </a:lnTo>
                  <a:lnTo>
                    <a:pt x="874" y="346"/>
                  </a:lnTo>
                  <a:lnTo>
                    <a:pt x="874" y="346"/>
                  </a:lnTo>
                  <a:close/>
                  <a:moveTo>
                    <a:pt x="922" y="228"/>
                  </a:moveTo>
                  <a:lnTo>
                    <a:pt x="922" y="228"/>
                  </a:lnTo>
                  <a:lnTo>
                    <a:pt x="938" y="228"/>
                  </a:lnTo>
                  <a:lnTo>
                    <a:pt x="952" y="226"/>
                  </a:lnTo>
                  <a:lnTo>
                    <a:pt x="962" y="222"/>
                  </a:lnTo>
                  <a:lnTo>
                    <a:pt x="972" y="216"/>
                  </a:lnTo>
                  <a:lnTo>
                    <a:pt x="978" y="210"/>
                  </a:lnTo>
                  <a:lnTo>
                    <a:pt x="984" y="202"/>
                  </a:lnTo>
                  <a:lnTo>
                    <a:pt x="988" y="194"/>
                  </a:lnTo>
                  <a:lnTo>
                    <a:pt x="988" y="184"/>
                  </a:lnTo>
                  <a:lnTo>
                    <a:pt x="988" y="184"/>
                  </a:lnTo>
                  <a:lnTo>
                    <a:pt x="988" y="174"/>
                  </a:lnTo>
                  <a:lnTo>
                    <a:pt x="986" y="164"/>
                  </a:lnTo>
                  <a:lnTo>
                    <a:pt x="982" y="156"/>
                  </a:lnTo>
                  <a:lnTo>
                    <a:pt x="976" y="148"/>
                  </a:lnTo>
                  <a:lnTo>
                    <a:pt x="968" y="144"/>
                  </a:lnTo>
                  <a:lnTo>
                    <a:pt x="956" y="140"/>
                  </a:lnTo>
                  <a:lnTo>
                    <a:pt x="942" y="138"/>
                  </a:lnTo>
                  <a:lnTo>
                    <a:pt x="926" y="136"/>
                  </a:lnTo>
                  <a:lnTo>
                    <a:pt x="926" y="136"/>
                  </a:lnTo>
                  <a:lnTo>
                    <a:pt x="910" y="138"/>
                  </a:lnTo>
                  <a:lnTo>
                    <a:pt x="894" y="140"/>
                  </a:lnTo>
                  <a:lnTo>
                    <a:pt x="880" y="144"/>
                  </a:lnTo>
                  <a:lnTo>
                    <a:pt x="868" y="148"/>
                  </a:lnTo>
                  <a:lnTo>
                    <a:pt x="858" y="154"/>
                  </a:lnTo>
                  <a:lnTo>
                    <a:pt x="850" y="162"/>
                  </a:lnTo>
                  <a:lnTo>
                    <a:pt x="846" y="172"/>
                  </a:lnTo>
                  <a:lnTo>
                    <a:pt x="844" y="182"/>
                  </a:lnTo>
                  <a:lnTo>
                    <a:pt x="844" y="182"/>
                  </a:lnTo>
                  <a:lnTo>
                    <a:pt x="844" y="192"/>
                  </a:lnTo>
                  <a:lnTo>
                    <a:pt x="850" y="200"/>
                  </a:lnTo>
                  <a:lnTo>
                    <a:pt x="856" y="208"/>
                  </a:lnTo>
                  <a:lnTo>
                    <a:pt x="866" y="216"/>
                  </a:lnTo>
                  <a:lnTo>
                    <a:pt x="878" y="220"/>
                  </a:lnTo>
                  <a:lnTo>
                    <a:pt x="892" y="226"/>
                  </a:lnTo>
                  <a:lnTo>
                    <a:pt x="906" y="228"/>
                  </a:lnTo>
                  <a:lnTo>
                    <a:pt x="922" y="228"/>
                  </a:lnTo>
                  <a:lnTo>
                    <a:pt x="922" y="228"/>
                  </a:lnTo>
                  <a:close/>
                  <a:moveTo>
                    <a:pt x="926" y="156"/>
                  </a:moveTo>
                  <a:lnTo>
                    <a:pt x="926" y="156"/>
                  </a:lnTo>
                  <a:lnTo>
                    <a:pt x="950" y="156"/>
                  </a:lnTo>
                  <a:lnTo>
                    <a:pt x="958" y="158"/>
                  </a:lnTo>
                  <a:lnTo>
                    <a:pt x="966" y="162"/>
                  </a:lnTo>
                  <a:lnTo>
                    <a:pt x="970" y="166"/>
                  </a:lnTo>
                  <a:lnTo>
                    <a:pt x="974" y="170"/>
                  </a:lnTo>
                  <a:lnTo>
                    <a:pt x="976" y="176"/>
                  </a:lnTo>
                  <a:lnTo>
                    <a:pt x="976" y="182"/>
                  </a:lnTo>
                  <a:lnTo>
                    <a:pt x="976" y="182"/>
                  </a:lnTo>
                  <a:lnTo>
                    <a:pt x="976" y="188"/>
                  </a:lnTo>
                  <a:lnTo>
                    <a:pt x="974" y="194"/>
                  </a:lnTo>
                  <a:lnTo>
                    <a:pt x="970" y="198"/>
                  </a:lnTo>
                  <a:lnTo>
                    <a:pt x="964" y="202"/>
                  </a:lnTo>
                  <a:lnTo>
                    <a:pt x="956" y="206"/>
                  </a:lnTo>
                  <a:lnTo>
                    <a:pt x="948" y="208"/>
                  </a:lnTo>
                  <a:lnTo>
                    <a:pt x="924" y="210"/>
                  </a:lnTo>
                  <a:lnTo>
                    <a:pt x="924" y="210"/>
                  </a:lnTo>
                  <a:lnTo>
                    <a:pt x="898" y="208"/>
                  </a:lnTo>
                  <a:lnTo>
                    <a:pt x="888" y="206"/>
                  </a:lnTo>
                  <a:lnTo>
                    <a:pt x="880" y="202"/>
                  </a:lnTo>
                  <a:lnTo>
                    <a:pt x="872" y="198"/>
                  </a:lnTo>
                  <a:lnTo>
                    <a:pt x="866" y="194"/>
                  </a:lnTo>
                  <a:lnTo>
                    <a:pt x="862" y="188"/>
                  </a:lnTo>
                  <a:lnTo>
                    <a:pt x="862" y="182"/>
                  </a:lnTo>
                  <a:lnTo>
                    <a:pt x="862" y="182"/>
                  </a:lnTo>
                  <a:lnTo>
                    <a:pt x="864" y="176"/>
                  </a:lnTo>
                  <a:lnTo>
                    <a:pt x="868" y="170"/>
                  </a:lnTo>
                  <a:lnTo>
                    <a:pt x="874" y="166"/>
                  </a:lnTo>
                  <a:lnTo>
                    <a:pt x="882" y="162"/>
                  </a:lnTo>
                  <a:lnTo>
                    <a:pt x="902" y="156"/>
                  </a:lnTo>
                  <a:lnTo>
                    <a:pt x="926" y="156"/>
                  </a:lnTo>
                  <a:lnTo>
                    <a:pt x="926" y="156"/>
                  </a:lnTo>
                  <a:close/>
                  <a:moveTo>
                    <a:pt x="888" y="74"/>
                  </a:moveTo>
                  <a:lnTo>
                    <a:pt x="888" y="74"/>
                  </a:lnTo>
                  <a:lnTo>
                    <a:pt x="872" y="52"/>
                  </a:lnTo>
                  <a:lnTo>
                    <a:pt x="872" y="52"/>
                  </a:lnTo>
                  <a:lnTo>
                    <a:pt x="872" y="52"/>
                  </a:lnTo>
                  <a:lnTo>
                    <a:pt x="992" y="52"/>
                  </a:lnTo>
                  <a:lnTo>
                    <a:pt x="992" y="52"/>
                  </a:lnTo>
                  <a:lnTo>
                    <a:pt x="992" y="34"/>
                  </a:lnTo>
                  <a:lnTo>
                    <a:pt x="850" y="34"/>
                  </a:lnTo>
                  <a:lnTo>
                    <a:pt x="850" y="34"/>
                  </a:lnTo>
                  <a:lnTo>
                    <a:pt x="850" y="48"/>
                  </a:lnTo>
                  <a:lnTo>
                    <a:pt x="850" y="48"/>
                  </a:lnTo>
                  <a:lnTo>
                    <a:pt x="870" y="78"/>
                  </a:lnTo>
                  <a:lnTo>
                    <a:pt x="870" y="78"/>
                  </a:lnTo>
                  <a:lnTo>
                    <a:pt x="888" y="74"/>
                  </a:lnTo>
                  <a:lnTo>
                    <a:pt x="888" y="74"/>
                  </a:lnTo>
                  <a:close/>
                  <a:moveTo>
                    <a:pt x="0" y="3446"/>
                  </a:moveTo>
                  <a:lnTo>
                    <a:pt x="118" y="3446"/>
                  </a:lnTo>
                  <a:lnTo>
                    <a:pt x="118" y="3446"/>
                  </a:lnTo>
                  <a:lnTo>
                    <a:pt x="118" y="3446"/>
                  </a:lnTo>
                  <a:lnTo>
                    <a:pt x="118" y="3446"/>
                  </a:lnTo>
                  <a:lnTo>
                    <a:pt x="106" y="3470"/>
                  </a:lnTo>
                  <a:lnTo>
                    <a:pt x="106" y="3470"/>
                  </a:lnTo>
                  <a:lnTo>
                    <a:pt x="118" y="3474"/>
                  </a:lnTo>
                  <a:lnTo>
                    <a:pt x="118" y="3474"/>
                  </a:lnTo>
                  <a:lnTo>
                    <a:pt x="136" y="3444"/>
                  </a:lnTo>
                  <a:lnTo>
                    <a:pt x="136" y="3444"/>
                  </a:lnTo>
                  <a:lnTo>
                    <a:pt x="136" y="3428"/>
                  </a:lnTo>
                  <a:lnTo>
                    <a:pt x="0" y="3428"/>
                  </a:lnTo>
                  <a:lnTo>
                    <a:pt x="0" y="3428"/>
                  </a:lnTo>
                  <a:lnTo>
                    <a:pt x="0" y="3446"/>
                  </a:lnTo>
                  <a:lnTo>
                    <a:pt x="0" y="3446"/>
                  </a:lnTo>
                  <a:close/>
                  <a:moveTo>
                    <a:pt x="8" y="3310"/>
                  </a:moveTo>
                  <a:lnTo>
                    <a:pt x="124" y="3310"/>
                  </a:lnTo>
                  <a:lnTo>
                    <a:pt x="124" y="3310"/>
                  </a:lnTo>
                  <a:lnTo>
                    <a:pt x="124" y="3312"/>
                  </a:lnTo>
                  <a:lnTo>
                    <a:pt x="124" y="3312"/>
                  </a:lnTo>
                  <a:lnTo>
                    <a:pt x="110" y="3334"/>
                  </a:lnTo>
                  <a:lnTo>
                    <a:pt x="110" y="3334"/>
                  </a:lnTo>
                  <a:lnTo>
                    <a:pt x="124" y="3338"/>
                  </a:lnTo>
                  <a:lnTo>
                    <a:pt x="124" y="3338"/>
                  </a:lnTo>
                  <a:lnTo>
                    <a:pt x="142" y="3308"/>
                  </a:lnTo>
                  <a:lnTo>
                    <a:pt x="142" y="3308"/>
                  </a:lnTo>
                  <a:lnTo>
                    <a:pt x="142" y="3294"/>
                  </a:lnTo>
                  <a:lnTo>
                    <a:pt x="10" y="3294"/>
                  </a:lnTo>
                  <a:lnTo>
                    <a:pt x="10" y="3294"/>
                  </a:lnTo>
                  <a:lnTo>
                    <a:pt x="8" y="3310"/>
                  </a:lnTo>
                  <a:lnTo>
                    <a:pt x="8" y="3310"/>
                  </a:lnTo>
                  <a:close/>
                  <a:moveTo>
                    <a:pt x="100" y="3124"/>
                  </a:moveTo>
                  <a:lnTo>
                    <a:pt x="100" y="3124"/>
                  </a:lnTo>
                  <a:lnTo>
                    <a:pt x="84" y="3126"/>
                  </a:lnTo>
                  <a:lnTo>
                    <a:pt x="72" y="3128"/>
                  </a:lnTo>
                  <a:lnTo>
                    <a:pt x="60" y="3132"/>
                  </a:lnTo>
                  <a:lnTo>
                    <a:pt x="48" y="3138"/>
                  </a:lnTo>
                  <a:lnTo>
                    <a:pt x="40" y="3144"/>
                  </a:lnTo>
                  <a:lnTo>
                    <a:pt x="34" y="3152"/>
                  </a:lnTo>
                  <a:lnTo>
                    <a:pt x="28" y="3162"/>
                  </a:lnTo>
                  <a:lnTo>
                    <a:pt x="26" y="3172"/>
                  </a:lnTo>
                  <a:lnTo>
                    <a:pt x="26" y="3172"/>
                  </a:lnTo>
                  <a:lnTo>
                    <a:pt x="26" y="3182"/>
                  </a:lnTo>
                  <a:lnTo>
                    <a:pt x="28" y="3190"/>
                  </a:lnTo>
                  <a:lnTo>
                    <a:pt x="32" y="3198"/>
                  </a:lnTo>
                  <a:lnTo>
                    <a:pt x="38" y="3204"/>
                  </a:lnTo>
                  <a:lnTo>
                    <a:pt x="46" y="3210"/>
                  </a:lnTo>
                  <a:lnTo>
                    <a:pt x="56" y="3214"/>
                  </a:lnTo>
                  <a:lnTo>
                    <a:pt x="70" y="3216"/>
                  </a:lnTo>
                  <a:lnTo>
                    <a:pt x="84" y="3216"/>
                  </a:lnTo>
                  <a:lnTo>
                    <a:pt x="84" y="3216"/>
                  </a:lnTo>
                  <a:lnTo>
                    <a:pt x="100" y="3216"/>
                  </a:lnTo>
                  <a:lnTo>
                    <a:pt x="114" y="3214"/>
                  </a:lnTo>
                  <a:lnTo>
                    <a:pt x="126" y="3208"/>
                  </a:lnTo>
                  <a:lnTo>
                    <a:pt x="136" y="3204"/>
                  </a:lnTo>
                  <a:lnTo>
                    <a:pt x="146" y="3196"/>
                  </a:lnTo>
                  <a:lnTo>
                    <a:pt x="152" y="3188"/>
                  </a:lnTo>
                  <a:lnTo>
                    <a:pt x="156" y="3180"/>
                  </a:lnTo>
                  <a:lnTo>
                    <a:pt x="158" y="3170"/>
                  </a:lnTo>
                  <a:lnTo>
                    <a:pt x="158" y="3170"/>
                  </a:lnTo>
                  <a:lnTo>
                    <a:pt x="158" y="3160"/>
                  </a:lnTo>
                  <a:lnTo>
                    <a:pt x="156" y="3150"/>
                  </a:lnTo>
                  <a:lnTo>
                    <a:pt x="152" y="3142"/>
                  </a:lnTo>
                  <a:lnTo>
                    <a:pt x="146" y="3136"/>
                  </a:lnTo>
                  <a:lnTo>
                    <a:pt x="138" y="3132"/>
                  </a:lnTo>
                  <a:lnTo>
                    <a:pt x="126" y="3128"/>
                  </a:lnTo>
                  <a:lnTo>
                    <a:pt x="114" y="3126"/>
                  </a:lnTo>
                  <a:lnTo>
                    <a:pt x="100" y="3124"/>
                  </a:lnTo>
                  <a:lnTo>
                    <a:pt x="100" y="3124"/>
                  </a:lnTo>
                  <a:close/>
                  <a:moveTo>
                    <a:pt x="144" y="3170"/>
                  </a:moveTo>
                  <a:lnTo>
                    <a:pt x="144" y="3170"/>
                  </a:lnTo>
                  <a:lnTo>
                    <a:pt x="144" y="3176"/>
                  </a:lnTo>
                  <a:lnTo>
                    <a:pt x="140" y="3182"/>
                  </a:lnTo>
                  <a:lnTo>
                    <a:pt x="134" y="3186"/>
                  </a:lnTo>
                  <a:lnTo>
                    <a:pt x="128" y="3190"/>
                  </a:lnTo>
                  <a:lnTo>
                    <a:pt x="120" y="3194"/>
                  </a:lnTo>
                  <a:lnTo>
                    <a:pt x="110" y="3196"/>
                  </a:lnTo>
                  <a:lnTo>
                    <a:pt x="86" y="3198"/>
                  </a:lnTo>
                  <a:lnTo>
                    <a:pt x="86" y="3198"/>
                  </a:lnTo>
                  <a:lnTo>
                    <a:pt x="64" y="3196"/>
                  </a:lnTo>
                  <a:lnTo>
                    <a:pt x="56" y="3194"/>
                  </a:lnTo>
                  <a:lnTo>
                    <a:pt x="50" y="3190"/>
                  </a:lnTo>
                  <a:lnTo>
                    <a:pt x="44" y="3186"/>
                  </a:lnTo>
                  <a:lnTo>
                    <a:pt x="40" y="3182"/>
                  </a:lnTo>
                  <a:lnTo>
                    <a:pt x="38" y="3176"/>
                  </a:lnTo>
                  <a:lnTo>
                    <a:pt x="40" y="3170"/>
                  </a:lnTo>
                  <a:lnTo>
                    <a:pt x="40" y="3170"/>
                  </a:lnTo>
                  <a:lnTo>
                    <a:pt x="42" y="3164"/>
                  </a:lnTo>
                  <a:lnTo>
                    <a:pt x="44" y="3158"/>
                  </a:lnTo>
                  <a:lnTo>
                    <a:pt x="50" y="3154"/>
                  </a:lnTo>
                  <a:lnTo>
                    <a:pt x="56" y="3150"/>
                  </a:lnTo>
                  <a:lnTo>
                    <a:pt x="64" y="3146"/>
                  </a:lnTo>
                  <a:lnTo>
                    <a:pt x="74" y="3144"/>
                  </a:lnTo>
                  <a:lnTo>
                    <a:pt x="96" y="3144"/>
                  </a:lnTo>
                  <a:lnTo>
                    <a:pt x="96" y="3144"/>
                  </a:lnTo>
                  <a:lnTo>
                    <a:pt x="118" y="3144"/>
                  </a:lnTo>
                  <a:lnTo>
                    <a:pt x="126" y="3146"/>
                  </a:lnTo>
                  <a:lnTo>
                    <a:pt x="134" y="3150"/>
                  </a:lnTo>
                  <a:lnTo>
                    <a:pt x="138" y="3154"/>
                  </a:lnTo>
                  <a:lnTo>
                    <a:pt x="142" y="3158"/>
                  </a:lnTo>
                  <a:lnTo>
                    <a:pt x="144" y="3164"/>
                  </a:lnTo>
                  <a:lnTo>
                    <a:pt x="144" y="3170"/>
                  </a:lnTo>
                  <a:lnTo>
                    <a:pt x="144" y="3170"/>
                  </a:lnTo>
                  <a:close/>
                  <a:moveTo>
                    <a:pt x="56" y="3040"/>
                  </a:moveTo>
                  <a:lnTo>
                    <a:pt x="162" y="3040"/>
                  </a:lnTo>
                  <a:lnTo>
                    <a:pt x="162" y="3040"/>
                  </a:lnTo>
                  <a:lnTo>
                    <a:pt x="162" y="3040"/>
                  </a:lnTo>
                  <a:lnTo>
                    <a:pt x="162" y="3040"/>
                  </a:lnTo>
                  <a:lnTo>
                    <a:pt x="146" y="3062"/>
                  </a:lnTo>
                  <a:lnTo>
                    <a:pt x="146" y="3062"/>
                  </a:lnTo>
                  <a:lnTo>
                    <a:pt x="158" y="3066"/>
                  </a:lnTo>
                  <a:lnTo>
                    <a:pt x="158" y="3066"/>
                  </a:lnTo>
                  <a:lnTo>
                    <a:pt x="178" y="3036"/>
                  </a:lnTo>
                  <a:lnTo>
                    <a:pt x="178" y="3036"/>
                  </a:lnTo>
                  <a:lnTo>
                    <a:pt x="180" y="3022"/>
                  </a:lnTo>
                  <a:lnTo>
                    <a:pt x="60" y="3022"/>
                  </a:lnTo>
                  <a:lnTo>
                    <a:pt x="60" y="3022"/>
                  </a:lnTo>
                  <a:lnTo>
                    <a:pt x="56" y="3040"/>
                  </a:lnTo>
                  <a:lnTo>
                    <a:pt x="56" y="3040"/>
                  </a:lnTo>
                  <a:close/>
                  <a:moveTo>
                    <a:pt x="162" y="2854"/>
                  </a:moveTo>
                  <a:lnTo>
                    <a:pt x="162" y="2854"/>
                  </a:lnTo>
                  <a:lnTo>
                    <a:pt x="148" y="2854"/>
                  </a:lnTo>
                  <a:lnTo>
                    <a:pt x="136" y="2856"/>
                  </a:lnTo>
                  <a:lnTo>
                    <a:pt x="124" y="2860"/>
                  </a:lnTo>
                  <a:lnTo>
                    <a:pt x="116" y="2866"/>
                  </a:lnTo>
                  <a:lnTo>
                    <a:pt x="106" y="2872"/>
                  </a:lnTo>
                  <a:lnTo>
                    <a:pt x="100" y="2880"/>
                  </a:lnTo>
                  <a:lnTo>
                    <a:pt x="94" y="2890"/>
                  </a:lnTo>
                  <a:lnTo>
                    <a:pt x="90" y="2900"/>
                  </a:lnTo>
                  <a:lnTo>
                    <a:pt x="90" y="2900"/>
                  </a:lnTo>
                  <a:lnTo>
                    <a:pt x="88" y="2910"/>
                  </a:lnTo>
                  <a:lnTo>
                    <a:pt x="88" y="2918"/>
                  </a:lnTo>
                  <a:lnTo>
                    <a:pt x="92" y="2926"/>
                  </a:lnTo>
                  <a:lnTo>
                    <a:pt x="96" y="2932"/>
                  </a:lnTo>
                  <a:lnTo>
                    <a:pt x="102" y="2938"/>
                  </a:lnTo>
                  <a:lnTo>
                    <a:pt x="112" y="2942"/>
                  </a:lnTo>
                  <a:lnTo>
                    <a:pt x="122" y="2944"/>
                  </a:lnTo>
                  <a:lnTo>
                    <a:pt x="136" y="2944"/>
                  </a:lnTo>
                  <a:lnTo>
                    <a:pt x="136" y="2944"/>
                  </a:lnTo>
                  <a:lnTo>
                    <a:pt x="150" y="2944"/>
                  </a:lnTo>
                  <a:lnTo>
                    <a:pt x="162" y="2942"/>
                  </a:lnTo>
                  <a:lnTo>
                    <a:pt x="174" y="2938"/>
                  </a:lnTo>
                  <a:lnTo>
                    <a:pt x="184" y="2932"/>
                  </a:lnTo>
                  <a:lnTo>
                    <a:pt x="192" y="2924"/>
                  </a:lnTo>
                  <a:lnTo>
                    <a:pt x="200" y="2916"/>
                  </a:lnTo>
                  <a:lnTo>
                    <a:pt x="206" y="2908"/>
                  </a:lnTo>
                  <a:lnTo>
                    <a:pt x="208" y="2898"/>
                  </a:lnTo>
                  <a:lnTo>
                    <a:pt x="208" y="2898"/>
                  </a:lnTo>
                  <a:lnTo>
                    <a:pt x="210" y="2888"/>
                  </a:lnTo>
                  <a:lnTo>
                    <a:pt x="208" y="2878"/>
                  </a:lnTo>
                  <a:lnTo>
                    <a:pt x="206" y="2872"/>
                  </a:lnTo>
                  <a:lnTo>
                    <a:pt x="200" y="2864"/>
                  </a:lnTo>
                  <a:lnTo>
                    <a:pt x="194" y="2860"/>
                  </a:lnTo>
                  <a:lnTo>
                    <a:pt x="184" y="2856"/>
                  </a:lnTo>
                  <a:lnTo>
                    <a:pt x="174" y="2854"/>
                  </a:lnTo>
                  <a:lnTo>
                    <a:pt x="162" y="2854"/>
                  </a:lnTo>
                  <a:lnTo>
                    <a:pt x="162" y="2854"/>
                  </a:lnTo>
                  <a:close/>
                  <a:moveTo>
                    <a:pt x="196" y="2898"/>
                  </a:moveTo>
                  <a:lnTo>
                    <a:pt x="196" y="2898"/>
                  </a:lnTo>
                  <a:lnTo>
                    <a:pt x="194" y="2904"/>
                  </a:lnTo>
                  <a:lnTo>
                    <a:pt x="190" y="2910"/>
                  </a:lnTo>
                  <a:lnTo>
                    <a:pt x="184" y="2914"/>
                  </a:lnTo>
                  <a:lnTo>
                    <a:pt x="178" y="2918"/>
                  </a:lnTo>
                  <a:lnTo>
                    <a:pt x="170" y="2922"/>
                  </a:lnTo>
                  <a:lnTo>
                    <a:pt x="162" y="2924"/>
                  </a:lnTo>
                  <a:lnTo>
                    <a:pt x="140" y="2926"/>
                  </a:lnTo>
                  <a:lnTo>
                    <a:pt x="140" y="2926"/>
                  </a:lnTo>
                  <a:lnTo>
                    <a:pt x="120" y="2924"/>
                  </a:lnTo>
                  <a:lnTo>
                    <a:pt x="114" y="2922"/>
                  </a:lnTo>
                  <a:lnTo>
                    <a:pt x="108" y="2920"/>
                  </a:lnTo>
                  <a:lnTo>
                    <a:pt x="104" y="2916"/>
                  </a:lnTo>
                  <a:lnTo>
                    <a:pt x="102" y="2910"/>
                  </a:lnTo>
                  <a:lnTo>
                    <a:pt x="100" y="2906"/>
                  </a:lnTo>
                  <a:lnTo>
                    <a:pt x="102" y="2900"/>
                  </a:lnTo>
                  <a:lnTo>
                    <a:pt x="102" y="2900"/>
                  </a:lnTo>
                  <a:lnTo>
                    <a:pt x="104" y="2892"/>
                  </a:lnTo>
                  <a:lnTo>
                    <a:pt x="108" y="2886"/>
                  </a:lnTo>
                  <a:lnTo>
                    <a:pt x="114" y="2882"/>
                  </a:lnTo>
                  <a:lnTo>
                    <a:pt x="120" y="2878"/>
                  </a:lnTo>
                  <a:lnTo>
                    <a:pt x="136" y="2874"/>
                  </a:lnTo>
                  <a:lnTo>
                    <a:pt x="156" y="2872"/>
                  </a:lnTo>
                  <a:lnTo>
                    <a:pt x="156" y="2872"/>
                  </a:lnTo>
                  <a:lnTo>
                    <a:pt x="174" y="2874"/>
                  </a:lnTo>
                  <a:lnTo>
                    <a:pt x="182" y="2876"/>
                  </a:lnTo>
                  <a:lnTo>
                    <a:pt x="188" y="2878"/>
                  </a:lnTo>
                  <a:lnTo>
                    <a:pt x="192" y="2882"/>
                  </a:lnTo>
                  <a:lnTo>
                    <a:pt x="196" y="2886"/>
                  </a:lnTo>
                  <a:lnTo>
                    <a:pt x="196" y="2892"/>
                  </a:lnTo>
                  <a:lnTo>
                    <a:pt x="196" y="2898"/>
                  </a:lnTo>
                  <a:lnTo>
                    <a:pt x="196" y="2898"/>
                  </a:lnTo>
                  <a:close/>
                  <a:moveTo>
                    <a:pt x="134" y="2768"/>
                  </a:moveTo>
                  <a:lnTo>
                    <a:pt x="226" y="2768"/>
                  </a:lnTo>
                  <a:lnTo>
                    <a:pt x="226" y="2768"/>
                  </a:lnTo>
                  <a:lnTo>
                    <a:pt x="224" y="2768"/>
                  </a:lnTo>
                  <a:lnTo>
                    <a:pt x="224" y="2768"/>
                  </a:lnTo>
                  <a:lnTo>
                    <a:pt x="208" y="2792"/>
                  </a:lnTo>
                  <a:lnTo>
                    <a:pt x="208" y="2792"/>
                  </a:lnTo>
                  <a:lnTo>
                    <a:pt x="218" y="2794"/>
                  </a:lnTo>
                  <a:lnTo>
                    <a:pt x="218" y="2794"/>
                  </a:lnTo>
                  <a:lnTo>
                    <a:pt x="240" y="2766"/>
                  </a:lnTo>
                  <a:lnTo>
                    <a:pt x="240" y="2766"/>
                  </a:lnTo>
                  <a:lnTo>
                    <a:pt x="244" y="2750"/>
                  </a:lnTo>
                  <a:lnTo>
                    <a:pt x="140" y="2750"/>
                  </a:lnTo>
                  <a:lnTo>
                    <a:pt x="140" y="2750"/>
                  </a:lnTo>
                  <a:lnTo>
                    <a:pt x="134" y="2768"/>
                  </a:lnTo>
                  <a:lnTo>
                    <a:pt x="134" y="2768"/>
                  </a:lnTo>
                  <a:close/>
                  <a:moveTo>
                    <a:pt x="214" y="2674"/>
                  </a:moveTo>
                  <a:lnTo>
                    <a:pt x="214" y="2674"/>
                  </a:lnTo>
                  <a:lnTo>
                    <a:pt x="226" y="2672"/>
                  </a:lnTo>
                  <a:lnTo>
                    <a:pt x="238" y="2670"/>
                  </a:lnTo>
                  <a:lnTo>
                    <a:pt x="248" y="2666"/>
                  </a:lnTo>
                  <a:lnTo>
                    <a:pt x="256" y="2660"/>
                  </a:lnTo>
                  <a:lnTo>
                    <a:pt x="264" y="2654"/>
                  </a:lnTo>
                  <a:lnTo>
                    <a:pt x="272" y="2646"/>
                  </a:lnTo>
                  <a:lnTo>
                    <a:pt x="278" y="2636"/>
                  </a:lnTo>
                  <a:lnTo>
                    <a:pt x="280" y="2626"/>
                  </a:lnTo>
                  <a:lnTo>
                    <a:pt x="280" y="2626"/>
                  </a:lnTo>
                  <a:lnTo>
                    <a:pt x="284" y="2616"/>
                  </a:lnTo>
                  <a:lnTo>
                    <a:pt x="284" y="2608"/>
                  </a:lnTo>
                  <a:lnTo>
                    <a:pt x="282" y="2600"/>
                  </a:lnTo>
                  <a:lnTo>
                    <a:pt x="278" y="2594"/>
                  </a:lnTo>
                  <a:lnTo>
                    <a:pt x="272" y="2588"/>
                  </a:lnTo>
                  <a:lnTo>
                    <a:pt x="266" y="2584"/>
                  </a:lnTo>
                  <a:lnTo>
                    <a:pt x="258" y="2582"/>
                  </a:lnTo>
                  <a:lnTo>
                    <a:pt x="248" y="2582"/>
                  </a:lnTo>
                  <a:lnTo>
                    <a:pt x="248" y="2582"/>
                  </a:lnTo>
                  <a:lnTo>
                    <a:pt x="236" y="2582"/>
                  </a:lnTo>
                  <a:lnTo>
                    <a:pt x="226" y="2584"/>
                  </a:lnTo>
                  <a:lnTo>
                    <a:pt x="218" y="2588"/>
                  </a:lnTo>
                  <a:lnTo>
                    <a:pt x="210" y="2594"/>
                  </a:lnTo>
                  <a:lnTo>
                    <a:pt x="202" y="2600"/>
                  </a:lnTo>
                  <a:lnTo>
                    <a:pt x="196" y="2608"/>
                  </a:lnTo>
                  <a:lnTo>
                    <a:pt x="190" y="2618"/>
                  </a:lnTo>
                  <a:lnTo>
                    <a:pt x="184" y="2628"/>
                  </a:lnTo>
                  <a:lnTo>
                    <a:pt x="184" y="2628"/>
                  </a:lnTo>
                  <a:lnTo>
                    <a:pt x="182" y="2638"/>
                  </a:lnTo>
                  <a:lnTo>
                    <a:pt x="180" y="2646"/>
                  </a:lnTo>
                  <a:lnTo>
                    <a:pt x="182" y="2654"/>
                  </a:lnTo>
                  <a:lnTo>
                    <a:pt x="184" y="2660"/>
                  </a:lnTo>
                  <a:lnTo>
                    <a:pt x="188" y="2666"/>
                  </a:lnTo>
                  <a:lnTo>
                    <a:pt x="196" y="2670"/>
                  </a:lnTo>
                  <a:lnTo>
                    <a:pt x="204" y="2672"/>
                  </a:lnTo>
                  <a:lnTo>
                    <a:pt x="214" y="2674"/>
                  </a:lnTo>
                  <a:lnTo>
                    <a:pt x="214" y="2674"/>
                  </a:lnTo>
                  <a:close/>
                  <a:moveTo>
                    <a:pt x="194" y="2628"/>
                  </a:moveTo>
                  <a:lnTo>
                    <a:pt x="194" y="2628"/>
                  </a:lnTo>
                  <a:lnTo>
                    <a:pt x="200" y="2616"/>
                  </a:lnTo>
                  <a:lnTo>
                    <a:pt x="212" y="2606"/>
                  </a:lnTo>
                  <a:lnTo>
                    <a:pt x="224" y="2602"/>
                  </a:lnTo>
                  <a:lnTo>
                    <a:pt x="240" y="2600"/>
                  </a:lnTo>
                  <a:lnTo>
                    <a:pt x="240" y="2600"/>
                  </a:lnTo>
                  <a:lnTo>
                    <a:pt x="256" y="2602"/>
                  </a:lnTo>
                  <a:lnTo>
                    <a:pt x="262" y="2604"/>
                  </a:lnTo>
                  <a:lnTo>
                    <a:pt x="266" y="2606"/>
                  </a:lnTo>
                  <a:lnTo>
                    <a:pt x="270" y="2610"/>
                  </a:lnTo>
                  <a:lnTo>
                    <a:pt x="272" y="2614"/>
                  </a:lnTo>
                  <a:lnTo>
                    <a:pt x="272" y="2620"/>
                  </a:lnTo>
                  <a:lnTo>
                    <a:pt x="270" y="2628"/>
                  </a:lnTo>
                  <a:lnTo>
                    <a:pt x="270" y="2628"/>
                  </a:lnTo>
                  <a:lnTo>
                    <a:pt x="268" y="2634"/>
                  </a:lnTo>
                  <a:lnTo>
                    <a:pt x="264" y="2638"/>
                  </a:lnTo>
                  <a:lnTo>
                    <a:pt x="254" y="2648"/>
                  </a:lnTo>
                  <a:lnTo>
                    <a:pt x="238" y="2652"/>
                  </a:lnTo>
                  <a:lnTo>
                    <a:pt x="220" y="2654"/>
                  </a:lnTo>
                  <a:lnTo>
                    <a:pt x="220" y="2654"/>
                  </a:lnTo>
                  <a:lnTo>
                    <a:pt x="206" y="2652"/>
                  </a:lnTo>
                  <a:lnTo>
                    <a:pt x="200" y="2650"/>
                  </a:lnTo>
                  <a:lnTo>
                    <a:pt x="196" y="2648"/>
                  </a:lnTo>
                  <a:lnTo>
                    <a:pt x="192" y="2644"/>
                  </a:lnTo>
                  <a:lnTo>
                    <a:pt x="192" y="2638"/>
                  </a:lnTo>
                  <a:lnTo>
                    <a:pt x="192" y="2634"/>
                  </a:lnTo>
                  <a:lnTo>
                    <a:pt x="194" y="2628"/>
                  </a:lnTo>
                  <a:lnTo>
                    <a:pt x="194" y="2628"/>
                  </a:lnTo>
                  <a:close/>
                  <a:moveTo>
                    <a:pt x="310" y="2496"/>
                  </a:moveTo>
                  <a:lnTo>
                    <a:pt x="310" y="2496"/>
                  </a:lnTo>
                  <a:lnTo>
                    <a:pt x="294" y="2520"/>
                  </a:lnTo>
                  <a:lnTo>
                    <a:pt x="294" y="2520"/>
                  </a:lnTo>
                  <a:lnTo>
                    <a:pt x="302" y="2524"/>
                  </a:lnTo>
                  <a:lnTo>
                    <a:pt x="302" y="2524"/>
                  </a:lnTo>
                  <a:lnTo>
                    <a:pt x="322" y="2494"/>
                  </a:lnTo>
                  <a:lnTo>
                    <a:pt x="322" y="2494"/>
                  </a:lnTo>
                  <a:lnTo>
                    <a:pt x="326" y="2478"/>
                  </a:lnTo>
                  <a:lnTo>
                    <a:pt x="248" y="2478"/>
                  </a:lnTo>
                  <a:lnTo>
                    <a:pt x="248" y="2478"/>
                  </a:lnTo>
                  <a:lnTo>
                    <a:pt x="240" y="2496"/>
                  </a:lnTo>
                  <a:lnTo>
                    <a:pt x="310" y="2496"/>
                  </a:lnTo>
                  <a:lnTo>
                    <a:pt x="310" y="2496"/>
                  </a:lnTo>
                  <a:lnTo>
                    <a:pt x="310" y="2496"/>
                  </a:lnTo>
                  <a:lnTo>
                    <a:pt x="310" y="2496"/>
                  </a:lnTo>
                  <a:close/>
                  <a:moveTo>
                    <a:pt x="358" y="2360"/>
                  </a:moveTo>
                  <a:lnTo>
                    <a:pt x="358" y="2360"/>
                  </a:lnTo>
                  <a:lnTo>
                    <a:pt x="342" y="2384"/>
                  </a:lnTo>
                  <a:lnTo>
                    <a:pt x="342" y="2384"/>
                  </a:lnTo>
                  <a:lnTo>
                    <a:pt x="350" y="2388"/>
                  </a:lnTo>
                  <a:lnTo>
                    <a:pt x="350" y="2388"/>
                  </a:lnTo>
                  <a:lnTo>
                    <a:pt x="368" y="2358"/>
                  </a:lnTo>
                  <a:lnTo>
                    <a:pt x="368" y="2358"/>
                  </a:lnTo>
                  <a:lnTo>
                    <a:pt x="374" y="2342"/>
                  </a:lnTo>
                  <a:lnTo>
                    <a:pt x="310" y="2342"/>
                  </a:lnTo>
                  <a:lnTo>
                    <a:pt x="310" y="2342"/>
                  </a:lnTo>
                  <a:lnTo>
                    <a:pt x="302" y="2360"/>
                  </a:lnTo>
                  <a:lnTo>
                    <a:pt x="358" y="2360"/>
                  </a:lnTo>
                  <a:lnTo>
                    <a:pt x="358" y="2360"/>
                  </a:lnTo>
                  <a:lnTo>
                    <a:pt x="358" y="2360"/>
                  </a:lnTo>
                  <a:lnTo>
                    <a:pt x="358" y="2360"/>
                  </a:lnTo>
                  <a:close/>
                  <a:moveTo>
                    <a:pt x="370" y="2266"/>
                  </a:moveTo>
                  <a:lnTo>
                    <a:pt x="370" y="2266"/>
                  </a:lnTo>
                  <a:lnTo>
                    <a:pt x="378" y="2264"/>
                  </a:lnTo>
                  <a:lnTo>
                    <a:pt x="386" y="2262"/>
                  </a:lnTo>
                  <a:lnTo>
                    <a:pt x="392" y="2258"/>
                  </a:lnTo>
                  <a:lnTo>
                    <a:pt x="400" y="2252"/>
                  </a:lnTo>
                  <a:lnTo>
                    <a:pt x="412" y="2238"/>
                  </a:lnTo>
                  <a:lnTo>
                    <a:pt x="422" y="2218"/>
                  </a:lnTo>
                  <a:lnTo>
                    <a:pt x="422" y="2218"/>
                  </a:lnTo>
                  <a:lnTo>
                    <a:pt x="426" y="2200"/>
                  </a:lnTo>
                  <a:lnTo>
                    <a:pt x="426" y="2192"/>
                  </a:lnTo>
                  <a:lnTo>
                    <a:pt x="426" y="2186"/>
                  </a:lnTo>
                  <a:lnTo>
                    <a:pt x="424" y="2180"/>
                  </a:lnTo>
                  <a:lnTo>
                    <a:pt x="420" y="2178"/>
                  </a:lnTo>
                  <a:lnTo>
                    <a:pt x="416" y="2174"/>
                  </a:lnTo>
                  <a:lnTo>
                    <a:pt x="410" y="2174"/>
                  </a:lnTo>
                  <a:lnTo>
                    <a:pt x="410" y="2174"/>
                  </a:lnTo>
                  <a:lnTo>
                    <a:pt x="404" y="2174"/>
                  </a:lnTo>
                  <a:lnTo>
                    <a:pt x="400" y="2178"/>
                  </a:lnTo>
                  <a:lnTo>
                    <a:pt x="394" y="2182"/>
                  </a:lnTo>
                  <a:lnTo>
                    <a:pt x="388" y="2186"/>
                  </a:lnTo>
                  <a:lnTo>
                    <a:pt x="378" y="2202"/>
                  </a:lnTo>
                  <a:lnTo>
                    <a:pt x="366" y="2222"/>
                  </a:lnTo>
                  <a:lnTo>
                    <a:pt x="366" y="2222"/>
                  </a:lnTo>
                  <a:lnTo>
                    <a:pt x="360" y="2240"/>
                  </a:lnTo>
                  <a:lnTo>
                    <a:pt x="358" y="2246"/>
                  </a:lnTo>
                  <a:lnTo>
                    <a:pt x="356" y="2254"/>
                  </a:lnTo>
                  <a:lnTo>
                    <a:pt x="358" y="2258"/>
                  </a:lnTo>
                  <a:lnTo>
                    <a:pt x="360" y="2262"/>
                  </a:lnTo>
                  <a:lnTo>
                    <a:pt x="364" y="2264"/>
                  </a:lnTo>
                  <a:lnTo>
                    <a:pt x="370" y="2266"/>
                  </a:lnTo>
                  <a:lnTo>
                    <a:pt x="370" y="2266"/>
                  </a:lnTo>
                  <a:close/>
                  <a:moveTo>
                    <a:pt x="372" y="2220"/>
                  </a:moveTo>
                  <a:lnTo>
                    <a:pt x="372" y="2220"/>
                  </a:lnTo>
                  <a:lnTo>
                    <a:pt x="378" y="2208"/>
                  </a:lnTo>
                  <a:lnTo>
                    <a:pt x="386" y="2200"/>
                  </a:lnTo>
                  <a:lnTo>
                    <a:pt x="394" y="2194"/>
                  </a:lnTo>
                  <a:lnTo>
                    <a:pt x="402" y="2192"/>
                  </a:lnTo>
                  <a:lnTo>
                    <a:pt x="402" y="2192"/>
                  </a:lnTo>
                  <a:lnTo>
                    <a:pt x="410" y="2194"/>
                  </a:lnTo>
                  <a:lnTo>
                    <a:pt x="414" y="2196"/>
                  </a:lnTo>
                  <a:lnTo>
                    <a:pt x="416" y="2198"/>
                  </a:lnTo>
                  <a:lnTo>
                    <a:pt x="418" y="2208"/>
                  </a:lnTo>
                  <a:lnTo>
                    <a:pt x="414" y="2220"/>
                  </a:lnTo>
                  <a:lnTo>
                    <a:pt x="414" y="2220"/>
                  </a:lnTo>
                  <a:lnTo>
                    <a:pt x="408" y="2230"/>
                  </a:lnTo>
                  <a:lnTo>
                    <a:pt x="400" y="2240"/>
                  </a:lnTo>
                  <a:lnTo>
                    <a:pt x="390" y="2246"/>
                  </a:lnTo>
                  <a:lnTo>
                    <a:pt x="378" y="2248"/>
                  </a:lnTo>
                  <a:lnTo>
                    <a:pt x="378" y="2248"/>
                  </a:lnTo>
                  <a:lnTo>
                    <a:pt x="374" y="2246"/>
                  </a:lnTo>
                  <a:lnTo>
                    <a:pt x="370" y="2246"/>
                  </a:lnTo>
                  <a:lnTo>
                    <a:pt x="368" y="2244"/>
                  </a:lnTo>
                  <a:lnTo>
                    <a:pt x="366" y="2240"/>
                  </a:lnTo>
                  <a:lnTo>
                    <a:pt x="366" y="2232"/>
                  </a:lnTo>
                  <a:lnTo>
                    <a:pt x="372" y="2220"/>
                  </a:lnTo>
                  <a:lnTo>
                    <a:pt x="372" y="2220"/>
                  </a:lnTo>
                  <a:close/>
                  <a:moveTo>
                    <a:pt x="430" y="2130"/>
                  </a:moveTo>
                  <a:lnTo>
                    <a:pt x="430" y="2130"/>
                  </a:lnTo>
                  <a:lnTo>
                    <a:pt x="436" y="2130"/>
                  </a:lnTo>
                  <a:lnTo>
                    <a:pt x="442" y="2126"/>
                  </a:lnTo>
                  <a:lnTo>
                    <a:pt x="452" y="2116"/>
                  </a:lnTo>
                  <a:lnTo>
                    <a:pt x="464" y="2102"/>
                  </a:lnTo>
                  <a:lnTo>
                    <a:pt x="474" y="2082"/>
                  </a:lnTo>
                  <a:lnTo>
                    <a:pt x="474" y="2082"/>
                  </a:lnTo>
                  <a:lnTo>
                    <a:pt x="480" y="2064"/>
                  </a:lnTo>
                  <a:lnTo>
                    <a:pt x="480" y="2050"/>
                  </a:lnTo>
                  <a:lnTo>
                    <a:pt x="480" y="2044"/>
                  </a:lnTo>
                  <a:lnTo>
                    <a:pt x="478" y="2042"/>
                  </a:lnTo>
                  <a:lnTo>
                    <a:pt x="474" y="2038"/>
                  </a:lnTo>
                  <a:lnTo>
                    <a:pt x="472" y="2038"/>
                  </a:lnTo>
                  <a:lnTo>
                    <a:pt x="472" y="2038"/>
                  </a:lnTo>
                  <a:lnTo>
                    <a:pt x="468" y="2038"/>
                  </a:lnTo>
                  <a:lnTo>
                    <a:pt x="462" y="2042"/>
                  </a:lnTo>
                  <a:lnTo>
                    <a:pt x="454" y="2050"/>
                  </a:lnTo>
                  <a:lnTo>
                    <a:pt x="444" y="2066"/>
                  </a:lnTo>
                  <a:lnTo>
                    <a:pt x="434" y="2086"/>
                  </a:lnTo>
                  <a:lnTo>
                    <a:pt x="434" y="2086"/>
                  </a:lnTo>
                  <a:lnTo>
                    <a:pt x="426" y="2104"/>
                  </a:lnTo>
                  <a:lnTo>
                    <a:pt x="422" y="2118"/>
                  </a:lnTo>
                  <a:lnTo>
                    <a:pt x="422" y="2122"/>
                  </a:lnTo>
                  <a:lnTo>
                    <a:pt x="422" y="2126"/>
                  </a:lnTo>
                  <a:lnTo>
                    <a:pt x="426" y="2130"/>
                  </a:lnTo>
                  <a:lnTo>
                    <a:pt x="430" y="2130"/>
                  </a:lnTo>
                  <a:lnTo>
                    <a:pt x="430" y="2130"/>
                  </a:lnTo>
                  <a:close/>
                  <a:moveTo>
                    <a:pt x="438" y="2084"/>
                  </a:moveTo>
                  <a:lnTo>
                    <a:pt x="438" y="2084"/>
                  </a:lnTo>
                  <a:lnTo>
                    <a:pt x="444" y="2072"/>
                  </a:lnTo>
                  <a:lnTo>
                    <a:pt x="450" y="2064"/>
                  </a:lnTo>
                  <a:lnTo>
                    <a:pt x="456" y="2058"/>
                  </a:lnTo>
                  <a:lnTo>
                    <a:pt x="462" y="2056"/>
                  </a:lnTo>
                  <a:lnTo>
                    <a:pt x="462" y="2056"/>
                  </a:lnTo>
                  <a:lnTo>
                    <a:pt x="468" y="2058"/>
                  </a:lnTo>
                  <a:lnTo>
                    <a:pt x="472" y="2064"/>
                  </a:lnTo>
                  <a:lnTo>
                    <a:pt x="472" y="2072"/>
                  </a:lnTo>
                  <a:lnTo>
                    <a:pt x="468" y="2084"/>
                  </a:lnTo>
                  <a:lnTo>
                    <a:pt x="468" y="2084"/>
                  </a:lnTo>
                  <a:lnTo>
                    <a:pt x="462" y="2096"/>
                  </a:lnTo>
                  <a:lnTo>
                    <a:pt x="454" y="2104"/>
                  </a:lnTo>
                  <a:lnTo>
                    <a:pt x="446" y="2110"/>
                  </a:lnTo>
                  <a:lnTo>
                    <a:pt x="438" y="2112"/>
                  </a:lnTo>
                  <a:lnTo>
                    <a:pt x="438" y="2112"/>
                  </a:lnTo>
                  <a:lnTo>
                    <a:pt x="434" y="2112"/>
                  </a:lnTo>
                  <a:lnTo>
                    <a:pt x="432" y="2110"/>
                  </a:lnTo>
                  <a:lnTo>
                    <a:pt x="430" y="2104"/>
                  </a:lnTo>
                  <a:lnTo>
                    <a:pt x="432" y="2096"/>
                  </a:lnTo>
                  <a:lnTo>
                    <a:pt x="438" y="2084"/>
                  </a:lnTo>
                  <a:lnTo>
                    <a:pt x="438" y="2084"/>
                  </a:lnTo>
                  <a:close/>
                  <a:moveTo>
                    <a:pt x="520" y="1952"/>
                  </a:moveTo>
                  <a:lnTo>
                    <a:pt x="520" y="1952"/>
                  </a:lnTo>
                  <a:lnTo>
                    <a:pt x="508" y="1976"/>
                  </a:lnTo>
                  <a:lnTo>
                    <a:pt x="508" y="1976"/>
                  </a:lnTo>
                  <a:lnTo>
                    <a:pt x="510" y="1980"/>
                  </a:lnTo>
                  <a:lnTo>
                    <a:pt x="510" y="1980"/>
                  </a:lnTo>
                  <a:lnTo>
                    <a:pt x="526" y="1950"/>
                  </a:lnTo>
                  <a:lnTo>
                    <a:pt x="526" y="1950"/>
                  </a:lnTo>
                  <a:lnTo>
                    <a:pt x="532" y="1934"/>
                  </a:lnTo>
                  <a:lnTo>
                    <a:pt x="512" y="1934"/>
                  </a:lnTo>
                  <a:lnTo>
                    <a:pt x="512" y="1934"/>
                  </a:lnTo>
                  <a:lnTo>
                    <a:pt x="502" y="1952"/>
                  </a:lnTo>
                  <a:lnTo>
                    <a:pt x="520" y="1952"/>
                  </a:lnTo>
                  <a:lnTo>
                    <a:pt x="520" y="1952"/>
                  </a:lnTo>
                  <a:lnTo>
                    <a:pt x="520" y="1952"/>
                  </a:lnTo>
                  <a:lnTo>
                    <a:pt x="520" y="1952"/>
                  </a:lnTo>
                  <a:close/>
                  <a:moveTo>
                    <a:pt x="588" y="1788"/>
                  </a:moveTo>
                  <a:lnTo>
                    <a:pt x="588" y="1788"/>
                  </a:lnTo>
                  <a:lnTo>
                    <a:pt x="588" y="1784"/>
                  </a:lnTo>
                  <a:lnTo>
                    <a:pt x="588" y="1784"/>
                  </a:lnTo>
                  <a:lnTo>
                    <a:pt x="584" y="1792"/>
                  </a:lnTo>
                  <a:lnTo>
                    <a:pt x="576" y="1812"/>
                  </a:lnTo>
                  <a:lnTo>
                    <a:pt x="576" y="1812"/>
                  </a:lnTo>
                  <a:lnTo>
                    <a:pt x="566" y="1830"/>
                  </a:lnTo>
                  <a:lnTo>
                    <a:pt x="562" y="1840"/>
                  </a:lnTo>
                  <a:lnTo>
                    <a:pt x="562" y="1840"/>
                  </a:lnTo>
                  <a:lnTo>
                    <a:pt x="576" y="1814"/>
                  </a:lnTo>
                  <a:lnTo>
                    <a:pt x="576" y="1814"/>
                  </a:lnTo>
                  <a:lnTo>
                    <a:pt x="588" y="1788"/>
                  </a:lnTo>
                  <a:lnTo>
                    <a:pt x="588" y="1788"/>
                  </a:lnTo>
                  <a:close/>
                  <a:moveTo>
                    <a:pt x="588" y="1788"/>
                  </a:moveTo>
                  <a:lnTo>
                    <a:pt x="588" y="1788"/>
                  </a:lnTo>
                  <a:lnTo>
                    <a:pt x="586" y="1798"/>
                  </a:lnTo>
                  <a:lnTo>
                    <a:pt x="580" y="1812"/>
                  </a:lnTo>
                  <a:lnTo>
                    <a:pt x="580" y="1812"/>
                  </a:lnTo>
                  <a:lnTo>
                    <a:pt x="574" y="1824"/>
                  </a:lnTo>
                  <a:lnTo>
                    <a:pt x="570" y="1832"/>
                  </a:lnTo>
                  <a:lnTo>
                    <a:pt x="564" y="1838"/>
                  </a:lnTo>
                  <a:lnTo>
                    <a:pt x="562" y="1840"/>
                  </a:lnTo>
                  <a:lnTo>
                    <a:pt x="562" y="1840"/>
                  </a:lnTo>
                  <a:lnTo>
                    <a:pt x="562" y="1840"/>
                  </a:lnTo>
                  <a:lnTo>
                    <a:pt x="562" y="1840"/>
                  </a:lnTo>
                  <a:lnTo>
                    <a:pt x="554" y="1854"/>
                  </a:lnTo>
                  <a:lnTo>
                    <a:pt x="552" y="1856"/>
                  </a:lnTo>
                  <a:lnTo>
                    <a:pt x="554" y="1858"/>
                  </a:lnTo>
                  <a:lnTo>
                    <a:pt x="554" y="1858"/>
                  </a:lnTo>
                  <a:lnTo>
                    <a:pt x="558" y="1854"/>
                  </a:lnTo>
                  <a:lnTo>
                    <a:pt x="566" y="1846"/>
                  </a:lnTo>
                  <a:lnTo>
                    <a:pt x="574" y="1830"/>
                  </a:lnTo>
                  <a:lnTo>
                    <a:pt x="582" y="1812"/>
                  </a:lnTo>
                  <a:lnTo>
                    <a:pt x="582" y="1812"/>
                  </a:lnTo>
                  <a:lnTo>
                    <a:pt x="590" y="1792"/>
                  </a:lnTo>
                  <a:lnTo>
                    <a:pt x="594" y="1778"/>
                  </a:lnTo>
                  <a:lnTo>
                    <a:pt x="596" y="1766"/>
                  </a:lnTo>
                  <a:lnTo>
                    <a:pt x="596" y="1766"/>
                  </a:lnTo>
                  <a:lnTo>
                    <a:pt x="588" y="1788"/>
                  </a:lnTo>
                  <a:lnTo>
                    <a:pt x="588" y="1788"/>
                  </a:lnTo>
                  <a:close/>
                  <a:moveTo>
                    <a:pt x="660" y="1630"/>
                  </a:moveTo>
                  <a:lnTo>
                    <a:pt x="660" y="1630"/>
                  </a:lnTo>
                  <a:lnTo>
                    <a:pt x="656" y="1632"/>
                  </a:lnTo>
                  <a:lnTo>
                    <a:pt x="654" y="1638"/>
                  </a:lnTo>
                  <a:lnTo>
                    <a:pt x="646" y="1656"/>
                  </a:lnTo>
                  <a:lnTo>
                    <a:pt x="646" y="1656"/>
                  </a:lnTo>
                  <a:lnTo>
                    <a:pt x="648" y="1650"/>
                  </a:lnTo>
                  <a:lnTo>
                    <a:pt x="650" y="1650"/>
                  </a:lnTo>
                  <a:lnTo>
                    <a:pt x="650" y="1650"/>
                  </a:lnTo>
                  <a:lnTo>
                    <a:pt x="652" y="1650"/>
                  </a:lnTo>
                  <a:lnTo>
                    <a:pt x="652" y="1656"/>
                  </a:lnTo>
                  <a:lnTo>
                    <a:pt x="650" y="1664"/>
                  </a:lnTo>
                  <a:lnTo>
                    <a:pt x="646" y="1676"/>
                  </a:lnTo>
                  <a:lnTo>
                    <a:pt x="646" y="1676"/>
                  </a:lnTo>
                  <a:lnTo>
                    <a:pt x="638" y="1688"/>
                  </a:lnTo>
                  <a:lnTo>
                    <a:pt x="632" y="1698"/>
                  </a:lnTo>
                  <a:lnTo>
                    <a:pt x="632" y="1698"/>
                  </a:lnTo>
                  <a:lnTo>
                    <a:pt x="630" y="1704"/>
                  </a:lnTo>
                  <a:lnTo>
                    <a:pt x="630" y="1704"/>
                  </a:lnTo>
                  <a:lnTo>
                    <a:pt x="628" y="1708"/>
                  </a:lnTo>
                  <a:lnTo>
                    <a:pt x="628" y="1708"/>
                  </a:lnTo>
                  <a:lnTo>
                    <a:pt x="628" y="1702"/>
                  </a:lnTo>
                  <a:lnTo>
                    <a:pt x="628" y="1702"/>
                  </a:lnTo>
                  <a:lnTo>
                    <a:pt x="626" y="1704"/>
                  </a:lnTo>
                  <a:lnTo>
                    <a:pt x="626" y="1704"/>
                  </a:lnTo>
                  <a:lnTo>
                    <a:pt x="626" y="1704"/>
                  </a:lnTo>
                  <a:lnTo>
                    <a:pt x="626" y="1704"/>
                  </a:lnTo>
                  <a:lnTo>
                    <a:pt x="616" y="1722"/>
                  </a:lnTo>
                  <a:lnTo>
                    <a:pt x="616" y="1722"/>
                  </a:lnTo>
                  <a:lnTo>
                    <a:pt x="628" y="1710"/>
                  </a:lnTo>
                  <a:lnTo>
                    <a:pt x="638" y="1696"/>
                  </a:lnTo>
                  <a:lnTo>
                    <a:pt x="648" y="1678"/>
                  </a:lnTo>
                  <a:lnTo>
                    <a:pt x="648" y="1678"/>
                  </a:lnTo>
                  <a:lnTo>
                    <a:pt x="656" y="1658"/>
                  </a:lnTo>
                  <a:lnTo>
                    <a:pt x="662" y="1644"/>
                  </a:lnTo>
                  <a:lnTo>
                    <a:pt x="662" y="1634"/>
                  </a:lnTo>
                  <a:lnTo>
                    <a:pt x="660" y="1632"/>
                  </a:lnTo>
                  <a:lnTo>
                    <a:pt x="660" y="1630"/>
                  </a:lnTo>
                  <a:lnTo>
                    <a:pt x="660" y="1630"/>
                  </a:lnTo>
                  <a:close/>
                  <a:moveTo>
                    <a:pt x="630" y="1694"/>
                  </a:moveTo>
                  <a:lnTo>
                    <a:pt x="630" y="1694"/>
                  </a:lnTo>
                  <a:lnTo>
                    <a:pt x="626" y="1704"/>
                  </a:lnTo>
                  <a:lnTo>
                    <a:pt x="626" y="1704"/>
                  </a:lnTo>
                  <a:lnTo>
                    <a:pt x="630" y="1696"/>
                  </a:lnTo>
                  <a:lnTo>
                    <a:pt x="630" y="1696"/>
                  </a:lnTo>
                  <a:lnTo>
                    <a:pt x="630" y="1694"/>
                  </a:lnTo>
                  <a:lnTo>
                    <a:pt x="630" y="1694"/>
                  </a:lnTo>
                  <a:close/>
                  <a:moveTo>
                    <a:pt x="646" y="1656"/>
                  </a:moveTo>
                  <a:lnTo>
                    <a:pt x="646" y="1656"/>
                  </a:lnTo>
                  <a:lnTo>
                    <a:pt x="642" y="1664"/>
                  </a:lnTo>
                  <a:lnTo>
                    <a:pt x="642" y="1664"/>
                  </a:lnTo>
                  <a:lnTo>
                    <a:pt x="642" y="1664"/>
                  </a:lnTo>
                  <a:lnTo>
                    <a:pt x="646" y="1656"/>
                  </a:lnTo>
                  <a:lnTo>
                    <a:pt x="646" y="1656"/>
                  </a:lnTo>
                  <a:close/>
                  <a:moveTo>
                    <a:pt x="636" y="1680"/>
                  </a:moveTo>
                  <a:lnTo>
                    <a:pt x="636" y="1680"/>
                  </a:lnTo>
                  <a:lnTo>
                    <a:pt x="634" y="1684"/>
                  </a:lnTo>
                  <a:lnTo>
                    <a:pt x="634" y="1684"/>
                  </a:lnTo>
                  <a:lnTo>
                    <a:pt x="634" y="1686"/>
                  </a:lnTo>
                  <a:lnTo>
                    <a:pt x="634" y="1686"/>
                  </a:lnTo>
                  <a:lnTo>
                    <a:pt x="636" y="1680"/>
                  </a:lnTo>
                  <a:lnTo>
                    <a:pt x="636" y="1680"/>
                  </a:lnTo>
                  <a:close/>
                  <a:moveTo>
                    <a:pt x="722" y="1494"/>
                  </a:moveTo>
                  <a:lnTo>
                    <a:pt x="722" y="1494"/>
                  </a:lnTo>
                  <a:lnTo>
                    <a:pt x="718" y="1496"/>
                  </a:lnTo>
                  <a:lnTo>
                    <a:pt x="714" y="1498"/>
                  </a:lnTo>
                  <a:lnTo>
                    <a:pt x="708" y="1506"/>
                  </a:lnTo>
                  <a:lnTo>
                    <a:pt x="700" y="1520"/>
                  </a:lnTo>
                  <a:lnTo>
                    <a:pt x="692" y="1540"/>
                  </a:lnTo>
                  <a:lnTo>
                    <a:pt x="692" y="1540"/>
                  </a:lnTo>
                  <a:lnTo>
                    <a:pt x="680" y="1574"/>
                  </a:lnTo>
                  <a:lnTo>
                    <a:pt x="678" y="1584"/>
                  </a:lnTo>
                  <a:lnTo>
                    <a:pt x="678" y="1586"/>
                  </a:lnTo>
                  <a:lnTo>
                    <a:pt x="680" y="1586"/>
                  </a:lnTo>
                  <a:lnTo>
                    <a:pt x="680" y="1586"/>
                  </a:lnTo>
                  <a:lnTo>
                    <a:pt x="686" y="1584"/>
                  </a:lnTo>
                  <a:lnTo>
                    <a:pt x="696" y="1574"/>
                  </a:lnTo>
                  <a:lnTo>
                    <a:pt x="708" y="1560"/>
                  </a:lnTo>
                  <a:lnTo>
                    <a:pt x="720" y="1542"/>
                  </a:lnTo>
                  <a:lnTo>
                    <a:pt x="720" y="1542"/>
                  </a:lnTo>
                  <a:lnTo>
                    <a:pt x="728" y="1522"/>
                  </a:lnTo>
                  <a:lnTo>
                    <a:pt x="730" y="1508"/>
                  </a:lnTo>
                  <a:lnTo>
                    <a:pt x="730" y="1502"/>
                  </a:lnTo>
                  <a:lnTo>
                    <a:pt x="728" y="1498"/>
                  </a:lnTo>
                  <a:lnTo>
                    <a:pt x="724" y="1496"/>
                  </a:lnTo>
                  <a:lnTo>
                    <a:pt x="722" y="1494"/>
                  </a:lnTo>
                  <a:lnTo>
                    <a:pt x="722" y="1494"/>
                  </a:lnTo>
                  <a:close/>
                  <a:moveTo>
                    <a:pt x="714" y="1540"/>
                  </a:moveTo>
                  <a:lnTo>
                    <a:pt x="714" y="1540"/>
                  </a:lnTo>
                  <a:lnTo>
                    <a:pt x="708" y="1552"/>
                  </a:lnTo>
                  <a:lnTo>
                    <a:pt x="700" y="1560"/>
                  </a:lnTo>
                  <a:lnTo>
                    <a:pt x="694" y="1566"/>
                  </a:lnTo>
                  <a:lnTo>
                    <a:pt x="688" y="1568"/>
                  </a:lnTo>
                  <a:lnTo>
                    <a:pt x="688" y="1568"/>
                  </a:lnTo>
                  <a:lnTo>
                    <a:pt x="686" y="1568"/>
                  </a:lnTo>
                  <a:lnTo>
                    <a:pt x="686" y="1566"/>
                  </a:lnTo>
                  <a:lnTo>
                    <a:pt x="686" y="1560"/>
                  </a:lnTo>
                  <a:lnTo>
                    <a:pt x="694" y="1540"/>
                  </a:lnTo>
                  <a:lnTo>
                    <a:pt x="694" y="1540"/>
                  </a:lnTo>
                  <a:lnTo>
                    <a:pt x="700" y="1528"/>
                  </a:lnTo>
                  <a:lnTo>
                    <a:pt x="704" y="1520"/>
                  </a:lnTo>
                  <a:lnTo>
                    <a:pt x="708" y="1514"/>
                  </a:lnTo>
                  <a:lnTo>
                    <a:pt x="714" y="1514"/>
                  </a:lnTo>
                  <a:lnTo>
                    <a:pt x="714" y="1514"/>
                  </a:lnTo>
                  <a:lnTo>
                    <a:pt x="718" y="1514"/>
                  </a:lnTo>
                  <a:lnTo>
                    <a:pt x="720" y="1520"/>
                  </a:lnTo>
                  <a:lnTo>
                    <a:pt x="720" y="1528"/>
                  </a:lnTo>
                  <a:lnTo>
                    <a:pt x="714" y="1540"/>
                  </a:lnTo>
                  <a:lnTo>
                    <a:pt x="714" y="1540"/>
                  </a:lnTo>
                  <a:close/>
                  <a:moveTo>
                    <a:pt x="782" y="1360"/>
                  </a:moveTo>
                  <a:lnTo>
                    <a:pt x="782" y="1360"/>
                  </a:lnTo>
                  <a:lnTo>
                    <a:pt x="778" y="1360"/>
                  </a:lnTo>
                  <a:lnTo>
                    <a:pt x="772" y="1362"/>
                  </a:lnTo>
                  <a:lnTo>
                    <a:pt x="764" y="1370"/>
                  </a:lnTo>
                  <a:lnTo>
                    <a:pt x="756" y="1384"/>
                  </a:lnTo>
                  <a:lnTo>
                    <a:pt x="746" y="1404"/>
                  </a:lnTo>
                  <a:lnTo>
                    <a:pt x="746" y="1404"/>
                  </a:lnTo>
                  <a:lnTo>
                    <a:pt x="740" y="1422"/>
                  </a:lnTo>
                  <a:lnTo>
                    <a:pt x="736" y="1438"/>
                  </a:lnTo>
                  <a:lnTo>
                    <a:pt x="736" y="1444"/>
                  </a:lnTo>
                  <a:lnTo>
                    <a:pt x="736" y="1448"/>
                  </a:lnTo>
                  <a:lnTo>
                    <a:pt x="738" y="1450"/>
                  </a:lnTo>
                  <a:lnTo>
                    <a:pt x="742" y="1450"/>
                  </a:lnTo>
                  <a:lnTo>
                    <a:pt x="742" y="1450"/>
                  </a:lnTo>
                  <a:lnTo>
                    <a:pt x="746" y="1450"/>
                  </a:lnTo>
                  <a:lnTo>
                    <a:pt x="752" y="1448"/>
                  </a:lnTo>
                  <a:lnTo>
                    <a:pt x="764" y="1438"/>
                  </a:lnTo>
                  <a:lnTo>
                    <a:pt x="778" y="1424"/>
                  </a:lnTo>
                  <a:lnTo>
                    <a:pt x="790" y="1406"/>
                  </a:lnTo>
                  <a:lnTo>
                    <a:pt x="790" y="1406"/>
                  </a:lnTo>
                  <a:lnTo>
                    <a:pt x="794" y="1396"/>
                  </a:lnTo>
                  <a:lnTo>
                    <a:pt x="796" y="1386"/>
                  </a:lnTo>
                  <a:lnTo>
                    <a:pt x="798" y="1378"/>
                  </a:lnTo>
                  <a:lnTo>
                    <a:pt x="798" y="1372"/>
                  </a:lnTo>
                  <a:lnTo>
                    <a:pt x="796" y="1366"/>
                  </a:lnTo>
                  <a:lnTo>
                    <a:pt x="792" y="1362"/>
                  </a:lnTo>
                  <a:lnTo>
                    <a:pt x="788" y="1360"/>
                  </a:lnTo>
                  <a:lnTo>
                    <a:pt x="782" y="1360"/>
                  </a:lnTo>
                  <a:lnTo>
                    <a:pt x="782" y="1360"/>
                  </a:lnTo>
                  <a:close/>
                  <a:moveTo>
                    <a:pt x="784" y="1406"/>
                  </a:moveTo>
                  <a:lnTo>
                    <a:pt x="784" y="1406"/>
                  </a:lnTo>
                  <a:lnTo>
                    <a:pt x="776" y="1416"/>
                  </a:lnTo>
                  <a:lnTo>
                    <a:pt x="768" y="1426"/>
                  </a:lnTo>
                  <a:lnTo>
                    <a:pt x="758" y="1430"/>
                  </a:lnTo>
                  <a:lnTo>
                    <a:pt x="750" y="1432"/>
                  </a:lnTo>
                  <a:lnTo>
                    <a:pt x="750" y="1432"/>
                  </a:lnTo>
                  <a:lnTo>
                    <a:pt x="748" y="1432"/>
                  </a:lnTo>
                  <a:lnTo>
                    <a:pt x="746" y="1430"/>
                  </a:lnTo>
                  <a:lnTo>
                    <a:pt x="744" y="1424"/>
                  </a:lnTo>
                  <a:lnTo>
                    <a:pt x="746" y="1416"/>
                  </a:lnTo>
                  <a:lnTo>
                    <a:pt x="750" y="1404"/>
                  </a:lnTo>
                  <a:lnTo>
                    <a:pt x="750" y="1404"/>
                  </a:lnTo>
                  <a:lnTo>
                    <a:pt x="754" y="1392"/>
                  </a:lnTo>
                  <a:lnTo>
                    <a:pt x="760" y="1384"/>
                  </a:lnTo>
                  <a:lnTo>
                    <a:pt x="768" y="1380"/>
                  </a:lnTo>
                  <a:lnTo>
                    <a:pt x="774" y="1378"/>
                  </a:lnTo>
                  <a:lnTo>
                    <a:pt x="774" y="1378"/>
                  </a:lnTo>
                  <a:lnTo>
                    <a:pt x="782" y="1380"/>
                  </a:lnTo>
                  <a:lnTo>
                    <a:pt x="784" y="1382"/>
                  </a:lnTo>
                  <a:lnTo>
                    <a:pt x="786" y="1384"/>
                  </a:lnTo>
                  <a:lnTo>
                    <a:pt x="788" y="1388"/>
                  </a:lnTo>
                  <a:lnTo>
                    <a:pt x="788" y="1392"/>
                  </a:lnTo>
                  <a:lnTo>
                    <a:pt x="784" y="1406"/>
                  </a:lnTo>
                  <a:lnTo>
                    <a:pt x="784" y="1406"/>
                  </a:lnTo>
                  <a:close/>
                  <a:moveTo>
                    <a:pt x="798" y="1272"/>
                  </a:moveTo>
                  <a:lnTo>
                    <a:pt x="798" y="1272"/>
                  </a:lnTo>
                  <a:lnTo>
                    <a:pt x="792" y="1300"/>
                  </a:lnTo>
                  <a:lnTo>
                    <a:pt x="792" y="1300"/>
                  </a:lnTo>
                  <a:lnTo>
                    <a:pt x="798" y="1298"/>
                  </a:lnTo>
                  <a:lnTo>
                    <a:pt x="798" y="1298"/>
                  </a:lnTo>
                  <a:lnTo>
                    <a:pt x="802" y="1274"/>
                  </a:lnTo>
                  <a:lnTo>
                    <a:pt x="802" y="1274"/>
                  </a:lnTo>
                  <a:lnTo>
                    <a:pt x="802" y="1274"/>
                  </a:lnTo>
                  <a:lnTo>
                    <a:pt x="854" y="1274"/>
                  </a:lnTo>
                  <a:lnTo>
                    <a:pt x="854" y="1274"/>
                  </a:lnTo>
                  <a:lnTo>
                    <a:pt x="862" y="1256"/>
                  </a:lnTo>
                  <a:lnTo>
                    <a:pt x="804" y="1256"/>
                  </a:lnTo>
                  <a:lnTo>
                    <a:pt x="804" y="1256"/>
                  </a:lnTo>
                  <a:lnTo>
                    <a:pt x="798" y="1272"/>
                  </a:lnTo>
                  <a:lnTo>
                    <a:pt x="798" y="1272"/>
                  </a:lnTo>
                  <a:close/>
                  <a:moveTo>
                    <a:pt x="898" y="1088"/>
                  </a:moveTo>
                  <a:lnTo>
                    <a:pt x="898" y="1088"/>
                  </a:lnTo>
                  <a:lnTo>
                    <a:pt x="888" y="1088"/>
                  </a:lnTo>
                  <a:lnTo>
                    <a:pt x="882" y="1090"/>
                  </a:lnTo>
                  <a:lnTo>
                    <a:pt x="874" y="1094"/>
                  </a:lnTo>
                  <a:lnTo>
                    <a:pt x="868" y="1100"/>
                  </a:lnTo>
                  <a:lnTo>
                    <a:pt x="862" y="1106"/>
                  </a:lnTo>
                  <a:lnTo>
                    <a:pt x="858" y="1114"/>
                  </a:lnTo>
                  <a:lnTo>
                    <a:pt x="850" y="1132"/>
                  </a:lnTo>
                  <a:lnTo>
                    <a:pt x="850" y="1132"/>
                  </a:lnTo>
                  <a:lnTo>
                    <a:pt x="844" y="1152"/>
                  </a:lnTo>
                  <a:lnTo>
                    <a:pt x="842" y="1160"/>
                  </a:lnTo>
                  <a:lnTo>
                    <a:pt x="844" y="1166"/>
                  </a:lnTo>
                  <a:lnTo>
                    <a:pt x="846" y="1172"/>
                  </a:lnTo>
                  <a:lnTo>
                    <a:pt x="848" y="1176"/>
                  </a:lnTo>
                  <a:lnTo>
                    <a:pt x="854" y="1178"/>
                  </a:lnTo>
                  <a:lnTo>
                    <a:pt x="860" y="1180"/>
                  </a:lnTo>
                  <a:lnTo>
                    <a:pt x="860" y="1180"/>
                  </a:lnTo>
                  <a:lnTo>
                    <a:pt x="868" y="1178"/>
                  </a:lnTo>
                  <a:lnTo>
                    <a:pt x="878" y="1176"/>
                  </a:lnTo>
                  <a:lnTo>
                    <a:pt x="886" y="1172"/>
                  </a:lnTo>
                  <a:lnTo>
                    <a:pt x="894" y="1166"/>
                  </a:lnTo>
                  <a:lnTo>
                    <a:pt x="902" y="1160"/>
                  </a:lnTo>
                  <a:lnTo>
                    <a:pt x="910" y="1152"/>
                  </a:lnTo>
                  <a:lnTo>
                    <a:pt x="916" y="1144"/>
                  </a:lnTo>
                  <a:lnTo>
                    <a:pt x="922" y="1134"/>
                  </a:lnTo>
                  <a:lnTo>
                    <a:pt x="922" y="1134"/>
                  </a:lnTo>
                  <a:lnTo>
                    <a:pt x="926" y="1124"/>
                  </a:lnTo>
                  <a:lnTo>
                    <a:pt x="928" y="1114"/>
                  </a:lnTo>
                  <a:lnTo>
                    <a:pt x="926" y="1106"/>
                  </a:lnTo>
                  <a:lnTo>
                    <a:pt x="924" y="1100"/>
                  </a:lnTo>
                  <a:lnTo>
                    <a:pt x="920" y="1094"/>
                  </a:lnTo>
                  <a:lnTo>
                    <a:pt x="914" y="1090"/>
                  </a:lnTo>
                  <a:lnTo>
                    <a:pt x="906" y="1088"/>
                  </a:lnTo>
                  <a:lnTo>
                    <a:pt x="898" y="1088"/>
                  </a:lnTo>
                  <a:lnTo>
                    <a:pt x="898" y="1088"/>
                  </a:lnTo>
                  <a:close/>
                  <a:moveTo>
                    <a:pt x="912" y="1134"/>
                  </a:moveTo>
                  <a:lnTo>
                    <a:pt x="912" y="1134"/>
                  </a:lnTo>
                  <a:lnTo>
                    <a:pt x="904" y="1144"/>
                  </a:lnTo>
                  <a:lnTo>
                    <a:pt x="894" y="1154"/>
                  </a:lnTo>
                  <a:lnTo>
                    <a:pt x="882" y="1158"/>
                  </a:lnTo>
                  <a:lnTo>
                    <a:pt x="868" y="1160"/>
                  </a:lnTo>
                  <a:lnTo>
                    <a:pt x="868" y="1160"/>
                  </a:lnTo>
                  <a:lnTo>
                    <a:pt x="862" y="1160"/>
                  </a:lnTo>
                  <a:lnTo>
                    <a:pt x="858" y="1158"/>
                  </a:lnTo>
                  <a:lnTo>
                    <a:pt x="854" y="1156"/>
                  </a:lnTo>
                  <a:lnTo>
                    <a:pt x="852" y="1154"/>
                  </a:lnTo>
                  <a:lnTo>
                    <a:pt x="852" y="1144"/>
                  </a:lnTo>
                  <a:lnTo>
                    <a:pt x="854" y="1134"/>
                  </a:lnTo>
                  <a:lnTo>
                    <a:pt x="854" y="1134"/>
                  </a:lnTo>
                  <a:lnTo>
                    <a:pt x="860" y="1120"/>
                  </a:lnTo>
                  <a:lnTo>
                    <a:pt x="868" y="1112"/>
                  </a:lnTo>
                  <a:lnTo>
                    <a:pt x="878" y="1108"/>
                  </a:lnTo>
                  <a:lnTo>
                    <a:pt x="890" y="1106"/>
                  </a:lnTo>
                  <a:lnTo>
                    <a:pt x="890" y="1106"/>
                  </a:lnTo>
                  <a:lnTo>
                    <a:pt x="902" y="1108"/>
                  </a:lnTo>
                  <a:lnTo>
                    <a:pt x="908" y="1110"/>
                  </a:lnTo>
                  <a:lnTo>
                    <a:pt x="912" y="1112"/>
                  </a:lnTo>
                  <a:lnTo>
                    <a:pt x="914" y="1116"/>
                  </a:lnTo>
                  <a:lnTo>
                    <a:pt x="916" y="1122"/>
                  </a:lnTo>
                  <a:lnTo>
                    <a:pt x="914" y="1126"/>
                  </a:lnTo>
                  <a:lnTo>
                    <a:pt x="912" y="1134"/>
                  </a:lnTo>
                  <a:lnTo>
                    <a:pt x="912" y="1134"/>
                  </a:lnTo>
                  <a:close/>
                  <a:moveTo>
                    <a:pt x="950" y="952"/>
                  </a:moveTo>
                  <a:lnTo>
                    <a:pt x="950" y="952"/>
                  </a:lnTo>
                  <a:lnTo>
                    <a:pt x="940" y="952"/>
                  </a:lnTo>
                  <a:lnTo>
                    <a:pt x="930" y="954"/>
                  </a:lnTo>
                  <a:lnTo>
                    <a:pt x="922" y="958"/>
                  </a:lnTo>
                  <a:lnTo>
                    <a:pt x="916" y="964"/>
                  </a:lnTo>
                  <a:lnTo>
                    <a:pt x="910" y="970"/>
                  </a:lnTo>
                  <a:lnTo>
                    <a:pt x="904" y="978"/>
                  </a:lnTo>
                  <a:lnTo>
                    <a:pt x="896" y="996"/>
                  </a:lnTo>
                  <a:lnTo>
                    <a:pt x="896" y="996"/>
                  </a:lnTo>
                  <a:lnTo>
                    <a:pt x="892" y="1016"/>
                  </a:lnTo>
                  <a:lnTo>
                    <a:pt x="892" y="1024"/>
                  </a:lnTo>
                  <a:lnTo>
                    <a:pt x="892" y="1030"/>
                  </a:lnTo>
                  <a:lnTo>
                    <a:pt x="896" y="1036"/>
                  </a:lnTo>
                  <a:lnTo>
                    <a:pt x="900" y="1040"/>
                  </a:lnTo>
                  <a:lnTo>
                    <a:pt x="906" y="1042"/>
                  </a:lnTo>
                  <a:lnTo>
                    <a:pt x="916" y="1044"/>
                  </a:lnTo>
                  <a:lnTo>
                    <a:pt x="916" y="1044"/>
                  </a:lnTo>
                  <a:lnTo>
                    <a:pt x="926" y="1042"/>
                  </a:lnTo>
                  <a:lnTo>
                    <a:pt x="936" y="1040"/>
                  </a:lnTo>
                  <a:lnTo>
                    <a:pt x="946" y="1036"/>
                  </a:lnTo>
                  <a:lnTo>
                    <a:pt x="954" y="1030"/>
                  </a:lnTo>
                  <a:lnTo>
                    <a:pt x="964" y="1024"/>
                  </a:lnTo>
                  <a:lnTo>
                    <a:pt x="972" y="1016"/>
                  </a:lnTo>
                  <a:lnTo>
                    <a:pt x="978" y="1008"/>
                  </a:lnTo>
                  <a:lnTo>
                    <a:pt x="984" y="998"/>
                  </a:lnTo>
                  <a:lnTo>
                    <a:pt x="984" y="998"/>
                  </a:lnTo>
                  <a:lnTo>
                    <a:pt x="986" y="988"/>
                  </a:lnTo>
                  <a:lnTo>
                    <a:pt x="988" y="978"/>
                  </a:lnTo>
                  <a:lnTo>
                    <a:pt x="986" y="970"/>
                  </a:lnTo>
                  <a:lnTo>
                    <a:pt x="982" y="964"/>
                  </a:lnTo>
                  <a:lnTo>
                    <a:pt x="976" y="958"/>
                  </a:lnTo>
                  <a:lnTo>
                    <a:pt x="968" y="954"/>
                  </a:lnTo>
                  <a:lnTo>
                    <a:pt x="960" y="952"/>
                  </a:lnTo>
                  <a:lnTo>
                    <a:pt x="950" y="952"/>
                  </a:lnTo>
                  <a:lnTo>
                    <a:pt x="950" y="952"/>
                  </a:lnTo>
                  <a:close/>
                  <a:moveTo>
                    <a:pt x="972" y="998"/>
                  </a:moveTo>
                  <a:lnTo>
                    <a:pt x="972" y="998"/>
                  </a:lnTo>
                  <a:lnTo>
                    <a:pt x="968" y="1004"/>
                  </a:lnTo>
                  <a:lnTo>
                    <a:pt x="964" y="1008"/>
                  </a:lnTo>
                  <a:lnTo>
                    <a:pt x="952" y="1018"/>
                  </a:lnTo>
                  <a:lnTo>
                    <a:pt x="938" y="1024"/>
                  </a:lnTo>
                  <a:lnTo>
                    <a:pt x="922" y="1026"/>
                  </a:lnTo>
                  <a:lnTo>
                    <a:pt x="922" y="1026"/>
                  </a:lnTo>
                  <a:lnTo>
                    <a:pt x="916" y="1024"/>
                  </a:lnTo>
                  <a:lnTo>
                    <a:pt x="910" y="1024"/>
                  </a:lnTo>
                  <a:lnTo>
                    <a:pt x="906" y="1020"/>
                  </a:lnTo>
                  <a:lnTo>
                    <a:pt x="902" y="1018"/>
                  </a:lnTo>
                  <a:lnTo>
                    <a:pt x="900" y="1014"/>
                  </a:lnTo>
                  <a:lnTo>
                    <a:pt x="900" y="1008"/>
                  </a:lnTo>
                  <a:lnTo>
                    <a:pt x="902" y="998"/>
                  </a:lnTo>
                  <a:lnTo>
                    <a:pt x="902" y="998"/>
                  </a:lnTo>
                  <a:lnTo>
                    <a:pt x="908" y="986"/>
                  </a:lnTo>
                  <a:lnTo>
                    <a:pt x="918" y="976"/>
                  </a:lnTo>
                  <a:lnTo>
                    <a:pt x="928" y="972"/>
                  </a:lnTo>
                  <a:lnTo>
                    <a:pt x="942" y="970"/>
                  </a:lnTo>
                  <a:lnTo>
                    <a:pt x="942" y="970"/>
                  </a:lnTo>
                  <a:lnTo>
                    <a:pt x="958" y="972"/>
                  </a:lnTo>
                  <a:lnTo>
                    <a:pt x="964" y="974"/>
                  </a:lnTo>
                  <a:lnTo>
                    <a:pt x="968" y="976"/>
                  </a:lnTo>
                  <a:lnTo>
                    <a:pt x="972" y="980"/>
                  </a:lnTo>
                  <a:lnTo>
                    <a:pt x="974" y="986"/>
                  </a:lnTo>
                  <a:lnTo>
                    <a:pt x="974" y="992"/>
                  </a:lnTo>
                  <a:lnTo>
                    <a:pt x="972" y="998"/>
                  </a:lnTo>
                  <a:lnTo>
                    <a:pt x="972" y="998"/>
                  </a:lnTo>
                  <a:close/>
                  <a:moveTo>
                    <a:pt x="996" y="816"/>
                  </a:moveTo>
                  <a:lnTo>
                    <a:pt x="996" y="816"/>
                  </a:lnTo>
                  <a:lnTo>
                    <a:pt x="986" y="816"/>
                  </a:lnTo>
                  <a:lnTo>
                    <a:pt x="976" y="818"/>
                  </a:lnTo>
                  <a:lnTo>
                    <a:pt x="968" y="822"/>
                  </a:lnTo>
                  <a:lnTo>
                    <a:pt x="960" y="828"/>
                  </a:lnTo>
                  <a:lnTo>
                    <a:pt x="952" y="834"/>
                  </a:lnTo>
                  <a:lnTo>
                    <a:pt x="948" y="842"/>
                  </a:lnTo>
                  <a:lnTo>
                    <a:pt x="942" y="850"/>
                  </a:lnTo>
                  <a:lnTo>
                    <a:pt x="940" y="860"/>
                  </a:lnTo>
                  <a:lnTo>
                    <a:pt x="940" y="860"/>
                  </a:lnTo>
                  <a:lnTo>
                    <a:pt x="936" y="870"/>
                  </a:lnTo>
                  <a:lnTo>
                    <a:pt x="936" y="880"/>
                  </a:lnTo>
                  <a:lnTo>
                    <a:pt x="936" y="888"/>
                  </a:lnTo>
                  <a:lnTo>
                    <a:pt x="938" y="894"/>
                  </a:lnTo>
                  <a:lnTo>
                    <a:pt x="942" y="900"/>
                  </a:lnTo>
                  <a:lnTo>
                    <a:pt x="948" y="904"/>
                  </a:lnTo>
                  <a:lnTo>
                    <a:pt x="956" y="906"/>
                  </a:lnTo>
                  <a:lnTo>
                    <a:pt x="966" y="908"/>
                  </a:lnTo>
                  <a:lnTo>
                    <a:pt x="966" y="908"/>
                  </a:lnTo>
                  <a:lnTo>
                    <a:pt x="978" y="906"/>
                  </a:lnTo>
                  <a:lnTo>
                    <a:pt x="988" y="904"/>
                  </a:lnTo>
                  <a:lnTo>
                    <a:pt x="1000" y="900"/>
                  </a:lnTo>
                  <a:lnTo>
                    <a:pt x="1010" y="896"/>
                  </a:lnTo>
                  <a:lnTo>
                    <a:pt x="1020" y="888"/>
                  </a:lnTo>
                  <a:lnTo>
                    <a:pt x="1028" y="880"/>
                  </a:lnTo>
                  <a:lnTo>
                    <a:pt x="1034" y="872"/>
                  </a:lnTo>
                  <a:lnTo>
                    <a:pt x="1040" y="862"/>
                  </a:lnTo>
                  <a:lnTo>
                    <a:pt x="1040" y="862"/>
                  </a:lnTo>
                  <a:lnTo>
                    <a:pt x="1042" y="852"/>
                  </a:lnTo>
                  <a:lnTo>
                    <a:pt x="1042" y="842"/>
                  </a:lnTo>
                  <a:lnTo>
                    <a:pt x="1040" y="834"/>
                  </a:lnTo>
                  <a:lnTo>
                    <a:pt x="1034" y="828"/>
                  </a:lnTo>
                  <a:lnTo>
                    <a:pt x="1028" y="822"/>
                  </a:lnTo>
                  <a:lnTo>
                    <a:pt x="1020" y="818"/>
                  </a:lnTo>
                  <a:lnTo>
                    <a:pt x="1008" y="816"/>
                  </a:lnTo>
                  <a:lnTo>
                    <a:pt x="996" y="816"/>
                  </a:lnTo>
                  <a:lnTo>
                    <a:pt x="996" y="816"/>
                  </a:lnTo>
                  <a:close/>
                  <a:moveTo>
                    <a:pt x="1026" y="862"/>
                  </a:moveTo>
                  <a:lnTo>
                    <a:pt x="1026" y="862"/>
                  </a:lnTo>
                  <a:lnTo>
                    <a:pt x="1024" y="868"/>
                  </a:lnTo>
                  <a:lnTo>
                    <a:pt x="1018" y="874"/>
                  </a:lnTo>
                  <a:lnTo>
                    <a:pt x="1006" y="882"/>
                  </a:lnTo>
                  <a:lnTo>
                    <a:pt x="990" y="888"/>
                  </a:lnTo>
                  <a:lnTo>
                    <a:pt x="974" y="890"/>
                  </a:lnTo>
                  <a:lnTo>
                    <a:pt x="974" y="890"/>
                  </a:lnTo>
                  <a:lnTo>
                    <a:pt x="964" y="888"/>
                  </a:lnTo>
                  <a:lnTo>
                    <a:pt x="958" y="888"/>
                  </a:lnTo>
                  <a:lnTo>
                    <a:pt x="952" y="884"/>
                  </a:lnTo>
                  <a:lnTo>
                    <a:pt x="948" y="882"/>
                  </a:lnTo>
                  <a:lnTo>
                    <a:pt x="946" y="878"/>
                  </a:lnTo>
                  <a:lnTo>
                    <a:pt x="946" y="872"/>
                  </a:lnTo>
                  <a:lnTo>
                    <a:pt x="946" y="862"/>
                  </a:lnTo>
                  <a:lnTo>
                    <a:pt x="946" y="862"/>
                  </a:lnTo>
                  <a:lnTo>
                    <a:pt x="952" y="850"/>
                  </a:lnTo>
                  <a:lnTo>
                    <a:pt x="958" y="844"/>
                  </a:lnTo>
                  <a:lnTo>
                    <a:pt x="962" y="840"/>
                  </a:lnTo>
                  <a:lnTo>
                    <a:pt x="976" y="836"/>
                  </a:lnTo>
                  <a:lnTo>
                    <a:pt x="992" y="834"/>
                  </a:lnTo>
                  <a:lnTo>
                    <a:pt x="992" y="834"/>
                  </a:lnTo>
                  <a:lnTo>
                    <a:pt x="1008" y="836"/>
                  </a:lnTo>
                  <a:lnTo>
                    <a:pt x="1016" y="838"/>
                  </a:lnTo>
                  <a:lnTo>
                    <a:pt x="1020" y="840"/>
                  </a:lnTo>
                  <a:lnTo>
                    <a:pt x="1024" y="844"/>
                  </a:lnTo>
                  <a:lnTo>
                    <a:pt x="1028" y="850"/>
                  </a:lnTo>
                  <a:lnTo>
                    <a:pt x="1028" y="856"/>
                  </a:lnTo>
                  <a:lnTo>
                    <a:pt x="1026" y="862"/>
                  </a:lnTo>
                  <a:lnTo>
                    <a:pt x="1026" y="862"/>
                  </a:lnTo>
                  <a:close/>
                  <a:moveTo>
                    <a:pt x="1038" y="680"/>
                  </a:moveTo>
                  <a:lnTo>
                    <a:pt x="1038" y="680"/>
                  </a:lnTo>
                  <a:lnTo>
                    <a:pt x="1026" y="680"/>
                  </a:lnTo>
                  <a:lnTo>
                    <a:pt x="1016" y="682"/>
                  </a:lnTo>
                  <a:lnTo>
                    <a:pt x="1006" y="686"/>
                  </a:lnTo>
                  <a:lnTo>
                    <a:pt x="998" y="692"/>
                  </a:lnTo>
                  <a:lnTo>
                    <a:pt x="992" y="698"/>
                  </a:lnTo>
                  <a:lnTo>
                    <a:pt x="986" y="706"/>
                  </a:lnTo>
                  <a:lnTo>
                    <a:pt x="982" y="714"/>
                  </a:lnTo>
                  <a:lnTo>
                    <a:pt x="978" y="724"/>
                  </a:lnTo>
                  <a:lnTo>
                    <a:pt x="978" y="724"/>
                  </a:lnTo>
                  <a:lnTo>
                    <a:pt x="976" y="734"/>
                  </a:lnTo>
                  <a:lnTo>
                    <a:pt x="976" y="744"/>
                  </a:lnTo>
                  <a:lnTo>
                    <a:pt x="976" y="752"/>
                  </a:lnTo>
                  <a:lnTo>
                    <a:pt x="980" y="758"/>
                  </a:lnTo>
                  <a:lnTo>
                    <a:pt x="984" y="764"/>
                  </a:lnTo>
                  <a:lnTo>
                    <a:pt x="992" y="768"/>
                  </a:lnTo>
                  <a:lnTo>
                    <a:pt x="1000" y="770"/>
                  </a:lnTo>
                  <a:lnTo>
                    <a:pt x="1012" y="772"/>
                  </a:lnTo>
                  <a:lnTo>
                    <a:pt x="1012" y="772"/>
                  </a:lnTo>
                  <a:lnTo>
                    <a:pt x="1026" y="770"/>
                  </a:lnTo>
                  <a:lnTo>
                    <a:pt x="1038" y="768"/>
                  </a:lnTo>
                  <a:lnTo>
                    <a:pt x="1050" y="764"/>
                  </a:lnTo>
                  <a:lnTo>
                    <a:pt x="1060" y="760"/>
                  </a:lnTo>
                  <a:lnTo>
                    <a:pt x="1070" y="752"/>
                  </a:lnTo>
                  <a:lnTo>
                    <a:pt x="1078" y="746"/>
                  </a:lnTo>
                  <a:lnTo>
                    <a:pt x="1086" y="736"/>
                  </a:lnTo>
                  <a:lnTo>
                    <a:pt x="1090" y="726"/>
                  </a:lnTo>
                  <a:lnTo>
                    <a:pt x="1090" y="726"/>
                  </a:lnTo>
                  <a:lnTo>
                    <a:pt x="1092" y="716"/>
                  </a:lnTo>
                  <a:lnTo>
                    <a:pt x="1092" y="708"/>
                  </a:lnTo>
                  <a:lnTo>
                    <a:pt x="1088" y="698"/>
                  </a:lnTo>
                  <a:lnTo>
                    <a:pt x="1082" y="692"/>
                  </a:lnTo>
                  <a:lnTo>
                    <a:pt x="1074" y="686"/>
                  </a:lnTo>
                  <a:lnTo>
                    <a:pt x="1064" y="684"/>
                  </a:lnTo>
                  <a:lnTo>
                    <a:pt x="1052" y="680"/>
                  </a:lnTo>
                  <a:lnTo>
                    <a:pt x="1038" y="680"/>
                  </a:lnTo>
                  <a:lnTo>
                    <a:pt x="1038" y="680"/>
                  </a:lnTo>
                  <a:close/>
                  <a:moveTo>
                    <a:pt x="1076" y="726"/>
                  </a:moveTo>
                  <a:lnTo>
                    <a:pt x="1076" y="726"/>
                  </a:lnTo>
                  <a:lnTo>
                    <a:pt x="1072" y="732"/>
                  </a:lnTo>
                  <a:lnTo>
                    <a:pt x="1068" y="738"/>
                  </a:lnTo>
                  <a:lnTo>
                    <a:pt x="1062" y="742"/>
                  </a:lnTo>
                  <a:lnTo>
                    <a:pt x="1056" y="746"/>
                  </a:lnTo>
                  <a:lnTo>
                    <a:pt x="1038" y="752"/>
                  </a:lnTo>
                  <a:lnTo>
                    <a:pt x="1018" y="754"/>
                  </a:lnTo>
                  <a:lnTo>
                    <a:pt x="1018" y="754"/>
                  </a:lnTo>
                  <a:lnTo>
                    <a:pt x="1008" y="752"/>
                  </a:lnTo>
                  <a:lnTo>
                    <a:pt x="1000" y="752"/>
                  </a:lnTo>
                  <a:lnTo>
                    <a:pt x="994" y="748"/>
                  </a:lnTo>
                  <a:lnTo>
                    <a:pt x="990" y="746"/>
                  </a:lnTo>
                  <a:lnTo>
                    <a:pt x="988" y="742"/>
                  </a:lnTo>
                  <a:lnTo>
                    <a:pt x="986" y="736"/>
                  </a:lnTo>
                  <a:lnTo>
                    <a:pt x="986" y="732"/>
                  </a:lnTo>
                  <a:lnTo>
                    <a:pt x="986" y="726"/>
                  </a:lnTo>
                  <a:lnTo>
                    <a:pt x="986" y="726"/>
                  </a:lnTo>
                  <a:lnTo>
                    <a:pt x="990" y="720"/>
                  </a:lnTo>
                  <a:lnTo>
                    <a:pt x="992" y="714"/>
                  </a:lnTo>
                  <a:lnTo>
                    <a:pt x="998" y="708"/>
                  </a:lnTo>
                  <a:lnTo>
                    <a:pt x="1002" y="704"/>
                  </a:lnTo>
                  <a:lnTo>
                    <a:pt x="1016" y="700"/>
                  </a:lnTo>
                  <a:lnTo>
                    <a:pt x="1034" y="698"/>
                  </a:lnTo>
                  <a:lnTo>
                    <a:pt x="1034" y="698"/>
                  </a:lnTo>
                  <a:lnTo>
                    <a:pt x="1054" y="700"/>
                  </a:lnTo>
                  <a:lnTo>
                    <a:pt x="1062" y="702"/>
                  </a:lnTo>
                  <a:lnTo>
                    <a:pt x="1068" y="706"/>
                  </a:lnTo>
                  <a:lnTo>
                    <a:pt x="1072" y="708"/>
                  </a:lnTo>
                  <a:lnTo>
                    <a:pt x="1076" y="714"/>
                  </a:lnTo>
                  <a:lnTo>
                    <a:pt x="1076" y="720"/>
                  </a:lnTo>
                  <a:lnTo>
                    <a:pt x="1076" y="726"/>
                  </a:lnTo>
                  <a:lnTo>
                    <a:pt x="1076" y="726"/>
                  </a:lnTo>
                  <a:close/>
                  <a:moveTo>
                    <a:pt x="1076" y="544"/>
                  </a:moveTo>
                  <a:lnTo>
                    <a:pt x="1076" y="544"/>
                  </a:lnTo>
                  <a:lnTo>
                    <a:pt x="1062" y="544"/>
                  </a:lnTo>
                  <a:lnTo>
                    <a:pt x="1050" y="548"/>
                  </a:lnTo>
                  <a:lnTo>
                    <a:pt x="1040" y="550"/>
                  </a:lnTo>
                  <a:lnTo>
                    <a:pt x="1032" y="556"/>
                  </a:lnTo>
                  <a:lnTo>
                    <a:pt x="1024" y="562"/>
                  </a:lnTo>
                  <a:lnTo>
                    <a:pt x="1020" y="570"/>
                  </a:lnTo>
                  <a:lnTo>
                    <a:pt x="1014" y="578"/>
                  </a:lnTo>
                  <a:lnTo>
                    <a:pt x="1012" y="588"/>
                  </a:lnTo>
                  <a:lnTo>
                    <a:pt x="1012" y="588"/>
                  </a:lnTo>
                  <a:lnTo>
                    <a:pt x="1010" y="598"/>
                  </a:lnTo>
                  <a:lnTo>
                    <a:pt x="1010" y="608"/>
                  </a:lnTo>
                  <a:lnTo>
                    <a:pt x="1012" y="616"/>
                  </a:lnTo>
                  <a:lnTo>
                    <a:pt x="1016" y="622"/>
                  </a:lnTo>
                  <a:lnTo>
                    <a:pt x="1022" y="628"/>
                  </a:lnTo>
                  <a:lnTo>
                    <a:pt x="1030" y="632"/>
                  </a:lnTo>
                  <a:lnTo>
                    <a:pt x="1040" y="636"/>
                  </a:lnTo>
                  <a:lnTo>
                    <a:pt x="1054" y="636"/>
                  </a:lnTo>
                  <a:lnTo>
                    <a:pt x="1054" y="636"/>
                  </a:lnTo>
                  <a:lnTo>
                    <a:pt x="1066" y="636"/>
                  </a:lnTo>
                  <a:lnTo>
                    <a:pt x="1080" y="632"/>
                  </a:lnTo>
                  <a:lnTo>
                    <a:pt x="1092" y="628"/>
                  </a:lnTo>
                  <a:lnTo>
                    <a:pt x="1104" y="624"/>
                  </a:lnTo>
                  <a:lnTo>
                    <a:pt x="1114" y="616"/>
                  </a:lnTo>
                  <a:lnTo>
                    <a:pt x="1124" y="610"/>
                  </a:lnTo>
                  <a:lnTo>
                    <a:pt x="1130" y="600"/>
                  </a:lnTo>
                  <a:lnTo>
                    <a:pt x="1134" y="592"/>
                  </a:lnTo>
                  <a:lnTo>
                    <a:pt x="1134" y="592"/>
                  </a:lnTo>
                  <a:lnTo>
                    <a:pt x="1136" y="580"/>
                  </a:lnTo>
                  <a:lnTo>
                    <a:pt x="1134" y="572"/>
                  </a:lnTo>
                  <a:lnTo>
                    <a:pt x="1130" y="564"/>
                  </a:lnTo>
                  <a:lnTo>
                    <a:pt x="1122" y="556"/>
                  </a:lnTo>
                  <a:lnTo>
                    <a:pt x="1114" y="552"/>
                  </a:lnTo>
                  <a:lnTo>
                    <a:pt x="1102" y="548"/>
                  </a:lnTo>
                  <a:lnTo>
                    <a:pt x="1090" y="544"/>
                  </a:lnTo>
                  <a:lnTo>
                    <a:pt x="1076" y="544"/>
                  </a:lnTo>
                  <a:lnTo>
                    <a:pt x="1076" y="544"/>
                  </a:lnTo>
                  <a:close/>
                  <a:moveTo>
                    <a:pt x="1118" y="590"/>
                  </a:moveTo>
                  <a:lnTo>
                    <a:pt x="1118" y="590"/>
                  </a:lnTo>
                  <a:lnTo>
                    <a:pt x="1116" y="596"/>
                  </a:lnTo>
                  <a:lnTo>
                    <a:pt x="1112" y="602"/>
                  </a:lnTo>
                  <a:lnTo>
                    <a:pt x="1106" y="606"/>
                  </a:lnTo>
                  <a:lnTo>
                    <a:pt x="1098" y="610"/>
                  </a:lnTo>
                  <a:lnTo>
                    <a:pt x="1080" y="616"/>
                  </a:lnTo>
                  <a:lnTo>
                    <a:pt x="1058" y="618"/>
                  </a:lnTo>
                  <a:lnTo>
                    <a:pt x="1058" y="618"/>
                  </a:lnTo>
                  <a:lnTo>
                    <a:pt x="1048" y="618"/>
                  </a:lnTo>
                  <a:lnTo>
                    <a:pt x="1038" y="616"/>
                  </a:lnTo>
                  <a:lnTo>
                    <a:pt x="1032" y="614"/>
                  </a:lnTo>
                  <a:lnTo>
                    <a:pt x="1026" y="610"/>
                  </a:lnTo>
                  <a:lnTo>
                    <a:pt x="1024" y="606"/>
                  </a:lnTo>
                  <a:lnTo>
                    <a:pt x="1022" y="602"/>
                  </a:lnTo>
                  <a:lnTo>
                    <a:pt x="1020" y="596"/>
                  </a:lnTo>
                  <a:lnTo>
                    <a:pt x="1022" y="590"/>
                  </a:lnTo>
                  <a:lnTo>
                    <a:pt x="1022" y="590"/>
                  </a:lnTo>
                  <a:lnTo>
                    <a:pt x="1024" y="584"/>
                  </a:lnTo>
                  <a:lnTo>
                    <a:pt x="1028" y="578"/>
                  </a:lnTo>
                  <a:lnTo>
                    <a:pt x="1032" y="572"/>
                  </a:lnTo>
                  <a:lnTo>
                    <a:pt x="1038" y="570"/>
                  </a:lnTo>
                  <a:lnTo>
                    <a:pt x="1052" y="564"/>
                  </a:lnTo>
                  <a:lnTo>
                    <a:pt x="1072" y="562"/>
                  </a:lnTo>
                  <a:lnTo>
                    <a:pt x="1072" y="562"/>
                  </a:lnTo>
                  <a:lnTo>
                    <a:pt x="1092" y="564"/>
                  </a:lnTo>
                  <a:lnTo>
                    <a:pt x="1100" y="566"/>
                  </a:lnTo>
                  <a:lnTo>
                    <a:pt x="1108" y="570"/>
                  </a:lnTo>
                  <a:lnTo>
                    <a:pt x="1114" y="574"/>
                  </a:lnTo>
                  <a:lnTo>
                    <a:pt x="1118" y="578"/>
                  </a:lnTo>
                  <a:lnTo>
                    <a:pt x="1120" y="584"/>
                  </a:lnTo>
                  <a:lnTo>
                    <a:pt x="1118" y="590"/>
                  </a:lnTo>
                  <a:lnTo>
                    <a:pt x="1118" y="590"/>
                  </a:lnTo>
                  <a:close/>
                  <a:moveTo>
                    <a:pt x="1104" y="408"/>
                  </a:moveTo>
                  <a:lnTo>
                    <a:pt x="1104" y="408"/>
                  </a:lnTo>
                  <a:lnTo>
                    <a:pt x="1090" y="410"/>
                  </a:lnTo>
                  <a:lnTo>
                    <a:pt x="1078" y="412"/>
                  </a:lnTo>
                  <a:lnTo>
                    <a:pt x="1068" y="414"/>
                  </a:lnTo>
                  <a:lnTo>
                    <a:pt x="1060" y="420"/>
                  </a:lnTo>
                  <a:lnTo>
                    <a:pt x="1052" y="426"/>
                  </a:lnTo>
                  <a:lnTo>
                    <a:pt x="1046" y="434"/>
                  </a:lnTo>
                  <a:lnTo>
                    <a:pt x="1042" y="442"/>
                  </a:lnTo>
                  <a:lnTo>
                    <a:pt x="1040" y="454"/>
                  </a:lnTo>
                  <a:lnTo>
                    <a:pt x="1040" y="454"/>
                  </a:lnTo>
                  <a:lnTo>
                    <a:pt x="1038" y="462"/>
                  </a:lnTo>
                  <a:lnTo>
                    <a:pt x="1040" y="472"/>
                  </a:lnTo>
                  <a:lnTo>
                    <a:pt x="1042" y="480"/>
                  </a:lnTo>
                  <a:lnTo>
                    <a:pt x="1046" y="486"/>
                  </a:lnTo>
                  <a:lnTo>
                    <a:pt x="1054" y="492"/>
                  </a:lnTo>
                  <a:lnTo>
                    <a:pt x="1062" y="496"/>
                  </a:lnTo>
                  <a:lnTo>
                    <a:pt x="1074" y="500"/>
                  </a:lnTo>
                  <a:lnTo>
                    <a:pt x="1088" y="500"/>
                  </a:lnTo>
                  <a:lnTo>
                    <a:pt x="1088" y="500"/>
                  </a:lnTo>
                  <a:lnTo>
                    <a:pt x="1102" y="500"/>
                  </a:lnTo>
                  <a:lnTo>
                    <a:pt x="1116" y="496"/>
                  </a:lnTo>
                  <a:lnTo>
                    <a:pt x="1130" y="492"/>
                  </a:lnTo>
                  <a:lnTo>
                    <a:pt x="1142" y="488"/>
                  </a:lnTo>
                  <a:lnTo>
                    <a:pt x="1152" y="482"/>
                  </a:lnTo>
                  <a:lnTo>
                    <a:pt x="1160" y="474"/>
                  </a:lnTo>
                  <a:lnTo>
                    <a:pt x="1166" y="464"/>
                  </a:lnTo>
                  <a:lnTo>
                    <a:pt x="1170" y="456"/>
                  </a:lnTo>
                  <a:lnTo>
                    <a:pt x="1170" y="456"/>
                  </a:lnTo>
                  <a:lnTo>
                    <a:pt x="1172" y="444"/>
                  </a:lnTo>
                  <a:lnTo>
                    <a:pt x="1170" y="436"/>
                  </a:lnTo>
                  <a:lnTo>
                    <a:pt x="1164" y="428"/>
                  </a:lnTo>
                  <a:lnTo>
                    <a:pt x="1156" y="420"/>
                  </a:lnTo>
                  <a:lnTo>
                    <a:pt x="1146" y="416"/>
                  </a:lnTo>
                  <a:lnTo>
                    <a:pt x="1134" y="412"/>
                  </a:lnTo>
                  <a:lnTo>
                    <a:pt x="1120" y="410"/>
                  </a:lnTo>
                  <a:lnTo>
                    <a:pt x="1104" y="408"/>
                  </a:lnTo>
                  <a:lnTo>
                    <a:pt x="1104" y="408"/>
                  </a:lnTo>
                  <a:close/>
                  <a:moveTo>
                    <a:pt x="1154" y="454"/>
                  </a:moveTo>
                  <a:lnTo>
                    <a:pt x="1154" y="454"/>
                  </a:lnTo>
                  <a:lnTo>
                    <a:pt x="1152" y="460"/>
                  </a:lnTo>
                  <a:lnTo>
                    <a:pt x="1146" y="466"/>
                  </a:lnTo>
                  <a:lnTo>
                    <a:pt x="1140" y="470"/>
                  </a:lnTo>
                  <a:lnTo>
                    <a:pt x="1134" y="474"/>
                  </a:lnTo>
                  <a:lnTo>
                    <a:pt x="1114" y="480"/>
                  </a:lnTo>
                  <a:lnTo>
                    <a:pt x="1092" y="482"/>
                  </a:lnTo>
                  <a:lnTo>
                    <a:pt x="1092" y="482"/>
                  </a:lnTo>
                  <a:lnTo>
                    <a:pt x="1080" y="482"/>
                  </a:lnTo>
                  <a:lnTo>
                    <a:pt x="1070" y="480"/>
                  </a:lnTo>
                  <a:lnTo>
                    <a:pt x="1062" y="478"/>
                  </a:lnTo>
                  <a:lnTo>
                    <a:pt x="1058" y="474"/>
                  </a:lnTo>
                  <a:lnTo>
                    <a:pt x="1054" y="470"/>
                  </a:lnTo>
                  <a:lnTo>
                    <a:pt x="1050" y="466"/>
                  </a:lnTo>
                  <a:lnTo>
                    <a:pt x="1050" y="460"/>
                  </a:lnTo>
                  <a:lnTo>
                    <a:pt x="1050" y="454"/>
                  </a:lnTo>
                  <a:lnTo>
                    <a:pt x="1050" y="454"/>
                  </a:lnTo>
                  <a:lnTo>
                    <a:pt x="1052" y="448"/>
                  </a:lnTo>
                  <a:lnTo>
                    <a:pt x="1056" y="442"/>
                  </a:lnTo>
                  <a:lnTo>
                    <a:pt x="1060" y="438"/>
                  </a:lnTo>
                  <a:lnTo>
                    <a:pt x="1066" y="434"/>
                  </a:lnTo>
                  <a:lnTo>
                    <a:pt x="1072" y="430"/>
                  </a:lnTo>
                  <a:lnTo>
                    <a:pt x="1082" y="428"/>
                  </a:lnTo>
                  <a:lnTo>
                    <a:pt x="1102" y="426"/>
                  </a:lnTo>
                  <a:lnTo>
                    <a:pt x="1102" y="426"/>
                  </a:lnTo>
                  <a:lnTo>
                    <a:pt x="1124" y="428"/>
                  </a:lnTo>
                  <a:lnTo>
                    <a:pt x="1134" y="430"/>
                  </a:lnTo>
                  <a:lnTo>
                    <a:pt x="1142" y="434"/>
                  </a:lnTo>
                  <a:lnTo>
                    <a:pt x="1148" y="438"/>
                  </a:lnTo>
                  <a:lnTo>
                    <a:pt x="1152" y="442"/>
                  </a:lnTo>
                  <a:lnTo>
                    <a:pt x="1154" y="448"/>
                  </a:lnTo>
                  <a:lnTo>
                    <a:pt x="1154" y="454"/>
                  </a:lnTo>
                  <a:lnTo>
                    <a:pt x="1154" y="454"/>
                  </a:lnTo>
                  <a:close/>
                  <a:moveTo>
                    <a:pt x="1062" y="320"/>
                  </a:moveTo>
                  <a:lnTo>
                    <a:pt x="1062" y="320"/>
                  </a:lnTo>
                  <a:lnTo>
                    <a:pt x="1070" y="350"/>
                  </a:lnTo>
                  <a:lnTo>
                    <a:pt x="1070" y="350"/>
                  </a:lnTo>
                  <a:lnTo>
                    <a:pt x="1084" y="346"/>
                  </a:lnTo>
                  <a:lnTo>
                    <a:pt x="1084" y="346"/>
                  </a:lnTo>
                  <a:lnTo>
                    <a:pt x="1076" y="324"/>
                  </a:lnTo>
                  <a:lnTo>
                    <a:pt x="1076" y="324"/>
                  </a:lnTo>
                  <a:lnTo>
                    <a:pt x="1076" y="322"/>
                  </a:lnTo>
                  <a:lnTo>
                    <a:pt x="1196" y="322"/>
                  </a:lnTo>
                  <a:lnTo>
                    <a:pt x="1196" y="322"/>
                  </a:lnTo>
                  <a:lnTo>
                    <a:pt x="1198" y="304"/>
                  </a:lnTo>
                  <a:lnTo>
                    <a:pt x="1064" y="304"/>
                  </a:lnTo>
                  <a:lnTo>
                    <a:pt x="1064" y="304"/>
                  </a:lnTo>
                  <a:lnTo>
                    <a:pt x="1062" y="320"/>
                  </a:lnTo>
                  <a:lnTo>
                    <a:pt x="1062" y="320"/>
                  </a:lnTo>
                  <a:close/>
                  <a:moveTo>
                    <a:pt x="1078" y="184"/>
                  </a:moveTo>
                  <a:lnTo>
                    <a:pt x="1078" y="184"/>
                  </a:lnTo>
                  <a:lnTo>
                    <a:pt x="1088" y="214"/>
                  </a:lnTo>
                  <a:lnTo>
                    <a:pt x="1088" y="214"/>
                  </a:lnTo>
                  <a:lnTo>
                    <a:pt x="1100" y="210"/>
                  </a:lnTo>
                  <a:lnTo>
                    <a:pt x="1100" y="210"/>
                  </a:lnTo>
                  <a:lnTo>
                    <a:pt x="1092" y="188"/>
                  </a:lnTo>
                  <a:lnTo>
                    <a:pt x="1092" y="188"/>
                  </a:lnTo>
                  <a:lnTo>
                    <a:pt x="1092" y="186"/>
                  </a:lnTo>
                  <a:lnTo>
                    <a:pt x="1092" y="186"/>
                  </a:lnTo>
                  <a:lnTo>
                    <a:pt x="1214" y="186"/>
                  </a:lnTo>
                  <a:lnTo>
                    <a:pt x="1214" y="186"/>
                  </a:lnTo>
                  <a:lnTo>
                    <a:pt x="1216" y="170"/>
                  </a:lnTo>
                  <a:lnTo>
                    <a:pt x="1078" y="170"/>
                  </a:lnTo>
                  <a:lnTo>
                    <a:pt x="1078" y="170"/>
                  </a:lnTo>
                  <a:lnTo>
                    <a:pt x="1078" y="184"/>
                  </a:lnTo>
                  <a:lnTo>
                    <a:pt x="1078" y="184"/>
                  </a:lnTo>
                  <a:close/>
                  <a:moveTo>
                    <a:pt x="1144" y="0"/>
                  </a:moveTo>
                  <a:lnTo>
                    <a:pt x="1144" y="0"/>
                  </a:lnTo>
                  <a:lnTo>
                    <a:pt x="1130" y="2"/>
                  </a:lnTo>
                  <a:lnTo>
                    <a:pt x="1116" y="4"/>
                  </a:lnTo>
                  <a:lnTo>
                    <a:pt x="1106" y="8"/>
                  </a:lnTo>
                  <a:lnTo>
                    <a:pt x="1098" y="12"/>
                  </a:lnTo>
                  <a:lnTo>
                    <a:pt x="1090" y="18"/>
                  </a:lnTo>
                  <a:lnTo>
                    <a:pt x="1086" y="26"/>
                  </a:lnTo>
                  <a:lnTo>
                    <a:pt x="1084" y="36"/>
                  </a:lnTo>
                  <a:lnTo>
                    <a:pt x="1082" y="46"/>
                  </a:lnTo>
                  <a:lnTo>
                    <a:pt x="1082" y="46"/>
                  </a:lnTo>
                  <a:lnTo>
                    <a:pt x="1082" y="56"/>
                  </a:lnTo>
                  <a:lnTo>
                    <a:pt x="1086" y="64"/>
                  </a:lnTo>
                  <a:lnTo>
                    <a:pt x="1090" y="72"/>
                  </a:lnTo>
                  <a:lnTo>
                    <a:pt x="1096" y="80"/>
                  </a:lnTo>
                  <a:lnTo>
                    <a:pt x="1104" y="86"/>
                  </a:lnTo>
                  <a:lnTo>
                    <a:pt x="1116" y="90"/>
                  </a:lnTo>
                  <a:lnTo>
                    <a:pt x="1128" y="92"/>
                  </a:lnTo>
                  <a:lnTo>
                    <a:pt x="1144" y="92"/>
                  </a:lnTo>
                  <a:lnTo>
                    <a:pt x="1144" y="92"/>
                  </a:lnTo>
                  <a:lnTo>
                    <a:pt x="1160" y="92"/>
                  </a:lnTo>
                  <a:lnTo>
                    <a:pt x="1176" y="90"/>
                  </a:lnTo>
                  <a:lnTo>
                    <a:pt x="1190" y="86"/>
                  </a:lnTo>
                  <a:lnTo>
                    <a:pt x="1202" y="80"/>
                  </a:lnTo>
                  <a:lnTo>
                    <a:pt x="1212" y="74"/>
                  </a:lnTo>
                  <a:lnTo>
                    <a:pt x="1220" y="66"/>
                  </a:lnTo>
                  <a:lnTo>
                    <a:pt x="1224" y="58"/>
                  </a:lnTo>
                  <a:lnTo>
                    <a:pt x="1226" y="48"/>
                  </a:lnTo>
                  <a:lnTo>
                    <a:pt x="1226" y="48"/>
                  </a:lnTo>
                  <a:lnTo>
                    <a:pt x="1226" y="38"/>
                  </a:lnTo>
                  <a:lnTo>
                    <a:pt x="1220" y="28"/>
                  </a:lnTo>
                  <a:lnTo>
                    <a:pt x="1214" y="20"/>
                  </a:lnTo>
                  <a:lnTo>
                    <a:pt x="1204" y="14"/>
                  </a:lnTo>
                  <a:lnTo>
                    <a:pt x="1190" y="8"/>
                  </a:lnTo>
                  <a:lnTo>
                    <a:pt x="1176" y="4"/>
                  </a:lnTo>
                  <a:lnTo>
                    <a:pt x="1162" y="2"/>
                  </a:lnTo>
                  <a:lnTo>
                    <a:pt x="1144" y="0"/>
                  </a:lnTo>
                  <a:lnTo>
                    <a:pt x="1144" y="0"/>
                  </a:lnTo>
                  <a:close/>
                  <a:moveTo>
                    <a:pt x="1146" y="74"/>
                  </a:moveTo>
                  <a:lnTo>
                    <a:pt x="1146" y="74"/>
                  </a:lnTo>
                  <a:lnTo>
                    <a:pt x="1132" y="74"/>
                  </a:lnTo>
                  <a:lnTo>
                    <a:pt x="1122" y="72"/>
                  </a:lnTo>
                  <a:lnTo>
                    <a:pt x="1112" y="70"/>
                  </a:lnTo>
                  <a:lnTo>
                    <a:pt x="1106" y="66"/>
                  </a:lnTo>
                  <a:lnTo>
                    <a:pt x="1100" y="62"/>
                  </a:lnTo>
                  <a:lnTo>
                    <a:pt x="1096" y="58"/>
                  </a:lnTo>
                  <a:lnTo>
                    <a:pt x="1094" y="52"/>
                  </a:lnTo>
                  <a:lnTo>
                    <a:pt x="1094" y="46"/>
                  </a:lnTo>
                  <a:lnTo>
                    <a:pt x="1094" y="46"/>
                  </a:lnTo>
                  <a:lnTo>
                    <a:pt x="1094" y="40"/>
                  </a:lnTo>
                  <a:lnTo>
                    <a:pt x="1098" y="34"/>
                  </a:lnTo>
                  <a:lnTo>
                    <a:pt x="1102" y="30"/>
                  </a:lnTo>
                  <a:lnTo>
                    <a:pt x="1106" y="26"/>
                  </a:lnTo>
                  <a:lnTo>
                    <a:pt x="1114" y="22"/>
                  </a:lnTo>
                  <a:lnTo>
                    <a:pt x="1122" y="20"/>
                  </a:lnTo>
                  <a:lnTo>
                    <a:pt x="1144" y="20"/>
                  </a:lnTo>
                  <a:lnTo>
                    <a:pt x="1144" y="20"/>
                  </a:lnTo>
                  <a:lnTo>
                    <a:pt x="1170" y="20"/>
                  </a:lnTo>
                  <a:lnTo>
                    <a:pt x="1180" y="24"/>
                  </a:lnTo>
                  <a:lnTo>
                    <a:pt x="1190" y="26"/>
                  </a:lnTo>
                  <a:lnTo>
                    <a:pt x="1198" y="30"/>
                  </a:lnTo>
                  <a:lnTo>
                    <a:pt x="1204" y="34"/>
                  </a:lnTo>
                  <a:lnTo>
                    <a:pt x="1208" y="40"/>
                  </a:lnTo>
                  <a:lnTo>
                    <a:pt x="1208" y="46"/>
                  </a:lnTo>
                  <a:lnTo>
                    <a:pt x="1208" y="46"/>
                  </a:lnTo>
                  <a:lnTo>
                    <a:pt x="1206" y="52"/>
                  </a:lnTo>
                  <a:lnTo>
                    <a:pt x="1204" y="58"/>
                  </a:lnTo>
                  <a:lnTo>
                    <a:pt x="1198" y="62"/>
                  </a:lnTo>
                  <a:lnTo>
                    <a:pt x="1190" y="66"/>
                  </a:lnTo>
                  <a:lnTo>
                    <a:pt x="1170" y="72"/>
                  </a:lnTo>
                  <a:lnTo>
                    <a:pt x="1146" y="74"/>
                  </a:lnTo>
                  <a:lnTo>
                    <a:pt x="1146" y="74"/>
                  </a:lnTo>
                  <a:close/>
                </a:path>
              </a:pathLst>
            </a:custGeom>
            <a:solidFill>
              <a:srgbClr val="000000"/>
            </a:solidFill>
            <a:ln w="9525">
              <a:solidFill>
                <a:srgbClr val="000000"/>
              </a:solidFill>
              <a:round/>
              <a:headEnd/>
              <a:tailEnd/>
            </a:ln>
          </p:spPr>
          <p:txBody>
            <a:bodyPr/>
            <a:lstStyle/>
            <a:p>
              <a:endParaRPr lang="en-US" sz="2000" dirty="0">
                <a:latin typeface="微软雅黑" pitchFamily="34" charset="-122"/>
                <a:ea typeface="微软雅黑" pitchFamily="34" charset="-122"/>
              </a:endParaRPr>
            </a:p>
          </p:txBody>
        </p:sp>
        <p:grpSp>
          <p:nvGrpSpPr>
            <p:cNvPr id="258" name="Group 257"/>
            <p:cNvGrpSpPr/>
            <p:nvPr/>
          </p:nvGrpSpPr>
          <p:grpSpPr>
            <a:xfrm>
              <a:off x="3340173" y="3803720"/>
              <a:ext cx="1296987" cy="321945"/>
              <a:chOff x="171035" y="954157"/>
              <a:chExt cx="390949" cy="387626"/>
            </a:xfrm>
          </p:grpSpPr>
          <p:sp>
            <p:nvSpPr>
              <p:cNvPr id="260" name="Round Diagonal Corner Rectangle 259"/>
              <p:cNvSpPr/>
              <p:nvPr/>
            </p:nvSpPr>
            <p:spPr>
              <a:xfrm flipV="1">
                <a:off x="171035" y="954157"/>
                <a:ext cx="387626" cy="387626"/>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dirty="0">
                  <a:latin typeface="微软雅黑" pitchFamily="34" charset="-122"/>
                  <a:ea typeface="微软雅黑" pitchFamily="34" charset="-122"/>
                </a:endParaRPr>
              </a:p>
            </p:txBody>
          </p:sp>
          <p:sp>
            <p:nvSpPr>
              <p:cNvPr id="261" name="Round Diagonal Corner Rectangle 260"/>
              <p:cNvSpPr/>
              <p:nvPr/>
            </p:nvSpPr>
            <p:spPr>
              <a:xfrm>
                <a:off x="174358" y="954157"/>
                <a:ext cx="387626" cy="387626"/>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2300" dirty="0">
                    <a:latin typeface="微软雅黑" pitchFamily="34" charset="-122"/>
                    <a:ea typeface="微软雅黑" pitchFamily="34" charset="-122"/>
                  </a:rPr>
                  <a:t>外泄</a:t>
                </a:r>
                <a:endParaRPr lang="en-US" sz="2300" dirty="0">
                  <a:latin typeface="微软雅黑" pitchFamily="34" charset="-122"/>
                  <a:ea typeface="微软雅黑" pitchFamily="34" charset="-122"/>
                </a:endParaRPr>
              </a:p>
            </p:txBody>
          </p:sp>
        </p:grpSp>
      </p:grpSp>
      <p:grpSp>
        <p:nvGrpSpPr>
          <p:cNvPr id="207" name="Group 206"/>
          <p:cNvGrpSpPr/>
          <p:nvPr/>
        </p:nvGrpSpPr>
        <p:grpSpPr>
          <a:xfrm>
            <a:off x="2464160" y="1236387"/>
            <a:ext cx="2812559" cy="763129"/>
            <a:chOff x="270108" y="3859212"/>
            <a:chExt cx="1980724" cy="536575"/>
          </a:xfrm>
        </p:grpSpPr>
        <p:sp>
          <p:nvSpPr>
            <p:cNvPr id="208" name="Round Diagonal Corner Rectangle 207"/>
            <p:cNvSpPr/>
            <p:nvPr/>
          </p:nvSpPr>
          <p:spPr>
            <a:xfrm flipV="1">
              <a:off x="270108" y="3859212"/>
              <a:ext cx="1840046" cy="536575"/>
            </a:xfrm>
            <a:prstGeom prst="round2Diag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00" dirty="0">
                <a:latin typeface="微软雅黑" pitchFamily="34" charset="-122"/>
                <a:ea typeface="微软雅黑" pitchFamily="34" charset="-122"/>
              </a:endParaRPr>
            </a:p>
          </p:txBody>
        </p:sp>
        <p:sp>
          <p:nvSpPr>
            <p:cNvPr id="209" name="Round Diagonal Corner Rectangle 208"/>
            <p:cNvSpPr/>
            <p:nvPr/>
          </p:nvSpPr>
          <p:spPr>
            <a:xfrm>
              <a:off x="281355" y="3912208"/>
              <a:ext cx="1969477" cy="430585"/>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zh-CN" altLang="en-US" sz="2300" dirty="0">
                  <a:solidFill>
                    <a:srgbClr val="000000"/>
                  </a:solidFill>
                  <a:latin typeface="微软雅黑" pitchFamily="34" charset="-122"/>
                  <a:ea typeface="微软雅黑" pitchFamily="34" charset="-122"/>
                </a:rPr>
                <a:t>安全情报研究</a:t>
              </a:r>
              <a:endParaRPr lang="en-US" sz="2300" dirty="0">
                <a:solidFill>
                  <a:srgbClr val="000000"/>
                </a:solidFill>
                <a:latin typeface="微软雅黑" pitchFamily="34" charset="-122"/>
                <a:ea typeface="微软雅黑" pitchFamily="34" charset="-122"/>
              </a:endParaRPr>
            </a:p>
          </p:txBody>
        </p:sp>
      </p:grpSp>
      <p:grpSp>
        <p:nvGrpSpPr>
          <p:cNvPr id="210" name="Group 209"/>
          <p:cNvGrpSpPr/>
          <p:nvPr/>
        </p:nvGrpSpPr>
        <p:grpSpPr>
          <a:xfrm>
            <a:off x="3969976" y="1916701"/>
            <a:ext cx="2812559" cy="763129"/>
            <a:chOff x="270108" y="3859212"/>
            <a:chExt cx="1980724" cy="536575"/>
          </a:xfrm>
        </p:grpSpPr>
        <p:sp>
          <p:nvSpPr>
            <p:cNvPr id="211" name="Round Diagonal Corner Rectangle 210"/>
            <p:cNvSpPr/>
            <p:nvPr/>
          </p:nvSpPr>
          <p:spPr>
            <a:xfrm flipV="1">
              <a:off x="270108" y="3859212"/>
              <a:ext cx="1840046" cy="536575"/>
            </a:xfrm>
            <a:prstGeom prst="round2Diag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00" dirty="0">
                <a:latin typeface="微软雅黑" pitchFamily="34" charset="-122"/>
                <a:ea typeface="微软雅黑" pitchFamily="34" charset="-122"/>
              </a:endParaRPr>
            </a:p>
          </p:txBody>
        </p:sp>
        <p:sp>
          <p:nvSpPr>
            <p:cNvPr id="212" name="Round Diagonal Corner Rectangle 211"/>
            <p:cNvSpPr/>
            <p:nvPr/>
          </p:nvSpPr>
          <p:spPr>
            <a:xfrm>
              <a:off x="281355" y="3912208"/>
              <a:ext cx="1969477" cy="430585"/>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zh-CN" altLang="en-US" sz="2300" dirty="0">
                  <a:solidFill>
                    <a:srgbClr val="000000"/>
                  </a:solidFill>
                  <a:latin typeface="微软雅黑" pitchFamily="34" charset="-122"/>
                  <a:ea typeface="微软雅黑" pitchFamily="34" charset="-122"/>
                </a:rPr>
                <a:t>阻断访问</a:t>
              </a:r>
              <a:endParaRPr lang="en-US" sz="2300" dirty="0">
                <a:solidFill>
                  <a:srgbClr val="000000"/>
                </a:solidFill>
                <a:latin typeface="微软雅黑" pitchFamily="34" charset="-122"/>
                <a:ea typeface="微软雅黑" pitchFamily="34" charset="-122"/>
              </a:endParaRPr>
            </a:p>
          </p:txBody>
        </p:sp>
      </p:grpSp>
      <p:grpSp>
        <p:nvGrpSpPr>
          <p:cNvPr id="213" name="Group 212"/>
          <p:cNvGrpSpPr/>
          <p:nvPr/>
        </p:nvGrpSpPr>
        <p:grpSpPr>
          <a:xfrm>
            <a:off x="5988164" y="2716802"/>
            <a:ext cx="2812559" cy="792654"/>
            <a:chOff x="270108" y="3859210"/>
            <a:chExt cx="1980724" cy="536575"/>
          </a:xfrm>
        </p:grpSpPr>
        <p:sp>
          <p:nvSpPr>
            <p:cNvPr id="214" name="Round Diagonal Corner Rectangle 213"/>
            <p:cNvSpPr/>
            <p:nvPr/>
          </p:nvSpPr>
          <p:spPr>
            <a:xfrm flipV="1">
              <a:off x="270108" y="3859210"/>
              <a:ext cx="1840046" cy="536575"/>
            </a:xfrm>
            <a:prstGeom prst="round2Diag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00" dirty="0">
                <a:latin typeface="微软雅黑" pitchFamily="34" charset="-122"/>
                <a:ea typeface="微软雅黑" pitchFamily="34" charset="-122"/>
              </a:endParaRPr>
            </a:p>
          </p:txBody>
        </p:sp>
        <p:sp>
          <p:nvSpPr>
            <p:cNvPr id="215" name="Round Diagonal Corner Rectangle 214"/>
            <p:cNvSpPr/>
            <p:nvPr/>
          </p:nvSpPr>
          <p:spPr>
            <a:xfrm>
              <a:off x="281355" y="3912208"/>
              <a:ext cx="1969477" cy="430585"/>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zh-CN" altLang="en-US" sz="2300" dirty="0">
                  <a:solidFill>
                    <a:srgbClr val="000000"/>
                  </a:solidFill>
                  <a:latin typeface="微软雅黑" pitchFamily="34" charset="-122"/>
                  <a:ea typeface="微软雅黑" pitchFamily="34" charset="-122"/>
                </a:rPr>
                <a:t>发现异常</a:t>
              </a:r>
              <a:endParaRPr lang="en-US" sz="2300" dirty="0">
                <a:solidFill>
                  <a:srgbClr val="000000"/>
                </a:solidFill>
                <a:latin typeface="微软雅黑" pitchFamily="34" charset="-122"/>
                <a:ea typeface="微软雅黑" pitchFamily="34" charset="-122"/>
              </a:endParaRPr>
            </a:p>
          </p:txBody>
        </p:sp>
      </p:grpSp>
      <p:grpSp>
        <p:nvGrpSpPr>
          <p:cNvPr id="272" name="Group 271"/>
          <p:cNvGrpSpPr/>
          <p:nvPr/>
        </p:nvGrpSpPr>
        <p:grpSpPr>
          <a:xfrm>
            <a:off x="5843559" y="4221523"/>
            <a:ext cx="2812559" cy="763129"/>
            <a:chOff x="270108" y="3859212"/>
            <a:chExt cx="1980724" cy="536575"/>
          </a:xfrm>
        </p:grpSpPr>
        <p:sp>
          <p:nvSpPr>
            <p:cNvPr id="273" name="Round Diagonal Corner Rectangle 272"/>
            <p:cNvSpPr/>
            <p:nvPr/>
          </p:nvSpPr>
          <p:spPr>
            <a:xfrm flipV="1">
              <a:off x="270108" y="3859212"/>
              <a:ext cx="1840046" cy="536575"/>
            </a:xfrm>
            <a:prstGeom prst="round2Diag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00" dirty="0">
                <a:latin typeface="微软雅黑" pitchFamily="34" charset="-122"/>
                <a:ea typeface="微软雅黑" pitchFamily="34" charset="-122"/>
              </a:endParaRPr>
            </a:p>
          </p:txBody>
        </p:sp>
        <p:sp>
          <p:nvSpPr>
            <p:cNvPr id="274" name="Round Diagonal Corner Rectangle 273"/>
            <p:cNvSpPr/>
            <p:nvPr/>
          </p:nvSpPr>
          <p:spPr>
            <a:xfrm>
              <a:off x="281355" y="3912208"/>
              <a:ext cx="1969477" cy="430585"/>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zh-CN" altLang="en-US" sz="2300" dirty="0">
                  <a:solidFill>
                    <a:srgbClr val="000000"/>
                  </a:solidFill>
                  <a:latin typeface="微软雅黑" pitchFamily="34" charset="-122"/>
                  <a:ea typeface="微软雅黑" pitchFamily="34" charset="-122"/>
                </a:rPr>
                <a:t>保护目标资产</a:t>
              </a:r>
              <a:endParaRPr lang="en-US" sz="2300" dirty="0">
                <a:solidFill>
                  <a:srgbClr val="000000"/>
                </a:solidFill>
                <a:latin typeface="微软雅黑" pitchFamily="34" charset="-122"/>
                <a:ea typeface="微软雅黑" pitchFamily="34" charset="-122"/>
              </a:endParaRPr>
            </a:p>
          </p:txBody>
        </p:sp>
      </p:grpSp>
    </p:spTree>
    <p:extLst>
      <p:ext uri="{BB962C8B-B14F-4D97-AF65-F5344CB8AC3E}">
        <p14:creationId xmlns:p14="http://schemas.microsoft.com/office/powerpoint/2010/main" val="2871734967"/>
      </p:ext>
    </p:extLst>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262"/>
                                        </p:tgtEl>
                                        <p:attrNameLst>
                                          <p:attrName>style.visibility</p:attrName>
                                        </p:attrNameLst>
                                      </p:cBhvr>
                                      <p:to>
                                        <p:strVal val="visible"/>
                                      </p:to>
                                    </p:set>
                                    <p:animEffect transition="in" filter="fade">
                                      <p:cBhvr>
                                        <p:cTn id="10" dur="500"/>
                                        <p:tgtEl>
                                          <p:spTgt spid="262"/>
                                        </p:tgtEl>
                                      </p:cBhvr>
                                    </p:animEffect>
                                  </p:childTnLst>
                                </p:cTn>
                              </p:par>
                              <p:par>
                                <p:cTn id="11" presetID="22" presetClass="entr" presetSubtype="8"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wipe(left)">
                                      <p:cBhvr>
                                        <p:cTn id="13" dur="500"/>
                                        <p:tgtEl>
                                          <p:spTgt spid="10"/>
                                        </p:tgtEl>
                                      </p:cBhvr>
                                    </p:animEffect>
                                  </p:childTnLst>
                                </p:cTn>
                              </p:par>
                              <p:par>
                                <p:cTn id="14" presetID="22" presetClass="entr" presetSubtype="1"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wipe(up)">
                                      <p:cBhvr>
                                        <p:cTn id="16" dur="500"/>
                                        <p:tgtEl>
                                          <p:spTgt spid="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71"/>
                                        </p:tgtEl>
                                        <p:attrNameLst>
                                          <p:attrName>style.visibility</p:attrName>
                                        </p:attrNameLst>
                                      </p:cBhvr>
                                      <p:to>
                                        <p:strVal val="visible"/>
                                      </p:to>
                                    </p:set>
                                    <p:animEffect transition="in" filter="fade">
                                      <p:cBhvr>
                                        <p:cTn id="19" dur="250"/>
                                        <p:tgtEl>
                                          <p:spTgt spid="271"/>
                                        </p:tgtEl>
                                      </p:cBhvr>
                                    </p:animEffect>
                                  </p:childTnLst>
                                </p:cTn>
                              </p:par>
                              <p:par>
                                <p:cTn id="20" presetID="10" presetClass="entr" presetSubtype="0" fill="hold" nodeType="withEffect">
                                  <p:stCondLst>
                                    <p:cond delay="0"/>
                                  </p:stCondLst>
                                  <p:childTnLst>
                                    <p:set>
                                      <p:cBhvr>
                                        <p:cTn id="21" dur="1" fill="hold">
                                          <p:stCondLst>
                                            <p:cond delay="0"/>
                                          </p:stCondLst>
                                        </p:cTn>
                                        <p:tgtEl>
                                          <p:spTgt spid="268"/>
                                        </p:tgtEl>
                                        <p:attrNameLst>
                                          <p:attrName>style.visibility</p:attrName>
                                        </p:attrNameLst>
                                      </p:cBhvr>
                                      <p:to>
                                        <p:strVal val="visible"/>
                                      </p:to>
                                    </p:set>
                                    <p:animEffect transition="in" filter="fade">
                                      <p:cBhvr>
                                        <p:cTn id="22" dur="500"/>
                                        <p:tgtEl>
                                          <p:spTgt spid="268"/>
                                        </p:tgtEl>
                                      </p:cBhvr>
                                    </p:animEffect>
                                  </p:childTnLst>
                                </p:cTn>
                              </p:par>
                              <p:par>
                                <p:cTn id="23" presetID="22" presetClass="entr" presetSubtype="2" fill="hold" nodeType="withEffect">
                                  <p:stCondLst>
                                    <p:cond delay="0"/>
                                  </p:stCondLst>
                                  <p:childTnLst>
                                    <p:set>
                                      <p:cBhvr>
                                        <p:cTn id="24" dur="1" fill="hold">
                                          <p:stCondLst>
                                            <p:cond delay="0"/>
                                          </p:stCondLst>
                                        </p:cTn>
                                        <p:tgtEl>
                                          <p:spTgt spid="9"/>
                                        </p:tgtEl>
                                        <p:attrNameLst>
                                          <p:attrName>style.visibility</p:attrName>
                                        </p:attrNameLst>
                                      </p:cBhvr>
                                      <p:to>
                                        <p:strVal val="visible"/>
                                      </p:to>
                                    </p:set>
                                    <p:animEffect transition="in" filter="wipe(right)">
                                      <p:cBhvr>
                                        <p:cTn id="25" dur="500"/>
                                        <p:tgtEl>
                                          <p:spTgt spid="9"/>
                                        </p:tgtEl>
                                      </p:cBhvr>
                                    </p:animEffect>
                                  </p:childTnLst>
                                </p:cTn>
                              </p:par>
                              <p:par>
                                <p:cTn id="26" presetID="10" presetClass="entr" presetSubtype="0" fill="hold" nodeType="withEffect">
                                  <p:stCondLst>
                                    <p:cond delay="0"/>
                                  </p:stCondLst>
                                  <p:childTnLst>
                                    <p:set>
                                      <p:cBhvr>
                                        <p:cTn id="27" dur="1" fill="hold">
                                          <p:stCondLst>
                                            <p:cond delay="0"/>
                                          </p:stCondLst>
                                        </p:cTn>
                                        <p:tgtEl>
                                          <p:spTgt spid="452"/>
                                        </p:tgtEl>
                                        <p:attrNameLst>
                                          <p:attrName>style.visibility</p:attrName>
                                        </p:attrNameLst>
                                      </p:cBhvr>
                                      <p:to>
                                        <p:strVal val="visible"/>
                                      </p:to>
                                    </p:set>
                                    <p:animEffect transition="in" filter="fade">
                                      <p:cBhvr>
                                        <p:cTn id="28" dur="500"/>
                                        <p:tgtEl>
                                          <p:spTgt spid="452"/>
                                        </p:tgtEl>
                                      </p:cBhvr>
                                    </p:animEffect>
                                  </p:childTnLst>
                                </p:cTn>
                              </p:par>
                              <p:par>
                                <p:cTn id="29" presetID="10" presetClass="entr" presetSubtype="0" fill="hold" nodeType="withEffect">
                                  <p:stCondLst>
                                    <p:cond delay="0"/>
                                  </p:stCondLst>
                                  <p:childTnLst>
                                    <p:set>
                                      <p:cBhvr>
                                        <p:cTn id="30" dur="1" fill="hold">
                                          <p:stCondLst>
                                            <p:cond delay="0"/>
                                          </p:stCondLst>
                                        </p:cTn>
                                        <p:tgtEl>
                                          <p:spTgt spid="432"/>
                                        </p:tgtEl>
                                        <p:attrNameLst>
                                          <p:attrName>style.visibility</p:attrName>
                                        </p:attrNameLst>
                                      </p:cBhvr>
                                      <p:to>
                                        <p:strVal val="visible"/>
                                      </p:to>
                                    </p:set>
                                    <p:animEffect transition="in" filter="fade">
                                      <p:cBhvr>
                                        <p:cTn id="31" dur="500"/>
                                        <p:tgtEl>
                                          <p:spTgt spid="432"/>
                                        </p:tgtEl>
                                      </p:cBhvr>
                                    </p:animEffect>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nodeType="clickEffect">
                                  <p:stCondLst>
                                    <p:cond delay="0"/>
                                  </p:stCondLst>
                                  <p:childTnLst>
                                    <p:set>
                                      <p:cBhvr>
                                        <p:cTn id="35" dur="1" fill="hold">
                                          <p:stCondLst>
                                            <p:cond delay="0"/>
                                          </p:stCondLst>
                                        </p:cTn>
                                        <p:tgtEl>
                                          <p:spTgt spid="207"/>
                                        </p:tgtEl>
                                        <p:attrNameLst>
                                          <p:attrName>style.visibility</p:attrName>
                                        </p:attrNameLst>
                                      </p:cBhvr>
                                      <p:to>
                                        <p:strVal val="visible"/>
                                      </p:to>
                                    </p:se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210"/>
                                        </p:tgtEl>
                                        <p:attrNameLst>
                                          <p:attrName>style.visibility</p:attrName>
                                        </p:attrNameLst>
                                      </p:cBhvr>
                                      <p:to>
                                        <p:strVal val="visible"/>
                                      </p:to>
                                    </p:set>
                                    <p:animEffect transition="in" filter="fade">
                                      <p:cBhvr>
                                        <p:cTn id="40" dur="500"/>
                                        <p:tgtEl>
                                          <p:spTgt spid="210"/>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213"/>
                                        </p:tgtEl>
                                        <p:attrNameLst>
                                          <p:attrName>style.visibility</p:attrName>
                                        </p:attrNameLst>
                                      </p:cBhvr>
                                      <p:to>
                                        <p:strVal val="visible"/>
                                      </p:to>
                                    </p:set>
                                    <p:animEffect transition="in" filter="fade">
                                      <p:cBhvr>
                                        <p:cTn id="45" dur="500"/>
                                        <p:tgtEl>
                                          <p:spTgt spid="213"/>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272"/>
                                        </p:tgtEl>
                                        <p:attrNameLst>
                                          <p:attrName>style.visibility</p:attrName>
                                        </p:attrNameLst>
                                      </p:cBhvr>
                                      <p:to>
                                        <p:strVal val="visible"/>
                                      </p:to>
                                    </p:set>
                                    <p:animEffect transition="in" filter="fade">
                                      <p:cBhvr>
                                        <p:cTn id="50" dur="500"/>
                                        <p:tgtEl>
                                          <p:spTgt spid="2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1"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4"/>
          <p:cNvSpPr>
            <a:spLocks/>
          </p:cNvSpPr>
          <p:nvPr/>
        </p:nvSpPr>
        <p:spPr bwMode="auto">
          <a:xfrm>
            <a:off x="2529453" y="1284811"/>
            <a:ext cx="6309166" cy="3053096"/>
          </a:xfrm>
          <a:custGeom>
            <a:avLst/>
            <a:gdLst>
              <a:gd name="T0" fmla="*/ 414 w 446"/>
              <a:gd name="T1" fmla="*/ 158 h 240"/>
              <a:gd name="T2" fmla="*/ 394 w 446"/>
              <a:gd name="T3" fmla="*/ 155 h 240"/>
              <a:gd name="T4" fmla="*/ 348 w 446"/>
              <a:gd name="T5" fmla="*/ 91 h 240"/>
              <a:gd name="T6" fmla="*/ 285 w 446"/>
              <a:gd name="T7" fmla="*/ 92 h 240"/>
              <a:gd name="T8" fmla="*/ 228 w 446"/>
              <a:gd name="T9" fmla="*/ 22 h 240"/>
              <a:gd name="T10" fmla="*/ 98 w 446"/>
              <a:gd name="T11" fmla="*/ 73 h 240"/>
              <a:gd name="T12" fmla="*/ 91 w 446"/>
              <a:gd name="T13" fmla="*/ 98 h 240"/>
              <a:gd name="T14" fmla="*/ 16 w 446"/>
              <a:gd name="T15" fmla="*/ 140 h 240"/>
              <a:gd name="T16" fmla="*/ 53 w 446"/>
              <a:gd name="T17" fmla="*/ 234 h 240"/>
              <a:gd name="T18" fmla="*/ 81 w 446"/>
              <a:gd name="T19" fmla="*/ 240 h 240"/>
              <a:gd name="T20" fmla="*/ 402 w 446"/>
              <a:gd name="T21" fmla="*/ 240 h 240"/>
              <a:gd name="T22" fmla="*/ 436 w 446"/>
              <a:gd name="T23" fmla="*/ 214 h 240"/>
              <a:gd name="T24" fmla="*/ 414 w 446"/>
              <a:gd name="T25" fmla="*/ 15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6" h="240">
                <a:moveTo>
                  <a:pt x="414" y="158"/>
                </a:moveTo>
                <a:cubicBezTo>
                  <a:pt x="408" y="155"/>
                  <a:pt x="401" y="154"/>
                  <a:pt x="394" y="155"/>
                </a:cubicBezTo>
                <a:cubicBezTo>
                  <a:pt x="392" y="128"/>
                  <a:pt x="375" y="103"/>
                  <a:pt x="348" y="91"/>
                </a:cubicBezTo>
                <a:cubicBezTo>
                  <a:pt x="327" y="82"/>
                  <a:pt x="304" y="83"/>
                  <a:pt x="285" y="92"/>
                </a:cubicBezTo>
                <a:cubicBezTo>
                  <a:pt x="278" y="61"/>
                  <a:pt x="258" y="35"/>
                  <a:pt x="228" y="22"/>
                </a:cubicBezTo>
                <a:cubicBezTo>
                  <a:pt x="178" y="0"/>
                  <a:pt x="120" y="23"/>
                  <a:pt x="98" y="73"/>
                </a:cubicBezTo>
                <a:cubicBezTo>
                  <a:pt x="94" y="81"/>
                  <a:pt x="92" y="89"/>
                  <a:pt x="91" y="98"/>
                </a:cubicBezTo>
                <a:cubicBezTo>
                  <a:pt x="60" y="94"/>
                  <a:pt x="29" y="110"/>
                  <a:pt x="16" y="140"/>
                </a:cubicBezTo>
                <a:cubicBezTo>
                  <a:pt x="0" y="176"/>
                  <a:pt x="17" y="218"/>
                  <a:pt x="53" y="234"/>
                </a:cubicBezTo>
                <a:cubicBezTo>
                  <a:pt x="62" y="238"/>
                  <a:pt x="72" y="240"/>
                  <a:pt x="81" y="240"/>
                </a:cubicBezTo>
                <a:cubicBezTo>
                  <a:pt x="402" y="240"/>
                  <a:pt x="402" y="240"/>
                  <a:pt x="402" y="240"/>
                </a:cubicBezTo>
                <a:cubicBezTo>
                  <a:pt x="417" y="238"/>
                  <a:pt x="430" y="228"/>
                  <a:pt x="436" y="214"/>
                </a:cubicBezTo>
                <a:cubicBezTo>
                  <a:pt x="446" y="192"/>
                  <a:pt x="436" y="167"/>
                  <a:pt x="414" y="158"/>
                </a:cubicBezTo>
              </a:path>
            </a:pathLst>
          </a:custGeom>
          <a:noFill/>
          <a:ln w="38100">
            <a:solidFill>
              <a:schemeClr val="accent5"/>
            </a:solidFill>
          </a:ln>
        </p:spPr>
        <p:txBody>
          <a:bodyPr vert="horz" wrap="square" lIns="129909" tIns="64954" rIns="129909" bIns="64954"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6" name="Title 1"/>
          <p:cNvSpPr txBox="1">
            <a:spLocks/>
          </p:cNvSpPr>
          <p:nvPr/>
        </p:nvSpPr>
        <p:spPr bwMode="black">
          <a:xfrm>
            <a:off x="250997" y="268014"/>
            <a:ext cx="11503025"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5992" tIns="57996" rIns="115992" bIns="57996" numCol="1" anchor="t" anchorCtr="0" compatLnSpc="1">
            <a:prstTxWarp prst="textNoShape">
              <a:avLst/>
            </a:prstTxWarp>
            <a:noAutofit/>
          </a:bodyPr>
          <a:lstStyle>
            <a:lvl1pPr algn="l" defTabSz="1160463" rtl="0" eaLnBrk="1" fontAlgn="base" hangingPunct="1">
              <a:lnSpc>
                <a:spcPct val="90000"/>
              </a:lnSpc>
              <a:spcBef>
                <a:spcPct val="0"/>
              </a:spcBef>
              <a:spcAft>
                <a:spcPct val="0"/>
              </a:spcAft>
              <a:defRPr kumimoji="1" sz="4100" b="1" i="0">
                <a:solidFill>
                  <a:srgbClr val="000000"/>
                </a:solidFill>
                <a:latin typeface="HP Simplified" pitchFamily="34" charset="0"/>
                <a:ea typeface="宋体" charset="0"/>
                <a:cs typeface="HP Simplified" pitchFamily="34" charset="0"/>
              </a:defRPr>
            </a:lvl1pPr>
            <a:lvl2pPr algn="l" defTabSz="1160463" rtl="0" eaLnBrk="1" fontAlgn="base" hangingPunct="1">
              <a:lnSpc>
                <a:spcPct val="90000"/>
              </a:lnSpc>
              <a:spcBef>
                <a:spcPct val="0"/>
              </a:spcBef>
              <a:spcAft>
                <a:spcPct val="0"/>
              </a:spcAft>
              <a:defRPr kumimoji="1" sz="4100">
                <a:solidFill>
                  <a:schemeClr val="tx2"/>
                </a:solidFill>
                <a:latin typeface="Arial" charset="0"/>
                <a:ea typeface="宋体" charset="0"/>
                <a:cs typeface="Arial" charset="0"/>
              </a:defRPr>
            </a:lvl2pPr>
            <a:lvl3pPr algn="l" defTabSz="1160463" rtl="0" eaLnBrk="1" fontAlgn="base" hangingPunct="1">
              <a:lnSpc>
                <a:spcPct val="90000"/>
              </a:lnSpc>
              <a:spcBef>
                <a:spcPct val="0"/>
              </a:spcBef>
              <a:spcAft>
                <a:spcPct val="0"/>
              </a:spcAft>
              <a:defRPr kumimoji="1" sz="4100">
                <a:solidFill>
                  <a:schemeClr val="tx2"/>
                </a:solidFill>
                <a:latin typeface="Arial" charset="0"/>
                <a:ea typeface="宋体" charset="0"/>
                <a:cs typeface="Arial" charset="0"/>
              </a:defRPr>
            </a:lvl3pPr>
            <a:lvl4pPr algn="l" defTabSz="1160463" rtl="0" eaLnBrk="1" fontAlgn="base" hangingPunct="1">
              <a:lnSpc>
                <a:spcPct val="90000"/>
              </a:lnSpc>
              <a:spcBef>
                <a:spcPct val="0"/>
              </a:spcBef>
              <a:spcAft>
                <a:spcPct val="0"/>
              </a:spcAft>
              <a:defRPr kumimoji="1" sz="4100">
                <a:solidFill>
                  <a:schemeClr val="tx2"/>
                </a:solidFill>
                <a:latin typeface="Arial" charset="0"/>
                <a:ea typeface="宋体" charset="0"/>
                <a:cs typeface="Arial" charset="0"/>
              </a:defRPr>
            </a:lvl4pPr>
            <a:lvl5pPr algn="l" defTabSz="1160463" rtl="0" eaLnBrk="1" fontAlgn="base" hangingPunct="1">
              <a:lnSpc>
                <a:spcPct val="90000"/>
              </a:lnSpc>
              <a:spcBef>
                <a:spcPct val="0"/>
              </a:spcBef>
              <a:spcAft>
                <a:spcPct val="0"/>
              </a:spcAft>
              <a:defRPr kumimoji="1" sz="4100">
                <a:solidFill>
                  <a:schemeClr val="tx2"/>
                </a:solidFill>
                <a:latin typeface="Arial" charset="0"/>
                <a:ea typeface="宋体" charset="0"/>
                <a:cs typeface="Arial" charset="0"/>
              </a:defRPr>
            </a:lvl5pPr>
            <a:lvl6pPr marL="457200" algn="l" rtl="0" eaLnBrk="1" fontAlgn="base" hangingPunct="1">
              <a:lnSpc>
                <a:spcPct val="90000"/>
              </a:lnSpc>
              <a:spcBef>
                <a:spcPct val="0"/>
              </a:spcBef>
              <a:spcAft>
                <a:spcPct val="0"/>
              </a:spcAft>
              <a:defRPr sz="2800" b="1">
                <a:solidFill>
                  <a:schemeClr val="tx2"/>
                </a:solidFill>
                <a:latin typeface="Arial" charset="0"/>
                <a:cs typeface="Arial" charset="0"/>
              </a:defRPr>
            </a:lvl6pPr>
            <a:lvl7pPr marL="914400" algn="l" rtl="0" eaLnBrk="1" fontAlgn="base" hangingPunct="1">
              <a:lnSpc>
                <a:spcPct val="90000"/>
              </a:lnSpc>
              <a:spcBef>
                <a:spcPct val="0"/>
              </a:spcBef>
              <a:spcAft>
                <a:spcPct val="0"/>
              </a:spcAft>
              <a:defRPr sz="2800" b="1">
                <a:solidFill>
                  <a:schemeClr val="tx2"/>
                </a:solidFill>
                <a:latin typeface="Arial" charset="0"/>
                <a:cs typeface="Arial" charset="0"/>
              </a:defRPr>
            </a:lvl7pPr>
            <a:lvl8pPr marL="1371600" algn="l" rtl="0" eaLnBrk="1" fontAlgn="base" hangingPunct="1">
              <a:lnSpc>
                <a:spcPct val="90000"/>
              </a:lnSpc>
              <a:spcBef>
                <a:spcPct val="0"/>
              </a:spcBef>
              <a:spcAft>
                <a:spcPct val="0"/>
              </a:spcAft>
              <a:defRPr sz="2800" b="1">
                <a:solidFill>
                  <a:schemeClr val="tx2"/>
                </a:solidFill>
                <a:latin typeface="Arial" charset="0"/>
                <a:cs typeface="Arial" charset="0"/>
              </a:defRPr>
            </a:lvl8pPr>
            <a:lvl9pPr marL="1828800" algn="l" rtl="0" eaLnBrk="1" fontAlgn="base" hangingPunct="1">
              <a:lnSpc>
                <a:spcPct val="90000"/>
              </a:lnSpc>
              <a:spcBef>
                <a:spcPct val="0"/>
              </a:spcBef>
              <a:spcAft>
                <a:spcPct val="0"/>
              </a:spcAft>
              <a:defRPr sz="2800" b="1">
                <a:solidFill>
                  <a:schemeClr val="tx2"/>
                </a:solidFill>
                <a:latin typeface="Arial" charset="0"/>
                <a:cs typeface="Arial" charset="0"/>
              </a:defRPr>
            </a:lvl9pPr>
          </a:lstStyle>
          <a:p>
            <a:r>
              <a:rPr lang="zh-CN" altLang="en-US" dirty="0" smtClean="0">
                <a:solidFill>
                  <a:srgbClr val="C00000"/>
                </a:solidFill>
                <a:latin typeface="微软雅黑" pitchFamily="34" charset="-122"/>
                <a:ea typeface="微软雅黑" pitchFamily="34" charset="-122"/>
              </a:rPr>
              <a:t>惠普</a:t>
            </a:r>
            <a:r>
              <a:rPr lang="en-US" dirty="0" err="1" smtClean="0">
                <a:solidFill>
                  <a:srgbClr val="C00000"/>
                </a:solidFill>
                <a:latin typeface="微软雅黑" pitchFamily="34" charset="-122"/>
                <a:ea typeface="微软雅黑" pitchFamily="34" charset="-122"/>
              </a:rPr>
              <a:t>HAVEn</a:t>
            </a:r>
            <a:r>
              <a:rPr lang="zh-CN" altLang="en-US" dirty="0" smtClean="0">
                <a:solidFill>
                  <a:srgbClr val="C00000"/>
                </a:solidFill>
                <a:latin typeface="微软雅黑" pitchFamily="34" charset="-122"/>
                <a:ea typeface="微软雅黑" pitchFamily="34" charset="-122"/>
              </a:rPr>
              <a:t>助力大数据管理与安全</a:t>
            </a:r>
            <a:endParaRPr lang="en-US" dirty="0">
              <a:solidFill>
                <a:srgbClr val="C00000"/>
              </a:solidFill>
              <a:latin typeface="微软雅黑" pitchFamily="34" charset="-122"/>
              <a:ea typeface="微软雅黑" pitchFamily="34" charset="-122"/>
            </a:endParaRPr>
          </a:p>
        </p:txBody>
      </p:sp>
      <p:sp>
        <p:nvSpPr>
          <p:cNvPr id="7" name="Subtitle 1"/>
          <p:cNvSpPr txBox="1">
            <a:spLocks/>
          </p:cNvSpPr>
          <p:nvPr/>
        </p:nvSpPr>
        <p:spPr>
          <a:xfrm>
            <a:off x="366804" y="1547511"/>
            <a:ext cx="11526151" cy="393954"/>
          </a:xfrm>
          <a:prstGeom prst="rect">
            <a:avLst/>
          </a:prstGeom>
        </p:spPr>
        <p:txBody>
          <a:bodyPr lIns="129909" tIns="64954" rIns="129909" bIns="64954"/>
          <a:lst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Arial"/>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Lucida Grande"/>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Arial"/>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2800" dirty="0">
                <a:solidFill>
                  <a:srgbClr val="0096D6"/>
                </a:solidFill>
                <a:latin typeface="微软雅黑" pitchFamily="34" charset="-122"/>
                <a:ea typeface="微软雅黑" pitchFamily="34" charset="-122"/>
              </a:rPr>
              <a:t>HP ArcSight with Autonomy IDOL</a:t>
            </a:r>
          </a:p>
        </p:txBody>
      </p:sp>
      <p:grpSp>
        <p:nvGrpSpPr>
          <p:cNvPr id="8" name="Group 7"/>
          <p:cNvGrpSpPr>
            <a:grpSpLocks noChangeAspect="1"/>
          </p:cNvGrpSpPr>
          <p:nvPr/>
        </p:nvGrpSpPr>
        <p:grpSpPr>
          <a:xfrm>
            <a:off x="9706470" y="2966852"/>
            <a:ext cx="1275135" cy="816239"/>
            <a:chOff x="6566313" y="2661131"/>
            <a:chExt cx="662672" cy="423517"/>
          </a:xfrm>
        </p:grpSpPr>
        <p:sp>
          <p:nvSpPr>
            <p:cNvPr id="9" name="Rectangle 8"/>
            <p:cNvSpPr/>
            <p:nvPr/>
          </p:nvSpPr>
          <p:spPr>
            <a:xfrm>
              <a:off x="6576662" y="2661131"/>
              <a:ext cx="643121" cy="42351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49544"/>
              <a:endParaRPr lang="en-US">
                <a:solidFill>
                  <a:prstClr val="white"/>
                </a:solidFill>
                <a:latin typeface="微软雅黑" pitchFamily="34" charset="-122"/>
                <a:ea typeface="微软雅黑" pitchFamily="34" charset="-122"/>
              </a:endParaRPr>
            </a:p>
          </p:txBody>
        </p:sp>
        <p:sp>
          <p:nvSpPr>
            <p:cNvPr id="10" name="TextBox 9"/>
            <p:cNvSpPr txBox="1"/>
            <p:nvPr/>
          </p:nvSpPr>
          <p:spPr>
            <a:xfrm>
              <a:off x="6566313" y="2679386"/>
              <a:ext cx="662672" cy="175663"/>
            </a:xfrm>
            <a:prstGeom prst="rect">
              <a:avLst/>
            </a:prstGeom>
            <a:noFill/>
          </p:spPr>
          <p:txBody>
            <a:bodyPr wrap="square" rtlCol="0">
              <a:spAutoFit/>
            </a:bodyPr>
            <a:lstStyle/>
            <a:p>
              <a:pPr algn="ctr" defTabSz="611204">
                <a:spcAft>
                  <a:spcPts val="568"/>
                </a:spcAft>
                <a:buSzPct val="100000"/>
              </a:pPr>
              <a:r>
                <a:rPr lang="en-US" b="1" dirty="0" smtClean="0">
                  <a:solidFill>
                    <a:srgbClr val="0096D6"/>
                  </a:solidFill>
                  <a:latin typeface="微软雅黑" pitchFamily="34" charset="-122"/>
                  <a:ea typeface="微软雅黑" pitchFamily="34" charset="-122"/>
                  <a:cs typeface="HP Simplified" pitchFamily="34" charset="0"/>
                </a:rPr>
                <a:t>IDOL</a:t>
              </a:r>
              <a:endParaRPr lang="en-US" b="1" dirty="0">
                <a:solidFill>
                  <a:srgbClr val="0096D6"/>
                </a:solidFill>
                <a:latin typeface="微软雅黑" pitchFamily="34" charset="-122"/>
                <a:ea typeface="微软雅黑" pitchFamily="34" charset="-122"/>
                <a:cs typeface="HP Simplified" pitchFamily="34" charset="0"/>
              </a:endParaRPr>
            </a:p>
          </p:txBody>
        </p:sp>
      </p:grpSp>
      <p:grpSp>
        <p:nvGrpSpPr>
          <p:cNvPr id="11" name="Group 10"/>
          <p:cNvGrpSpPr>
            <a:grpSpLocks noChangeAspect="1"/>
          </p:cNvGrpSpPr>
          <p:nvPr/>
        </p:nvGrpSpPr>
        <p:grpSpPr>
          <a:xfrm>
            <a:off x="9492242" y="5286327"/>
            <a:ext cx="1361301" cy="816240"/>
            <a:chOff x="6512331" y="2661131"/>
            <a:chExt cx="707452" cy="423517"/>
          </a:xfrm>
        </p:grpSpPr>
        <p:sp>
          <p:nvSpPr>
            <p:cNvPr id="12" name="Rectangle 11"/>
            <p:cNvSpPr/>
            <p:nvPr/>
          </p:nvSpPr>
          <p:spPr>
            <a:xfrm>
              <a:off x="6576662" y="2661131"/>
              <a:ext cx="643121" cy="42351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49544"/>
              <a:endParaRPr lang="en-US">
                <a:solidFill>
                  <a:prstClr val="white"/>
                </a:solidFill>
                <a:latin typeface="微软雅黑" pitchFamily="34" charset="-122"/>
                <a:ea typeface="微软雅黑" pitchFamily="34" charset="-122"/>
              </a:endParaRPr>
            </a:p>
          </p:txBody>
        </p:sp>
        <p:sp>
          <p:nvSpPr>
            <p:cNvPr id="13" name="TextBox 12"/>
            <p:cNvSpPr txBox="1"/>
            <p:nvPr/>
          </p:nvSpPr>
          <p:spPr>
            <a:xfrm>
              <a:off x="6512331" y="2706377"/>
              <a:ext cx="662672" cy="175663"/>
            </a:xfrm>
            <a:prstGeom prst="rect">
              <a:avLst/>
            </a:prstGeom>
            <a:noFill/>
          </p:spPr>
          <p:txBody>
            <a:bodyPr wrap="square" rtlCol="0">
              <a:spAutoFit/>
            </a:bodyPr>
            <a:lstStyle/>
            <a:p>
              <a:pPr algn="ctr" defTabSz="611204">
                <a:spcAft>
                  <a:spcPts val="568"/>
                </a:spcAft>
                <a:buSzPct val="100000"/>
              </a:pPr>
              <a:r>
                <a:rPr lang="en-US" b="1" dirty="0" smtClean="0">
                  <a:solidFill>
                    <a:srgbClr val="0096D6"/>
                  </a:solidFill>
                  <a:latin typeface="微软雅黑" pitchFamily="34" charset="-122"/>
                  <a:ea typeface="微软雅黑" pitchFamily="34" charset="-122"/>
                  <a:cs typeface="HP Simplified" pitchFamily="34" charset="0"/>
                </a:rPr>
                <a:t>ESM</a:t>
              </a:r>
              <a:endParaRPr lang="en-US" b="1" dirty="0">
                <a:solidFill>
                  <a:srgbClr val="0096D6"/>
                </a:solidFill>
                <a:latin typeface="微软雅黑" pitchFamily="34" charset="-122"/>
                <a:ea typeface="微软雅黑" pitchFamily="34" charset="-122"/>
                <a:cs typeface="HP Simplified" pitchFamily="34" charset="0"/>
              </a:endParaRPr>
            </a:p>
          </p:txBody>
        </p:sp>
      </p:grpSp>
      <p:cxnSp>
        <p:nvCxnSpPr>
          <p:cNvPr id="14" name="Straight Connector 13"/>
          <p:cNvCxnSpPr/>
          <p:nvPr/>
        </p:nvCxnSpPr>
        <p:spPr>
          <a:xfrm>
            <a:off x="10320253" y="4024936"/>
            <a:ext cx="0" cy="1127964"/>
          </a:xfrm>
          <a:prstGeom prst="line">
            <a:avLst/>
          </a:prstGeom>
          <a:ln w="50800" cmpd="sng">
            <a:solidFill>
              <a:schemeClr val="tx1"/>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grpSp>
        <p:nvGrpSpPr>
          <p:cNvPr id="15" name="Group 14"/>
          <p:cNvGrpSpPr/>
          <p:nvPr/>
        </p:nvGrpSpPr>
        <p:grpSpPr>
          <a:xfrm>
            <a:off x="8392369" y="3170694"/>
            <a:ext cx="1154084" cy="2625550"/>
            <a:chOff x="5340287" y="2229394"/>
            <a:chExt cx="1382731" cy="1846090"/>
          </a:xfrm>
        </p:grpSpPr>
        <p:sp>
          <p:nvSpPr>
            <p:cNvPr id="16" name="Freeform 15"/>
            <p:cNvSpPr/>
            <p:nvPr/>
          </p:nvSpPr>
          <p:spPr>
            <a:xfrm>
              <a:off x="5346624" y="2229394"/>
              <a:ext cx="1376394" cy="408770"/>
            </a:xfrm>
            <a:custGeom>
              <a:avLst/>
              <a:gdLst>
                <a:gd name="connsiteX0" fmla="*/ 0 w 1236617"/>
                <a:gd name="connsiteY0" fmla="*/ 418012 h 418012"/>
                <a:gd name="connsiteX1" fmla="*/ 452846 w 1236617"/>
                <a:gd name="connsiteY1" fmla="*/ 78377 h 418012"/>
                <a:gd name="connsiteX2" fmla="*/ 1236617 w 1236617"/>
                <a:gd name="connsiteY2" fmla="*/ 0 h 418012"/>
              </a:gdLst>
              <a:ahLst/>
              <a:cxnLst>
                <a:cxn ang="0">
                  <a:pos x="connsiteX0" y="connsiteY0"/>
                </a:cxn>
                <a:cxn ang="0">
                  <a:pos x="connsiteX1" y="connsiteY1"/>
                </a:cxn>
                <a:cxn ang="0">
                  <a:pos x="connsiteX2" y="connsiteY2"/>
                </a:cxn>
              </a:cxnLst>
              <a:rect l="l" t="t" r="r" b="b"/>
              <a:pathLst>
                <a:path w="1236617" h="418012">
                  <a:moveTo>
                    <a:pt x="0" y="418012"/>
                  </a:moveTo>
                  <a:cubicBezTo>
                    <a:pt x="123371" y="283029"/>
                    <a:pt x="246743" y="148046"/>
                    <a:pt x="452846" y="78377"/>
                  </a:cubicBezTo>
                  <a:cubicBezTo>
                    <a:pt x="658949" y="8708"/>
                    <a:pt x="947783" y="4354"/>
                    <a:pt x="1236617" y="0"/>
                  </a:cubicBezTo>
                </a:path>
              </a:pathLst>
            </a:custGeom>
            <a:noFill/>
            <a:ln w="50800">
              <a:solidFill>
                <a:schemeClr val="tx1"/>
              </a:solidFill>
              <a:headEnd type="oval"/>
              <a:tailEnd type="triangle"/>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微软雅黑" pitchFamily="34" charset="-122"/>
                <a:ea typeface="微软雅黑" pitchFamily="34" charset="-122"/>
              </a:endParaRPr>
            </a:p>
          </p:txBody>
        </p:sp>
        <p:sp>
          <p:nvSpPr>
            <p:cNvPr id="17" name="Freeform 16"/>
            <p:cNvSpPr/>
            <p:nvPr/>
          </p:nvSpPr>
          <p:spPr>
            <a:xfrm rot="21343905" flipV="1">
              <a:off x="5340287" y="3889416"/>
              <a:ext cx="1365874" cy="186068"/>
            </a:xfrm>
            <a:custGeom>
              <a:avLst/>
              <a:gdLst>
                <a:gd name="connsiteX0" fmla="*/ 0 w 1236617"/>
                <a:gd name="connsiteY0" fmla="*/ 418012 h 418012"/>
                <a:gd name="connsiteX1" fmla="*/ 452846 w 1236617"/>
                <a:gd name="connsiteY1" fmla="*/ 78377 h 418012"/>
                <a:gd name="connsiteX2" fmla="*/ 1236617 w 1236617"/>
                <a:gd name="connsiteY2" fmla="*/ 0 h 418012"/>
              </a:gdLst>
              <a:ahLst/>
              <a:cxnLst>
                <a:cxn ang="0">
                  <a:pos x="connsiteX0" y="connsiteY0"/>
                </a:cxn>
                <a:cxn ang="0">
                  <a:pos x="connsiteX1" y="connsiteY1"/>
                </a:cxn>
                <a:cxn ang="0">
                  <a:pos x="connsiteX2" y="connsiteY2"/>
                </a:cxn>
              </a:cxnLst>
              <a:rect l="l" t="t" r="r" b="b"/>
              <a:pathLst>
                <a:path w="1236617" h="418012">
                  <a:moveTo>
                    <a:pt x="0" y="418012"/>
                  </a:moveTo>
                  <a:cubicBezTo>
                    <a:pt x="123371" y="283029"/>
                    <a:pt x="246743" y="148046"/>
                    <a:pt x="452846" y="78377"/>
                  </a:cubicBezTo>
                  <a:cubicBezTo>
                    <a:pt x="658949" y="8708"/>
                    <a:pt x="947783" y="4354"/>
                    <a:pt x="1236617" y="0"/>
                  </a:cubicBezTo>
                </a:path>
              </a:pathLst>
            </a:custGeom>
            <a:noFill/>
            <a:ln w="50800">
              <a:solidFill>
                <a:schemeClr val="tx1"/>
              </a:solidFill>
              <a:headEnd type="oval"/>
              <a:tailEnd type="triangle"/>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微软雅黑" pitchFamily="34" charset="-122"/>
                <a:ea typeface="微软雅黑" pitchFamily="34" charset="-122"/>
              </a:endParaRPr>
            </a:p>
          </p:txBody>
        </p:sp>
      </p:grpSp>
      <p:grpSp>
        <p:nvGrpSpPr>
          <p:cNvPr id="18" name="Group 17"/>
          <p:cNvGrpSpPr/>
          <p:nvPr/>
        </p:nvGrpSpPr>
        <p:grpSpPr>
          <a:xfrm>
            <a:off x="4044026" y="3449855"/>
            <a:ext cx="559469" cy="605706"/>
            <a:chOff x="0" y="0"/>
            <a:chExt cx="1373187" cy="1484312"/>
          </a:xfrm>
        </p:grpSpPr>
        <p:sp>
          <p:nvSpPr>
            <p:cNvPr id="19" name="Freeform 18"/>
            <p:cNvSpPr>
              <a:spLocks noEditPoints="1"/>
            </p:cNvSpPr>
            <p:nvPr/>
          </p:nvSpPr>
          <p:spPr bwMode="auto">
            <a:xfrm>
              <a:off x="0" y="385762"/>
              <a:ext cx="754062" cy="1098550"/>
            </a:xfrm>
            <a:custGeom>
              <a:avLst/>
              <a:gdLst>
                <a:gd name="T0" fmla="*/ 175 w 201"/>
                <a:gd name="T1" fmla="*/ 111 h 293"/>
                <a:gd name="T2" fmla="*/ 175 w 201"/>
                <a:gd name="T3" fmla="*/ 267 h 293"/>
                <a:gd name="T4" fmla="*/ 48 w 201"/>
                <a:gd name="T5" fmla="*/ 267 h 293"/>
                <a:gd name="T6" fmla="*/ 26 w 201"/>
                <a:gd name="T7" fmla="*/ 245 h 293"/>
                <a:gd name="T8" fmla="*/ 26 w 201"/>
                <a:gd name="T9" fmla="*/ 26 h 293"/>
                <a:gd name="T10" fmla="*/ 83 w 201"/>
                <a:gd name="T11" fmla="*/ 26 h 293"/>
                <a:gd name="T12" fmla="*/ 83 w 201"/>
                <a:gd name="T13" fmla="*/ 0 h 293"/>
                <a:gd name="T14" fmla="*/ 0 w 201"/>
                <a:gd name="T15" fmla="*/ 0 h 293"/>
                <a:gd name="T16" fmla="*/ 0 w 201"/>
                <a:gd name="T17" fmla="*/ 249 h 293"/>
                <a:gd name="T18" fmla="*/ 43 w 201"/>
                <a:gd name="T19" fmla="*/ 293 h 293"/>
                <a:gd name="T20" fmla="*/ 201 w 201"/>
                <a:gd name="T21" fmla="*/ 293 h 293"/>
                <a:gd name="T22" fmla="*/ 201 w 201"/>
                <a:gd name="T23" fmla="*/ 111 h 293"/>
                <a:gd name="T24" fmla="*/ 175 w 201"/>
                <a:gd name="T25" fmla="*/ 111 h 293"/>
                <a:gd name="T26" fmla="*/ 101 w 201"/>
                <a:gd name="T27" fmla="*/ 249 h 293"/>
                <a:gd name="T28" fmla="*/ 113 w 201"/>
                <a:gd name="T29" fmla="*/ 237 h 293"/>
                <a:gd name="T30" fmla="*/ 101 w 201"/>
                <a:gd name="T31" fmla="*/ 225 h 293"/>
                <a:gd name="T32" fmla="*/ 89 w 201"/>
                <a:gd name="T33" fmla="*/ 237 h 293"/>
                <a:gd name="T34" fmla="*/ 101 w 201"/>
                <a:gd name="T35" fmla="*/ 249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1" h="293">
                  <a:moveTo>
                    <a:pt x="175" y="111"/>
                  </a:moveTo>
                  <a:cubicBezTo>
                    <a:pt x="175" y="267"/>
                    <a:pt x="175" y="267"/>
                    <a:pt x="175" y="267"/>
                  </a:cubicBezTo>
                  <a:cubicBezTo>
                    <a:pt x="175" y="267"/>
                    <a:pt x="52" y="267"/>
                    <a:pt x="48" y="267"/>
                  </a:cubicBezTo>
                  <a:cubicBezTo>
                    <a:pt x="35" y="267"/>
                    <a:pt x="26" y="258"/>
                    <a:pt x="26" y="245"/>
                  </a:cubicBezTo>
                  <a:cubicBezTo>
                    <a:pt x="26" y="237"/>
                    <a:pt x="26" y="26"/>
                    <a:pt x="26" y="26"/>
                  </a:cubicBezTo>
                  <a:cubicBezTo>
                    <a:pt x="26" y="26"/>
                    <a:pt x="53" y="26"/>
                    <a:pt x="83" y="26"/>
                  </a:cubicBezTo>
                  <a:cubicBezTo>
                    <a:pt x="83" y="0"/>
                    <a:pt x="83" y="0"/>
                    <a:pt x="83" y="0"/>
                  </a:cubicBezTo>
                  <a:cubicBezTo>
                    <a:pt x="0" y="0"/>
                    <a:pt x="0" y="0"/>
                    <a:pt x="0" y="0"/>
                  </a:cubicBezTo>
                  <a:cubicBezTo>
                    <a:pt x="0" y="249"/>
                    <a:pt x="0" y="249"/>
                    <a:pt x="0" y="249"/>
                  </a:cubicBezTo>
                  <a:cubicBezTo>
                    <a:pt x="0" y="275"/>
                    <a:pt x="17" y="293"/>
                    <a:pt x="43" y="293"/>
                  </a:cubicBezTo>
                  <a:cubicBezTo>
                    <a:pt x="201" y="293"/>
                    <a:pt x="201" y="293"/>
                    <a:pt x="201" y="293"/>
                  </a:cubicBezTo>
                  <a:cubicBezTo>
                    <a:pt x="201" y="111"/>
                    <a:pt x="201" y="111"/>
                    <a:pt x="201" y="111"/>
                  </a:cubicBezTo>
                  <a:lnTo>
                    <a:pt x="175" y="111"/>
                  </a:lnTo>
                  <a:close/>
                  <a:moveTo>
                    <a:pt x="101" y="249"/>
                  </a:moveTo>
                  <a:cubicBezTo>
                    <a:pt x="107" y="249"/>
                    <a:pt x="113" y="244"/>
                    <a:pt x="113" y="237"/>
                  </a:cubicBezTo>
                  <a:cubicBezTo>
                    <a:pt x="113" y="231"/>
                    <a:pt x="107" y="225"/>
                    <a:pt x="101" y="225"/>
                  </a:cubicBezTo>
                  <a:cubicBezTo>
                    <a:pt x="94" y="225"/>
                    <a:pt x="89" y="231"/>
                    <a:pt x="89" y="237"/>
                  </a:cubicBezTo>
                  <a:cubicBezTo>
                    <a:pt x="89" y="244"/>
                    <a:pt x="94" y="249"/>
                    <a:pt x="101" y="249"/>
                  </a:cubicBez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20" name="Freeform 19"/>
            <p:cNvSpPr>
              <a:spLocks noEditPoints="1"/>
            </p:cNvSpPr>
            <p:nvPr/>
          </p:nvSpPr>
          <p:spPr bwMode="auto">
            <a:xfrm>
              <a:off x="374650" y="0"/>
              <a:ext cx="998537" cy="985838"/>
            </a:xfrm>
            <a:custGeom>
              <a:avLst/>
              <a:gdLst>
                <a:gd name="T0" fmla="*/ 0 w 266"/>
                <a:gd name="T1" fmla="*/ 176 h 263"/>
                <a:gd name="T2" fmla="*/ 159 w 266"/>
                <a:gd name="T3" fmla="*/ 263 h 263"/>
                <a:gd name="T4" fmla="*/ 266 w 266"/>
                <a:gd name="T5" fmla="*/ 21 h 263"/>
                <a:gd name="T6" fmla="*/ 77 w 266"/>
                <a:gd name="T7" fmla="*/ 139 h 263"/>
                <a:gd name="T8" fmla="*/ 42 w 266"/>
                <a:gd name="T9" fmla="*/ 145 h 263"/>
                <a:gd name="T10" fmla="*/ 29 w 266"/>
                <a:gd name="T11" fmla="*/ 137 h 263"/>
                <a:gd name="T12" fmla="*/ 48 w 266"/>
                <a:gd name="T13" fmla="*/ 127 h 263"/>
                <a:gd name="T14" fmla="*/ 61 w 266"/>
                <a:gd name="T15" fmla="*/ 123 h 263"/>
                <a:gd name="T16" fmla="*/ 59 w 266"/>
                <a:gd name="T17" fmla="*/ 113 h 263"/>
                <a:gd name="T18" fmla="*/ 38 w 266"/>
                <a:gd name="T19" fmla="*/ 103 h 263"/>
                <a:gd name="T20" fmla="*/ 28 w 266"/>
                <a:gd name="T21" fmla="*/ 81 h 263"/>
                <a:gd name="T22" fmla="*/ 46 w 266"/>
                <a:gd name="T23" fmla="*/ 56 h 263"/>
                <a:gd name="T24" fmla="*/ 76 w 266"/>
                <a:gd name="T25" fmla="*/ 57 h 263"/>
                <a:gd name="T26" fmla="*/ 81 w 266"/>
                <a:gd name="T27" fmla="*/ 73 h 263"/>
                <a:gd name="T28" fmla="*/ 67 w 266"/>
                <a:gd name="T29" fmla="*/ 73 h 263"/>
                <a:gd name="T30" fmla="*/ 52 w 266"/>
                <a:gd name="T31" fmla="*/ 74 h 263"/>
                <a:gd name="T32" fmla="*/ 50 w 266"/>
                <a:gd name="T33" fmla="*/ 83 h 263"/>
                <a:gd name="T34" fmla="*/ 63 w 266"/>
                <a:gd name="T35" fmla="*/ 91 h 263"/>
                <a:gd name="T36" fmla="*/ 82 w 266"/>
                <a:gd name="T37" fmla="*/ 109 h 263"/>
                <a:gd name="T38" fmla="*/ 160 w 266"/>
                <a:gd name="T39" fmla="*/ 144 h 263"/>
                <a:gd name="T40" fmla="*/ 155 w 266"/>
                <a:gd name="T41" fmla="*/ 110 h 263"/>
                <a:gd name="T42" fmla="*/ 144 w 266"/>
                <a:gd name="T43" fmla="*/ 122 h 263"/>
                <a:gd name="T44" fmla="*/ 126 w 266"/>
                <a:gd name="T45" fmla="*/ 118 h 263"/>
                <a:gd name="T46" fmla="*/ 116 w 266"/>
                <a:gd name="T47" fmla="*/ 112 h 263"/>
                <a:gd name="T48" fmla="*/ 100 w 266"/>
                <a:gd name="T49" fmla="*/ 144 h 263"/>
                <a:gd name="T50" fmla="*/ 99 w 266"/>
                <a:gd name="T51" fmla="*/ 56 h 263"/>
                <a:gd name="T52" fmla="*/ 127 w 266"/>
                <a:gd name="T53" fmla="*/ 61 h 263"/>
                <a:gd name="T54" fmla="*/ 168 w 266"/>
                <a:gd name="T55" fmla="*/ 56 h 263"/>
                <a:gd name="T56" fmla="*/ 175 w 266"/>
                <a:gd name="T57" fmla="*/ 99 h 263"/>
                <a:gd name="T58" fmla="*/ 242 w 266"/>
                <a:gd name="T59" fmla="*/ 131 h 263"/>
                <a:gd name="T60" fmla="*/ 214 w 266"/>
                <a:gd name="T61" fmla="*/ 146 h 263"/>
                <a:gd name="T62" fmla="*/ 190 w 266"/>
                <a:gd name="T63" fmla="*/ 141 h 263"/>
                <a:gd name="T64" fmla="*/ 199 w 266"/>
                <a:gd name="T65" fmla="*/ 127 h 263"/>
                <a:gd name="T66" fmla="*/ 220 w 266"/>
                <a:gd name="T67" fmla="*/ 125 h 263"/>
                <a:gd name="T68" fmla="*/ 222 w 266"/>
                <a:gd name="T69" fmla="*/ 116 h 263"/>
                <a:gd name="T70" fmla="*/ 208 w 266"/>
                <a:gd name="T71" fmla="*/ 108 h 263"/>
                <a:gd name="T72" fmla="*/ 189 w 266"/>
                <a:gd name="T73" fmla="*/ 90 h 263"/>
                <a:gd name="T74" fmla="*/ 197 w 266"/>
                <a:gd name="T75" fmla="*/ 60 h 263"/>
                <a:gd name="T76" fmla="*/ 230 w 266"/>
                <a:gd name="T77" fmla="*/ 55 h 263"/>
                <a:gd name="T78" fmla="*/ 241 w 266"/>
                <a:gd name="T79" fmla="*/ 64 h 263"/>
                <a:gd name="T80" fmla="*/ 231 w 266"/>
                <a:gd name="T81" fmla="*/ 73 h 263"/>
                <a:gd name="T82" fmla="*/ 216 w 266"/>
                <a:gd name="T83" fmla="*/ 73 h 263"/>
                <a:gd name="T84" fmla="*/ 210 w 266"/>
                <a:gd name="T85" fmla="*/ 80 h 263"/>
                <a:gd name="T86" fmla="*/ 216 w 266"/>
                <a:gd name="T87" fmla="*/ 88 h 263"/>
                <a:gd name="T88" fmla="*/ 239 w 266"/>
                <a:gd name="T89" fmla="*/ 101 h 263"/>
                <a:gd name="T90" fmla="*/ 242 w 266"/>
                <a:gd name="T91" fmla="*/ 131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66" h="263">
                  <a:moveTo>
                    <a:pt x="247" y="0"/>
                  </a:moveTo>
                  <a:cubicBezTo>
                    <a:pt x="0" y="0"/>
                    <a:pt x="0" y="0"/>
                    <a:pt x="0" y="0"/>
                  </a:cubicBezTo>
                  <a:cubicBezTo>
                    <a:pt x="0" y="176"/>
                    <a:pt x="0" y="176"/>
                    <a:pt x="0" y="176"/>
                  </a:cubicBezTo>
                  <a:cubicBezTo>
                    <a:pt x="0" y="188"/>
                    <a:pt x="9" y="197"/>
                    <a:pt x="19" y="197"/>
                  </a:cubicBezTo>
                  <a:cubicBezTo>
                    <a:pt x="158" y="197"/>
                    <a:pt x="158" y="197"/>
                    <a:pt x="158" y="197"/>
                  </a:cubicBezTo>
                  <a:cubicBezTo>
                    <a:pt x="159" y="263"/>
                    <a:pt x="159" y="263"/>
                    <a:pt x="159" y="263"/>
                  </a:cubicBezTo>
                  <a:cubicBezTo>
                    <a:pt x="216" y="197"/>
                    <a:pt x="216" y="197"/>
                    <a:pt x="216" y="197"/>
                  </a:cubicBezTo>
                  <a:cubicBezTo>
                    <a:pt x="266" y="197"/>
                    <a:pt x="266" y="197"/>
                    <a:pt x="266" y="197"/>
                  </a:cubicBezTo>
                  <a:cubicBezTo>
                    <a:pt x="266" y="21"/>
                    <a:pt x="266" y="21"/>
                    <a:pt x="266" y="21"/>
                  </a:cubicBezTo>
                  <a:cubicBezTo>
                    <a:pt x="266" y="9"/>
                    <a:pt x="258" y="0"/>
                    <a:pt x="247" y="0"/>
                  </a:cubicBezTo>
                  <a:close/>
                  <a:moveTo>
                    <a:pt x="82" y="131"/>
                  </a:moveTo>
                  <a:cubicBezTo>
                    <a:pt x="81" y="134"/>
                    <a:pt x="79" y="137"/>
                    <a:pt x="77" y="139"/>
                  </a:cubicBezTo>
                  <a:cubicBezTo>
                    <a:pt x="74" y="141"/>
                    <a:pt x="71" y="143"/>
                    <a:pt x="67" y="144"/>
                  </a:cubicBezTo>
                  <a:cubicBezTo>
                    <a:pt x="63" y="145"/>
                    <a:pt x="59" y="146"/>
                    <a:pt x="53" y="146"/>
                  </a:cubicBezTo>
                  <a:cubicBezTo>
                    <a:pt x="49" y="146"/>
                    <a:pt x="45" y="146"/>
                    <a:pt x="42" y="145"/>
                  </a:cubicBezTo>
                  <a:cubicBezTo>
                    <a:pt x="38" y="145"/>
                    <a:pt x="36" y="144"/>
                    <a:pt x="34" y="143"/>
                  </a:cubicBezTo>
                  <a:cubicBezTo>
                    <a:pt x="32" y="143"/>
                    <a:pt x="31" y="142"/>
                    <a:pt x="30" y="141"/>
                  </a:cubicBezTo>
                  <a:cubicBezTo>
                    <a:pt x="29" y="140"/>
                    <a:pt x="29" y="138"/>
                    <a:pt x="29" y="137"/>
                  </a:cubicBezTo>
                  <a:cubicBezTo>
                    <a:pt x="29" y="127"/>
                    <a:pt x="29" y="127"/>
                    <a:pt x="29" y="127"/>
                  </a:cubicBezTo>
                  <a:cubicBezTo>
                    <a:pt x="32" y="127"/>
                    <a:pt x="35" y="127"/>
                    <a:pt x="39" y="127"/>
                  </a:cubicBezTo>
                  <a:cubicBezTo>
                    <a:pt x="42" y="127"/>
                    <a:pt x="45" y="127"/>
                    <a:pt x="48" y="127"/>
                  </a:cubicBezTo>
                  <a:cubicBezTo>
                    <a:pt x="51" y="127"/>
                    <a:pt x="53" y="127"/>
                    <a:pt x="55" y="127"/>
                  </a:cubicBezTo>
                  <a:cubicBezTo>
                    <a:pt x="57" y="126"/>
                    <a:pt x="59" y="126"/>
                    <a:pt x="59" y="125"/>
                  </a:cubicBezTo>
                  <a:cubicBezTo>
                    <a:pt x="60" y="125"/>
                    <a:pt x="61" y="124"/>
                    <a:pt x="61" y="123"/>
                  </a:cubicBezTo>
                  <a:cubicBezTo>
                    <a:pt x="62" y="122"/>
                    <a:pt x="62" y="121"/>
                    <a:pt x="62" y="120"/>
                  </a:cubicBezTo>
                  <a:cubicBezTo>
                    <a:pt x="62" y="118"/>
                    <a:pt x="62" y="117"/>
                    <a:pt x="61" y="116"/>
                  </a:cubicBezTo>
                  <a:cubicBezTo>
                    <a:pt x="61" y="115"/>
                    <a:pt x="60" y="114"/>
                    <a:pt x="59" y="113"/>
                  </a:cubicBezTo>
                  <a:cubicBezTo>
                    <a:pt x="58" y="112"/>
                    <a:pt x="57" y="112"/>
                    <a:pt x="55" y="111"/>
                  </a:cubicBezTo>
                  <a:cubicBezTo>
                    <a:pt x="53" y="110"/>
                    <a:pt x="51" y="109"/>
                    <a:pt x="48" y="108"/>
                  </a:cubicBezTo>
                  <a:cubicBezTo>
                    <a:pt x="44" y="106"/>
                    <a:pt x="41" y="105"/>
                    <a:pt x="38" y="103"/>
                  </a:cubicBezTo>
                  <a:cubicBezTo>
                    <a:pt x="36" y="101"/>
                    <a:pt x="34" y="99"/>
                    <a:pt x="32" y="97"/>
                  </a:cubicBezTo>
                  <a:cubicBezTo>
                    <a:pt x="31" y="95"/>
                    <a:pt x="30" y="93"/>
                    <a:pt x="29" y="90"/>
                  </a:cubicBezTo>
                  <a:cubicBezTo>
                    <a:pt x="28" y="88"/>
                    <a:pt x="28" y="85"/>
                    <a:pt x="28" y="81"/>
                  </a:cubicBezTo>
                  <a:cubicBezTo>
                    <a:pt x="28" y="76"/>
                    <a:pt x="29" y="72"/>
                    <a:pt x="30" y="69"/>
                  </a:cubicBezTo>
                  <a:cubicBezTo>
                    <a:pt x="32" y="65"/>
                    <a:pt x="34" y="62"/>
                    <a:pt x="36" y="60"/>
                  </a:cubicBezTo>
                  <a:cubicBezTo>
                    <a:pt x="39" y="58"/>
                    <a:pt x="42" y="57"/>
                    <a:pt x="46" y="56"/>
                  </a:cubicBezTo>
                  <a:cubicBezTo>
                    <a:pt x="50" y="55"/>
                    <a:pt x="54" y="54"/>
                    <a:pt x="58" y="54"/>
                  </a:cubicBezTo>
                  <a:cubicBezTo>
                    <a:pt x="63" y="54"/>
                    <a:pt x="66" y="55"/>
                    <a:pt x="69" y="55"/>
                  </a:cubicBezTo>
                  <a:cubicBezTo>
                    <a:pt x="72" y="56"/>
                    <a:pt x="75" y="56"/>
                    <a:pt x="76" y="57"/>
                  </a:cubicBezTo>
                  <a:cubicBezTo>
                    <a:pt x="79" y="58"/>
                    <a:pt x="80" y="59"/>
                    <a:pt x="80" y="60"/>
                  </a:cubicBezTo>
                  <a:cubicBezTo>
                    <a:pt x="81" y="62"/>
                    <a:pt x="81" y="63"/>
                    <a:pt x="81" y="64"/>
                  </a:cubicBezTo>
                  <a:cubicBezTo>
                    <a:pt x="81" y="73"/>
                    <a:pt x="81" y="73"/>
                    <a:pt x="81" y="73"/>
                  </a:cubicBezTo>
                  <a:cubicBezTo>
                    <a:pt x="79" y="73"/>
                    <a:pt x="77" y="73"/>
                    <a:pt x="76" y="73"/>
                  </a:cubicBezTo>
                  <a:cubicBezTo>
                    <a:pt x="74" y="73"/>
                    <a:pt x="73" y="73"/>
                    <a:pt x="71" y="73"/>
                  </a:cubicBezTo>
                  <a:cubicBezTo>
                    <a:pt x="70" y="73"/>
                    <a:pt x="68" y="73"/>
                    <a:pt x="67" y="73"/>
                  </a:cubicBezTo>
                  <a:cubicBezTo>
                    <a:pt x="65" y="72"/>
                    <a:pt x="64" y="72"/>
                    <a:pt x="62" y="72"/>
                  </a:cubicBezTo>
                  <a:cubicBezTo>
                    <a:pt x="59" y="72"/>
                    <a:pt x="57" y="73"/>
                    <a:pt x="56" y="73"/>
                  </a:cubicBezTo>
                  <a:cubicBezTo>
                    <a:pt x="54" y="73"/>
                    <a:pt x="53" y="74"/>
                    <a:pt x="52" y="74"/>
                  </a:cubicBezTo>
                  <a:cubicBezTo>
                    <a:pt x="51" y="75"/>
                    <a:pt x="50" y="76"/>
                    <a:pt x="50" y="77"/>
                  </a:cubicBezTo>
                  <a:cubicBezTo>
                    <a:pt x="50" y="78"/>
                    <a:pt x="49" y="79"/>
                    <a:pt x="49" y="80"/>
                  </a:cubicBezTo>
                  <a:cubicBezTo>
                    <a:pt x="49" y="81"/>
                    <a:pt x="50" y="82"/>
                    <a:pt x="50" y="83"/>
                  </a:cubicBezTo>
                  <a:cubicBezTo>
                    <a:pt x="50" y="84"/>
                    <a:pt x="51" y="85"/>
                    <a:pt x="52" y="85"/>
                  </a:cubicBezTo>
                  <a:cubicBezTo>
                    <a:pt x="52" y="86"/>
                    <a:pt x="54" y="87"/>
                    <a:pt x="56" y="88"/>
                  </a:cubicBezTo>
                  <a:cubicBezTo>
                    <a:pt x="57" y="89"/>
                    <a:pt x="60" y="90"/>
                    <a:pt x="63" y="91"/>
                  </a:cubicBezTo>
                  <a:cubicBezTo>
                    <a:pt x="66" y="93"/>
                    <a:pt x="70" y="94"/>
                    <a:pt x="72" y="96"/>
                  </a:cubicBezTo>
                  <a:cubicBezTo>
                    <a:pt x="75" y="98"/>
                    <a:pt x="77" y="99"/>
                    <a:pt x="79" y="101"/>
                  </a:cubicBezTo>
                  <a:cubicBezTo>
                    <a:pt x="81" y="103"/>
                    <a:pt x="82" y="106"/>
                    <a:pt x="82" y="109"/>
                  </a:cubicBezTo>
                  <a:cubicBezTo>
                    <a:pt x="83" y="111"/>
                    <a:pt x="84" y="114"/>
                    <a:pt x="84" y="118"/>
                  </a:cubicBezTo>
                  <a:cubicBezTo>
                    <a:pt x="84" y="123"/>
                    <a:pt x="83" y="127"/>
                    <a:pt x="82" y="131"/>
                  </a:cubicBezTo>
                  <a:close/>
                  <a:moveTo>
                    <a:pt x="160" y="144"/>
                  </a:moveTo>
                  <a:cubicBezTo>
                    <a:pt x="157" y="144"/>
                    <a:pt x="155" y="143"/>
                    <a:pt x="155" y="140"/>
                  </a:cubicBezTo>
                  <a:cubicBezTo>
                    <a:pt x="155" y="126"/>
                    <a:pt x="155" y="126"/>
                    <a:pt x="155" y="126"/>
                  </a:cubicBezTo>
                  <a:cubicBezTo>
                    <a:pt x="155" y="121"/>
                    <a:pt x="155" y="115"/>
                    <a:pt x="155" y="110"/>
                  </a:cubicBezTo>
                  <a:cubicBezTo>
                    <a:pt x="155" y="104"/>
                    <a:pt x="155" y="99"/>
                    <a:pt x="155" y="93"/>
                  </a:cubicBezTo>
                  <a:cubicBezTo>
                    <a:pt x="155" y="88"/>
                    <a:pt x="155" y="83"/>
                    <a:pt x="155" y="79"/>
                  </a:cubicBezTo>
                  <a:cubicBezTo>
                    <a:pt x="144" y="122"/>
                    <a:pt x="144" y="122"/>
                    <a:pt x="144" y="122"/>
                  </a:cubicBezTo>
                  <a:cubicBezTo>
                    <a:pt x="131" y="122"/>
                    <a:pt x="131" y="122"/>
                    <a:pt x="131" y="122"/>
                  </a:cubicBezTo>
                  <a:cubicBezTo>
                    <a:pt x="129" y="122"/>
                    <a:pt x="128" y="122"/>
                    <a:pt x="127" y="121"/>
                  </a:cubicBezTo>
                  <a:cubicBezTo>
                    <a:pt x="127" y="120"/>
                    <a:pt x="126" y="119"/>
                    <a:pt x="126" y="118"/>
                  </a:cubicBezTo>
                  <a:cubicBezTo>
                    <a:pt x="116" y="79"/>
                    <a:pt x="116" y="79"/>
                    <a:pt x="116" y="79"/>
                  </a:cubicBezTo>
                  <a:cubicBezTo>
                    <a:pt x="116" y="83"/>
                    <a:pt x="116" y="88"/>
                    <a:pt x="116" y="94"/>
                  </a:cubicBezTo>
                  <a:cubicBezTo>
                    <a:pt x="116" y="100"/>
                    <a:pt x="116" y="106"/>
                    <a:pt x="116" y="112"/>
                  </a:cubicBezTo>
                  <a:cubicBezTo>
                    <a:pt x="116" y="118"/>
                    <a:pt x="116" y="124"/>
                    <a:pt x="116" y="129"/>
                  </a:cubicBezTo>
                  <a:cubicBezTo>
                    <a:pt x="116" y="144"/>
                    <a:pt x="116" y="144"/>
                    <a:pt x="116" y="144"/>
                  </a:cubicBezTo>
                  <a:cubicBezTo>
                    <a:pt x="100" y="144"/>
                    <a:pt x="100" y="144"/>
                    <a:pt x="100" y="144"/>
                  </a:cubicBezTo>
                  <a:cubicBezTo>
                    <a:pt x="97" y="144"/>
                    <a:pt x="95" y="143"/>
                    <a:pt x="95" y="140"/>
                  </a:cubicBezTo>
                  <a:cubicBezTo>
                    <a:pt x="95" y="126"/>
                    <a:pt x="96" y="112"/>
                    <a:pt x="96" y="99"/>
                  </a:cubicBezTo>
                  <a:cubicBezTo>
                    <a:pt x="97" y="85"/>
                    <a:pt x="98" y="71"/>
                    <a:pt x="99" y="56"/>
                  </a:cubicBezTo>
                  <a:cubicBezTo>
                    <a:pt x="121" y="56"/>
                    <a:pt x="121" y="56"/>
                    <a:pt x="121" y="56"/>
                  </a:cubicBezTo>
                  <a:cubicBezTo>
                    <a:pt x="123" y="56"/>
                    <a:pt x="124" y="56"/>
                    <a:pt x="125" y="57"/>
                  </a:cubicBezTo>
                  <a:cubicBezTo>
                    <a:pt x="126" y="58"/>
                    <a:pt x="126" y="59"/>
                    <a:pt x="127" y="61"/>
                  </a:cubicBezTo>
                  <a:cubicBezTo>
                    <a:pt x="136" y="100"/>
                    <a:pt x="136" y="100"/>
                    <a:pt x="136" y="100"/>
                  </a:cubicBezTo>
                  <a:cubicBezTo>
                    <a:pt x="146" y="56"/>
                    <a:pt x="146" y="56"/>
                    <a:pt x="146" y="56"/>
                  </a:cubicBezTo>
                  <a:cubicBezTo>
                    <a:pt x="168" y="56"/>
                    <a:pt x="168" y="56"/>
                    <a:pt x="168" y="56"/>
                  </a:cubicBezTo>
                  <a:cubicBezTo>
                    <a:pt x="170" y="56"/>
                    <a:pt x="171" y="56"/>
                    <a:pt x="171" y="57"/>
                  </a:cubicBezTo>
                  <a:cubicBezTo>
                    <a:pt x="172" y="58"/>
                    <a:pt x="172" y="59"/>
                    <a:pt x="172" y="61"/>
                  </a:cubicBezTo>
                  <a:cubicBezTo>
                    <a:pt x="173" y="73"/>
                    <a:pt x="174" y="86"/>
                    <a:pt x="175" y="99"/>
                  </a:cubicBezTo>
                  <a:cubicBezTo>
                    <a:pt x="176" y="113"/>
                    <a:pt x="176" y="128"/>
                    <a:pt x="176" y="144"/>
                  </a:cubicBezTo>
                  <a:lnTo>
                    <a:pt x="160" y="144"/>
                  </a:lnTo>
                  <a:close/>
                  <a:moveTo>
                    <a:pt x="242" y="131"/>
                  </a:moveTo>
                  <a:cubicBezTo>
                    <a:pt x="241" y="134"/>
                    <a:pt x="239" y="137"/>
                    <a:pt x="237" y="139"/>
                  </a:cubicBezTo>
                  <a:cubicBezTo>
                    <a:pt x="235" y="141"/>
                    <a:pt x="231" y="143"/>
                    <a:pt x="228" y="144"/>
                  </a:cubicBezTo>
                  <a:cubicBezTo>
                    <a:pt x="224" y="145"/>
                    <a:pt x="219" y="146"/>
                    <a:pt x="214" y="146"/>
                  </a:cubicBezTo>
                  <a:cubicBezTo>
                    <a:pt x="210" y="146"/>
                    <a:pt x="206" y="146"/>
                    <a:pt x="202" y="145"/>
                  </a:cubicBezTo>
                  <a:cubicBezTo>
                    <a:pt x="199" y="145"/>
                    <a:pt x="196" y="144"/>
                    <a:pt x="194" y="143"/>
                  </a:cubicBezTo>
                  <a:cubicBezTo>
                    <a:pt x="192" y="143"/>
                    <a:pt x="191" y="142"/>
                    <a:pt x="190" y="141"/>
                  </a:cubicBezTo>
                  <a:cubicBezTo>
                    <a:pt x="190" y="140"/>
                    <a:pt x="189" y="138"/>
                    <a:pt x="189" y="137"/>
                  </a:cubicBezTo>
                  <a:cubicBezTo>
                    <a:pt x="189" y="127"/>
                    <a:pt x="189" y="127"/>
                    <a:pt x="189" y="127"/>
                  </a:cubicBezTo>
                  <a:cubicBezTo>
                    <a:pt x="193" y="127"/>
                    <a:pt x="196" y="127"/>
                    <a:pt x="199" y="127"/>
                  </a:cubicBezTo>
                  <a:cubicBezTo>
                    <a:pt x="202" y="127"/>
                    <a:pt x="205" y="127"/>
                    <a:pt x="209" y="127"/>
                  </a:cubicBezTo>
                  <a:cubicBezTo>
                    <a:pt x="211" y="127"/>
                    <a:pt x="214" y="127"/>
                    <a:pt x="216" y="127"/>
                  </a:cubicBezTo>
                  <a:cubicBezTo>
                    <a:pt x="217" y="126"/>
                    <a:pt x="219" y="126"/>
                    <a:pt x="220" y="125"/>
                  </a:cubicBezTo>
                  <a:cubicBezTo>
                    <a:pt x="221" y="125"/>
                    <a:pt x="221" y="124"/>
                    <a:pt x="222" y="123"/>
                  </a:cubicBezTo>
                  <a:cubicBezTo>
                    <a:pt x="222" y="122"/>
                    <a:pt x="222" y="121"/>
                    <a:pt x="222" y="120"/>
                  </a:cubicBezTo>
                  <a:cubicBezTo>
                    <a:pt x="222" y="118"/>
                    <a:pt x="222" y="117"/>
                    <a:pt x="222" y="116"/>
                  </a:cubicBezTo>
                  <a:cubicBezTo>
                    <a:pt x="221" y="115"/>
                    <a:pt x="220" y="114"/>
                    <a:pt x="219" y="113"/>
                  </a:cubicBezTo>
                  <a:cubicBezTo>
                    <a:pt x="218" y="112"/>
                    <a:pt x="217" y="112"/>
                    <a:pt x="215" y="111"/>
                  </a:cubicBezTo>
                  <a:cubicBezTo>
                    <a:pt x="213" y="110"/>
                    <a:pt x="211" y="109"/>
                    <a:pt x="208" y="108"/>
                  </a:cubicBezTo>
                  <a:cubicBezTo>
                    <a:pt x="204" y="106"/>
                    <a:pt x="201" y="105"/>
                    <a:pt x="198" y="103"/>
                  </a:cubicBezTo>
                  <a:cubicBezTo>
                    <a:pt x="196" y="101"/>
                    <a:pt x="194" y="99"/>
                    <a:pt x="192" y="97"/>
                  </a:cubicBezTo>
                  <a:cubicBezTo>
                    <a:pt x="191" y="95"/>
                    <a:pt x="190" y="93"/>
                    <a:pt x="189" y="90"/>
                  </a:cubicBezTo>
                  <a:cubicBezTo>
                    <a:pt x="189" y="88"/>
                    <a:pt x="188" y="85"/>
                    <a:pt x="188" y="81"/>
                  </a:cubicBezTo>
                  <a:cubicBezTo>
                    <a:pt x="188" y="76"/>
                    <a:pt x="189" y="72"/>
                    <a:pt x="191" y="69"/>
                  </a:cubicBezTo>
                  <a:cubicBezTo>
                    <a:pt x="192" y="65"/>
                    <a:pt x="194" y="62"/>
                    <a:pt x="197" y="60"/>
                  </a:cubicBezTo>
                  <a:cubicBezTo>
                    <a:pt x="199" y="58"/>
                    <a:pt x="202" y="57"/>
                    <a:pt x="206" y="56"/>
                  </a:cubicBezTo>
                  <a:cubicBezTo>
                    <a:pt x="210" y="55"/>
                    <a:pt x="214" y="54"/>
                    <a:pt x="219" y="54"/>
                  </a:cubicBezTo>
                  <a:cubicBezTo>
                    <a:pt x="223" y="54"/>
                    <a:pt x="227" y="55"/>
                    <a:pt x="230" y="55"/>
                  </a:cubicBezTo>
                  <a:cubicBezTo>
                    <a:pt x="233" y="56"/>
                    <a:pt x="235" y="56"/>
                    <a:pt x="237" y="57"/>
                  </a:cubicBezTo>
                  <a:cubicBezTo>
                    <a:pt x="239" y="58"/>
                    <a:pt x="240" y="59"/>
                    <a:pt x="240" y="60"/>
                  </a:cubicBezTo>
                  <a:cubicBezTo>
                    <a:pt x="241" y="62"/>
                    <a:pt x="241" y="63"/>
                    <a:pt x="241" y="64"/>
                  </a:cubicBezTo>
                  <a:cubicBezTo>
                    <a:pt x="241" y="73"/>
                    <a:pt x="241" y="73"/>
                    <a:pt x="241" y="73"/>
                  </a:cubicBezTo>
                  <a:cubicBezTo>
                    <a:pt x="239" y="73"/>
                    <a:pt x="237" y="73"/>
                    <a:pt x="236" y="73"/>
                  </a:cubicBezTo>
                  <a:cubicBezTo>
                    <a:pt x="234" y="73"/>
                    <a:pt x="233" y="73"/>
                    <a:pt x="231" y="73"/>
                  </a:cubicBezTo>
                  <a:cubicBezTo>
                    <a:pt x="230" y="73"/>
                    <a:pt x="229" y="73"/>
                    <a:pt x="227" y="73"/>
                  </a:cubicBezTo>
                  <a:cubicBezTo>
                    <a:pt x="226" y="72"/>
                    <a:pt x="224" y="72"/>
                    <a:pt x="222" y="72"/>
                  </a:cubicBezTo>
                  <a:cubicBezTo>
                    <a:pt x="220" y="72"/>
                    <a:pt x="218" y="73"/>
                    <a:pt x="216" y="73"/>
                  </a:cubicBezTo>
                  <a:cubicBezTo>
                    <a:pt x="214" y="73"/>
                    <a:pt x="213" y="74"/>
                    <a:pt x="212" y="74"/>
                  </a:cubicBezTo>
                  <a:cubicBezTo>
                    <a:pt x="211" y="75"/>
                    <a:pt x="211" y="76"/>
                    <a:pt x="210" y="77"/>
                  </a:cubicBezTo>
                  <a:cubicBezTo>
                    <a:pt x="210" y="78"/>
                    <a:pt x="210" y="79"/>
                    <a:pt x="210" y="80"/>
                  </a:cubicBezTo>
                  <a:cubicBezTo>
                    <a:pt x="210" y="81"/>
                    <a:pt x="210" y="82"/>
                    <a:pt x="210" y="83"/>
                  </a:cubicBezTo>
                  <a:cubicBezTo>
                    <a:pt x="210" y="84"/>
                    <a:pt x="211" y="85"/>
                    <a:pt x="212" y="85"/>
                  </a:cubicBezTo>
                  <a:cubicBezTo>
                    <a:pt x="213" y="86"/>
                    <a:pt x="214" y="87"/>
                    <a:pt x="216" y="88"/>
                  </a:cubicBezTo>
                  <a:cubicBezTo>
                    <a:pt x="218" y="89"/>
                    <a:pt x="220" y="90"/>
                    <a:pt x="223" y="91"/>
                  </a:cubicBezTo>
                  <a:cubicBezTo>
                    <a:pt x="227" y="93"/>
                    <a:pt x="230" y="94"/>
                    <a:pt x="233" y="96"/>
                  </a:cubicBezTo>
                  <a:cubicBezTo>
                    <a:pt x="235" y="98"/>
                    <a:pt x="238" y="99"/>
                    <a:pt x="239" y="101"/>
                  </a:cubicBezTo>
                  <a:cubicBezTo>
                    <a:pt x="241" y="103"/>
                    <a:pt x="242" y="106"/>
                    <a:pt x="243" y="109"/>
                  </a:cubicBezTo>
                  <a:cubicBezTo>
                    <a:pt x="243" y="111"/>
                    <a:pt x="244" y="114"/>
                    <a:pt x="244" y="118"/>
                  </a:cubicBezTo>
                  <a:cubicBezTo>
                    <a:pt x="244" y="123"/>
                    <a:pt x="243" y="127"/>
                    <a:pt x="242" y="131"/>
                  </a:cubicBez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grpSp>
      <p:sp>
        <p:nvSpPr>
          <p:cNvPr id="21" name="Freeform 20"/>
          <p:cNvSpPr>
            <a:spLocks/>
          </p:cNvSpPr>
          <p:nvPr/>
        </p:nvSpPr>
        <p:spPr bwMode="auto">
          <a:xfrm>
            <a:off x="4151768" y="2791138"/>
            <a:ext cx="555452" cy="548093"/>
          </a:xfrm>
          <a:custGeom>
            <a:avLst/>
            <a:gdLst>
              <a:gd name="T0" fmla="*/ 371 w 400"/>
              <a:gd name="T1" fmla="*/ 0 h 394"/>
              <a:gd name="T2" fmla="*/ 0 w 400"/>
              <a:gd name="T3" fmla="*/ 0 h 394"/>
              <a:gd name="T4" fmla="*/ 0 w 400"/>
              <a:gd name="T5" fmla="*/ 265 h 394"/>
              <a:gd name="T6" fmla="*/ 29 w 400"/>
              <a:gd name="T7" fmla="*/ 296 h 394"/>
              <a:gd name="T8" fmla="*/ 237 w 400"/>
              <a:gd name="T9" fmla="*/ 296 h 394"/>
              <a:gd name="T10" fmla="*/ 239 w 400"/>
              <a:gd name="T11" fmla="*/ 394 h 394"/>
              <a:gd name="T12" fmla="*/ 324 w 400"/>
              <a:gd name="T13" fmla="*/ 296 h 394"/>
              <a:gd name="T14" fmla="*/ 400 w 400"/>
              <a:gd name="T15" fmla="*/ 296 h 394"/>
              <a:gd name="T16" fmla="*/ 400 w 400"/>
              <a:gd name="T17" fmla="*/ 31 h 394"/>
              <a:gd name="T18" fmla="*/ 371 w 400"/>
              <a:gd name="T19" fmla="*/ 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394">
                <a:moveTo>
                  <a:pt x="371" y="0"/>
                </a:moveTo>
                <a:cubicBezTo>
                  <a:pt x="0" y="0"/>
                  <a:pt x="0" y="0"/>
                  <a:pt x="0" y="0"/>
                </a:cubicBezTo>
                <a:cubicBezTo>
                  <a:pt x="0" y="265"/>
                  <a:pt x="0" y="265"/>
                  <a:pt x="0" y="265"/>
                </a:cubicBezTo>
                <a:cubicBezTo>
                  <a:pt x="0" y="282"/>
                  <a:pt x="13" y="296"/>
                  <a:pt x="29" y="296"/>
                </a:cubicBezTo>
                <a:cubicBezTo>
                  <a:pt x="237" y="296"/>
                  <a:pt x="237" y="296"/>
                  <a:pt x="237" y="296"/>
                </a:cubicBezTo>
                <a:cubicBezTo>
                  <a:pt x="239" y="394"/>
                  <a:pt x="239" y="394"/>
                  <a:pt x="239" y="394"/>
                </a:cubicBezTo>
                <a:cubicBezTo>
                  <a:pt x="324" y="296"/>
                  <a:pt x="324" y="296"/>
                  <a:pt x="324" y="296"/>
                </a:cubicBezTo>
                <a:cubicBezTo>
                  <a:pt x="400" y="296"/>
                  <a:pt x="400" y="296"/>
                  <a:pt x="400" y="296"/>
                </a:cubicBezTo>
                <a:cubicBezTo>
                  <a:pt x="400" y="31"/>
                  <a:pt x="400" y="31"/>
                  <a:pt x="400" y="31"/>
                </a:cubicBezTo>
                <a:cubicBezTo>
                  <a:pt x="400" y="14"/>
                  <a:pt x="387" y="0"/>
                  <a:pt x="371" y="0"/>
                </a:cubicBez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9909" tIns="64954" rIns="129909" bIns="64954"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grpSp>
        <p:nvGrpSpPr>
          <p:cNvPr id="22" name="Group 21"/>
          <p:cNvGrpSpPr/>
          <p:nvPr/>
        </p:nvGrpSpPr>
        <p:grpSpPr>
          <a:xfrm>
            <a:off x="5286538" y="2507388"/>
            <a:ext cx="460449" cy="596425"/>
            <a:chOff x="0" y="0"/>
            <a:chExt cx="1082675" cy="1400175"/>
          </a:xfrm>
        </p:grpSpPr>
        <p:sp>
          <p:nvSpPr>
            <p:cNvPr id="23" name="Freeform 22"/>
            <p:cNvSpPr>
              <a:spLocks noEditPoints="1"/>
            </p:cNvSpPr>
            <p:nvPr/>
          </p:nvSpPr>
          <p:spPr bwMode="auto">
            <a:xfrm>
              <a:off x="0" y="0"/>
              <a:ext cx="1082675" cy="1400175"/>
            </a:xfrm>
            <a:custGeom>
              <a:avLst/>
              <a:gdLst>
                <a:gd name="T0" fmla="*/ 192 w 288"/>
                <a:gd name="T1" fmla="*/ 0 h 372"/>
                <a:gd name="T2" fmla="*/ 176 w 288"/>
                <a:gd name="T3" fmla="*/ 0 h 372"/>
                <a:gd name="T4" fmla="*/ 0 w 288"/>
                <a:gd name="T5" fmla="*/ 0 h 372"/>
                <a:gd name="T6" fmla="*/ 0 w 288"/>
                <a:gd name="T7" fmla="*/ 316 h 372"/>
                <a:gd name="T8" fmla="*/ 0 w 288"/>
                <a:gd name="T9" fmla="*/ 335 h 372"/>
                <a:gd name="T10" fmla="*/ 0 w 288"/>
                <a:gd name="T11" fmla="*/ 348 h 372"/>
                <a:gd name="T12" fmla="*/ 24 w 288"/>
                <a:gd name="T13" fmla="*/ 372 h 372"/>
                <a:gd name="T14" fmla="*/ 288 w 288"/>
                <a:gd name="T15" fmla="*/ 372 h 372"/>
                <a:gd name="T16" fmla="*/ 288 w 288"/>
                <a:gd name="T17" fmla="*/ 112 h 372"/>
                <a:gd name="T18" fmla="*/ 288 w 288"/>
                <a:gd name="T19" fmla="*/ 96 h 372"/>
                <a:gd name="T20" fmla="*/ 192 w 288"/>
                <a:gd name="T21" fmla="*/ 0 h 372"/>
                <a:gd name="T22" fmla="*/ 192 w 288"/>
                <a:gd name="T23" fmla="*/ 29 h 372"/>
                <a:gd name="T24" fmla="*/ 258 w 288"/>
                <a:gd name="T25" fmla="*/ 96 h 372"/>
                <a:gd name="T26" fmla="*/ 192 w 288"/>
                <a:gd name="T27" fmla="*/ 96 h 372"/>
                <a:gd name="T28" fmla="*/ 192 w 288"/>
                <a:gd name="T29" fmla="*/ 29 h 372"/>
                <a:gd name="T30" fmla="*/ 264 w 288"/>
                <a:gd name="T31" fmla="*/ 348 h 372"/>
                <a:gd name="T32" fmla="*/ 24 w 288"/>
                <a:gd name="T33" fmla="*/ 348 h 372"/>
                <a:gd name="T34" fmla="*/ 24 w 288"/>
                <a:gd name="T35" fmla="*/ 335 h 372"/>
                <a:gd name="T36" fmla="*/ 24 w 288"/>
                <a:gd name="T37" fmla="*/ 316 h 372"/>
                <a:gd name="T38" fmla="*/ 24 w 288"/>
                <a:gd name="T39" fmla="*/ 24 h 372"/>
                <a:gd name="T40" fmla="*/ 176 w 288"/>
                <a:gd name="T41" fmla="*/ 24 h 372"/>
                <a:gd name="T42" fmla="*/ 176 w 288"/>
                <a:gd name="T43" fmla="*/ 96 h 372"/>
                <a:gd name="T44" fmla="*/ 192 w 288"/>
                <a:gd name="T45" fmla="*/ 112 h 372"/>
                <a:gd name="T46" fmla="*/ 264 w 288"/>
                <a:gd name="T47" fmla="*/ 112 h 372"/>
                <a:gd name="T48" fmla="*/ 264 w 288"/>
                <a:gd name="T49" fmla="*/ 348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372">
                  <a:moveTo>
                    <a:pt x="192" y="0"/>
                  </a:moveTo>
                  <a:cubicBezTo>
                    <a:pt x="176" y="0"/>
                    <a:pt x="176" y="0"/>
                    <a:pt x="176" y="0"/>
                  </a:cubicBezTo>
                  <a:cubicBezTo>
                    <a:pt x="0" y="0"/>
                    <a:pt x="0" y="0"/>
                    <a:pt x="0" y="0"/>
                  </a:cubicBezTo>
                  <a:cubicBezTo>
                    <a:pt x="0" y="316"/>
                    <a:pt x="0" y="316"/>
                    <a:pt x="0" y="316"/>
                  </a:cubicBezTo>
                  <a:cubicBezTo>
                    <a:pt x="0" y="335"/>
                    <a:pt x="0" y="335"/>
                    <a:pt x="0" y="335"/>
                  </a:cubicBezTo>
                  <a:cubicBezTo>
                    <a:pt x="0" y="348"/>
                    <a:pt x="0" y="348"/>
                    <a:pt x="0" y="348"/>
                  </a:cubicBezTo>
                  <a:cubicBezTo>
                    <a:pt x="0" y="361"/>
                    <a:pt x="11" y="372"/>
                    <a:pt x="24" y="372"/>
                  </a:cubicBezTo>
                  <a:cubicBezTo>
                    <a:pt x="288" y="372"/>
                    <a:pt x="288" y="372"/>
                    <a:pt x="288" y="372"/>
                  </a:cubicBezTo>
                  <a:cubicBezTo>
                    <a:pt x="288" y="112"/>
                    <a:pt x="288" y="112"/>
                    <a:pt x="288" y="112"/>
                  </a:cubicBezTo>
                  <a:cubicBezTo>
                    <a:pt x="288" y="96"/>
                    <a:pt x="288" y="96"/>
                    <a:pt x="288" y="96"/>
                  </a:cubicBezTo>
                  <a:lnTo>
                    <a:pt x="192" y="0"/>
                  </a:lnTo>
                  <a:close/>
                  <a:moveTo>
                    <a:pt x="192" y="29"/>
                  </a:moveTo>
                  <a:cubicBezTo>
                    <a:pt x="258" y="96"/>
                    <a:pt x="258" y="96"/>
                    <a:pt x="258" y="96"/>
                  </a:cubicBezTo>
                  <a:cubicBezTo>
                    <a:pt x="192" y="96"/>
                    <a:pt x="192" y="96"/>
                    <a:pt x="192" y="96"/>
                  </a:cubicBezTo>
                  <a:lnTo>
                    <a:pt x="192" y="29"/>
                  </a:lnTo>
                  <a:close/>
                  <a:moveTo>
                    <a:pt x="264" y="348"/>
                  </a:moveTo>
                  <a:cubicBezTo>
                    <a:pt x="24" y="348"/>
                    <a:pt x="24" y="348"/>
                    <a:pt x="24" y="348"/>
                  </a:cubicBezTo>
                  <a:cubicBezTo>
                    <a:pt x="24" y="335"/>
                    <a:pt x="24" y="335"/>
                    <a:pt x="24" y="335"/>
                  </a:cubicBezTo>
                  <a:cubicBezTo>
                    <a:pt x="24" y="316"/>
                    <a:pt x="24" y="316"/>
                    <a:pt x="24" y="316"/>
                  </a:cubicBezTo>
                  <a:cubicBezTo>
                    <a:pt x="24" y="24"/>
                    <a:pt x="24" y="24"/>
                    <a:pt x="24" y="24"/>
                  </a:cubicBezTo>
                  <a:cubicBezTo>
                    <a:pt x="176" y="24"/>
                    <a:pt x="176" y="24"/>
                    <a:pt x="176" y="24"/>
                  </a:cubicBezTo>
                  <a:cubicBezTo>
                    <a:pt x="176" y="96"/>
                    <a:pt x="176" y="96"/>
                    <a:pt x="176" y="96"/>
                  </a:cubicBezTo>
                  <a:cubicBezTo>
                    <a:pt x="176" y="105"/>
                    <a:pt x="183" y="112"/>
                    <a:pt x="192" y="112"/>
                  </a:cubicBezTo>
                  <a:cubicBezTo>
                    <a:pt x="264" y="112"/>
                    <a:pt x="264" y="112"/>
                    <a:pt x="264" y="112"/>
                  </a:cubicBezTo>
                  <a:lnTo>
                    <a:pt x="264" y="34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24" name="Rectangle 23"/>
            <p:cNvSpPr>
              <a:spLocks noChangeArrowheads="1"/>
            </p:cNvSpPr>
            <p:nvPr/>
          </p:nvSpPr>
          <p:spPr bwMode="auto">
            <a:xfrm>
              <a:off x="274638" y="881062"/>
              <a:ext cx="552450" cy="889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25" name="Rectangle 24"/>
            <p:cNvSpPr>
              <a:spLocks noChangeArrowheads="1"/>
            </p:cNvSpPr>
            <p:nvPr/>
          </p:nvSpPr>
          <p:spPr bwMode="auto">
            <a:xfrm>
              <a:off x="274638" y="700087"/>
              <a:ext cx="552450" cy="904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26" name="Rectangle 25"/>
            <p:cNvSpPr>
              <a:spLocks noChangeArrowheads="1"/>
            </p:cNvSpPr>
            <p:nvPr/>
          </p:nvSpPr>
          <p:spPr bwMode="auto">
            <a:xfrm>
              <a:off x="274638" y="1060450"/>
              <a:ext cx="552450" cy="904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grpSp>
      <p:grpSp>
        <p:nvGrpSpPr>
          <p:cNvPr id="27" name="Group 26"/>
          <p:cNvGrpSpPr/>
          <p:nvPr/>
        </p:nvGrpSpPr>
        <p:grpSpPr>
          <a:xfrm>
            <a:off x="4938761" y="3344768"/>
            <a:ext cx="595852" cy="437228"/>
            <a:chOff x="0" y="0"/>
            <a:chExt cx="1484312" cy="1087438"/>
          </a:xfrm>
        </p:grpSpPr>
        <p:sp>
          <p:nvSpPr>
            <p:cNvPr id="28" name="Freeform 27"/>
            <p:cNvSpPr>
              <a:spLocks noEditPoints="1"/>
            </p:cNvSpPr>
            <p:nvPr/>
          </p:nvSpPr>
          <p:spPr bwMode="auto">
            <a:xfrm>
              <a:off x="0" y="0"/>
              <a:ext cx="1484312" cy="1087438"/>
            </a:xfrm>
            <a:custGeom>
              <a:avLst/>
              <a:gdLst>
                <a:gd name="T0" fmla="*/ 371 w 396"/>
                <a:gd name="T1" fmla="*/ 0 h 290"/>
                <a:gd name="T2" fmla="*/ 0 w 396"/>
                <a:gd name="T3" fmla="*/ 0 h 290"/>
                <a:gd name="T4" fmla="*/ 0 w 396"/>
                <a:gd name="T5" fmla="*/ 265 h 290"/>
                <a:gd name="T6" fmla="*/ 25 w 396"/>
                <a:gd name="T7" fmla="*/ 290 h 290"/>
                <a:gd name="T8" fmla="*/ 396 w 396"/>
                <a:gd name="T9" fmla="*/ 290 h 290"/>
                <a:gd name="T10" fmla="*/ 396 w 396"/>
                <a:gd name="T11" fmla="*/ 25 h 290"/>
                <a:gd name="T12" fmla="*/ 371 w 396"/>
                <a:gd name="T13" fmla="*/ 0 h 290"/>
                <a:gd name="T14" fmla="*/ 372 w 396"/>
                <a:gd name="T15" fmla="*/ 266 h 290"/>
                <a:gd name="T16" fmla="*/ 25 w 396"/>
                <a:gd name="T17" fmla="*/ 266 h 290"/>
                <a:gd name="T18" fmla="*/ 24 w 396"/>
                <a:gd name="T19" fmla="*/ 266 h 290"/>
                <a:gd name="T20" fmla="*/ 24 w 396"/>
                <a:gd name="T21" fmla="*/ 266 h 290"/>
                <a:gd name="T22" fmla="*/ 24 w 396"/>
                <a:gd name="T23" fmla="*/ 265 h 290"/>
                <a:gd name="T24" fmla="*/ 24 w 396"/>
                <a:gd name="T25" fmla="*/ 265 h 290"/>
                <a:gd name="T26" fmla="*/ 24 w 396"/>
                <a:gd name="T27" fmla="*/ 24 h 290"/>
                <a:gd name="T28" fmla="*/ 24 w 396"/>
                <a:gd name="T29" fmla="*/ 24 h 290"/>
                <a:gd name="T30" fmla="*/ 24 w 396"/>
                <a:gd name="T31" fmla="*/ 24 h 290"/>
                <a:gd name="T32" fmla="*/ 372 w 396"/>
                <a:gd name="T33" fmla="*/ 24 h 290"/>
                <a:gd name="T34" fmla="*/ 372 w 396"/>
                <a:gd name="T35" fmla="*/ 25 h 290"/>
                <a:gd name="T36" fmla="*/ 372 w 396"/>
                <a:gd name="T37" fmla="*/ 25 h 290"/>
                <a:gd name="T38" fmla="*/ 372 w 396"/>
                <a:gd name="T39" fmla="*/ 266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6" h="290">
                  <a:moveTo>
                    <a:pt x="371" y="0"/>
                  </a:moveTo>
                  <a:cubicBezTo>
                    <a:pt x="0" y="0"/>
                    <a:pt x="0" y="0"/>
                    <a:pt x="0" y="0"/>
                  </a:cubicBezTo>
                  <a:cubicBezTo>
                    <a:pt x="0" y="265"/>
                    <a:pt x="0" y="265"/>
                    <a:pt x="0" y="265"/>
                  </a:cubicBezTo>
                  <a:cubicBezTo>
                    <a:pt x="0" y="279"/>
                    <a:pt x="11" y="290"/>
                    <a:pt x="25" y="290"/>
                  </a:cubicBezTo>
                  <a:cubicBezTo>
                    <a:pt x="396" y="290"/>
                    <a:pt x="396" y="290"/>
                    <a:pt x="396" y="290"/>
                  </a:cubicBezTo>
                  <a:cubicBezTo>
                    <a:pt x="396" y="25"/>
                    <a:pt x="396" y="25"/>
                    <a:pt x="396" y="25"/>
                  </a:cubicBezTo>
                  <a:cubicBezTo>
                    <a:pt x="396" y="11"/>
                    <a:pt x="385" y="0"/>
                    <a:pt x="371" y="0"/>
                  </a:cubicBezTo>
                  <a:close/>
                  <a:moveTo>
                    <a:pt x="372" y="266"/>
                  </a:moveTo>
                  <a:cubicBezTo>
                    <a:pt x="25" y="266"/>
                    <a:pt x="25" y="266"/>
                    <a:pt x="25" y="266"/>
                  </a:cubicBezTo>
                  <a:cubicBezTo>
                    <a:pt x="25" y="266"/>
                    <a:pt x="24" y="266"/>
                    <a:pt x="24" y="266"/>
                  </a:cubicBezTo>
                  <a:cubicBezTo>
                    <a:pt x="24" y="266"/>
                    <a:pt x="24" y="266"/>
                    <a:pt x="24" y="266"/>
                  </a:cubicBezTo>
                  <a:cubicBezTo>
                    <a:pt x="24" y="265"/>
                    <a:pt x="24" y="265"/>
                    <a:pt x="24" y="265"/>
                  </a:cubicBezTo>
                  <a:cubicBezTo>
                    <a:pt x="24" y="265"/>
                    <a:pt x="24" y="265"/>
                    <a:pt x="24" y="265"/>
                  </a:cubicBezTo>
                  <a:cubicBezTo>
                    <a:pt x="24" y="24"/>
                    <a:pt x="24" y="24"/>
                    <a:pt x="24" y="24"/>
                  </a:cubicBezTo>
                  <a:cubicBezTo>
                    <a:pt x="24" y="24"/>
                    <a:pt x="24" y="24"/>
                    <a:pt x="24" y="24"/>
                  </a:cubicBezTo>
                  <a:cubicBezTo>
                    <a:pt x="24" y="24"/>
                    <a:pt x="24" y="24"/>
                    <a:pt x="24" y="24"/>
                  </a:cubicBezTo>
                  <a:cubicBezTo>
                    <a:pt x="372" y="24"/>
                    <a:pt x="372" y="24"/>
                    <a:pt x="372" y="24"/>
                  </a:cubicBezTo>
                  <a:cubicBezTo>
                    <a:pt x="372" y="25"/>
                    <a:pt x="372" y="25"/>
                    <a:pt x="372" y="25"/>
                  </a:cubicBezTo>
                  <a:cubicBezTo>
                    <a:pt x="372" y="25"/>
                    <a:pt x="372" y="25"/>
                    <a:pt x="372" y="25"/>
                  </a:cubicBezTo>
                  <a:lnTo>
                    <a:pt x="372" y="266"/>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29" name="Rectangle 28"/>
            <p:cNvSpPr>
              <a:spLocks noChangeArrowheads="1"/>
            </p:cNvSpPr>
            <p:nvPr/>
          </p:nvSpPr>
          <p:spPr bwMode="auto">
            <a:xfrm>
              <a:off x="771525" y="588963"/>
              <a:ext cx="506412" cy="74613"/>
            </a:xfrm>
            <a:prstGeom prst="rect">
              <a:avLst/>
            </a:prstGeom>
            <a:solidFill>
              <a:srgbClr val="0096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30" name="Rectangle 29"/>
            <p:cNvSpPr>
              <a:spLocks noChangeArrowheads="1"/>
            </p:cNvSpPr>
            <p:nvPr/>
          </p:nvSpPr>
          <p:spPr bwMode="auto">
            <a:xfrm>
              <a:off x="771525" y="415925"/>
              <a:ext cx="506412" cy="68263"/>
            </a:xfrm>
            <a:prstGeom prst="rect">
              <a:avLst/>
            </a:prstGeom>
            <a:solidFill>
              <a:srgbClr val="0096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31" name="Rectangle 30"/>
            <p:cNvSpPr>
              <a:spLocks noChangeArrowheads="1"/>
            </p:cNvSpPr>
            <p:nvPr/>
          </p:nvSpPr>
          <p:spPr bwMode="auto">
            <a:xfrm>
              <a:off x="206375" y="236538"/>
              <a:ext cx="1071562" cy="74613"/>
            </a:xfrm>
            <a:prstGeom prst="rect">
              <a:avLst/>
            </a:prstGeom>
            <a:solidFill>
              <a:srgbClr val="0096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32" name="Rectangle 31"/>
            <p:cNvSpPr>
              <a:spLocks noChangeArrowheads="1"/>
            </p:cNvSpPr>
            <p:nvPr/>
          </p:nvSpPr>
          <p:spPr bwMode="auto">
            <a:xfrm>
              <a:off x="771525" y="776288"/>
              <a:ext cx="506412" cy="68263"/>
            </a:xfrm>
            <a:prstGeom prst="rect">
              <a:avLst/>
            </a:prstGeom>
            <a:solidFill>
              <a:srgbClr val="0096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33" name="Freeform 32"/>
            <p:cNvSpPr>
              <a:spLocks/>
            </p:cNvSpPr>
            <p:nvPr/>
          </p:nvSpPr>
          <p:spPr bwMode="auto">
            <a:xfrm>
              <a:off x="209550" y="415925"/>
              <a:ext cx="434975" cy="428625"/>
            </a:xfrm>
            <a:custGeom>
              <a:avLst/>
              <a:gdLst>
                <a:gd name="T0" fmla="*/ 0 w 116"/>
                <a:gd name="T1" fmla="*/ 101 h 114"/>
                <a:gd name="T2" fmla="*/ 0 w 116"/>
                <a:gd name="T3" fmla="*/ 0 h 114"/>
                <a:gd name="T4" fmla="*/ 104 w 116"/>
                <a:gd name="T5" fmla="*/ 0 h 114"/>
                <a:gd name="T6" fmla="*/ 116 w 116"/>
                <a:gd name="T7" fmla="*/ 12 h 114"/>
                <a:gd name="T8" fmla="*/ 116 w 116"/>
                <a:gd name="T9" fmla="*/ 114 h 114"/>
                <a:gd name="T10" fmla="*/ 13 w 116"/>
                <a:gd name="T11" fmla="*/ 114 h 114"/>
                <a:gd name="T12" fmla="*/ 0 w 116"/>
                <a:gd name="T13" fmla="*/ 101 h 114"/>
              </a:gdLst>
              <a:ahLst/>
              <a:cxnLst>
                <a:cxn ang="0">
                  <a:pos x="T0" y="T1"/>
                </a:cxn>
                <a:cxn ang="0">
                  <a:pos x="T2" y="T3"/>
                </a:cxn>
                <a:cxn ang="0">
                  <a:pos x="T4" y="T5"/>
                </a:cxn>
                <a:cxn ang="0">
                  <a:pos x="T6" y="T7"/>
                </a:cxn>
                <a:cxn ang="0">
                  <a:pos x="T8" y="T9"/>
                </a:cxn>
                <a:cxn ang="0">
                  <a:pos x="T10" y="T11"/>
                </a:cxn>
                <a:cxn ang="0">
                  <a:pos x="T12" y="T13"/>
                </a:cxn>
              </a:cxnLst>
              <a:rect l="0" t="0" r="r" b="b"/>
              <a:pathLst>
                <a:path w="116" h="114">
                  <a:moveTo>
                    <a:pt x="0" y="101"/>
                  </a:moveTo>
                  <a:cubicBezTo>
                    <a:pt x="0" y="0"/>
                    <a:pt x="0" y="0"/>
                    <a:pt x="0" y="0"/>
                  </a:cubicBezTo>
                  <a:cubicBezTo>
                    <a:pt x="104" y="0"/>
                    <a:pt x="104" y="0"/>
                    <a:pt x="104" y="0"/>
                  </a:cubicBezTo>
                  <a:cubicBezTo>
                    <a:pt x="111" y="0"/>
                    <a:pt x="116" y="6"/>
                    <a:pt x="116" y="12"/>
                  </a:cubicBezTo>
                  <a:cubicBezTo>
                    <a:pt x="116" y="114"/>
                    <a:pt x="116" y="114"/>
                    <a:pt x="116" y="114"/>
                  </a:cubicBezTo>
                  <a:cubicBezTo>
                    <a:pt x="13" y="114"/>
                    <a:pt x="13" y="114"/>
                    <a:pt x="13" y="114"/>
                  </a:cubicBezTo>
                  <a:cubicBezTo>
                    <a:pt x="6" y="114"/>
                    <a:pt x="0" y="108"/>
                    <a:pt x="0" y="101"/>
                  </a:cubicBez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34" name="Freeform 33"/>
            <p:cNvSpPr>
              <a:spLocks/>
            </p:cNvSpPr>
            <p:nvPr/>
          </p:nvSpPr>
          <p:spPr bwMode="auto">
            <a:xfrm>
              <a:off x="209550" y="415925"/>
              <a:ext cx="434975" cy="428625"/>
            </a:xfrm>
            <a:custGeom>
              <a:avLst/>
              <a:gdLst>
                <a:gd name="T0" fmla="*/ 104 w 116"/>
                <a:gd name="T1" fmla="*/ 0 h 114"/>
                <a:gd name="T2" fmla="*/ 116 w 116"/>
                <a:gd name="T3" fmla="*/ 12 h 114"/>
                <a:gd name="T4" fmla="*/ 116 w 116"/>
                <a:gd name="T5" fmla="*/ 114 h 114"/>
                <a:gd name="T6" fmla="*/ 13 w 116"/>
                <a:gd name="T7" fmla="*/ 114 h 114"/>
                <a:gd name="T8" fmla="*/ 0 w 116"/>
                <a:gd name="T9" fmla="*/ 101 h 114"/>
                <a:gd name="T10" fmla="*/ 0 w 116"/>
                <a:gd name="T11" fmla="*/ 0 h 114"/>
                <a:gd name="T12" fmla="*/ 104 w 116"/>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16" h="114">
                  <a:moveTo>
                    <a:pt x="104" y="0"/>
                  </a:moveTo>
                  <a:cubicBezTo>
                    <a:pt x="111" y="0"/>
                    <a:pt x="116" y="6"/>
                    <a:pt x="116" y="12"/>
                  </a:cubicBezTo>
                  <a:cubicBezTo>
                    <a:pt x="116" y="114"/>
                    <a:pt x="116" y="114"/>
                    <a:pt x="116" y="114"/>
                  </a:cubicBezTo>
                  <a:cubicBezTo>
                    <a:pt x="13" y="114"/>
                    <a:pt x="13" y="114"/>
                    <a:pt x="13" y="114"/>
                  </a:cubicBezTo>
                  <a:cubicBezTo>
                    <a:pt x="6" y="114"/>
                    <a:pt x="0" y="108"/>
                    <a:pt x="0" y="101"/>
                  </a:cubicBezTo>
                  <a:cubicBezTo>
                    <a:pt x="0" y="0"/>
                    <a:pt x="0" y="0"/>
                    <a:pt x="0" y="0"/>
                  </a:cubicBezTo>
                  <a:cubicBezTo>
                    <a:pt x="104" y="0"/>
                    <a:pt x="104" y="0"/>
                    <a:pt x="104" y="0"/>
                  </a:cubicBezTo>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grpSp>
      <p:grpSp>
        <p:nvGrpSpPr>
          <p:cNvPr id="35" name="Group 34"/>
          <p:cNvGrpSpPr/>
          <p:nvPr/>
        </p:nvGrpSpPr>
        <p:grpSpPr>
          <a:xfrm>
            <a:off x="6636563" y="3174261"/>
            <a:ext cx="779050" cy="930883"/>
            <a:chOff x="0" y="0"/>
            <a:chExt cx="1135063" cy="1354138"/>
          </a:xfrm>
          <a:solidFill>
            <a:schemeClr val="accent1"/>
          </a:solidFill>
        </p:grpSpPr>
        <p:sp>
          <p:nvSpPr>
            <p:cNvPr id="36" name="Oval 35"/>
            <p:cNvSpPr>
              <a:spLocks noChangeArrowheads="1"/>
            </p:cNvSpPr>
            <p:nvPr/>
          </p:nvSpPr>
          <p:spPr bwMode="auto">
            <a:xfrm>
              <a:off x="85725" y="365125"/>
              <a:ext cx="184150" cy="195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37" name="Freeform 36"/>
            <p:cNvSpPr>
              <a:spLocks/>
            </p:cNvSpPr>
            <p:nvPr/>
          </p:nvSpPr>
          <p:spPr bwMode="auto">
            <a:xfrm>
              <a:off x="0" y="590550"/>
              <a:ext cx="357188" cy="665163"/>
            </a:xfrm>
            <a:custGeom>
              <a:avLst/>
              <a:gdLst>
                <a:gd name="T0" fmla="*/ 75 w 95"/>
                <a:gd name="T1" fmla="*/ 0 h 177"/>
                <a:gd name="T2" fmla="*/ 48 w 95"/>
                <a:gd name="T3" fmla="*/ 0 h 177"/>
                <a:gd name="T4" fmla="*/ 20 w 95"/>
                <a:gd name="T5" fmla="*/ 0 h 177"/>
                <a:gd name="T6" fmla="*/ 0 w 95"/>
                <a:gd name="T7" fmla="*/ 21 h 177"/>
                <a:gd name="T8" fmla="*/ 0 w 95"/>
                <a:gd name="T9" fmla="*/ 24 h 177"/>
                <a:gd name="T10" fmla="*/ 0 w 95"/>
                <a:gd name="T11" fmla="*/ 40 h 177"/>
                <a:gd name="T12" fmla="*/ 0 w 95"/>
                <a:gd name="T13" fmla="*/ 55 h 177"/>
                <a:gd name="T14" fmla="*/ 0 w 95"/>
                <a:gd name="T15" fmla="*/ 83 h 177"/>
                <a:gd name="T16" fmla="*/ 0 w 95"/>
                <a:gd name="T17" fmla="*/ 83 h 177"/>
                <a:gd name="T18" fmla="*/ 8 w 95"/>
                <a:gd name="T19" fmla="*/ 91 h 177"/>
                <a:gd name="T20" fmla="*/ 16 w 95"/>
                <a:gd name="T21" fmla="*/ 84 h 177"/>
                <a:gd name="T22" fmla="*/ 16 w 95"/>
                <a:gd name="T23" fmla="*/ 83 h 177"/>
                <a:gd name="T24" fmla="*/ 16 w 95"/>
                <a:gd name="T25" fmla="*/ 27 h 177"/>
                <a:gd name="T26" fmla="*/ 18 w 95"/>
                <a:gd name="T27" fmla="*/ 25 h 177"/>
                <a:gd name="T28" fmla="*/ 20 w 95"/>
                <a:gd name="T29" fmla="*/ 27 h 177"/>
                <a:gd name="T30" fmla="*/ 20 w 95"/>
                <a:gd name="T31" fmla="*/ 87 h 177"/>
                <a:gd name="T32" fmla="*/ 20 w 95"/>
                <a:gd name="T33" fmla="*/ 95 h 177"/>
                <a:gd name="T34" fmla="*/ 20 w 95"/>
                <a:gd name="T35" fmla="*/ 96 h 177"/>
                <a:gd name="T36" fmla="*/ 20 w 95"/>
                <a:gd name="T37" fmla="*/ 96 h 177"/>
                <a:gd name="T38" fmla="*/ 26 w 95"/>
                <a:gd name="T39" fmla="*/ 163 h 177"/>
                <a:gd name="T40" fmla="*/ 40 w 95"/>
                <a:gd name="T41" fmla="*/ 177 h 177"/>
                <a:gd name="T42" fmla="*/ 48 w 95"/>
                <a:gd name="T43" fmla="*/ 177 h 177"/>
                <a:gd name="T44" fmla="*/ 55 w 95"/>
                <a:gd name="T45" fmla="*/ 177 h 177"/>
                <a:gd name="T46" fmla="*/ 69 w 95"/>
                <a:gd name="T47" fmla="*/ 163 h 177"/>
                <a:gd name="T48" fmla="*/ 75 w 95"/>
                <a:gd name="T49" fmla="*/ 96 h 177"/>
                <a:gd name="T50" fmla="*/ 75 w 95"/>
                <a:gd name="T51" fmla="*/ 96 h 177"/>
                <a:gd name="T52" fmla="*/ 75 w 95"/>
                <a:gd name="T53" fmla="*/ 95 h 177"/>
                <a:gd name="T54" fmla="*/ 75 w 95"/>
                <a:gd name="T55" fmla="*/ 87 h 177"/>
                <a:gd name="T56" fmla="*/ 75 w 95"/>
                <a:gd name="T57" fmla="*/ 27 h 177"/>
                <a:gd name="T58" fmla="*/ 77 w 95"/>
                <a:gd name="T59" fmla="*/ 25 h 177"/>
                <a:gd name="T60" fmla="*/ 79 w 95"/>
                <a:gd name="T61" fmla="*/ 27 h 177"/>
                <a:gd name="T62" fmla="*/ 79 w 95"/>
                <a:gd name="T63" fmla="*/ 83 h 177"/>
                <a:gd name="T64" fmla="*/ 79 w 95"/>
                <a:gd name="T65" fmla="*/ 84 h 177"/>
                <a:gd name="T66" fmla="*/ 87 w 95"/>
                <a:gd name="T67" fmla="*/ 91 h 177"/>
                <a:gd name="T68" fmla="*/ 95 w 95"/>
                <a:gd name="T69" fmla="*/ 83 h 177"/>
                <a:gd name="T70" fmla="*/ 95 w 95"/>
                <a:gd name="T71" fmla="*/ 83 h 177"/>
                <a:gd name="T72" fmla="*/ 95 w 95"/>
                <a:gd name="T73" fmla="*/ 40 h 177"/>
                <a:gd name="T74" fmla="*/ 95 w 95"/>
                <a:gd name="T75" fmla="*/ 24 h 177"/>
                <a:gd name="T76" fmla="*/ 95 w 95"/>
                <a:gd name="T77" fmla="*/ 21 h 177"/>
                <a:gd name="T78" fmla="*/ 75 w 95"/>
                <a:gd name="T79"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5" h="177">
                  <a:moveTo>
                    <a:pt x="75" y="0"/>
                  </a:moveTo>
                  <a:cubicBezTo>
                    <a:pt x="48" y="0"/>
                    <a:pt x="48" y="0"/>
                    <a:pt x="48" y="0"/>
                  </a:cubicBezTo>
                  <a:cubicBezTo>
                    <a:pt x="20" y="0"/>
                    <a:pt x="20" y="0"/>
                    <a:pt x="20" y="0"/>
                  </a:cubicBezTo>
                  <a:cubicBezTo>
                    <a:pt x="7" y="0"/>
                    <a:pt x="0" y="6"/>
                    <a:pt x="0" y="21"/>
                  </a:cubicBezTo>
                  <a:cubicBezTo>
                    <a:pt x="0" y="24"/>
                    <a:pt x="0" y="24"/>
                    <a:pt x="0" y="24"/>
                  </a:cubicBezTo>
                  <a:cubicBezTo>
                    <a:pt x="0" y="40"/>
                    <a:pt x="0" y="40"/>
                    <a:pt x="0" y="40"/>
                  </a:cubicBezTo>
                  <a:cubicBezTo>
                    <a:pt x="0" y="55"/>
                    <a:pt x="0" y="55"/>
                    <a:pt x="0" y="55"/>
                  </a:cubicBezTo>
                  <a:cubicBezTo>
                    <a:pt x="0" y="83"/>
                    <a:pt x="0" y="83"/>
                    <a:pt x="0" y="83"/>
                  </a:cubicBezTo>
                  <a:cubicBezTo>
                    <a:pt x="0" y="83"/>
                    <a:pt x="0" y="83"/>
                    <a:pt x="0" y="83"/>
                  </a:cubicBezTo>
                  <a:cubicBezTo>
                    <a:pt x="0" y="88"/>
                    <a:pt x="4" y="91"/>
                    <a:pt x="8" y="91"/>
                  </a:cubicBezTo>
                  <a:cubicBezTo>
                    <a:pt x="12" y="91"/>
                    <a:pt x="15" y="88"/>
                    <a:pt x="16" y="84"/>
                  </a:cubicBezTo>
                  <a:cubicBezTo>
                    <a:pt x="16" y="84"/>
                    <a:pt x="16" y="84"/>
                    <a:pt x="16" y="83"/>
                  </a:cubicBezTo>
                  <a:cubicBezTo>
                    <a:pt x="16" y="27"/>
                    <a:pt x="16" y="27"/>
                    <a:pt x="16" y="27"/>
                  </a:cubicBezTo>
                  <a:cubicBezTo>
                    <a:pt x="16" y="26"/>
                    <a:pt x="17" y="25"/>
                    <a:pt x="18" y="25"/>
                  </a:cubicBezTo>
                  <a:cubicBezTo>
                    <a:pt x="19" y="25"/>
                    <a:pt x="20" y="26"/>
                    <a:pt x="20" y="27"/>
                  </a:cubicBezTo>
                  <a:cubicBezTo>
                    <a:pt x="20" y="87"/>
                    <a:pt x="20" y="87"/>
                    <a:pt x="20" y="87"/>
                  </a:cubicBezTo>
                  <a:cubicBezTo>
                    <a:pt x="20" y="87"/>
                    <a:pt x="20" y="92"/>
                    <a:pt x="20" y="95"/>
                  </a:cubicBezTo>
                  <a:cubicBezTo>
                    <a:pt x="20" y="96"/>
                    <a:pt x="20" y="96"/>
                    <a:pt x="20" y="96"/>
                  </a:cubicBezTo>
                  <a:cubicBezTo>
                    <a:pt x="20" y="96"/>
                    <a:pt x="20" y="96"/>
                    <a:pt x="20" y="96"/>
                  </a:cubicBezTo>
                  <a:cubicBezTo>
                    <a:pt x="26" y="163"/>
                    <a:pt x="26" y="163"/>
                    <a:pt x="26" y="163"/>
                  </a:cubicBezTo>
                  <a:cubicBezTo>
                    <a:pt x="27" y="173"/>
                    <a:pt x="31" y="177"/>
                    <a:pt x="40" y="177"/>
                  </a:cubicBezTo>
                  <a:cubicBezTo>
                    <a:pt x="48" y="177"/>
                    <a:pt x="48" y="177"/>
                    <a:pt x="48" y="177"/>
                  </a:cubicBezTo>
                  <a:cubicBezTo>
                    <a:pt x="55" y="177"/>
                    <a:pt x="55" y="177"/>
                    <a:pt x="55" y="177"/>
                  </a:cubicBezTo>
                  <a:cubicBezTo>
                    <a:pt x="64" y="177"/>
                    <a:pt x="68" y="173"/>
                    <a:pt x="69" y="163"/>
                  </a:cubicBezTo>
                  <a:cubicBezTo>
                    <a:pt x="75" y="96"/>
                    <a:pt x="75" y="96"/>
                    <a:pt x="75" y="96"/>
                  </a:cubicBezTo>
                  <a:cubicBezTo>
                    <a:pt x="75" y="96"/>
                    <a:pt x="75" y="96"/>
                    <a:pt x="75" y="96"/>
                  </a:cubicBezTo>
                  <a:cubicBezTo>
                    <a:pt x="75" y="95"/>
                    <a:pt x="75" y="95"/>
                    <a:pt x="75" y="95"/>
                  </a:cubicBezTo>
                  <a:cubicBezTo>
                    <a:pt x="75" y="92"/>
                    <a:pt x="75" y="87"/>
                    <a:pt x="75" y="87"/>
                  </a:cubicBezTo>
                  <a:cubicBezTo>
                    <a:pt x="75" y="27"/>
                    <a:pt x="75" y="27"/>
                    <a:pt x="75" y="27"/>
                  </a:cubicBezTo>
                  <a:cubicBezTo>
                    <a:pt x="75" y="26"/>
                    <a:pt x="76" y="25"/>
                    <a:pt x="77" y="25"/>
                  </a:cubicBezTo>
                  <a:cubicBezTo>
                    <a:pt x="78" y="25"/>
                    <a:pt x="79" y="26"/>
                    <a:pt x="79" y="27"/>
                  </a:cubicBezTo>
                  <a:cubicBezTo>
                    <a:pt x="79" y="83"/>
                    <a:pt x="79" y="83"/>
                    <a:pt x="79" y="83"/>
                  </a:cubicBezTo>
                  <a:cubicBezTo>
                    <a:pt x="79" y="84"/>
                    <a:pt x="79" y="84"/>
                    <a:pt x="79" y="84"/>
                  </a:cubicBezTo>
                  <a:cubicBezTo>
                    <a:pt x="80" y="88"/>
                    <a:pt x="83" y="91"/>
                    <a:pt x="87" y="91"/>
                  </a:cubicBezTo>
                  <a:cubicBezTo>
                    <a:pt x="91" y="91"/>
                    <a:pt x="95" y="88"/>
                    <a:pt x="95" y="83"/>
                  </a:cubicBezTo>
                  <a:cubicBezTo>
                    <a:pt x="95" y="83"/>
                    <a:pt x="95" y="83"/>
                    <a:pt x="95" y="83"/>
                  </a:cubicBezTo>
                  <a:cubicBezTo>
                    <a:pt x="95" y="40"/>
                    <a:pt x="95" y="40"/>
                    <a:pt x="95" y="40"/>
                  </a:cubicBezTo>
                  <a:cubicBezTo>
                    <a:pt x="95" y="24"/>
                    <a:pt x="95" y="24"/>
                    <a:pt x="95" y="24"/>
                  </a:cubicBezTo>
                  <a:cubicBezTo>
                    <a:pt x="95" y="21"/>
                    <a:pt x="95" y="21"/>
                    <a:pt x="95" y="21"/>
                  </a:cubicBezTo>
                  <a:cubicBezTo>
                    <a:pt x="95" y="6"/>
                    <a:pt x="88" y="0"/>
                    <a:pt x="7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38" name="Oval 37"/>
            <p:cNvSpPr>
              <a:spLocks noChangeArrowheads="1"/>
            </p:cNvSpPr>
            <p:nvPr/>
          </p:nvSpPr>
          <p:spPr bwMode="auto">
            <a:xfrm>
              <a:off x="769938" y="153988"/>
              <a:ext cx="249238" cy="2667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39" name="Freeform 38"/>
            <p:cNvSpPr>
              <a:spLocks/>
            </p:cNvSpPr>
            <p:nvPr/>
          </p:nvSpPr>
          <p:spPr bwMode="auto">
            <a:xfrm>
              <a:off x="149225" y="0"/>
              <a:ext cx="771525" cy="250825"/>
            </a:xfrm>
            <a:custGeom>
              <a:avLst/>
              <a:gdLst>
                <a:gd name="T0" fmla="*/ 16 w 205"/>
                <a:gd name="T1" fmla="*/ 16 h 67"/>
                <a:gd name="T2" fmla="*/ 104 w 205"/>
                <a:gd name="T3" fmla="*/ 16 h 67"/>
                <a:gd name="T4" fmla="*/ 104 w 205"/>
                <a:gd name="T5" fmla="*/ 67 h 67"/>
                <a:gd name="T6" fmla="*/ 120 w 205"/>
                <a:gd name="T7" fmla="*/ 67 h 67"/>
                <a:gd name="T8" fmla="*/ 120 w 205"/>
                <a:gd name="T9" fmla="*/ 16 h 67"/>
                <a:gd name="T10" fmla="*/ 189 w 205"/>
                <a:gd name="T11" fmla="*/ 16 h 67"/>
                <a:gd name="T12" fmla="*/ 189 w 205"/>
                <a:gd name="T13" fmla="*/ 32 h 67"/>
                <a:gd name="T14" fmla="*/ 198 w 205"/>
                <a:gd name="T15" fmla="*/ 32 h 67"/>
                <a:gd name="T16" fmla="*/ 205 w 205"/>
                <a:gd name="T17" fmla="*/ 32 h 67"/>
                <a:gd name="T18" fmla="*/ 205 w 205"/>
                <a:gd name="T19" fmla="*/ 0 h 67"/>
                <a:gd name="T20" fmla="*/ 0 w 205"/>
                <a:gd name="T21" fmla="*/ 0 h 67"/>
                <a:gd name="T22" fmla="*/ 0 w 205"/>
                <a:gd name="T23" fmla="*/ 67 h 67"/>
                <a:gd name="T24" fmla="*/ 16 w 205"/>
                <a:gd name="T25" fmla="*/ 67 h 67"/>
                <a:gd name="T26" fmla="*/ 16 w 205"/>
                <a:gd name="T27" fmla="*/ 16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5" h="67">
                  <a:moveTo>
                    <a:pt x="16" y="16"/>
                  </a:moveTo>
                  <a:cubicBezTo>
                    <a:pt x="104" y="16"/>
                    <a:pt x="104" y="16"/>
                    <a:pt x="104" y="16"/>
                  </a:cubicBezTo>
                  <a:cubicBezTo>
                    <a:pt x="104" y="67"/>
                    <a:pt x="104" y="67"/>
                    <a:pt x="104" y="67"/>
                  </a:cubicBezTo>
                  <a:cubicBezTo>
                    <a:pt x="120" y="67"/>
                    <a:pt x="120" y="67"/>
                    <a:pt x="120" y="67"/>
                  </a:cubicBezTo>
                  <a:cubicBezTo>
                    <a:pt x="120" y="16"/>
                    <a:pt x="120" y="16"/>
                    <a:pt x="120" y="16"/>
                  </a:cubicBezTo>
                  <a:cubicBezTo>
                    <a:pt x="189" y="16"/>
                    <a:pt x="189" y="16"/>
                    <a:pt x="189" y="16"/>
                  </a:cubicBezTo>
                  <a:cubicBezTo>
                    <a:pt x="189" y="32"/>
                    <a:pt x="189" y="32"/>
                    <a:pt x="189" y="32"/>
                  </a:cubicBezTo>
                  <a:cubicBezTo>
                    <a:pt x="192" y="32"/>
                    <a:pt x="195" y="32"/>
                    <a:pt x="198" y="32"/>
                  </a:cubicBezTo>
                  <a:cubicBezTo>
                    <a:pt x="201" y="32"/>
                    <a:pt x="203" y="32"/>
                    <a:pt x="205" y="32"/>
                  </a:cubicBezTo>
                  <a:cubicBezTo>
                    <a:pt x="205" y="0"/>
                    <a:pt x="205" y="0"/>
                    <a:pt x="205" y="0"/>
                  </a:cubicBezTo>
                  <a:cubicBezTo>
                    <a:pt x="0" y="0"/>
                    <a:pt x="0" y="0"/>
                    <a:pt x="0" y="0"/>
                  </a:cubicBezTo>
                  <a:cubicBezTo>
                    <a:pt x="0" y="67"/>
                    <a:pt x="0" y="67"/>
                    <a:pt x="0" y="67"/>
                  </a:cubicBezTo>
                  <a:cubicBezTo>
                    <a:pt x="16" y="67"/>
                    <a:pt x="16" y="67"/>
                    <a:pt x="16" y="67"/>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40" name="Freeform 39"/>
            <p:cNvSpPr>
              <a:spLocks/>
            </p:cNvSpPr>
            <p:nvPr/>
          </p:nvSpPr>
          <p:spPr bwMode="auto">
            <a:xfrm>
              <a:off x="481013" y="365125"/>
              <a:ext cx="184150" cy="195263"/>
            </a:xfrm>
            <a:custGeom>
              <a:avLst/>
              <a:gdLst>
                <a:gd name="T0" fmla="*/ 0 w 49"/>
                <a:gd name="T1" fmla="*/ 26 h 52"/>
                <a:gd name="T2" fmla="*/ 25 w 49"/>
                <a:gd name="T3" fmla="*/ 52 h 52"/>
                <a:gd name="T4" fmla="*/ 38 w 49"/>
                <a:gd name="T5" fmla="*/ 50 h 52"/>
                <a:gd name="T6" fmla="*/ 49 w 49"/>
                <a:gd name="T7" fmla="*/ 25 h 52"/>
                <a:gd name="T8" fmla="*/ 25 w 49"/>
                <a:gd name="T9" fmla="*/ 0 h 52"/>
                <a:gd name="T10" fmla="*/ 0 w 49"/>
                <a:gd name="T11" fmla="*/ 26 h 52"/>
              </a:gdLst>
              <a:ahLst/>
              <a:cxnLst>
                <a:cxn ang="0">
                  <a:pos x="T0" y="T1"/>
                </a:cxn>
                <a:cxn ang="0">
                  <a:pos x="T2" y="T3"/>
                </a:cxn>
                <a:cxn ang="0">
                  <a:pos x="T4" y="T5"/>
                </a:cxn>
                <a:cxn ang="0">
                  <a:pos x="T6" y="T7"/>
                </a:cxn>
                <a:cxn ang="0">
                  <a:pos x="T8" y="T9"/>
                </a:cxn>
                <a:cxn ang="0">
                  <a:pos x="T10" y="T11"/>
                </a:cxn>
              </a:cxnLst>
              <a:rect l="0" t="0" r="r" b="b"/>
              <a:pathLst>
                <a:path w="49" h="52">
                  <a:moveTo>
                    <a:pt x="0" y="26"/>
                  </a:moveTo>
                  <a:cubicBezTo>
                    <a:pt x="0" y="45"/>
                    <a:pt x="7" y="52"/>
                    <a:pt x="25" y="52"/>
                  </a:cubicBezTo>
                  <a:cubicBezTo>
                    <a:pt x="30" y="52"/>
                    <a:pt x="35" y="52"/>
                    <a:pt x="38" y="50"/>
                  </a:cubicBezTo>
                  <a:cubicBezTo>
                    <a:pt x="39" y="39"/>
                    <a:pt x="43" y="30"/>
                    <a:pt x="49" y="25"/>
                  </a:cubicBezTo>
                  <a:cubicBezTo>
                    <a:pt x="49" y="7"/>
                    <a:pt x="42" y="0"/>
                    <a:pt x="25" y="0"/>
                  </a:cubicBezTo>
                  <a:cubicBezTo>
                    <a:pt x="7" y="0"/>
                    <a:pt x="0" y="7"/>
                    <a:pt x="0" y="2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41" name="Freeform 40"/>
            <p:cNvSpPr>
              <a:spLocks/>
            </p:cNvSpPr>
            <p:nvPr/>
          </p:nvSpPr>
          <p:spPr bwMode="auto">
            <a:xfrm>
              <a:off x="393700" y="590550"/>
              <a:ext cx="282575" cy="665163"/>
            </a:xfrm>
            <a:custGeom>
              <a:avLst/>
              <a:gdLst>
                <a:gd name="T0" fmla="*/ 61 w 75"/>
                <a:gd name="T1" fmla="*/ 77 h 177"/>
                <a:gd name="T2" fmla="*/ 61 w 75"/>
                <a:gd name="T3" fmla="*/ 0 h 177"/>
                <a:gd name="T4" fmla="*/ 48 w 75"/>
                <a:gd name="T5" fmla="*/ 0 h 177"/>
                <a:gd name="T6" fmla="*/ 20 w 75"/>
                <a:gd name="T7" fmla="*/ 0 h 177"/>
                <a:gd name="T8" fmla="*/ 0 w 75"/>
                <a:gd name="T9" fmla="*/ 21 h 177"/>
                <a:gd name="T10" fmla="*/ 0 w 75"/>
                <a:gd name="T11" fmla="*/ 24 h 177"/>
                <a:gd name="T12" fmla="*/ 0 w 75"/>
                <a:gd name="T13" fmla="*/ 40 h 177"/>
                <a:gd name="T14" fmla="*/ 0 w 75"/>
                <a:gd name="T15" fmla="*/ 55 h 177"/>
                <a:gd name="T16" fmla="*/ 0 w 75"/>
                <a:gd name="T17" fmla="*/ 83 h 177"/>
                <a:gd name="T18" fmla="*/ 0 w 75"/>
                <a:gd name="T19" fmla="*/ 83 h 177"/>
                <a:gd name="T20" fmla="*/ 8 w 75"/>
                <a:gd name="T21" fmla="*/ 91 h 177"/>
                <a:gd name="T22" fmla="*/ 16 w 75"/>
                <a:gd name="T23" fmla="*/ 84 h 177"/>
                <a:gd name="T24" fmla="*/ 16 w 75"/>
                <a:gd name="T25" fmla="*/ 83 h 177"/>
                <a:gd name="T26" fmla="*/ 16 w 75"/>
                <a:gd name="T27" fmla="*/ 27 h 177"/>
                <a:gd name="T28" fmla="*/ 18 w 75"/>
                <a:gd name="T29" fmla="*/ 25 h 177"/>
                <a:gd name="T30" fmla="*/ 20 w 75"/>
                <a:gd name="T31" fmla="*/ 27 h 177"/>
                <a:gd name="T32" fmla="*/ 20 w 75"/>
                <a:gd name="T33" fmla="*/ 87 h 177"/>
                <a:gd name="T34" fmla="*/ 20 w 75"/>
                <a:gd name="T35" fmla="*/ 95 h 177"/>
                <a:gd name="T36" fmla="*/ 20 w 75"/>
                <a:gd name="T37" fmla="*/ 96 h 177"/>
                <a:gd name="T38" fmla="*/ 20 w 75"/>
                <a:gd name="T39" fmla="*/ 96 h 177"/>
                <a:gd name="T40" fmla="*/ 27 w 75"/>
                <a:gd name="T41" fmla="*/ 163 h 177"/>
                <a:gd name="T42" fmla="*/ 40 w 75"/>
                <a:gd name="T43" fmla="*/ 177 h 177"/>
                <a:gd name="T44" fmla="*/ 48 w 75"/>
                <a:gd name="T45" fmla="*/ 177 h 177"/>
                <a:gd name="T46" fmla="*/ 55 w 75"/>
                <a:gd name="T47" fmla="*/ 177 h 177"/>
                <a:gd name="T48" fmla="*/ 69 w 75"/>
                <a:gd name="T49" fmla="*/ 163 h 177"/>
                <a:gd name="T50" fmla="*/ 75 w 75"/>
                <a:gd name="T51" fmla="*/ 96 h 177"/>
                <a:gd name="T52" fmla="*/ 75 w 75"/>
                <a:gd name="T53" fmla="*/ 96 h 177"/>
                <a:gd name="T54" fmla="*/ 75 w 75"/>
                <a:gd name="T55" fmla="*/ 95 h 177"/>
                <a:gd name="T56" fmla="*/ 75 w 75"/>
                <a:gd name="T57" fmla="*/ 95 h 177"/>
                <a:gd name="T58" fmla="*/ 61 w 75"/>
                <a:gd name="T59" fmla="*/ 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5" h="177">
                  <a:moveTo>
                    <a:pt x="61" y="77"/>
                  </a:moveTo>
                  <a:cubicBezTo>
                    <a:pt x="61" y="0"/>
                    <a:pt x="61" y="0"/>
                    <a:pt x="61" y="0"/>
                  </a:cubicBezTo>
                  <a:cubicBezTo>
                    <a:pt x="48" y="0"/>
                    <a:pt x="48" y="0"/>
                    <a:pt x="48" y="0"/>
                  </a:cubicBezTo>
                  <a:cubicBezTo>
                    <a:pt x="20" y="0"/>
                    <a:pt x="20" y="0"/>
                    <a:pt x="20" y="0"/>
                  </a:cubicBezTo>
                  <a:cubicBezTo>
                    <a:pt x="7" y="0"/>
                    <a:pt x="0" y="6"/>
                    <a:pt x="0" y="21"/>
                  </a:cubicBezTo>
                  <a:cubicBezTo>
                    <a:pt x="0" y="24"/>
                    <a:pt x="0" y="24"/>
                    <a:pt x="0" y="24"/>
                  </a:cubicBezTo>
                  <a:cubicBezTo>
                    <a:pt x="0" y="40"/>
                    <a:pt x="0" y="40"/>
                    <a:pt x="0" y="40"/>
                  </a:cubicBezTo>
                  <a:cubicBezTo>
                    <a:pt x="0" y="55"/>
                    <a:pt x="0" y="55"/>
                    <a:pt x="0" y="55"/>
                  </a:cubicBezTo>
                  <a:cubicBezTo>
                    <a:pt x="0" y="83"/>
                    <a:pt x="0" y="83"/>
                    <a:pt x="0" y="83"/>
                  </a:cubicBezTo>
                  <a:cubicBezTo>
                    <a:pt x="0" y="83"/>
                    <a:pt x="0" y="83"/>
                    <a:pt x="0" y="83"/>
                  </a:cubicBezTo>
                  <a:cubicBezTo>
                    <a:pt x="0" y="88"/>
                    <a:pt x="4" y="91"/>
                    <a:pt x="8" y="91"/>
                  </a:cubicBezTo>
                  <a:cubicBezTo>
                    <a:pt x="12" y="91"/>
                    <a:pt x="15" y="88"/>
                    <a:pt x="16" y="84"/>
                  </a:cubicBezTo>
                  <a:cubicBezTo>
                    <a:pt x="16" y="84"/>
                    <a:pt x="16" y="84"/>
                    <a:pt x="16" y="83"/>
                  </a:cubicBezTo>
                  <a:cubicBezTo>
                    <a:pt x="16" y="27"/>
                    <a:pt x="16" y="27"/>
                    <a:pt x="16" y="27"/>
                  </a:cubicBezTo>
                  <a:cubicBezTo>
                    <a:pt x="16" y="26"/>
                    <a:pt x="17" y="25"/>
                    <a:pt x="18" y="25"/>
                  </a:cubicBezTo>
                  <a:cubicBezTo>
                    <a:pt x="19" y="25"/>
                    <a:pt x="20" y="26"/>
                    <a:pt x="20" y="27"/>
                  </a:cubicBezTo>
                  <a:cubicBezTo>
                    <a:pt x="20" y="87"/>
                    <a:pt x="20" y="87"/>
                    <a:pt x="20" y="87"/>
                  </a:cubicBezTo>
                  <a:cubicBezTo>
                    <a:pt x="20" y="87"/>
                    <a:pt x="20" y="92"/>
                    <a:pt x="20" y="95"/>
                  </a:cubicBezTo>
                  <a:cubicBezTo>
                    <a:pt x="20" y="96"/>
                    <a:pt x="20" y="96"/>
                    <a:pt x="20" y="96"/>
                  </a:cubicBezTo>
                  <a:cubicBezTo>
                    <a:pt x="20" y="96"/>
                    <a:pt x="20" y="96"/>
                    <a:pt x="20" y="96"/>
                  </a:cubicBezTo>
                  <a:cubicBezTo>
                    <a:pt x="27" y="163"/>
                    <a:pt x="27" y="163"/>
                    <a:pt x="27" y="163"/>
                  </a:cubicBezTo>
                  <a:cubicBezTo>
                    <a:pt x="28" y="173"/>
                    <a:pt x="31" y="177"/>
                    <a:pt x="40" y="177"/>
                  </a:cubicBezTo>
                  <a:cubicBezTo>
                    <a:pt x="48" y="177"/>
                    <a:pt x="48" y="177"/>
                    <a:pt x="48" y="177"/>
                  </a:cubicBezTo>
                  <a:cubicBezTo>
                    <a:pt x="55" y="177"/>
                    <a:pt x="55" y="177"/>
                    <a:pt x="55" y="177"/>
                  </a:cubicBezTo>
                  <a:cubicBezTo>
                    <a:pt x="64" y="177"/>
                    <a:pt x="68" y="173"/>
                    <a:pt x="69" y="163"/>
                  </a:cubicBezTo>
                  <a:cubicBezTo>
                    <a:pt x="75" y="96"/>
                    <a:pt x="75" y="96"/>
                    <a:pt x="75" y="96"/>
                  </a:cubicBezTo>
                  <a:cubicBezTo>
                    <a:pt x="75" y="96"/>
                    <a:pt x="75" y="96"/>
                    <a:pt x="75" y="96"/>
                  </a:cubicBezTo>
                  <a:cubicBezTo>
                    <a:pt x="75" y="95"/>
                    <a:pt x="75" y="95"/>
                    <a:pt x="75" y="95"/>
                  </a:cubicBezTo>
                  <a:cubicBezTo>
                    <a:pt x="75" y="95"/>
                    <a:pt x="75" y="95"/>
                    <a:pt x="75" y="95"/>
                  </a:cubicBezTo>
                  <a:cubicBezTo>
                    <a:pt x="67" y="93"/>
                    <a:pt x="61" y="85"/>
                    <a:pt x="61" y="7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42" name="Freeform 41"/>
            <p:cNvSpPr>
              <a:spLocks/>
            </p:cNvSpPr>
            <p:nvPr/>
          </p:nvSpPr>
          <p:spPr bwMode="auto">
            <a:xfrm>
              <a:off x="654050" y="458788"/>
              <a:ext cx="481013" cy="895350"/>
            </a:xfrm>
            <a:custGeom>
              <a:avLst/>
              <a:gdLst>
                <a:gd name="T0" fmla="*/ 101 w 128"/>
                <a:gd name="T1" fmla="*/ 0 h 238"/>
                <a:gd name="T2" fmla="*/ 64 w 128"/>
                <a:gd name="T3" fmla="*/ 0 h 238"/>
                <a:gd name="T4" fmla="*/ 27 w 128"/>
                <a:gd name="T5" fmla="*/ 0 h 238"/>
                <a:gd name="T6" fmla="*/ 0 w 128"/>
                <a:gd name="T7" fmla="*/ 29 h 238"/>
                <a:gd name="T8" fmla="*/ 0 w 128"/>
                <a:gd name="T9" fmla="*/ 32 h 238"/>
                <a:gd name="T10" fmla="*/ 0 w 128"/>
                <a:gd name="T11" fmla="*/ 54 h 238"/>
                <a:gd name="T12" fmla="*/ 0 w 128"/>
                <a:gd name="T13" fmla="*/ 74 h 238"/>
                <a:gd name="T14" fmla="*/ 0 w 128"/>
                <a:gd name="T15" fmla="*/ 112 h 238"/>
                <a:gd name="T16" fmla="*/ 0 w 128"/>
                <a:gd name="T17" fmla="*/ 112 h 238"/>
                <a:gd name="T18" fmla="*/ 11 w 128"/>
                <a:gd name="T19" fmla="*/ 122 h 238"/>
                <a:gd name="T20" fmla="*/ 21 w 128"/>
                <a:gd name="T21" fmla="*/ 113 h 238"/>
                <a:gd name="T22" fmla="*/ 21 w 128"/>
                <a:gd name="T23" fmla="*/ 112 h 238"/>
                <a:gd name="T24" fmla="*/ 21 w 128"/>
                <a:gd name="T25" fmla="*/ 36 h 238"/>
                <a:gd name="T26" fmla="*/ 24 w 128"/>
                <a:gd name="T27" fmla="*/ 33 h 238"/>
                <a:gd name="T28" fmla="*/ 27 w 128"/>
                <a:gd name="T29" fmla="*/ 36 h 238"/>
                <a:gd name="T30" fmla="*/ 27 w 128"/>
                <a:gd name="T31" fmla="*/ 116 h 238"/>
                <a:gd name="T32" fmla="*/ 27 w 128"/>
                <a:gd name="T33" fmla="*/ 128 h 238"/>
                <a:gd name="T34" fmla="*/ 27 w 128"/>
                <a:gd name="T35" fmla="*/ 128 h 238"/>
                <a:gd name="T36" fmla="*/ 27 w 128"/>
                <a:gd name="T37" fmla="*/ 128 h 238"/>
                <a:gd name="T38" fmla="*/ 36 w 128"/>
                <a:gd name="T39" fmla="*/ 219 h 238"/>
                <a:gd name="T40" fmla="*/ 54 w 128"/>
                <a:gd name="T41" fmla="*/ 238 h 238"/>
                <a:gd name="T42" fmla="*/ 64 w 128"/>
                <a:gd name="T43" fmla="*/ 238 h 238"/>
                <a:gd name="T44" fmla="*/ 74 w 128"/>
                <a:gd name="T45" fmla="*/ 238 h 238"/>
                <a:gd name="T46" fmla="*/ 92 w 128"/>
                <a:gd name="T47" fmla="*/ 219 h 238"/>
                <a:gd name="T48" fmla="*/ 101 w 128"/>
                <a:gd name="T49" fmla="*/ 128 h 238"/>
                <a:gd name="T50" fmla="*/ 101 w 128"/>
                <a:gd name="T51" fmla="*/ 128 h 238"/>
                <a:gd name="T52" fmla="*/ 101 w 128"/>
                <a:gd name="T53" fmla="*/ 128 h 238"/>
                <a:gd name="T54" fmla="*/ 101 w 128"/>
                <a:gd name="T55" fmla="*/ 116 h 238"/>
                <a:gd name="T56" fmla="*/ 101 w 128"/>
                <a:gd name="T57" fmla="*/ 36 h 238"/>
                <a:gd name="T58" fmla="*/ 104 w 128"/>
                <a:gd name="T59" fmla="*/ 33 h 238"/>
                <a:gd name="T60" fmla="*/ 106 w 128"/>
                <a:gd name="T61" fmla="*/ 36 h 238"/>
                <a:gd name="T62" fmla="*/ 106 w 128"/>
                <a:gd name="T63" fmla="*/ 112 h 238"/>
                <a:gd name="T64" fmla="*/ 107 w 128"/>
                <a:gd name="T65" fmla="*/ 113 h 238"/>
                <a:gd name="T66" fmla="*/ 117 w 128"/>
                <a:gd name="T67" fmla="*/ 122 h 238"/>
                <a:gd name="T68" fmla="*/ 128 w 128"/>
                <a:gd name="T69" fmla="*/ 112 h 238"/>
                <a:gd name="T70" fmla="*/ 128 w 128"/>
                <a:gd name="T71" fmla="*/ 112 h 238"/>
                <a:gd name="T72" fmla="*/ 128 w 128"/>
                <a:gd name="T73" fmla="*/ 54 h 238"/>
                <a:gd name="T74" fmla="*/ 128 w 128"/>
                <a:gd name="T75" fmla="*/ 32 h 238"/>
                <a:gd name="T76" fmla="*/ 128 w 128"/>
                <a:gd name="T77" fmla="*/ 29 h 238"/>
                <a:gd name="T78" fmla="*/ 101 w 128"/>
                <a:gd name="T79"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238">
                  <a:moveTo>
                    <a:pt x="101" y="0"/>
                  </a:moveTo>
                  <a:cubicBezTo>
                    <a:pt x="64" y="0"/>
                    <a:pt x="64" y="0"/>
                    <a:pt x="64" y="0"/>
                  </a:cubicBezTo>
                  <a:cubicBezTo>
                    <a:pt x="27" y="0"/>
                    <a:pt x="27" y="0"/>
                    <a:pt x="27" y="0"/>
                  </a:cubicBezTo>
                  <a:cubicBezTo>
                    <a:pt x="10" y="0"/>
                    <a:pt x="0" y="8"/>
                    <a:pt x="0" y="29"/>
                  </a:cubicBezTo>
                  <a:cubicBezTo>
                    <a:pt x="0" y="32"/>
                    <a:pt x="0" y="32"/>
                    <a:pt x="0" y="32"/>
                  </a:cubicBezTo>
                  <a:cubicBezTo>
                    <a:pt x="0" y="54"/>
                    <a:pt x="0" y="54"/>
                    <a:pt x="0" y="54"/>
                  </a:cubicBezTo>
                  <a:cubicBezTo>
                    <a:pt x="0" y="74"/>
                    <a:pt x="0" y="74"/>
                    <a:pt x="0" y="74"/>
                  </a:cubicBezTo>
                  <a:cubicBezTo>
                    <a:pt x="0" y="112"/>
                    <a:pt x="0" y="112"/>
                    <a:pt x="0" y="112"/>
                  </a:cubicBezTo>
                  <a:cubicBezTo>
                    <a:pt x="0" y="112"/>
                    <a:pt x="0" y="112"/>
                    <a:pt x="0" y="112"/>
                  </a:cubicBezTo>
                  <a:cubicBezTo>
                    <a:pt x="0" y="118"/>
                    <a:pt x="5" y="122"/>
                    <a:pt x="11" y="122"/>
                  </a:cubicBezTo>
                  <a:cubicBezTo>
                    <a:pt x="16" y="122"/>
                    <a:pt x="20" y="119"/>
                    <a:pt x="21" y="113"/>
                  </a:cubicBezTo>
                  <a:cubicBezTo>
                    <a:pt x="21" y="113"/>
                    <a:pt x="21" y="112"/>
                    <a:pt x="21" y="112"/>
                  </a:cubicBezTo>
                  <a:cubicBezTo>
                    <a:pt x="21" y="36"/>
                    <a:pt x="21" y="36"/>
                    <a:pt x="21" y="36"/>
                  </a:cubicBezTo>
                  <a:cubicBezTo>
                    <a:pt x="21" y="34"/>
                    <a:pt x="23" y="33"/>
                    <a:pt x="24" y="33"/>
                  </a:cubicBezTo>
                  <a:cubicBezTo>
                    <a:pt x="26" y="33"/>
                    <a:pt x="27" y="34"/>
                    <a:pt x="27" y="36"/>
                  </a:cubicBezTo>
                  <a:cubicBezTo>
                    <a:pt x="27" y="116"/>
                    <a:pt x="27" y="116"/>
                    <a:pt x="27" y="116"/>
                  </a:cubicBezTo>
                  <a:cubicBezTo>
                    <a:pt x="27" y="116"/>
                    <a:pt x="27" y="123"/>
                    <a:pt x="27" y="128"/>
                  </a:cubicBezTo>
                  <a:cubicBezTo>
                    <a:pt x="27" y="128"/>
                    <a:pt x="27" y="128"/>
                    <a:pt x="27" y="128"/>
                  </a:cubicBezTo>
                  <a:cubicBezTo>
                    <a:pt x="27" y="128"/>
                    <a:pt x="27" y="128"/>
                    <a:pt x="27" y="128"/>
                  </a:cubicBezTo>
                  <a:cubicBezTo>
                    <a:pt x="36" y="219"/>
                    <a:pt x="36" y="219"/>
                    <a:pt x="36" y="219"/>
                  </a:cubicBezTo>
                  <a:cubicBezTo>
                    <a:pt x="37" y="233"/>
                    <a:pt x="42" y="238"/>
                    <a:pt x="54" y="238"/>
                  </a:cubicBezTo>
                  <a:cubicBezTo>
                    <a:pt x="64" y="238"/>
                    <a:pt x="64" y="238"/>
                    <a:pt x="64" y="238"/>
                  </a:cubicBezTo>
                  <a:cubicBezTo>
                    <a:pt x="74" y="238"/>
                    <a:pt x="74" y="238"/>
                    <a:pt x="74" y="238"/>
                  </a:cubicBezTo>
                  <a:cubicBezTo>
                    <a:pt x="86" y="238"/>
                    <a:pt x="91" y="233"/>
                    <a:pt x="92" y="219"/>
                  </a:cubicBezTo>
                  <a:cubicBezTo>
                    <a:pt x="101" y="128"/>
                    <a:pt x="101" y="128"/>
                    <a:pt x="101" y="128"/>
                  </a:cubicBezTo>
                  <a:cubicBezTo>
                    <a:pt x="101" y="128"/>
                    <a:pt x="101" y="128"/>
                    <a:pt x="101" y="128"/>
                  </a:cubicBezTo>
                  <a:cubicBezTo>
                    <a:pt x="101" y="128"/>
                    <a:pt x="101" y="128"/>
                    <a:pt x="101" y="128"/>
                  </a:cubicBezTo>
                  <a:cubicBezTo>
                    <a:pt x="101" y="123"/>
                    <a:pt x="101" y="116"/>
                    <a:pt x="101" y="116"/>
                  </a:cubicBezTo>
                  <a:cubicBezTo>
                    <a:pt x="101" y="36"/>
                    <a:pt x="101" y="36"/>
                    <a:pt x="101" y="36"/>
                  </a:cubicBezTo>
                  <a:cubicBezTo>
                    <a:pt x="101" y="34"/>
                    <a:pt x="102" y="33"/>
                    <a:pt x="104" y="33"/>
                  </a:cubicBezTo>
                  <a:cubicBezTo>
                    <a:pt x="105" y="33"/>
                    <a:pt x="106" y="34"/>
                    <a:pt x="106" y="36"/>
                  </a:cubicBezTo>
                  <a:cubicBezTo>
                    <a:pt x="106" y="112"/>
                    <a:pt x="106" y="112"/>
                    <a:pt x="106" y="112"/>
                  </a:cubicBezTo>
                  <a:cubicBezTo>
                    <a:pt x="106" y="112"/>
                    <a:pt x="107" y="113"/>
                    <a:pt x="107" y="113"/>
                  </a:cubicBezTo>
                  <a:cubicBezTo>
                    <a:pt x="107" y="119"/>
                    <a:pt x="112" y="122"/>
                    <a:pt x="117" y="122"/>
                  </a:cubicBezTo>
                  <a:cubicBezTo>
                    <a:pt x="123" y="122"/>
                    <a:pt x="128" y="118"/>
                    <a:pt x="128" y="112"/>
                  </a:cubicBezTo>
                  <a:cubicBezTo>
                    <a:pt x="128" y="112"/>
                    <a:pt x="128" y="112"/>
                    <a:pt x="128" y="112"/>
                  </a:cubicBezTo>
                  <a:cubicBezTo>
                    <a:pt x="128" y="54"/>
                    <a:pt x="128" y="54"/>
                    <a:pt x="128" y="54"/>
                  </a:cubicBezTo>
                  <a:cubicBezTo>
                    <a:pt x="128" y="32"/>
                    <a:pt x="128" y="32"/>
                    <a:pt x="128" y="32"/>
                  </a:cubicBezTo>
                  <a:cubicBezTo>
                    <a:pt x="128" y="29"/>
                    <a:pt x="128" y="29"/>
                    <a:pt x="128" y="29"/>
                  </a:cubicBezTo>
                  <a:cubicBezTo>
                    <a:pt x="128" y="8"/>
                    <a:pt x="118" y="0"/>
                    <a:pt x="10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grpSp>
      <p:grpSp>
        <p:nvGrpSpPr>
          <p:cNvPr id="43" name="Group 42"/>
          <p:cNvGrpSpPr/>
          <p:nvPr/>
        </p:nvGrpSpPr>
        <p:grpSpPr>
          <a:xfrm>
            <a:off x="2953357" y="3603756"/>
            <a:ext cx="569172" cy="369482"/>
            <a:chOff x="0" y="0"/>
            <a:chExt cx="1484313" cy="962025"/>
          </a:xfrm>
        </p:grpSpPr>
        <p:sp>
          <p:nvSpPr>
            <p:cNvPr id="44" name="Freeform 43"/>
            <p:cNvSpPr>
              <a:spLocks/>
            </p:cNvSpPr>
            <p:nvPr/>
          </p:nvSpPr>
          <p:spPr bwMode="auto">
            <a:xfrm>
              <a:off x="0" y="120650"/>
              <a:ext cx="1384300" cy="841375"/>
            </a:xfrm>
            <a:custGeom>
              <a:avLst/>
              <a:gdLst>
                <a:gd name="T0" fmla="*/ 366 w 369"/>
                <a:gd name="T1" fmla="*/ 124 h 224"/>
                <a:gd name="T2" fmla="*/ 357 w 369"/>
                <a:gd name="T3" fmla="*/ 125 h 224"/>
                <a:gd name="T4" fmla="*/ 348 w 369"/>
                <a:gd name="T5" fmla="*/ 126 h 224"/>
                <a:gd name="T6" fmla="*/ 338 w 369"/>
                <a:gd name="T7" fmla="*/ 126 h 224"/>
                <a:gd name="T8" fmla="*/ 304 w 369"/>
                <a:gd name="T9" fmla="*/ 123 h 224"/>
                <a:gd name="T10" fmla="*/ 275 w 369"/>
                <a:gd name="T11" fmla="*/ 108 h 224"/>
                <a:gd name="T12" fmla="*/ 257 w 369"/>
                <a:gd name="T13" fmla="*/ 81 h 224"/>
                <a:gd name="T14" fmla="*/ 184 w 369"/>
                <a:gd name="T15" fmla="*/ 140 h 224"/>
                <a:gd name="T16" fmla="*/ 14 w 369"/>
                <a:gd name="T17" fmla="*/ 0 h 224"/>
                <a:gd name="T18" fmla="*/ 0 w 369"/>
                <a:gd name="T19" fmla="*/ 0 h 224"/>
                <a:gd name="T20" fmla="*/ 0 w 369"/>
                <a:gd name="T21" fmla="*/ 202 h 224"/>
                <a:gd name="T22" fmla="*/ 22 w 369"/>
                <a:gd name="T23" fmla="*/ 224 h 224"/>
                <a:gd name="T24" fmla="*/ 369 w 369"/>
                <a:gd name="T25" fmla="*/ 224 h 224"/>
                <a:gd name="T26" fmla="*/ 369 w 369"/>
                <a:gd name="T27" fmla="*/ 123 h 224"/>
                <a:gd name="T28" fmla="*/ 366 w 369"/>
                <a:gd name="T29" fmla="*/ 1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9" h="224">
                  <a:moveTo>
                    <a:pt x="366" y="124"/>
                  </a:moveTo>
                  <a:cubicBezTo>
                    <a:pt x="363" y="124"/>
                    <a:pt x="360" y="125"/>
                    <a:pt x="357" y="125"/>
                  </a:cubicBezTo>
                  <a:cubicBezTo>
                    <a:pt x="354" y="125"/>
                    <a:pt x="351" y="126"/>
                    <a:pt x="348" y="126"/>
                  </a:cubicBezTo>
                  <a:cubicBezTo>
                    <a:pt x="345" y="126"/>
                    <a:pt x="341" y="126"/>
                    <a:pt x="338" y="126"/>
                  </a:cubicBezTo>
                  <a:cubicBezTo>
                    <a:pt x="326" y="126"/>
                    <a:pt x="314" y="125"/>
                    <a:pt x="304" y="123"/>
                  </a:cubicBezTo>
                  <a:cubicBezTo>
                    <a:pt x="293" y="120"/>
                    <a:pt x="283" y="115"/>
                    <a:pt x="275" y="108"/>
                  </a:cubicBezTo>
                  <a:cubicBezTo>
                    <a:pt x="267" y="101"/>
                    <a:pt x="261" y="92"/>
                    <a:pt x="257" y="81"/>
                  </a:cubicBezTo>
                  <a:cubicBezTo>
                    <a:pt x="184" y="140"/>
                    <a:pt x="184" y="140"/>
                    <a:pt x="184" y="140"/>
                  </a:cubicBezTo>
                  <a:cubicBezTo>
                    <a:pt x="14" y="0"/>
                    <a:pt x="14" y="0"/>
                    <a:pt x="14" y="0"/>
                  </a:cubicBezTo>
                  <a:cubicBezTo>
                    <a:pt x="0" y="0"/>
                    <a:pt x="0" y="0"/>
                    <a:pt x="0" y="0"/>
                  </a:cubicBezTo>
                  <a:cubicBezTo>
                    <a:pt x="0" y="202"/>
                    <a:pt x="0" y="202"/>
                    <a:pt x="0" y="202"/>
                  </a:cubicBezTo>
                  <a:cubicBezTo>
                    <a:pt x="0" y="215"/>
                    <a:pt x="11" y="224"/>
                    <a:pt x="22" y="224"/>
                  </a:cubicBezTo>
                  <a:cubicBezTo>
                    <a:pt x="31" y="224"/>
                    <a:pt x="369" y="224"/>
                    <a:pt x="369" y="224"/>
                  </a:cubicBezTo>
                  <a:cubicBezTo>
                    <a:pt x="369" y="123"/>
                    <a:pt x="369" y="123"/>
                    <a:pt x="369" y="123"/>
                  </a:cubicBezTo>
                  <a:cubicBezTo>
                    <a:pt x="368" y="123"/>
                    <a:pt x="367" y="123"/>
                    <a:pt x="366" y="124"/>
                  </a:cubicBezTo>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45" name="Freeform 44"/>
            <p:cNvSpPr>
              <a:spLocks noEditPoints="1"/>
            </p:cNvSpPr>
            <p:nvPr/>
          </p:nvSpPr>
          <p:spPr bwMode="auto">
            <a:xfrm>
              <a:off x="993775" y="0"/>
              <a:ext cx="490538" cy="536575"/>
            </a:xfrm>
            <a:custGeom>
              <a:avLst/>
              <a:gdLst>
                <a:gd name="T0" fmla="*/ 112 w 131"/>
                <a:gd name="T1" fmla="*/ 12 h 143"/>
                <a:gd name="T2" fmla="*/ 71 w 131"/>
                <a:gd name="T3" fmla="*/ 0 h 143"/>
                <a:gd name="T4" fmla="*/ 22 w 131"/>
                <a:gd name="T5" fmla="*/ 16 h 143"/>
                <a:gd name="T6" fmla="*/ 6 w 131"/>
                <a:gd name="T7" fmla="*/ 38 h 143"/>
                <a:gd name="T8" fmla="*/ 4 w 131"/>
                <a:gd name="T9" fmla="*/ 45 h 143"/>
                <a:gd name="T10" fmla="*/ 0 w 131"/>
                <a:gd name="T11" fmla="*/ 72 h 143"/>
                <a:gd name="T12" fmla="*/ 1 w 131"/>
                <a:gd name="T13" fmla="*/ 77 h 143"/>
                <a:gd name="T14" fmla="*/ 1 w 131"/>
                <a:gd name="T15" fmla="*/ 85 h 143"/>
                <a:gd name="T16" fmla="*/ 3 w 131"/>
                <a:gd name="T17" fmla="*/ 98 h 143"/>
                <a:gd name="T18" fmla="*/ 20 w 131"/>
                <a:gd name="T19" fmla="*/ 129 h 143"/>
                <a:gd name="T20" fmla="*/ 73 w 131"/>
                <a:gd name="T21" fmla="*/ 143 h 143"/>
                <a:gd name="T22" fmla="*/ 90 w 131"/>
                <a:gd name="T23" fmla="*/ 142 h 143"/>
                <a:gd name="T24" fmla="*/ 103 w 131"/>
                <a:gd name="T25" fmla="*/ 140 h 143"/>
                <a:gd name="T26" fmla="*/ 103 w 131"/>
                <a:gd name="T27" fmla="*/ 125 h 143"/>
                <a:gd name="T28" fmla="*/ 90 w 131"/>
                <a:gd name="T29" fmla="*/ 125 h 143"/>
                <a:gd name="T30" fmla="*/ 86 w 131"/>
                <a:gd name="T31" fmla="*/ 125 h 143"/>
                <a:gd name="T32" fmla="*/ 74 w 131"/>
                <a:gd name="T33" fmla="*/ 125 h 143"/>
                <a:gd name="T34" fmla="*/ 34 w 131"/>
                <a:gd name="T35" fmla="*/ 115 h 143"/>
                <a:gd name="T36" fmla="*/ 23 w 131"/>
                <a:gd name="T37" fmla="*/ 89 h 143"/>
                <a:gd name="T38" fmla="*/ 22 w 131"/>
                <a:gd name="T39" fmla="*/ 81 h 143"/>
                <a:gd name="T40" fmla="*/ 21 w 131"/>
                <a:gd name="T41" fmla="*/ 72 h 143"/>
                <a:gd name="T42" fmla="*/ 22 w 131"/>
                <a:gd name="T43" fmla="*/ 60 h 143"/>
                <a:gd name="T44" fmla="*/ 24 w 131"/>
                <a:gd name="T45" fmla="*/ 50 h 143"/>
                <a:gd name="T46" fmla="*/ 27 w 131"/>
                <a:gd name="T47" fmla="*/ 41 h 143"/>
                <a:gd name="T48" fmla="*/ 30 w 131"/>
                <a:gd name="T49" fmla="*/ 37 h 143"/>
                <a:gd name="T50" fmla="*/ 32 w 131"/>
                <a:gd name="T51" fmla="*/ 34 h 143"/>
                <a:gd name="T52" fmla="*/ 36 w 131"/>
                <a:gd name="T53" fmla="*/ 29 h 143"/>
                <a:gd name="T54" fmla="*/ 71 w 131"/>
                <a:gd name="T55" fmla="*/ 19 h 143"/>
                <a:gd name="T56" fmla="*/ 111 w 131"/>
                <a:gd name="T57" fmla="*/ 59 h 143"/>
                <a:gd name="T58" fmla="*/ 104 w 131"/>
                <a:gd name="T59" fmla="*/ 88 h 143"/>
                <a:gd name="T60" fmla="*/ 99 w 131"/>
                <a:gd name="T61" fmla="*/ 91 h 143"/>
                <a:gd name="T62" fmla="*/ 96 w 131"/>
                <a:gd name="T63" fmla="*/ 92 h 143"/>
                <a:gd name="T64" fmla="*/ 96 w 131"/>
                <a:gd name="T65" fmla="*/ 42 h 143"/>
                <a:gd name="T66" fmla="*/ 94 w 131"/>
                <a:gd name="T67" fmla="*/ 36 h 143"/>
                <a:gd name="T68" fmla="*/ 88 w 131"/>
                <a:gd name="T69" fmla="*/ 34 h 143"/>
                <a:gd name="T70" fmla="*/ 73 w 131"/>
                <a:gd name="T71" fmla="*/ 32 h 143"/>
                <a:gd name="T72" fmla="*/ 43 w 131"/>
                <a:gd name="T73" fmla="*/ 46 h 143"/>
                <a:gd name="T74" fmla="*/ 36 w 131"/>
                <a:gd name="T75" fmla="*/ 78 h 143"/>
                <a:gd name="T76" fmla="*/ 42 w 131"/>
                <a:gd name="T77" fmla="*/ 103 h 143"/>
                <a:gd name="T78" fmla="*/ 57 w 131"/>
                <a:gd name="T79" fmla="*/ 110 h 143"/>
                <a:gd name="T80" fmla="*/ 75 w 131"/>
                <a:gd name="T81" fmla="*/ 101 h 143"/>
                <a:gd name="T82" fmla="*/ 78 w 131"/>
                <a:gd name="T83" fmla="*/ 109 h 143"/>
                <a:gd name="T84" fmla="*/ 91 w 131"/>
                <a:gd name="T85" fmla="*/ 110 h 143"/>
                <a:gd name="T86" fmla="*/ 97 w 131"/>
                <a:gd name="T87" fmla="*/ 110 h 143"/>
                <a:gd name="T88" fmla="*/ 104 w 131"/>
                <a:gd name="T89" fmla="*/ 109 h 143"/>
                <a:gd name="T90" fmla="*/ 110 w 131"/>
                <a:gd name="T91" fmla="*/ 106 h 143"/>
                <a:gd name="T92" fmla="*/ 129 w 131"/>
                <a:gd name="T93" fmla="*/ 80 h 143"/>
                <a:gd name="T94" fmla="*/ 126 w 131"/>
                <a:gd name="T95" fmla="*/ 30 h 143"/>
                <a:gd name="T96" fmla="*/ 65 w 131"/>
                <a:gd name="T97" fmla="*/ 92 h 143"/>
                <a:gd name="T98" fmla="*/ 58 w 131"/>
                <a:gd name="T99" fmla="*/ 79 h 143"/>
                <a:gd name="T100" fmla="*/ 60 w 131"/>
                <a:gd name="T101" fmla="*/ 60 h 143"/>
                <a:gd name="T102" fmla="*/ 61 w 131"/>
                <a:gd name="T103" fmla="*/ 56 h 143"/>
                <a:gd name="T104" fmla="*/ 69 w 131"/>
                <a:gd name="T105" fmla="*/ 51 h 143"/>
                <a:gd name="T106" fmla="*/ 73 w 131"/>
                <a:gd name="T107" fmla="*/ 5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1" h="143">
                  <a:moveTo>
                    <a:pt x="126" y="30"/>
                  </a:moveTo>
                  <a:cubicBezTo>
                    <a:pt x="122" y="22"/>
                    <a:pt x="118" y="16"/>
                    <a:pt x="112" y="12"/>
                  </a:cubicBezTo>
                  <a:cubicBezTo>
                    <a:pt x="106" y="7"/>
                    <a:pt x="100" y="4"/>
                    <a:pt x="93" y="3"/>
                  </a:cubicBezTo>
                  <a:cubicBezTo>
                    <a:pt x="85" y="1"/>
                    <a:pt x="78" y="0"/>
                    <a:pt x="71" y="0"/>
                  </a:cubicBezTo>
                  <a:cubicBezTo>
                    <a:pt x="62" y="0"/>
                    <a:pt x="53" y="2"/>
                    <a:pt x="44" y="4"/>
                  </a:cubicBezTo>
                  <a:cubicBezTo>
                    <a:pt x="36" y="6"/>
                    <a:pt x="28" y="10"/>
                    <a:pt x="22" y="16"/>
                  </a:cubicBezTo>
                  <a:cubicBezTo>
                    <a:pt x="17" y="20"/>
                    <a:pt x="12" y="26"/>
                    <a:pt x="9" y="32"/>
                  </a:cubicBezTo>
                  <a:cubicBezTo>
                    <a:pt x="8" y="34"/>
                    <a:pt x="7" y="36"/>
                    <a:pt x="6" y="38"/>
                  </a:cubicBezTo>
                  <a:cubicBezTo>
                    <a:pt x="5" y="40"/>
                    <a:pt x="5" y="42"/>
                    <a:pt x="4" y="44"/>
                  </a:cubicBezTo>
                  <a:cubicBezTo>
                    <a:pt x="4" y="45"/>
                    <a:pt x="4" y="45"/>
                    <a:pt x="4" y="45"/>
                  </a:cubicBezTo>
                  <a:cubicBezTo>
                    <a:pt x="3" y="47"/>
                    <a:pt x="3" y="49"/>
                    <a:pt x="2" y="51"/>
                  </a:cubicBezTo>
                  <a:cubicBezTo>
                    <a:pt x="1" y="58"/>
                    <a:pt x="0" y="64"/>
                    <a:pt x="0" y="72"/>
                  </a:cubicBezTo>
                  <a:cubicBezTo>
                    <a:pt x="0" y="74"/>
                    <a:pt x="0" y="75"/>
                    <a:pt x="1" y="77"/>
                  </a:cubicBezTo>
                  <a:cubicBezTo>
                    <a:pt x="1" y="77"/>
                    <a:pt x="1" y="77"/>
                    <a:pt x="1" y="77"/>
                  </a:cubicBezTo>
                  <a:cubicBezTo>
                    <a:pt x="1" y="79"/>
                    <a:pt x="1" y="82"/>
                    <a:pt x="1" y="84"/>
                  </a:cubicBezTo>
                  <a:cubicBezTo>
                    <a:pt x="1" y="84"/>
                    <a:pt x="1" y="85"/>
                    <a:pt x="1" y="85"/>
                  </a:cubicBezTo>
                  <a:cubicBezTo>
                    <a:pt x="1" y="90"/>
                    <a:pt x="2" y="94"/>
                    <a:pt x="3" y="98"/>
                  </a:cubicBezTo>
                  <a:cubicBezTo>
                    <a:pt x="3" y="98"/>
                    <a:pt x="3" y="98"/>
                    <a:pt x="3" y="98"/>
                  </a:cubicBezTo>
                  <a:cubicBezTo>
                    <a:pt x="4" y="101"/>
                    <a:pt x="5" y="104"/>
                    <a:pt x="6" y="107"/>
                  </a:cubicBezTo>
                  <a:cubicBezTo>
                    <a:pt x="9" y="116"/>
                    <a:pt x="14" y="124"/>
                    <a:pt x="20" y="129"/>
                  </a:cubicBezTo>
                  <a:cubicBezTo>
                    <a:pt x="26" y="134"/>
                    <a:pt x="34" y="138"/>
                    <a:pt x="43" y="140"/>
                  </a:cubicBezTo>
                  <a:cubicBezTo>
                    <a:pt x="52" y="142"/>
                    <a:pt x="62" y="143"/>
                    <a:pt x="73" y="143"/>
                  </a:cubicBezTo>
                  <a:cubicBezTo>
                    <a:pt x="76" y="143"/>
                    <a:pt x="79" y="143"/>
                    <a:pt x="82" y="143"/>
                  </a:cubicBezTo>
                  <a:cubicBezTo>
                    <a:pt x="85" y="143"/>
                    <a:pt x="88" y="143"/>
                    <a:pt x="90" y="142"/>
                  </a:cubicBezTo>
                  <a:cubicBezTo>
                    <a:pt x="93" y="142"/>
                    <a:pt x="96" y="142"/>
                    <a:pt x="98" y="141"/>
                  </a:cubicBezTo>
                  <a:cubicBezTo>
                    <a:pt x="100" y="141"/>
                    <a:pt x="102" y="140"/>
                    <a:pt x="103" y="140"/>
                  </a:cubicBezTo>
                  <a:cubicBezTo>
                    <a:pt x="103" y="130"/>
                    <a:pt x="103" y="130"/>
                    <a:pt x="103" y="130"/>
                  </a:cubicBezTo>
                  <a:cubicBezTo>
                    <a:pt x="103" y="128"/>
                    <a:pt x="103" y="127"/>
                    <a:pt x="103" y="125"/>
                  </a:cubicBezTo>
                  <a:cubicBezTo>
                    <a:pt x="102" y="124"/>
                    <a:pt x="101" y="124"/>
                    <a:pt x="99" y="124"/>
                  </a:cubicBezTo>
                  <a:cubicBezTo>
                    <a:pt x="97" y="124"/>
                    <a:pt x="94" y="124"/>
                    <a:pt x="90" y="125"/>
                  </a:cubicBezTo>
                  <a:cubicBezTo>
                    <a:pt x="89" y="125"/>
                    <a:pt x="88" y="125"/>
                    <a:pt x="86" y="125"/>
                  </a:cubicBezTo>
                  <a:cubicBezTo>
                    <a:pt x="86" y="125"/>
                    <a:pt x="86" y="125"/>
                    <a:pt x="86" y="125"/>
                  </a:cubicBezTo>
                  <a:cubicBezTo>
                    <a:pt x="85" y="125"/>
                    <a:pt x="83" y="125"/>
                    <a:pt x="82" y="125"/>
                  </a:cubicBezTo>
                  <a:cubicBezTo>
                    <a:pt x="79" y="125"/>
                    <a:pt x="77" y="125"/>
                    <a:pt x="74" y="125"/>
                  </a:cubicBezTo>
                  <a:cubicBezTo>
                    <a:pt x="65" y="125"/>
                    <a:pt x="57" y="124"/>
                    <a:pt x="50" y="123"/>
                  </a:cubicBezTo>
                  <a:cubicBezTo>
                    <a:pt x="44" y="121"/>
                    <a:pt x="38" y="119"/>
                    <a:pt x="34" y="115"/>
                  </a:cubicBezTo>
                  <a:cubicBezTo>
                    <a:pt x="30" y="111"/>
                    <a:pt x="26" y="105"/>
                    <a:pt x="24" y="98"/>
                  </a:cubicBezTo>
                  <a:cubicBezTo>
                    <a:pt x="24" y="96"/>
                    <a:pt x="23" y="93"/>
                    <a:pt x="23" y="89"/>
                  </a:cubicBezTo>
                  <a:cubicBezTo>
                    <a:pt x="22" y="87"/>
                    <a:pt x="22" y="85"/>
                    <a:pt x="22" y="83"/>
                  </a:cubicBezTo>
                  <a:cubicBezTo>
                    <a:pt x="22" y="82"/>
                    <a:pt x="22" y="81"/>
                    <a:pt x="22" y="81"/>
                  </a:cubicBezTo>
                  <a:cubicBezTo>
                    <a:pt x="22" y="80"/>
                    <a:pt x="22" y="79"/>
                    <a:pt x="22" y="78"/>
                  </a:cubicBezTo>
                  <a:cubicBezTo>
                    <a:pt x="21" y="76"/>
                    <a:pt x="21" y="74"/>
                    <a:pt x="21" y="72"/>
                  </a:cubicBezTo>
                  <a:cubicBezTo>
                    <a:pt x="21" y="70"/>
                    <a:pt x="21" y="67"/>
                    <a:pt x="22" y="65"/>
                  </a:cubicBezTo>
                  <a:cubicBezTo>
                    <a:pt x="22" y="63"/>
                    <a:pt x="22" y="61"/>
                    <a:pt x="22" y="60"/>
                  </a:cubicBezTo>
                  <a:cubicBezTo>
                    <a:pt x="22" y="58"/>
                    <a:pt x="23" y="56"/>
                    <a:pt x="23" y="54"/>
                  </a:cubicBezTo>
                  <a:cubicBezTo>
                    <a:pt x="23" y="53"/>
                    <a:pt x="24" y="51"/>
                    <a:pt x="24" y="50"/>
                  </a:cubicBezTo>
                  <a:cubicBezTo>
                    <a:pt x="24" y="48"/>
                    <a:pt x="25" y="47"/>
                    <a:pt x="25" y="45"/>
                  </a:cubicBezTo>
                  <a:cubicBezTo>
                    <a:pt x="26" y="44"/>
                    <a:pt x="27" y="42"/>
                    <a:pt x="27" y="41"/>
                  </a:cubicBezTo>
                  <a:cubicBezTo>
                    <a:pt x="28" y="41"/>
                    <a:pt x="28" y="40"/>
                    <a:pt x="28" y="40"/>
                  </a:cubicBezTo>
                  <a:cubicBezTo>
                    <a:pt x="29" y="39"/>
                    <a:pt x="29" y="38"/>
                    <a:pt x="30" y="37"/>
                  </a:cubicBezTo>
                  <a:cubicBezTo>
                    <a:pt x="30" y="37"/>
                    <a:pt x="30" y="36"/>
                    <a:pt x="31" y="35"/>
                  </a:cubicBezTo>
                  <a:cubicBezTo>
                    <a:pt x="31" y="35"/>
                    <a:pt x="32" y="34"/>
                    <a:pt x="32" y="34"/>
                  </a:cubicBezTo>
                  <a:cubicBezTo>
                    <a:pt x="33" y="33"/>
                    <a:pt x="33" y="33"/>
                    <a:pt x="33" y="32"/>
                  </a:cubicBezTo>
                  <a:cubicBezTo>
                    <a:pt x="34" y="31"/>
                    <a:pt x="35" y="30"/>
                    <a:pt x="36" y="29"/>
                  </a:cubicBezTo>
                  <a:cubicBezTo>
                    <a:pt x="41" y="25"/>
                    <a:pt x="46" y="22"/>
                    <a:pt x="52" y="21"/>
                  </a:cubicBezTo>
                  <a:cubicBezTo>
                    <a:pt x="58" y="19"/>
                    <a:pt x="65" y="19"/>
                    <a:pt x="71" y="19"/>
                  </a:cubicBezTo>
                  <a:cubicBezTo>
                    <a:pt x="85" y="19"/>
                    <a:pt x="95" y="22"/>
                    <a:pt x="101" y="28"/>
                  </a:cubicBezTo>
                  <a:cubicBezTo>
                    <a:pt x="108" y="35"/>
                    <a:pt x="111" y="45"/>
                    <a:pt x="111" y="59"/>
                  </a:cubicBezTo>
                  <a:cubicBezTo>
                    <a:pt x="111" y="71"/>
                    <a:pt x="109" y="79"/>
                    <a:pt x="107" y="84"/>
                  </a:cubicBezTo>
                  <a:cubicBezTo>
                    <a:pt x="106" y="86"/>
                    <a:pt x="105" y="87"/>
                    <a:pt x="104" y="88"/>
                  </a:cubicBezTo>
                  <a:cubicBezTo>
                    <a:pt x="103" y="90"/>
                    <a:pt x="101" y="90"/>
                    <a:pt x="99" y="91"/>
                  </a:cubicBezTo>
                  <a:cubicBezTo>
                    <a:pt x="99" y="91"/>
                    <a:pt x="99" y="91"/>
                    <a:pt x="99" y="91"/>
                  </a:cubicBezTo>
                  <a:cubicBezTo>
                    <a:pt x="98" y="91"/>
                    <a:pt x="97" y="92"/>
                    <a:pt x="97" y="92"/>
                  </a:cubicBezTo>
                  <a:cubicBezTo>
                    <a:pt x="96" y="92"/>
                    <a:pt x="96" y="92"/>
                    <a:pt x="96" y="92"/>
                  </a:cubicBezTo>
                  <a:cubicBezTo>
                    <a:pt x="95" y="92"/>
                    <a:pt x="94" y="92"/>
                    <a:pt x="93" y="92"/>
                  </a:cubicBezTo>
                  <a:cubicBezTo>
                    <a:pt x="96" y="42"/>
                    <a:pt x="96" y="42"/>
                    <a:pt x="96" y="42"/>
                  </a:cubicBezTo>
                  <a:cubicBezTo>
                    <a:pt x="96" y="41"/>
                    <a:pt x="96" y="40"/>
                    <a:pt x="96" y="40"/>
                  </a:cubicBezTo>
                  <a:cubicBezTo>
                    <a:pt x="96" y="38"/>
                    <a:pt x="95" y="36"/>
                    <a:pt x="94" y="36"/>
                  </a:cubicBezTo>
                  <a:cubicBezTo>
                    <a:pt x="93" y="35"/>
                    <a:pt x="92" y="35"/>
                    <a:pt x="91" y="34"/>
                  </a:cubicBezTo>
                  <a:cubicBezTo>
                    <a:pt x="90" y="34"/>
                    <a:pt x="89" y="34"/>
                    <a:pt x="88" y="34"/>
                  </a:cubicBezTo>
                  <a:cubicBezTo>
                    <a:pt x="86" y="33"/>
                    <a:pt x="83" y="33"/>
                    <a:pt x="81" y="33"/>
                  </a:cubicBezTo>
                  <a:cubicBezTo>
                    <a:pt x="78" y="32"/>
                    <a:pt x="76" y="32"/>
                    <a:pt x="73" y="32"/>
                  </a:cubicBezTo>
                  <a:cubicBezTo>
                    <a:pt x="65" y="32"/>
                    <a:pt x="59" y="33"/>
                    <a:pt x="54" y="36"/>
                  </a:cubicBezTo>
                  <a:cubicBezTo>
                    <a:pt x="49" y="39"/>
                    <a:pt x="45" y="42"/>
                    <a:pt x="43" y="46"/>
                  </a:cubicBezTo>
                  <a:cubicBezTo>
                    <a:pt x="40" y="50"/>
                    <a:pt x="38" y="55"/>
                    <a:pt x="37" y="61"/>
                  </a:cubicBezTo>
                  <a:cubicBezTo>
                    <a:pt x="36" y="67"/>
                    <a:pt x="36" y="72"/>
                    <a:pt x="36" y="78"/>
                  </a:cubicBezTo>
                  <a:cubicBezTo>
                    <a:pt x="36" y="84"/>
                    <a:pt x="36" y="89"/>
                    <a:pt x="37" y="93"/>
                  </a:cubicBezTo>
                  <a:cubicBezTo>
                    <a:pt x="38" y="97"/>
                    <a:pt x="40" y="101"/>
                    <a:pt x="42" y="103"/>
                  </a:cubicBezTo>
                  <a:cubicBezTo>
                    <a:pt x="44" y="106"/>
                    <a:pt x="46" y="107"/>
                    <a:pt x="48" y="108"/>
                  </a:cubicBezTo>
                  <a:cubicBezTo>
                    <a:pt x="51" y="110"/>
                    <a:pt x="54" y="110"/>
                    <a:pt x="57" y="110"/>
                  </a:cubicBezTo>
                  <a:cubicBezTo>
                    <a:pt x="61" y="110"/>
                    <a:pt x="65" y="109"/>
                    <a:pt x="67" y="107"/>
                  </a:cubicBezTo>
                  <a:cubicBezTo>
                    <a:pt x="70" y="105"/>
                    <a:pt x="73" y="103"/>
                    <a:pt x="75" y="101"/>
                  </a:cubicBezTo>
                  <a:cubicBezTo>
                    <a:pt x="76" y="104"/>
                    <a:pt x="76" y="104"/>
                    <a:pt x="76" y="104"/>
                  </a:cubicBezTo>
                  <a:cubicBezTo>
                    <a:pt x="77" y="106"/>
                    <a:pt x="78" y="108"/>
                    <a:pt x="78" y="109"/>
                  </a:cubicBezTo>
                  <a:cubicBezTo>
                    <a:pt x="79" y="110"/>
                    <a:pt x="81" y="110"/>
                    <a:pt x="83" y="110"/>
                  </a:cubicBezTo>
                  <a:cubicBezTo>
                    <a:pt x="91" y="110"/>
                    <a:pt x="91" y="110"/>
                    <a:pt x="91" y="110"/>
                  </a:cubicBezTo>
                  <a:cubicBezTo>
                    <a:pt x="92" y="110"/>
                    <a:pt x="94" y="110"/>
                    <a:pt x="95" y="110"/>
                  </a:cubicBezTo>
                  <a:cubicBezTo>
                    <a:pt x="96" y="110"/>
                    <a:pt x="97" y="110"/>
                    <a:pt x="97" y="110"/>
                  </a:cubicBezTo>
                  <a:cubicBezTo>
                    <a:pt x="98" y="110"/>
                    <a:pt x="98" y="110"/>
                    <a:pt x="99" y="109"/>
                  </a:cubicBezTo>
                  <a:cubicBezTo>
                    <a:pt x="101" y="109"/>
                    <a:pt x="102" y="109"/>
                    <a:pt x="104" y="109"/>
                  </a:cubicBezTo>
                  <a:cubicBezTo>
                    <a:pt x="104" y="109"/>
                    <a:pt x="104" y="109"/>
                    <a:pt x="104" y="109"/>
                  </a:cubicBezTo>
                  <a:cubicBezTo>
                    <a:pt x="106" y="108"/>
                    <a:pt x="108" y="107"/>
                    <a:pt x="110" y="106"/>
                  </a:cubicBezTo>
                  <a:cubicBezTo>
                    <a:pt x="115" y="104"/>
                    <a:pt x="120" y="100"/>
                    <a:pt x="123" y="96"/>
                  </a:cubicBezTo>
                  <a:cubicBezTo>
                    <a:pt x="126" y="91"/>
                    <a:pt x="128" y="86"/>
                    <a:pt x="129" y="80"/>
                  </a:cubicBezTo>
                  <a:cubicBezTo>
                    <a:pt x="131" y="73"/>
                    <a:pt x="131" y="67"/>
                    <a:pt x="131" y="59"/>
                  </a:cubicBezTo>
                  <a:cubicBezTo>
                    <a:pt x="131" y="47"/>
                    <a:pt x="129" y="37"/>
                    <a:pt x="126" y="30"/>
                  </a:cubicBezTo>
                  <a:moveTo>
                    <a:pt x="71" y="91"/>
                  </a:moveTo>
                  <a:cubicBezTo>
                    <a:pt x="69" y="91"/>
                    <a:pt x="67" y="92"/>
                    <a:pt x="65" y="92"/>
                  </a:cubicBezTo>
                  <a:cubicBezTo>
                    <a:pt x="63" y="92"/>
                    <a:pt x="61" y="91"/>
                    <a:pt x="60" y="89"/>
                  </a:cubicBezTo>
                  <a:cubicBezTo>
                    <a:pt x="59" y="87"/>
                    <a:pt x="58" y="84"/>
                    <a:pt x="58" y="79"/>
                  </a:cubicBezTo>
                  <a:cubicBezTo>
                    <a:pt x="58" y="76"/>
                    <a:pt x="59" y="72"/>
                    <a:pt x="59" y="69"/>
                  </a:cubicBezTo>
                  <a:cubicBezTo>
                    <a:pt x="59" y="66"/>
                    <a:pt x="59" y="63"/>
                    <a:pt x="60" y="60"/>
                  </a:cubicBezTo>
                  <a:cubicBezTo>
                    <a:pt x="60" y="60"/>
                    <a:pt x="60" y="59"/>
                    <a:pt x="60" y="59"/>
                  </a:cubicBezTo>
                  <a:cubicBezTo>
                    <a:pt x="61" y="58"/>
                    <a:pt x="61" y="57"/>
                    <a:pt x="61" y="56"/>
                  </a:cubicBezTo>
                  <a:cubicBezTo>
                    <a:pt x="62" y="55"/>
                    <a:pt x="62" y="54"/>
                    <a:pt x="63" y="53"/>
                  </a:cubicBezTo>
                  <a:cubicBezTo>
                    <a:pt x="64" y="52"/>
                    <a:pt x="66" y="51"/>
                    <a:pt x="69" y="51"/>
                  </a:cubicBezTo>
                  <a:cubicBezTo>
                    <a:pt x="71" y="51"/>
                    <a:pt x="71" y="51"/>
                    <a:pt x="71" y="51"/>
                  </a:cubicBezTo>
                  <a:cubicBezTo>
                    <a:pt x="72" y="51"/>
                    <a:pt x="72" y="51"/>
                    <a:pt x="73" y="51"/>
                  </a:cubicBezTo>
                  <a:lnTo>
                    <a:pt x="71" y="91"/>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46" name="Freeform 45"/>
            <p:cNvSpPr>
              <a:spLocks/>
            </p:cNvSpPr>
            <p:nvPr/>
          </p:nvSpPr>
          <p:spPr bwMode="auto">
            <a:xfrm>
              <a:off x="182562" y="120650"/>
              <a:ext cx="784225" cy="415925"/>
            </a:xfrm>
            <a:custGeom>
              <a:avLst/>
              <a:gdLst>
                <a:gd name="T0" fmla="*/ 202 w 209"/>
                <a:gd name="T1" fmla="*/ 54 h 111"/>
                <a:gd name="T2" fmla="*/ 202 w 209"/>
                <a:gd name="T3" fmla="*/ 53 h 111"/>
                <a:gd name="T4" fmla="*/ 202 w 209"/>
                <a:gd name="T5" fmla="*/ 45 h 111"/>
                <a:gd name="T6" fmla="*/ 202 w 209"/>
                <a:gd name="T7" fmla="*/ 45 h 111"/>
                <a:gd name="T8" fmla="*/ 202 w 209"/>
                <a:gd name="T9" fmla="*/ 40 h 111"/>
                <a:gd name="T10" fmla="*/ 204 w 209"/>
                <a:gd name="T11" fmla="*/ 17 h 111"/>
                <a:gd name="T12" fmla="*/ 205 w 209"/>
                <a:gd name="T13" fmla="*/ 10 h 111"/>
                <a:gd name="T14" fmla="*/ 205 w 209"/>
                <a:gd name="T15" fmla="*/ 10 h 111"/>
                <a:gd name="T16" fmla="*/ 205 w 209"/>
                <a:gd name="T17" fmla="*/ 9 h 111"/>
                <a:gd name="T18" fmla="*/ 206 w 209"/>
                <a:gd name="T19" fmla="*/ 8 h 111"/>
                <a:gd name="T20" fmla="*/ 206 w 209"/>
                <a:gd name="T21" fmla="*/ 8 h 111"/>
                <a:gd name="T22" fmla="*/ 209 w 209"/>
                <a:gd name="T23" fmla="*/ 0 h 111"/>
                <a:gd name="T24" fmla="*/ 0 w 209"/>
                <a:gd name="T25" fmla="*/ 0 h 111"/>
                <a:gd name="T26" fmla="*/ 135 w 209"/>
                <a:gd name="T27" fmla="*/ 111 h 111"/>
                <a:gd name="T28" fmla="*/ 203 w 209"/>
                <a:gd name="T29" fmla="*/ 56 h 111"/>
                <a:gd name="T30" fmla="*/ 202 w 209"/>
                <a:gd name="T31" fmla="*/ 5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9" h="111">
                  <a:moveTo>
                    <a:pt x="202" y="54"/>
                  </a:moveTo>
                  <a:cubicBezTo>
                    <a:pt x="202" y="53"/>
                    <a:pt x="202" y="53"/>
                    <a:pt x="202" y="53"/>
                  </a:cubicBezTo>
                  <a:cubicBezTo>
                    <a:pt x="202" y="50"/>
                    <a:pt x="202" y="48"/>
                    <a:pt x="202" y="45"/>
                  </a:cubicBezTo>
                  <a:cubicBezTo>
                    <a:pt x="202" y="45"/>
                    <a:pt x="202" y="45"/>
                    <a:pt x="202" y="45"/>
                  </a:cubicBezTo>
                  <a:cubicBezTo>
                    <a:pt x="202" y="43"/>
                    <a:pt x="202" y="42"/>
                    <a:pt x="202" y="40"/>
                  </a:cubicBezTo>
                  <a:cubicBezTo>
                    <a:pt x="202" y="32"/>
                    <a:pt x="202" y="24"/>
                    <a:pt x="204" y="17"/>
                  </a:cubicBezTo>
                  <a:cubicBezTo>
                    <a:pt x="204" y="14"/>
                    <a:pt x="205" y="12"/>
                    <a:pt x="205" y="10"/>
                  </a:cubicBezTo>
                  <a:cubicBezTo>
                    <a:pt x="205" y="10"/>
                    <a:pt x="205" y="10"/>
                    <a:pt x="205" y="10"/>
                  </a:cubicBezTo>
                  <a:cubicBezTo>
                    <a:pt x="205" y="9"/>
                    <a:pt x="205" y="9"/>
                    <a:pt x="205" y="9"/>
                  </a:cubicBezTo>
                  <a:cubicBezTo>
                    <a:pt x="205" y="9"/>
                    <a:pt x="206" y="9"/>
                    <a:pt x="206" y="8"/>
                  </a:cubicBezTo>
                  <a:cubicBezTo>
                    <a:pt x="206" y="8"/>
                    <a:pt x="206" y="8"/>
                    <a:pt x="206" y="8"/>
                  </a:cubicBezTo>
                  <a:cubicBezTo>
                    <a:pt x="207" y="5"/>
                    <a:pt x="208" y="2"/>
                    <a:pt x="209" y="0"/>
                  </a:cubicBezTo>
                  <a:cubicBezTo>
                    <a:pt x="0" y="0"/>
                    <a:pt x="0" y="0"/>
                    <a:pt x="0" y="0"/>
                  </a:cubicBezTo>
                  <a:cubicBezTo>
                    <a:pt x="135" y="111"/>
                    <a:pt x="135" y="111"/>
                    <a:pt x="135" y="111"/>
                  </a:cubicBezTo>
                  <a:cubicBezTo>
                    <a:pt x="203" y="56"/>
                    <a:pt x="203" y="56"/>
                    <a:pt x="203" y="56"/>
                  </a:cubicBezTo>
                  <a:cubicBezTo>
                    <a:pt x="202" y="56"/>
                    <a:pt x="202" y="55"/>
                    <a:pt x="202" y="54"/>
                  </a:cubicBezTo>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grpSp>
      <p:grpSp>
        <p:nvGrpSpPr>
          <p:cNvPr id="47" name="Group 46"/>
          <p:cNvGrpSpPr/>
          <p:nvPr/>
        </p:nvGrpSpPr>
        <p:grpSpPr>
          <a:xfrm>
            <a:off x="604459" y="3147728"/>
            <a:ext cx="2245360" cy="1071030"/>
            <a:chOff x="576707" y="2052780"/>
            <a:chExt cx="1581278" cy="753068"/>
          </a:xfrm>
        </p:grpSpPr>
        <p:grpSp>
          <p:nvGrpSpPr>
            <p:cNvPr id="48" name="Group 47"/>
            <p:cNvGrpSpPr/>
            <p:nvPr/>
          </p:nvGrpSpPr>
          <p:grpSpPr>
            <a:xfrm>
              <a:off x="576707" y="2052780"/>
              <a:ext cx="619123" cy="654620"/>
              <a:chOff x="0" y="153988"/>
              <a:chExt cx="1135063" cy="1200150"/>
            </a:xfrm>
            <a:solidFill>
              <a:schemeClr val="accent1"/>
            </a:solidFill>
          </p:grpSpPr>
          <p:sp>
            <p:nvSpPr>
              <p:cNvPr id="50" name="Oval 49"/>
              <p:cNvSpPr>
                <a:spLocks noChangeArrowheads="1"/>
              </p:cNvSpPr>
              <p:nvPr/>
            </p:nvSpPr>
            <p:spPr bwMode="auto">
              <a:xfrm>
                <a:off x="85725" y="365125"/>
                <a:ext cx="184150" cy="195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51" name="Freeform 50"/>
              <p:cNvSpPr>
                <a:spLocks/>
              </p:cNvSpPr>
              <p:nvPr/>
            </p:nvSpPr>
            <p:spPr bwMode="auto">
              <a:xfrm>
                <a:off x="0" y="590550"/>
                <a:ext cx="357188" cy="665163"/>
              </a:xfrm>
              <a:custGeom>
                <a:avLst/>
                <a:gdLst>
                  <a:gd name="T0" fmla="*/ 75 w 95"/>
                  <a:gd name="T1" fmla="*/ 0 h 177"/>
                  <a:gd name="T2" fmla="*/ 48 w 95"/>
                  <a:gd name="T3" fmla="*/ 0 h 177"/>
                  <a:gd name="T4" fmla="*/ 20 w 95"/>
                  <a:gd name="T5" fmla="*/ 0 h 177"/>
                  <a:gd name="T6" fmla="*/ 0 w 95"/>
                  <a:gd name="T7" fmla="*/ 21 h 177"/>
                  <a:gd name="T8" fmla="*/ 0 w 95"/>
                  <a:gd name="T9" fmla="*/ 24 h 177"/>
                  <a:gd name="T10" fmla="*/ 0 w 95"/>
                  <a:gd name="T11" fmla="*/ 40 h 177"/>
                  <a:gd name="T12" fmla="*/ 0 w 95"/>
                  <a:gd name="T13" fmla="*/ 55 h 177"/>
                  <a:gd name="T14" fmla="*/ 0 w 95"/>
                  <a:gd name="T15" fmla="*/ 83 h 177"/>
                  <a:gd name="T16" fmla="*/ 0 w 95"/>
                  <a:gd name="T17" fmla="*/ 83 h 177"/>
                  <a:gd name="T18" fmla="*/ 8 w 95"/>
                  <a:gd name="T19" fmla="*/ 91 h 177"/>
                  <a:gd name="T20" fmla="*/ 16 w 95"/>
                  <a:gd name="T21" fmla="*/ 84 h 177"/>
                  <a:gd name="T22" fmla="*/ 16 w 95"/>
                  <a:gd name="T23" fmla="*/ 83 h 177"/>
                  <a:gd name="T24" fmla="*/ 16 w 95"/>
                  <a:gd name="T25" fmla="*/ 27 h 177"/>
                  <a:gd name="T26" fmla="*/ 18 w 95"/>
                  <a:gd name="T27" fmla="*/ 25 h 177"/>
                  <a:gd name="T28" fmla="*/ 20 w 95"/>
                  <a:gd name="T29" fmla="*/ 27 h 177"/>
                  <a:gd name="T30" fmla="*/ 20 w 95"/>
                  <a:gd name="T31" fmla="*/ 87 h 177"/>
                  <a:gd name="T32" fmla="*/ 20 w 95"/>
                  <a:gd name="T33" fmla="*/ 95 h 177"/>
                  <a:gd name="T34" fmla="*/ 20 w 95"/>
                  <a:gd name="T35" fmla="*/ 96 h 177"/>
                  <a:gd name="T36" fmla="*/ 20 w 95"/>
                  <a:gd name="T37" fmla="*/ 96 h 177"/>
                  <a:gd name="T38" fmla="*/ 26 w 95"/>
                  <a:gd name="T39" fmla="*/ 163 h 177"/>
                  <a:gd name="T40" fmla="*/ 40 w 95"/>
                  <a:gd name="T41" fmla="*/ 177 h 177"/>
                  <a:gd name="T42" fmla="*/ 48 w 95"/>
                  <a:gd name="T43" fmla="*/ 177 h 177"/>
                  <a:gd name="T44" fmla="*/ 55 w 95"/>
                  <a:gd name="T45" fmla="*/ 177 h 177"/>
                  <a:gd name="T46" fmla="*/ 69 w 95"/>
                  <a:gd name="T47" fmla="*/ 163 h 177"/>
                  <a:gd name="T48" fmla="*/ 75 w 95"/>
                  <a:gd name="T49" fmla="*/ 96 h 177"/>
                  <a:gd name="T50" fmla="*/ 75 w 95"/>
                  <a:gd name="T51" fmla="*/ 96 h 177"/>
                  <a:gd name="T52" fmla="*/ 75 w 95"/>
                  <a:gd name="T53" fmla="*/ 95 h 177"/>
                  <a:gd name="T54" fmla="*/ 75 w 95"/>
                  <a:gd name="T55" fmla="*/ 87 h 177"/>
                  <a:gd name="T56" fmla="*/ 75 w 95"/>
                  <a:gd name="T57" fmla="*/ 27 h 177"/>
                  <a:gd name="T58" fmla="*/ 77 w 95"/>
                  <a:gd name="T59" fmla="*/ 25 h 177"/>
                  <a:gd name="T60" fmla="*/ 79 w 95"/>
                  <a:gd name="T61" fmla="*/ 27 h 177"/>
                  <a:gd name="T62" fmla="*/ 79 w 95"/>
                  <a:gd name="T63" fmla="*/ 83 h 177"/>
                  <a:gd name="T64" fmla="*/ 79 w 95"/>
                  <a:gd name="T65" fmla="*/ 84 h 177"/>
                  <a:gd name="T66" fmla="*/ 87 w 95"/>
                  <a:gd name="T67" fmla="*/ 91 h 177"/>
                  <a:gd name="T68" fmla="*/ 95 w 95"/>
                  <a:gd name="T69" fmla="*/ 83 h 177"/>
                  <a:gd name="T70" fmla="*/ 95 w 95"/>
                  <a:gd name="T71" fmla="*/ 83 h 177"/>
                  <a:gd name="T72" fmla="*/ 95 w 95"/>
                  <a:gd name="T73" fmla="*/ 40 h 177"/>
                  <a:gd name="T74" fmla="*/ 95 w 95"/>
                  <a:gd name="T75" fmla="*/ 24 h 177"/>
                  <a:gd name="T76" fmla="*/ 95 w 95"/>
                  <a:gd name="T77" fmla="*/ 21 h 177"/>
                  <a:gd name="T78" fmla="*/ 75 w 95"/>
                  <a:gd name="T79"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5" h="177">
                    <a:moveTo>
                      <a:pt x="75" y="0"/>
                    </a:moveTo>
                    <a:cubicBezTo>
                      <a:pt x="48" y="0"/>
                      <a:pt x="48" y="0"/>
                      <a:pt x="48" y="0"/>
                    </a:cubicBezTo>
                    <a:cubicBezTo>
                      <a:pt x="20" y="0"/>
                      <a:pt x="20" y="0"/>
                      <a:pt x="20" y="0"/>
                    </a:cubicBezTo>
                    <a:cubicBezTo>
                      <a:pt x="7" y="0"/>
                      <a:pt x="0" y="6"/>
                      <a:pt x="0" y="21"/>
                    </a:cubicBezTo>
                    <a:cubicBezTo>
                      <a:pt x="0" y="24"/>
                      <a:pt x="0" y="24"/>
                      <a:pt x="0" y="24"/>
                    </a:cubicBezTo>
                    <a:cubicBezTo>
                      <a:pt x="0" y="40"/>
                      <a:pt x="0" y="40"/>
                      <a:pt x="0" y="40"/>
                    </a:cubicBezTo>
                    <a:cubicBezTo>
                      <a:pt x="0" y="55"/>
                      <a:pt x="0" y="55"/>
                      <a:pt x="0" y="55"/>
                    </a:cubicBezTo>
                    <a:cubicBezTo>
                      <a:pt x="0" y="83"/>
                      <a:pt x="0" y="83"/>
                      <a:pt x="0" y="83"/>
                    </a:cubicBezTo>
                    <a:cubicBezTo>
                      <a:pt x="0" y="83"/>
                      <a:pt x="0" y="83"/>
                      <a:pt x="0" y="83"/>
                    </a:cubicBezTo>
                    <a:cubicBezTo>
                      <a:pt x="0" y="88"/>
                      <a:pt x="4" y="91"/>
                      <a:pt x="8" y="91"/>
                    </a:cubicBezTo>
                    <a:cubicBezTo>
                      <a:pt x="12" y="91"/>
                      <a:pt x="15" y="88"/>
                      <a:pt x="16" y="84"/>
                    </a:cubicBezTo>
                    <a:cubicBezTo>
                      <a:pt x="16" y="84"/>
                      <a:pt x="16" y="84"/>
                      <a:pt x="16" y="83"/>
                    </a:cubicBezTo>
                    <a:cubicBezTo>
                      <a:pt x="16" y="27"/>
                      <a:pt x="16" y="27"/>
                      <a:pt x="16" y="27"/>
                    </a:cubicBezTo>
                    <a:cubicBezTo>
                      <a:pt x="16" y="26"/>
                      <a:pt x="17" y="25"/>
                      <a:pt x="18" y="25"/>
                    </a:cubicBezTo>
                    <a:cubicBezTo>
                      <a:pt x="19" y="25"/>
                      <a:pt x="20" y="26"/>
                      <a:pt x="20" y="27"/>
                    </a:cubicBezTo>
                    <a:cubicBezTo>
                      <a:pt x="20" y="87"/>
                      <a:pt x="20" y="87"/>
                      <a:pt x="20" y="87"/>
                    </a:cubicBezTo>
                    <a:cubicBezTo>
                      <a:pt x="20" y="87"/>
                      <a:pt x="20" y="92"/>
                      <a:pt x="20" y="95"/>
                    </a:cubicBezTo>
                    <a:cubicBezTo>
                      <a:pt x="20" y="96"/>
                      <a:pt x="20" y="96"/>
                      <a:pt x="20" y="96"/>
                    </a:cubicBezTo>
                    <a:cubicBezTo>
                      <a:pt x="20" y="96"/>
                      <a:pt x="20" y="96"/>
                      <a:pt x="20" y="96"/>
                    </a:cubicBezTo>
                    <a:cubicBezTo>
                      <a:pt x="26" y="163"/>
                      <a:pt x="26" y="163"/>
                      <a:pt x="26" y="163"/>
                    </a:cubicBezTo>
                    <a:cubicBezTo>
                      <a:pt x="27" y="173"/>
                      <a:pt x="31" y="177"/>
                      <a:pt x="40" y="177"/>
                    </a:cubicBezTo>
                    <a:cubicBezTo>
                      <a:pt x="48" y="177"/>
                      <a:pt x="48" y="177"/>
                      <a:pt x="48" y="177"/>
                    </a:cubicBezTo>
                    <a:cubicBezTo>
                      <a:pt x="55" y="177"/>
                      <a:pt x="55" y="177"/>
                      <a:pt x="55" y="177"/>
                    </a:cubicBezTo>
                    <a:cubicBezTo>
                      <a:pt x="64" y="177"/>
                      <a:pt x="68" y="173"/>
                      <a:pt x="69" y="163"/>
                    </a:cubicBezTo>
                    <a:cubicBezTo>
                      <a:pt x="75" y="96"/>
                      <a:pt x="75" y="96"/>
                      <a:pt x="75" y="96"/>
                    </a:cubicBezTo>
                    <a:cubicBezTo>
                      <a:pt x="75" y="96"/>
                      <a:pt x="75" y="96"/>
                      <a:pt x="75" y="96"/>
                    </a:cubicBezTo>
                    <a:cubicBezTo>
                      <a:pt x="75" y="95"/>
                      <a:pt x="75" y="95"/>
                      <a:pt x="75" y="95"/>
                    </a:cubicBezTo>
                    <a:cubicBezTo>
                      <a:pt x="75" y="92"/>
                      <a:pt x="75" y="87"/>
                      <a:pt x="75" y="87"/>
                    </a:cubicBezTo>
                    <a:cubicBezTo>
                      <a:pt x="75" y="27"/>
                      <a:pt x="75" y="27"/>
                      <a:pt x="75" y="27"/>
                    </a:cubicBezTo>
                    <a:cubicBezTo>
                      <a:pt x="75" y="26"/>
                      <a:pt x="76" y="25"/>
                      <a:pt x="77" y="25"/>
                    </a:cubicBezTo>
                    <a:cubicBezTo>
                      <a:pt x="78" y="25"/>
                      <a:pt x="79" y="26"/>
                      <a:pt x="79" y="27"/>
                    </a:cubicBezTo>
                    <a:cubicBezTo>
                      <a:pt x="79" y="83"/>
                      <a:pt x="79" y="83"/>
                      <a:pt x="79" y="83"/>
                    </a:cubicBezTo>
                    <a:cubicBezTo>
                      <a:pt x="79" y="84"/>
                      <a:pt x="79" y="84"/>
                      <a:pt x="79" y="84"/>
                    </a:cubicBezTo>
                    <a:cubicBezTo>
                      <a:pt x="80" y="88"/>
                      <a:pt x="83" y="91"/>
                      <a:pt x="87" y="91"/>
                    </a:cubicBezTo>
                    <a:cubicBezTo>
                      <a:pt x="91" y="91"/>
                      <a:pt x="95" y="88"/>
                      <a:pt x="95" y="83"/>
                    </a:cubicBezTo>
                    <a:cubicBezTo>
                      <a:pt x="95" y="83"/>
                      <a:pt x="95" y="83"/>
                      <a:pt x="95" y="83"/>
                    </a:cubicBezTo>
                    <a:cubicBezTo>
                      <a:pt x="95" y="40"/>
                      <a:pt x="95" y="40"/>
                      <a:pt x="95" y="40"/>
                    </a:cubicBezTo>
                    <a:cubicBezTo>
                      <a:pt x="95" y="24"/>
                      <a:pt x="95" y="24"/>
                      <a:pt x="95" y="24"/>
                    </a:cubicBezTo>
                    <a:cubicBezTo>
                      <a:pt x="95" y="21"/>
                      <a:pt x="95" y="21"/>
                      <a:pt x="95" y="21"/>
                    </a:cubicBezTo>
                    <a:cubicBezTo>
                      <a:pt x="95" y="6"/>
                      <a:pt x="88" y="0"/>
                      <a:pt x="7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52" name="Oval 51"/>
              <p:cNvSpPr>
                <a:spLocks noChangeArrowheads="1"/>
              </p:cNvSpPr>
              <p:nvPr/>
            </p:nvSpPr>
            <p:spPr bwMode="auto">
              <a:xfrm>
                <a:off x="769938" y="153988"/>
                <a:ext cx="249238" cy="2667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53" name="Freeform 52"/>
              <p:cNvSpPr>
                <a:spLocks/>
              </p:cNvSpPr>
              <p:nvPr/>
            </p:nvSpPr>
            <p:spPr bwMode="auto">
              <a:xfrm>
                <a:off x="481013" y="365125"/>
                <a:ext cx="184150" cy="195263"/>
              </a:xfrm>
              <a:custGeom>
                <a:avLst/>
                <a:gdLst>
                  <a:gd name="T0" fmla="*/ 0 w 49"/>
                  <a:gd name="T1" fmla="*/ 26 h 52"/>
                  <a:gd name="T2" fmla="*/ 25 w 49"/>
                  <a:gd name="T3" fmla="*/ 52 h 52"/>
                  <a:gd name="T4" fmla="*/ 38 w 49"/>
                  <a:gd name="T5" fmla="*/ 50 h 52"/>
                  <a:gd name="T6" fmla="*/ 49 w 49"/>
                  <a:gd name="T7" fmla="*/ 25 h 52"/>
                  <a:gd name="T8" fmla="*/ 25 w 49"/>
                  <a:gd name="T9" fmla="*/ 0 h 52"/>
                  <a:gd name="T10" fmla="*/ 0 w 49"/>
                  <a:gd name="T11" fmla="*/ 26 h 52"/>
                </a:gdLst>
                <a:ahLst/>
                <a:cxnLst>
                  <a:cxn ang="0">
                    <a:pos x="T0" y="T1"/>
                  </a:cxn>
                  <a:cxn ang="0">
                    <a:pos x="T2" y="T3"/>
                  </a:cxn>
                  <a:cxn ang="0">
                    <a:pos x="T4" y="T5"/>
                  </a:cxn>
                  <a:cxn ang="0">
                    <a:pos x="T6" y="T7"/>
                  </a:cxn>
                  <a:cxn ang="0">
                    <a:pos x="T8" y="T9"/>
                  </a:cxn>
                  <a:cxn ang="0">
                    <a:pos x="T10" y="T11"/>
                  </a:cxn>
                </a:cxnLst>
                <a:rect l="0" t="0" r="r" b="b"/>
                <a:pathLst>
                  <a:path w="49" h="52">
                    <a:moveTo>
                      <a:pt x="0" y="26"/>
                    </a:moveTo>
                    <a:cubicBezTo>
                      <a:pt x="0" y="45"/>
                      <a:pt x="7" y="52"/>
                      <a:pt x="25" y="52"/>
                    </a:cubicBezTo>
                    <a:cubicBezTo>
                      <a:pt x="30" y="52"/>
                      <a:pt x="35" y="52"/>
                      <a:pt x="38" y="50"/>
                    </a:cubicBezTo>
                    <a:cubicBezTo>
                      <a:pt x="39" y="39"/>
                      <a:pt x="43" y="30"/>
                      <a:pt x="49" y="25"/>
                    </a:cubicBezTo>
                    <a:cubicBezTo>
                      <a:pt x="49" y="7"/>
                      <a:pt x="42" y="0"/>
                      <a:pt x="25" y="0"/>
                    </a:cubicBezTo>
                    <a:cubicBezTo>
                      <a:pt x="7" y="0"/>
                      <a:pt x="0" y="7"/>
                      <a:pt x="0" y="2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54" name="Freeform 53"/>
              <p:cNvSpPr>
                <a:spLocks/>
              </p:cNvSpPr>
              <p:nvPr/>
            </p:nvSpPr>
            <p:spPr bwMode="auto">
              <a:xfrm>
                <a:off x="393700" y="590550"/>
                <a:ext cx="282575" cy="665163"/>
              </a:xfrm>
              <a:custGeom>
                <a:avLst/>
                <a:gdLst>
                  <a:gd name="T0" fmla="*/ 61 w 75"/>
                  <a:gd name="T1" fmla="*/ 77 h 177"/>
                  <a:gd name="T2" fmla="*/ 61 w 75"/>
                  <a:gd name="T3" fmla="*/ 0 h 177"/>
                  <a:gd name="T4" fmla="*/ 48 w 75"/>
                  <a:gd name="T5" fmla="*/ 0 h 177"/>
                  <a:gd name="T6" fmla="*/ 20 w 75"/>
                  <a:gd name="T7" fmla="*/ 0 h 177"/>
                  <a:gd name="T8" fmla="*/ 0 w 75"/>
                  <a:gd name="T9" fmla="*/ 21 h 177"/>
                  <a:gd name="T10" fmla="*/ 0 w 75"/>
                  <a:gd name="T11" fmla="*/ 24 h 177"/>
                  <a:gd name="T12" fmla="*/ 0 w 75"/>
                  <a:gd name="T13" fmla="*/ 40 h 177"/>
                  <a:gd name="T14" fmla="*/ 0 w 75"/>
                  <a:gd name="T15" fmla="*/ 55 h 177"/>
                  <a:gd name="T16" fmla="*/ 0 w 75"/>
                  <a:gd name="T17" fmla="*/ 83 h 177"/>
                  <a:gd name="T18" fmla="*/ 0 w 75"/>
                  <a:gd name="T19" fmla="*/ 83 h 177"/>
                  <a:gd name="T20" fmla="*/ 8 w 75"/>
                  <a:gd name="T21" fmla="*/ 91 h 177"/>
                  <a:gd name="T22" fmla="*/ 16 w 75"/>
                  <a:gd name="T23" fmla="*/ 84 h 177"/>
                  <a:gd name="T24" fmla="*/ 16 w 75"/>
                  <a:gd name="T25" fmla="*/ 83 h 177"/>
                  <a:gd name="T26" fmla="*/ 16 w 75"/>
                  <a:gd name="T27" fmla="*/ 27 h 177"/>
                  <a:gd name="T28" fmla="*/ 18 w 75"/>
                  <a:gd name="T29" fmla="*/ 25 h 177"/>
                  <a:gd name="T30" fmla="*/ 20 w 75"/>
                  <a:gd name="T31" fmla="*/ 27 h 177"/>
                  <a:gd name="T32" fmla="*/ 20 w 75"/>
                  <a:gd name="T33" fmla="*/ 87 h 177"/>
                  <a:gd name="T34" fmla="*/ 20 w 75"/>
                  <a:gd name="T35" fmla="*/ 95 h 177"/>
                  <a:gd name="T36" fmla="*/ 20 w 75"/>
                  <a:gd name="T37" fmla="*/ 96 h 177"/>
                  <a:gd name="T38" fmla="*/ 20 w 75"/>
                  <a:gd name="T39" fmla="*/ 96 h 177"/>
                  <a:gd name="T40" fmla="*/ 27 w 75"/>
                  <a:gd name="T41" fmla="*/ 163 h 177"/>
                  <a:gd name="T42" fmla="*/ 40 w 75"/>
                  <a:gd name="T43" fmla="*/ 177 h 177"/>
                  <a:gd name="T44" fmla="*/ 48 w 75"/>
                  <a:gd name="T45" fmla="*/ 177 h 177"/>
                  <a:gd name="T46" fmla="*/ 55 w 75"/>
                  <a:gd name="T47" fmla="*/ 177 h 177"/>
                  <a:gd name="T48" fmla="*/ 69 w 75"/>
                  <a:gd name="T49" fmla="*/ 163 h 177"/>
                  <a:gd name="T50" fmla="*/ 75 w 75"/>
                  <a:gd name="T51" fmla="*/ 96 h 177"/>
                  <a:gd name="T52" fmla="*/ 75 w 75"/>
                  <a:gd name="T53" fmla="*/ 96 h 177"/>
                  <a:gd name="T54" fmla="*/ 75 w 75"/>
                  <a:gd name="T55" fmla="*/ 95 h 177"/>
                  <a:gd name="T56" fmla="*/ 75 w 75"/>
                  <a:gd name="T57" fmla="*/ 95 h 177"/>
                  <a:gd name="T58" fmla="*/ 61 w 75"/>
                  <a:gd name="T59" fmla="*/ 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5" h="177">
                    <a:moveTo>
                      <a:pt x="61" y="77"/>
                    </a:moveTo>
                    <a:cubicBezTo>
                      <a:pt x="61" y="0"/>
                      <a:pt x="61" y="0"/>
                      <a:pt x="61" y="0"/>
                    </a:cubicBezTo>
                    <a:cubicBezTo>
                      <a:pt x="48" y="0"/>
                      <a:pt x="48" y="0"/>
                      <a:pt x="48" y="0"/>
                    </a:cubicBezTo>
                    <a:cubicBezTo>
                      <a:pt x="20" y="0"/>
                      <a:pt x="20" y="0"/>
                      <a:pt x="20" y="0"/>
                    </a:cubicBezTo>
                    <a:cubicBezTo>
                      <a:pt x="7" y="0"/>
                      <a:pt x="0" y="6"/>
                      <a:pt x="0" y="21"/>
                    </a:cubicBezTo>
                    <a:cubicBezTo>
                      <a:pt x="0" y="24"/>
                      <a:pt x="0" y="24"/>
                      <a:pt x="0" y="24"/>
                    </a:cubicBezTo>
                    <a:cubicBezTo>
                      <a:pt x="0" y="40"/>
                      <a:pt x="0" y="40"/>
                      <a:pt x="0" y="40"/>
                    </a:cubicBezTo>
                    <a:cubicBezTo>
                      <a:pt x="0" y="55"/>
                      <a:pt x="0" y="55"/>
                      <a:pt x="0" y="55"/>
                    </a:cubicBezTo>
                    <a:cubicBezTo>
                      <a:pt x="0" y="83"/>
                      <a:pt x="0" y="83"/>
                      <a:pt x="0" y="83"/>
                    </a:cubicBezTo>
                    <a:cubicBezTo>
                      <a:pt x="0" y="83"/>
                      <a:pt x="0" y="83"/>
                      <a:pt x="0" y="83"/>
                    </a:cubicBezTo>
                    <a:cubicBezTo>
                      <a:pt x="0" y="88"/>
                      <a:pt x="4" y="91"/>
                      <a:pt x="8" y="91"/>
                    </a:cubicBezTo>
                    <a:cubicBezTo>
                      <a:pt x="12" y="91"/>
                      <a:pt x="15" y="88"/>
                      <a:pt x="16" y="84"/>
                    </a:cubicBezTo>
                    <a:cubicBezTo>
                      <a:pt x="16" y="84"/>
                      <a:pt x="16" y="84"/>
                      <a:pt x="16" y="83"/>
                    </a:cubicBezTo>
                    <a:cubicBezTo>
                      <a:pt x="16" y="27"/>
                      <a:pt x="16" y="27"/>
                      <a:pt x="16" y="27"/>
                    </a:cubicBezTo>
                    <a:cubicBezTo>
                      <a:pt x="16" y="26"/>
                      <a:pt x="17" y="25"/>
                      <a:pt x="18" y="25"/>
                    </a:cubicBezTo>
                    <a:cubicBezTo>
                      <a:pt x="19" y="25"/>
                      <a:pt x="20" y="26"/>
                      <a:pt x="20" y="27"/>
                    </a:cubicBezTo>
                    <a:cubicBezTo>
                      <a:pt x="20" y="87"/>
                      <a:pt x="20" y="87"/>
                      <a:pt x="20" y="87"/>
                    </a:cubicBezTo>
                    <a:cubicBezTo>
                      <a:pt x="20" y="87"/>
                      <a:pt x="20" y="92"/>
                      <a:pt x="20" y="95"/>
                    </a:cubicBezTo>
                    <a:cubicBezTo>
                      <a:pt x="20" y="96"/>
                      <a:pt x="20" y="96"/>
                      <a:pt x="20" y="96"/>
                    </a:cubicBezTo>
                    <a:cubicBezTo>
                      <a:pt x="20" y="96"/>
                      <a:pt x="20" y="96"/>
                      <a:pt x="20" y="96"/>
                    </a:cubicBezTo>
                    <a:cubicBezTo>
                      <a:pt x="27" y="163"/>
                      <a:pt x="27" y="163"/>
                      <a:pt x="27" y="163"/>
                    </a:cubicBezTo>
                    <a:cubicBezTo>
                      <a:pt x="28" y="173"/>
                      <a:pt x="31" y="177"/>
                      <a:pt x="40" y="177"/>
                    </a:cubicBezTo>
                    <a:cubicBezTo>
                      <a:pt x="48" y="177"/>
                      <a:pt x="48" y="177"/>
                      <a:pt x="48" y="177"/>
                    </a:cubicBezTo>
                    <a:cubicBezTo>
                      <a:pt x="55" y="177"/>
                      <a:pt x="55" y="177"/>
                      <a:pt x="55" y="177"/>
                    </a:cubicBezTo>
                    <a:cubicBezTo>
                      <a:pt x="64" y="177"/>
                      <a:pt x="68" y="173"/>
                      <a:pt x="69" y="163"/>
                    </a:cubicBezTo>
                    <a:cubicBezTo>
                      <a:pt x="75" y="96"/>
                      <a:pt x="75" y="96"/>
                      <a:pt x="75" y="96"/>
                    </a:cubicBezTo>
                    <a:cubicBezTo>
                      <a:pt x="75" y="96"/>
                      <a:pt x="75" y="96"/>
                      <a:pt x="75" y="96"/>
                    </a:cubicBezTo>
                    <a:cubicBezTo>
                      <a:pt x="75" y="95"/>
                      <a:pt x="75" y="95"/>
                      <a:pt x="75" y="95"/>
                    </a:cubicBezTo>
                    <a:cubicBezTo>
                      <a:pt x="75" y="95"/>
                      <a:pt x="75" y="95"/>
                      <a:pt x="75" y="95"/>
                    </a:cubicBezTo>
                    <a:cubicBezTo>
                      <a:pt x="67" y="93"/>
                      <a:pt x="61" y="85"/>
                      <a:pt x="61" y="7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55" name="Freeform 54"/>
              <p:cNvSpPr>
                <a:spLocks/>
              </p:cNvSpPr>
              <p:nvPr/>
            </p:nvSpPr>
            <p:spPr bwMode="auto">
              <a:xfrm>
                <a:off x="654050" y="458788"/>
                <a:ext cx="481013" cy="895350"/>
              </a:xfrm>
              <a:custGeom>
                <a:avLst/>
                <a:gdLst>
                  <a:gd name="T0" fmla="*/ 101 w 128"/>
                  <a:gd name="T1" fmla="*/ 0 h 238"/>
                  <a:gd name="T2" fmla="*/ 64 w 128"/>
                  <a:gd name="T3" fmla="*/ 0 h 238"/>
                  <a:gd name="T4" fmla="*/ 27 w 128"/>
                  <a:gd name="T5" fmla="*/ 0 h 238"/>
                  <a:gd name="T6" fmla="*/ 0 w 128"/>
                  <a:gd name="T7" fmla="*/ 29 h 238"/>
                  <a:gd name="T8" fmla="*/ 0 w 128"/>
                  <a:gd name="T9" fmla="*/ 32 h 238"/>
                  <a:gd name="T10" fmla="*/ 0 w 128"/>
                  <a:gd name="T11" fmla="*/ 54 h 238"/>
                  <a:gd name="T12" fmla="*/ 0 w 128"/>
                  <a:gd name="T13" fmla="*/ 74 h 238"/>
                  <a:gd name="T14" fmla="*/ 0 w 128"/>
                  <a:gd name="T15" fmla="*/ 112 h 238"/>
                  <a:gd name="T16" fmla="*/ 0 w 128"/>
                  <a:gd name="T17" fmla="*/ 112 h 238"/>
                  <a:gd name="T18" fmla="*/ 11 w 128"/>
                  <a:gd name="T19" fmla="*/ 122 h 238"/>
                  <a:gd name="T20" fmla="*/ 21 w 128"/>
                  <a:gd name="T21" fmla="*/ 113 h 238"/>
                  <a:gd name="T22" fmla="*/ 21 w 128"/>
                  <a:gd name="T23" fmla="*/ 112 h 238"/>
                  <a:gd name="T24" fmla="*/ 21 w 128"/>
                  <a:gd name="T25" fmla="*/ 36 h 238"/>
                  <a:gd name="T26" fmla="*/ 24 w 128"/>
                  <a:gd name="T27" fmla="*/ 33 h 238"/>
                  <a:gd name="T28" fmla="*/ 27 w 128"/>
                  <a:gd name="T29" fmla="*/ 36 h 238"/>
                  <a:gd name="T30" fmla="*/ 27 w 128"/>
                  <a:gd name="T31" fmla="*/ 116 h 238"/>
                  <a:gd name="T32" fmla="*/ 27 w 128"/>
                  <a:gd name="T33" fmla="*/ 128 h 238"/>
                  <a:gd name="T34" fmla="*/ 27 w 128"/>
                  <a:gd name="T35" fmla="*/ 128 h 238"/>
                  <a:gd name="T36" fmla="*/ 27 w 128"/>
                  <a:gd name="T37" fmla="*/ 128 h 238"/>
                  <a:gd name="T38" fmla="*/ 36 w 128"/>
                  <a:gd name="T39" fmla="*/ 219 h 238"/>
                  <a:gd name="T40" fmla="*/ 54 w 128"/>
                  <a:gd name="T41" fmla="*/ 238 h 238"/>
                  <a:gd name="T42" fmla="*/ 64 w 128"/>
                  <a:gd name="T43" fmla="*/ 238 h 238"/>
                  <a:gd name="T44" fmla="*/ 74 w 128"/>
                  <a:gd name="T45" fmla="*/ 238 h 238"/>
                  <a:gd name="T46" fmla="*/ 92 w 128"/>
                  <a:gd name="T47" fmla="*/ 219 h 238"/>
                  <a:gd name="T48" fmla="*/ 101 w 128"/>
                  <a:gd name="T49" fmla="*/ 128 h 238"/>
                  <a:gd name="T50" fmla="*/ 101 w 128"/>
                  <a:gd name="T51" fmla="*/ 128 h 238"/>
                  <a:gd name="T52" fmla="*/ 101 w 128"/>
                  <a:gd name="T53" fmla="*/ 128 h 238"/>
                  <a:gd name="T54" fmla="*/ 101 w 128"/>
                  <a:gd name="T55" fmla="*/ 116 h 238"/>
                  <a:gd name="T56" fmla="*/ 101 w 128"/>
                  <a:gd name="T57" fmla="*/ 36 h 238"/>
                  <a:gd name="T58" fmla="*/ 104 w 128"/>
                  <a:gd name="T59" fmla="*/ 33 h 238"/>
                  <a:gd name="T60" fmla="*/ 106 w 128"/>
                  <a:gd name="T61" fmla="*/ 36 h 238"/>
                  <a:gd name="T62" fmla="*/ 106 w 128"/>
                  <a:gd name="T63" fmla="*/ 112 h 238"/>
                  <a:gd name="T64" fmla="*/ 107 w 128"/>
                  <a:gd name="T65" fmla="*/ 113 h 238"/>
                  <a:gd name="T66" fmla="*/ 117 w 128"/>
                  <a:gd name="T67" fmla="*/ 122 h 238"/>
                  <a:gd name="T68" fmla="*/ 128 w 128"/>
                  <a:gd name="T69" fmla="*/ 112 h 238"/>
                  <a:gd name="T70" fmla="*/ 128 w 128"/>
                  <a:gd name="T71" fmla="*/ 112 h 238"/>
                  <a:gd name="T72" fmla="*/ 128 w 128"/>
                  <a:gd name="T73" fmla="*/ 54 h 238"/>
                  <a:gd name="T74" fmla="*/ 128 w 128"/>
                  <a:gd name="T75" fmla="*/ 32 h 238"/>
                  <a:gd name="T76" fmla="*/ 128 w 128"/>
                  <a:gd name="T77" fmla="*/ 29 h 238"/>
                  <a:gd name="T78" fmla="*/ 101 w 128"/>
                  <a:gd name="T79"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238">
                    <a:moveTo>
                      <a:pt x="101" y="0"/>
                    </a:moveTo>
                    <a:cubicBezTo>
                      <a:pt x="64" y="0"/>
                      <a:pt x="64" y="0"/>
                      <a:pt x="64" y="0"/>
                    </a:cubicBezTo>
                    <a:cubicBezTo>
                      <a:pt x="27" y="0"/>
                      <a:pt x="27" y="0"/>
                      <a:pt x="27" y="0"/>
                    </a:cubicBezTo>
                    <a:cubicBezTo>
                      <a:pt x="10" y="0"/>
                      <a:pt x="0" y="8"/>
                      <a:pt x="0" y="29"/>
                    </a:cubicBezTo>
                    <a:cubicBezTo>
                      <a:pt x="0" y="32"/>
                      <a:pt x="0" y="32"/>
                      <a:pt x="0" y="32"/>
                    </a:cubicBezTo>
                    <a:cubicBezTo>
                      <a:pt x="0" y="54"/>
                      <a:pt x="0" y="54"/>
                      <a:pt x="0" y="54"/>
                    </a:cubicBezTo>
                    <a:cubicBezTo>
                      <a:pt x="0" y="74"/>
                      <a:pt x="0" y="74"/>
                      <a:pt x="0" y="74"/>
                    </a:cubicBezTo>
                    <a:cubicBezTo>
                      <a:pt x="0" y="112"/>
                      <a:pt x="0" y="112"/>
                      <a:pt x="0" y="112"/>
                    </a:cubicBezTo>
                    <a:cubicBezTo>
                      <a:pt x="0" y="112"/>
                      <a:pt x="0" y="112"/>
                      <a:pt x="0" y="112"/>
                    </a:cubicBezTo>
                    <a:cubicBezTo>
                      <a:pt x="0" y="118"/>
                      <a:pt x="5" y="122"/>
                      <a:pt x="11" y="122"/>
                    </a:cubicBezTo>
                    <a:cubicBezTo>
                      <a:pt x="16" y="122"/>
                      <a:pt x="20" y="119"/>
                      <a:pt x="21" y="113"/>
                    </a:cubicBezTo>
                    <a:cubicBezTo>
                      <a:pt x="21" y="113"/>
                      <a:pt x="21" y="112"/>
                      <a:pt x="21" y="112"/>
                    </a:cubicBezTo>
                    <a:cubicBezTo>
                      <a:pt x="21" y="36"/>
                      <a:pt x="21" y="36"/>
                      <a:pt x="21" y="36"/>
                    </a:cubicBezTo>
                    <a:cubicBezTo>
                      <a:pt x="21" y="34"/>
                      <a:pt x="23" y="33"/>
                      <a:pt x="24" y="33"/>
                    </a:cubicBezTo>
                    <a:cubicBezTo>
                      <a:pt x="26" y="33"/>
                      <a:pt x="27" y="34"/>
                      <a:pt x="27" y="36"/>
                    </a:cubicBezTo>
                    <a:cubicBezTo>
                      <a:pt x="27" y="116"/>
                      <a:pt x="27" y="116"/>
                      <a:pt x="27" y="116"/>
                    </a:cubicBezTo>
                    <a:cubicBezTo>
                      <a:pt x="27" y="116"/>
                      <a:pt x="27" y="123"/>
                      <a:pt x="27" y="128"/>
                    </a:cubicBezTo>
                    <a:cubicBezTo>
                      <a:pt x="27" y="128"/>
                      <a:pt x="27" y="128"/>
                      <a:pt x="27" y="128"/>
                    </a:cubicBezTo>
                    <a:cubicBezTo>
                      <a:pt x="27" y="128"/>
                      <a:pt x="27" y="128"/>
                      <a:pt x="27" y="128"/>
                    </a:cubicBezTo>
                    <a:cubicBezTo>
                      <a:pt x="36" y="219"/>
                      <a:pt x="36" y="219"/>
                      <a:pt x="36" y="219"/>
                    </a:cubicBezTo>
                    <a:cubicBezTo>
                      <a:pt x="37" y="233"/>
                      <a:pt x="42" y="238"/>
                      <a:pt x="54" y="238"/>
                    </a:cubicBezTo>
                    <a:cubicBezTo>
                      <a:pt x="64" y="238"/>
                      <a:pt x="64" y="238"/>
                      <a:pt x="64" y="238"/>
                    </a:cubicBezTo>
                    <a:cubicBezTo>
                      <a:pt x="74" y="238"/>
                      <a:pt x="74" y="238"/>
                      <a:pt x="74" y="238"/>
                    </a:cubicBezTo>
                    <a:cubicBezTo>
                      <a:pt x="86" y="238"/>
                      <a:pt x="91" y="233"/>
                      <a:pt x="92" y="219"/>
                    </a:cubicBezTo>
                    <a:cubicBezTo>
                      <a:pt x="101" y="128"/>
                      <a:pt x="101" y="128"/>
                      <a:pt x="101" y="128"/>
                    </a:cubicBezTo>
                    <a:cubicBezTo>
                      <a:pt x="101" y="128"/>
                      <a:pt x="101" y="128"/>
                      <a:pt x="101" y="128"/>
                    </a:cubicBezTo>
                    <a:cubicBezTo>
                      <a:pt x="101" y="128"/>
                      <a:pt x="101" y="128"/>
                      <a:pt x="101" y="128"/>
                    </a:cubicBezTo>
                    <a:cubicBezTo>
                      <a:pt x="101" y="123"/>
                      <a:pt x="101" y="116"/>
                      <a:pt x="101" y="116"/>
                    </a:cubicBezTo>
                    <a:cubicBezTo>
                      <a:pt x="101" y="36"/>
                      <a:pt x="101" y="36"/>
                      <a:pt x="101" y="36"/>
                    </a:cubicBezTo>
                    <a:cubicBezTo>
                      <a:pt x="101" y="34"/>
                      <a:pt x="102" y="33"/>
                      <a:pt x="104" y="33"/>
                    </a:cubicBezTo>
                    <a:cubicBezTo>
                      <a:pt x="105" y="33"/>
                      <a:pt x="106" y="34"/>
                      <a:pt x="106" y="36"/>
                    </a:cubicBezTo>
                    <a:cubicBezTo>
                      <a:pt x="106" y="112"/>
                      <a:pt x="106" y="112"/>
                      <a:pt x="106" y="112"/>
                    </a:cubicBezTo>
                    <a:cubicBezTo>
                      <a:pt x="106" y="112"/>
                      <a:pt x="107" y="113"/>
                      <a:pt x="107" y="113"/>
                    </a:cubicBezTo>
                    <a:cubicBezTo>
                      <a:pt x="107" y="119"/>
                      <a:pt x="112" y="122"/>
                      <a:pt x="117" y="122"/>
                    </a:cubicBezTo>
                    <a:cubicBezTo>
                      <a:pt x="123" y="122"/>
                      <a:pt x="128" y="118"/>
                      <a:pt x="128" y="112"/>
                    </a:cubicBezTo>
                    <a:cubicBezTo>
                      <a:pt x="128" y="112"/>
                      <a:pt x="128" y="112"/>
                      <a:pt x="128" y="112"/>
                    </a:cubicBezTo>
                    <a:cubicBezTo>
                      <a:pt x="128" y="54"/>
                      <a:pt x="128" y="54"/>
                      <a:pt x="128" y="54"/>
                    </a:cubicBezTo>
                    <a:cubicBezTo>
                      <a:pt x="128" y="32"/>
                      <a:pt x="128" y="32"/>
                      <a:pt x="128" y="32"/>
                    </a:cubicBezTo>
                    <a:cubicBezTo>
                      <a:pt x="128" y="29"/>
                      <a:pt x="128" y="29"/>
                      <a:pt x="128" y="29"/>
                    </a:cubicBezTo>
                    <a:cubicBezTo>
                      <a:pt x="128" y="8"/>
                      <a:pt x="118" y="0"/>
                      <a:pt x="10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grpSp>
        <p:sp>
          <p:nvSpPr>
            <p:cNvPr id="49" name="TextBox 48"/>
            <p:cNvSpPr txBox="1"/>
            <p:nvPr/>
          </p:nvSpPr>
          <p:spPr>
            <a:xfrm>
              <a:off x="1127761" y="2056925"/>
              <a:ext cx="1030224" cy="748923"/>
            </a:xfrm>
            <a:prstGeom prst="rect">
              <a:avLst/>
            </a:prstGeom>
            <a:noFill/>
          </p:spPr>
          <p:txBody>
            <a:bodyPr wrap="square" rtlCol="0">
              <a:spAutoFit/>
            </a:bodyPr>
            <a:lstStyle/>
            <a:p>
              <a:pPr defTabSz="611204">
                <a:spcAft>
                  <a:spcPts val="568"/>
                </a:spcAft>
                <a:buSzPct val="100000"/>
              </a:pPr>
              <a:r>
                <a:rPr lang="zh-CN" altLang="en-US" sz="1700" dirty="0">
                  <a:solidFill>
                    <a:srgbClr val="000000"/>
                  </a:solidFill>
                  <a:latin typeface="微软雅黑" pitchFamily="34" charset="-122"/>
                  <a:ea typeface="微软雅黑" pitchFamily="34" charset="-122"/>
                  <a:cs typeface="HP Simplified" pitchFamily="34" charset="0"/>
                </a:rPr>
                <a:t>人工</a:t>
              </a:r>
              <a:endParaRPr lang="en-US" altLang="zh-CN" sz="1700" dirty="0">
                <a:solidFill>
                  <a:srgbClr val="000000"/>
                </a:solidFill>
                <a:latin typeface="微软雅黑" pitchFamily="34" charset="-122"/>
                <a:ea typeface="微软雅黑" pitchFamily="34" charset="-122"/>
                <a:cs typeface="HP Simplified" pitchFamily="34" charset="0"/>
              </a:endParaRPr>
            </a:p>
            <a:p>
              <a:pPr defTabSz="611204">
                <a:spcAft>
                  <a:spcPts val="568"/>
                </a:spcAft>
                <a:buSzPct val="100000"/>
              </a:pPr>
              <a:r>
                <a:rPr lang="zh-CN" altLang="en-US" sz="1700" dirty="0">
                  <a:solidFill>
                    <a:srgbClr val="000000"/>
                  </a:solidFill>
                  <a:latin typeface="微软雅黑" pitchFamily="34" charset="-122"/>
                  <a:ea typeface="微软雅黑" pitchFamily="34" charset="-122"/>
                  <a:cs typeface="HP Simplified" pitchFamily="34" charset="0"/>
                </a:rPr>
                <a:t>产生</a:t>
              </a:r>
              <a:endParaRPr lang="en-US" altLang="zh-CN" sz="1700" dirty="0">
                <a:solidFill>
                  <a:srgbClr val="000000"/>
                </a:solidFill>
                <a:latin typeface="微软雅黑" pitchFamily="34" charset="-122"/>
                <a:ea typeface="微软雅黑" pitchFamily="34" charset="-122"/>
                <a:cs typeface="HP Simplified" pitchFamily="34" charset="0"/>
              </a:endParaRPr>
            </a:p>
            <a:p>
              <a:pPr defTabSz="611204">
                <a:spcAft>
                  <a:spcPts val="568"/>
                </a:spcAft>
                <a:buSzPct val="100000"/>
              </a:pPr>
              <a:r>
                <a:rPr lang="zh-CN" altLang="en-US" sz="1700" dirty="0">
                  <a:solidFill>
                    <a:srgbClr val="000000"/>
                  </a:solidFill>
                  <a:latin typeface="微软雅黑" pitchFamily="34" charset="-122"/>
                  <a:ea typeface="微软雅黑" pitchFamily="34" charset="-122"/>
                  <a:cs typeface="HP Simplified" pitchFamily="34" charset="0"/>
                </a:rPr>
                <a:t>数据</a:t>
              </a:r>
              <a:endParaRPr lang="en-US" sz="1700" dirty="0">
                <a:solidFill>
                  <a:srgbClr val="000000"/>
                </a:solidFill>
                <a:latin typeface="微软雅黑" pitchFamily="34" charset="-122"/>
                <a:ea typeface="微软雅黑" pitchFamily="34" charset="-122"/>
                <a:cs typeface="HP Simplified" pitchFamily="34" charset="0"/>
              </a:endParaRPr>
            </a:p>
          </p:txBody>
        </p:sp>
      </p:grpSp>
      <p:grpSp>
        <p:nvGrpSpPr>
          <p:cNvPr id="56" name="Group 55"/>
          <p:cNvGrpSpPr/>
          <p:nvPr/>
        </p:nvGrpSpPr>
        <p:grpSpPr>
          <a:xfrm>
            <a:off x="483274" y="4476620"/>
            <a:ext cx="2366545" cy="1065135"/>
            <a:chOff x="491363" y="2803894"/>
            <a:chExt cx="1666622" cy="748923"/>
          </a:xfrm>
        </p:grpSpPr>
        <p:sp>
          <p:nvSpPr>
            <p:cNvPr id="57" name="TextBox 56"/>
            <p:cNvSpPr txBox="1"/>
            <p:nvPr/>
          </p:nvSpPr>
          <p:spPr>
            <a:xfrm>
              <a:off x="1127761" y="2803894"/>
              <a:ext cx="1030224" cy="748923"/>
            </a:xfrm>
            <a:prstGeom prst="rect">
              <a:avLst/>
            </a:prstGeom>
            <a:noFill/>
          </p:spPr>
          <p:txBody>
            <a:bodyPr wrap="square" rtlCol="0">
              <a:spAutoFit/>
            </a:bodyPr>
            <a:lstStyle/>
            <a:p>
              <a:pPr defTabSz="611204">
                <a:spcAft>
                  <a:spcPts val="568"/>
                </a:spcAft>
                <a:buSzPct val="100000"/>
              </a:pPr>
              <a:r>
                <a:rPr lang="zh-CN" altLang="en-US" sz="1700" dirty="0">
                  <a:solidFill>
                    <a:srgbClr val="000000"/>
                  </a:solidFill>
                  <a:latin typeface="微软雅黑" pitchFamily="34" charset="-122"/>
                  <a:ea typeface="微软雅黑" pitchFamily="34" charset="-122"/>
                  <a:cs typeface="HP Simplified" pitchFamily="34" charset="0"/>
                </a:rPr>
                <a:t>机器</a:t>
              </a:r>
              <a:endParaRPr lang="en-US" altLang="zh-CN" sz="1700" dirty="0">
                <a:solidFill>
                  <a:srgbClr val="000000"/>
                </a:solidFill>
                <a:latin typeface="微软雅黑" pitchFamily="34" charset="-122"/>
                <a:ea typeface="微软雅黑" pitchFamily="34" charset="-122"/>
                <a:cs typeface="HP Simplified" pitchFamily="34" charset="0"/>
              </a:endParaRPr>
            </a:p>
            <a:p>
              <a:pPr defTabSz="611204">
                <a:spcAft>
                  <a:spcPts val="568"/>
                </a:spcAft>
                <a:buSzPct val="100000"/>
              </a:pPr>
              <a:r>
                <a:rPr lang="zh-CN" altLang="en-US" sz="1700" dirty="0">
                  <a:solidFill>
                    <a:srgbClr val="000000"/>
                  </a:solidFill>
                  <a:latin typeface="微软雅黑" pitchFamily="34" charset="-122"/>
                  <a:ea typeface="微软雅黑" pitchFamily="34" charset="-122"/>
                  <a:cs typeface="HP Simplified" pitchFamily="34" charset="0"/>
                </a:rPr>
                <a:t>产生</a:t>
              </a:r>
              <a:endParaRPr lang="en-US" altLang="zh-CN" sz="1700" dirty="0">
                <a:solidFill>
                  <a:srgbClr val="000000"/>
                </a:solidFill>
                <a:latin typeface="微软雅黑" pitchFamily="34" charset="-122"/>
                <a:ea typeface="微软雅黑" pitchFamily="34" charset="-122"/>
                <a:cs typeface="HP Simplified" pitchFamily="34" charset="0"/>
              </a:endParaRPr>
            </a:p>
            <a:p>
              <a:pPr defTabSz="611204">
                <a:spcAft>
                  <a:spcPts val="568"/>
                </a:spcAft>
                <a:buSzPct val="100000"/>
              </a:pPr>
              <a:r>
                <a:rPr lang="zh-CN" altLang="en-US" sz="1700" dirty="0">
                  <a:solidFill>
                    <a:srgbClr val="000000"/>
                  </a:solidFill>
                  <a:latin typeface="微软雅黑" pitchFamily="34" charset="-122"/>
                  <a:ea typeface="微软雅黑" pitchFamily="34" charset="-122"/>
                  <a:cs typeface="HP Simplified" pitchFamily="34" charset="0"/>
                </a:rPr>
                <a:t>数据</a:t>
              </a:r>
              <a:endParaRPr lang="en-US" sz="1700" dirty="0">
                <a:solidFill>
                  <a:srgbClr val="000000"/>
                </a:solidFill>
                <a:latin typeface="微软雅黑" pitchFamily="34" charset="-122"/>
                <a:ea typeface="微软雅黑" pitchFamily="34" charset="-122"/>
                <a:cs typeface="HP Simplified" pitchFamily="34" charset="0"/>
              </a:endParaRPr>
            </a:p>
          </p:txBody>
        </p:sp>
        <p:grpSp>
          <p:nvGrpSpPr>
            <p:cNvPr id="58" name="Group 57"/>
            <p:cNvGrpSpPr/>
            <p:nvPr/>
          </p:nvGrpSpPr>
          <p:grpSpPr>
            <a:xfrm>
              <a:off x="491363" y="2847938"/>
              <a:ext cx="667141" cy="558242"/>
              <a:chOff x="0" y="0"/>
              <a:chExt cx="1546225" cy="1293813"/>
            </a:xfrm>
          </p:grpSpPr>
          <p:sp>
            <p:nvSpPr>
              <p:cNvPr id="59" name="Rectangle 58"/>
              <p:cNvSpPr>
                <a:spLocks noChangeArrowheads="1"/>
              </p:cNvSpPr>
              <p:nvPr/>
            </p:nvSpPr>
            <p:spPr bwMode="auto">
              <a:xfrm>
                <a:off x="628650" y="63500"/>
                <a:ext cx="282575" cy="8731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60" name="Freeform 59"/>
              <p:cNvSpPr>
                <a:spLocks noEditPoints="1"/>
              </p:cNvSpPr>
              <p:nvPr/>
            </p:nvSpPr>
            <p:spPr bwMode="auto">
              <a:xfrm>
                <a:off x="0" y="0"/>
                <a:ext cx="1546225" cy="1293813"/>
              </a:xfrm>
              <a:custGeom>
                <a:avLst/>
                <a:gdLst>
                  <a:gd name="T0" fmla="*/ 366 w 411"/>
                  <a:gd name="T1" fmla="*/ 270 h 344"/>
                  <a:gd name="T2" fmla="*/ 218 w 411"/>
                  <a:gd name="T3" fmla="*/ 213 h 344"/>
                  <a:gd name="T4" fmla="*/ 260 w 411"/>
                  <a:gd name="T5" fmla="*/ 186 h 344"/>
                  <a:gd name="T6" fmla="*/ 247 w 411"/>
                  <a:gd name="T7" fmla="*/ 0 h 344"/>
                  <a:gd name="T8" fmla="*/ 149 w 411"/>
                  <a:gd name="T9" fmla="*/ 172 h 344"/>
                  <a:gd name="T10" fmla="*/ 193 w 411"/>
                  <a:gd name="T11" fmla="*/ 186 h 344"/>
                  <a:gd name="T12" fmla="*/ 45 w 411"/>
                  <a:gd name="T13" fmla="*/ 213 h 344"/>
                  <a:gd name="T14" fmla="*/ 0 w 411"/>
                  <a:gd name="T15" fmla="*/ 270 h 344"/>
                  <a:gd name="T16" fmla="*/ 24 w 411"/>
                  <a:gd name="T17" fmla="*/ 344 h 344"/>
                  <a:gd name="T18" fmla="*/ 115 w 411"/>
                  <a:gd name="T19" fmla="*/ 295 h 344"/>
                  <a:gd name="T20" fmla="*/ 70 w 411"/>
                  <a:gd name="T21" fmla="*/ 270 h 344"/>
                  <a:gd name="T22" fmla="*/ 193 w 411"/>
                  <a:gd name="T23" fmla="*/ 237 h 344"/>
                  <a:gd name="T24" fmla="*/ 148 w 411"/>
                  <a:gd name="T25" fmla="*/ 270 h 344"/>
                  <a:gd name="T26" fmla="*/ 172 w 411"/>
                  <a:gd name="T27" fmla="*/ 344 h 344"/>
                  <a:gd name="T28" fmla="*/ 263 w 411"/>
                  <a:gd name="T29" fmla="*/ 295 h 344"/>
                  <a:gd name="T30" fmla="*/ 218 w 411"/>
                  <a:gd name="T31" fmla="*/ 270 h 344"/>
                  <a:gd name="T32" fmla="*/ 341 w 411"/>
                  <a:gd name="T33" fmla="*/ 237 h 344"/>
                  <a:gd name="T34" fmla="*/ 296 w 411"/>
                  <a:gd name="T35" fmla="*/ 270 h 344"/>
                  <a:gd name="T36" fmla="*/ 320 w 411"/>
                  <a:gd name="T37" fmla="*/ 344 h 344"/>
                  <a:gd name="T38" fmla="*/ 411 w 411"/>
                  <a:gd name="T39" fmla="*/ 295 h 344"/>
                  <a:gd name="T40" fmla="*/ 249 w 411"/>
                  <a:gd name="T41" fmla="*/ 97 h 344"/>
                  <a:gd name="T42" fmla="*/ 163 w 411"/>
                  <a:gd name="T43" fmla="*/ 88 h 344"/>
                  <a:gd name="T44" fmla="*/ 249 w 411"/>
                  <a:gd name="T45" fmla="*/ 97 h 344"/>
                  <a:gd name="T46" fmla="*/ 163 w 411"/>
                  <a:gd name="T47" fmla="*/ 75 h 344"/>
                  <a:gd name="T48" fmla="*/ 249 w 411"/>
                  <a:gd name="T49" fmla="*/ 66 h 344"/>
                  <a:gd name="T50" fmla="*/ 161 w 411"/>
                  <a:gd name="T51" fmla="*/ 40 h 344"/>
                  <a:gd name="T52" fmla="*/ 167 w 411"/>
                  <a:gd name="T53" fmla="*/ 11 h 344"/>
                  <a:gd name="T54" fmla="*/ 249 w 411"/>
                  <a:gd name="T55" fmla="*/ 17 h 344"/>
                  <a:gd name="T56" fmla="*/ 242 w 411"/>
                  <a:gd name="T57" fmla="*/ 46 h 344"/>
                  <a:gd name="T58" fmla="*/ 161 w 411"/>
                  <a:gd name="T59" fmla="*/ 40 h 344"/>
                  <a:gd name="T60" fmla="*/ 249 w 411"/>
                  <a:gd name="T61" fmla="*/ 110 h 344"/>
                  <a:gd name="T62" fmla="*/ 163 w 411"/>
                  <a:gd name="T63" fmla="*/ 119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1" h="344">
                    <a:moveTo>
                      <a:pt x="386" y="270"/>
                    </a:moveTo>
                    <a:cubicBezTo>
                      <a:pt x="366" y="270"/>
                      <a:pt x="366" y="270"/>
                      <a:pt x="366" y="270"/>
                    </a:cubicBezTo>
                    <a:cubicBezTo>
                      <a:pt x="366" y="213"/>
                      <a:pt x="366" y="213"/>
                      <a:pt x="366" y="213"/>
                    </a:cubicBezTo>
                    <a:cubicBezTo>
                      <a:pt x="218" y="213"/>
                      <a:pt x="218" y="213"/>
                      <a:pt x="218" y="213"/>
                    </a:cubicBezTo>
                    <a:cubicBezTo>
                      <a:pt x="218" y="186"/>
                      <a:pt x="218" y="186"/>
                      <a:pt x="218" y="186"/>
                    </a:cubicBezTo>
                    <a:cubicBezTo>
                      <a:pt x="260" y="186"/>
                      <a:pt x="260" y="186"/>
                      <a:pt x="260" y="186"/>
                    </a:cubicBezTo>
                    <a:cubicBezTo>
                      <a:pt x="260" y="13"/>
                      <a:pt x="260" y="13"/>
                      <a:pt x="260" y="13"/>
                    </a:cubicBezTo>
                    <a:cubicBezTo>
                      <a:pt x="260" y="6"/>
                      <a:pt x="254" y="0"/>
                      <a:pt x="247" y="0"/>
                    </a:cubicBezTo>
                    <a:cubicBezTo>
                      <a:pt x="149" y="0"/>
                      <a:pt x="149" y="0"/>
                      <a:pt x="149" y="0"/>
                    </a:cubicBezTo>
                    <a:cubicBezTo>
                      <a:pt x="149" y="172"/>
                      <a:pt x="149" y="172"/>
                      <a:pt x="149" y="172"/>
                    </a:cubicBezTo>
                    <a:cubicBezTo>
                      <a:pt x="149" y="180"/>
                      <a:pt x="155" y="186"/>
                      <a:pt x="163" y="186"/>
                    </a:cubicBezTo>
                    <a:cubicBezTo>
                      <a:pt x="193" y="186"/>
                      <a:pt x="193" y="186"/>
                      <a:pt x="193" y="186"/>
                    </a:cubicBezTo>
                    <a:cubicBezTo>
                      <a:pt x="193" y="213"/>
                      <a:pt x="193" y="213"/>
                      <a:pt x="193" y="213"/>
                    </a:cubicBezTo>
                    <a:cubicBezTo>
                      <a:pt x="45" y="213"/>
                      <a:pt x="45" y="213"/>
                      <a:pt x="45" y="213"/>
                    </a:cubicBezTo>
                    <a:cubicBezTo>
                      <a:pt x="45" y="270"/>
                      <a:pt x="45" y="270"/>
                      <a:pt x="45" y="270"/>
                    </a:cubicBezTo>
                    <a:cubicBezTo>
                      <a:pt x="0" y="270"/>
                      <a:pt x="0" y="270"/>
                      <a:pt x="0" y="270"/>
                    </a:cubicBezTo>
                    <a:cubicBezTo>
                      <a:pt x="0" y="320"/>
                      <a:pt x="0" y="320"/>
                      <a:pt x="0" y="320"/>
                    </a:cubicBezTo>
                    <a:cubicBezTo>
                      <a:pt x="0" y="333"/>
                      <a:pt x="11" y="344"/>
                      <a:pt x="24" y="344"/>
                    </a:cubicBezTo>
                    <a:cubicBezTo>
                      <a:pt x="115" y="344"/>
                      <a:pt x="115" y="344"/>
                      <a:pt x="115" y="344"/>
                    </a:cubicBezTo>
                    <a:cubicBezTo>
                      <a:pt x="115" y="295"/>
                      <a:pt x="115" y="295"/>
                      <a:pt x="115" y="295"/>
                    </a:cubicBezTo>
                    <a:cubicBezTo>
                      <a:pt x="115" y="281"/>
                      <a:pt x="104" y="270"/>
                      <a:pt x="90" y="270"/>
                    </a:cubicBezTo>
                    <a:cubicBezTo>
                      <a:pt x="70" y="270"/>
                      <a:pt x="70" y="270"/>
                      <a:pt x="70" y="270"/>
                    </a:cubicBezTo>
                    <a:cubicBezTo>
                      <a:pt x="70" y="237"/>
                      <a:pt x="70" y="237"/>
                      <a:pt x="70" y="237"/>
                    </a:cubicBezTo>
                    <a:cubicBezTo>
                      <a:pt x="193" y="237"/>
                      <a:pt x="193" y="237"/>
                      <a:pt x="193" y="237"/>
                    </a:cubicBezTo>
                    <a:cubicBezTo>
                      <a:pt x="193" y="270"/>
                      <a:pt x="193" y="270"/>
                      <a:pt x="193" y="270"/>
                    </a:cubicBezTo>
                    <a:cubicBezTo>
                      <a:pt x="148" y="270"/>
                      <a:pt x="148" y="270"/>
                      <a:pt x="148" y="270"/>
                    </a:cubicBezTo>
                    <a:cubicBezTo>
                      <a:pt x="148" y="320"/>
                      <a:pt x="148" y="320"/>
                      <a:pt x="148" y="320"/>
                    </a:cubicBezTo>
                    <a:cubicBezTo>
                      <a:pt x="148" y="333"/>
                      <a:pt x="159" y="344"/>
                      <a:pt x="172" y="344"/>
                    </a:cubicBezTo>
                    <a:cubicBezTo>
                      <a:pt x="263" y="344"/>
                      <a:pt x="263" y="344"/>
                      <a:pt x="263" y="344"/>
                    </a:cubicBezTo>
                    <a:cubicBezTo>
                      <a:pt x="263" y="295"/>
                      <a:pt x="263" y="295"/>
                      <a:pt x="263" y="295"/>
                    </a:cubicBezTo>
                    <a:cubicBezTo>
                      <a:pt x="263" y="281"/>
                      <a:pt x="252" y="270"/>
                      <a:pt x="238" y="270"/>
                    </a:cubicBezTo>
                    <a:cubicBezTo>
                      <a:pt x="218" y="270"/>
                      <a:pt x="218" y="270"/>
                      <a:pt x="218" y="270"/>
                    </a:cubicBezTo>
                    <a:cubicBezTo>
                      <a:pt x="218" y="237"/>
                      <a:pt x="218" y="237"/>
                      <a:pt x="218" y="237"/>
                    </a:cubicBezTo>
                    <a:cubicBezTo>
                      <a:pt x="341" y="237"/>
                      <a:pt x="341" y="237"/>
                      <a:pt x="341" y="237"/>
                    </a:cubicBezTo>
                    <a:cubicBezTo>
                      <a:pt x="341" y="270"/>
                      <a:pt x="341" y="270"/>
                      <a:pt x="341" y="270"/>
                    </a:cubicBezTo>
                    <a:cubicBezTo>
                      <a:pt x="296" y="270"/>
                      <a:pt x="296" y="270"/>
                      <a:pt x="296" y="270"/>
                    </a:cubicBezTo>
                    <a:cubicBezTo>
                      <a:pt x="296" y="320"/>
                      <a:pt x="296" y="320"/>
                      <a:pt x="296" y="320"/>
                    </a:cubicBezTo>
                    <a:cubicBezTo>
                      <a:pt x="296" y="333"/>
                      <a:pt x="307" y="344"/>
                      <a:pt x="320" y="344"/>
                    </a:cubicBezTo>
                    <a:cubicBezTo>
                      <a:pt x="411" y="344"/>
                      <a:pt x="411" y="344"/>
                      <a:pt x="411" y="344"/>
                    </a:cubicBezTo>
                    <a:cubicBezTo>
                      <a:pt x="411" y="295"/>
                      <a:pt x="411" y="295"/>
                      <a:pt x="411" y="295"/>
                    </a:cubicBezTo>
                    <a:cubicBezTo>
                      <a:pt x="411" y="281"/>
                      <a:pt x="400" y="270"/>
                      <a:pt x="386" y="270"/>
                    </a:cubicBezTo>
                    <a:close/>
                    <a:moveTo>
                      <a:pt x="249" y="97"/>
                    </a:moveTo>
                    <a:cubicBezTo>
                      <a:pt x="163" y="97"/>
                      <a:pt x="163" y="97"/>
                      <a:pt x="163" y="97"/>
                    </a:cubicBezTo>
                    <a:cubicBezTo>
                      <a:pt x="163" y="88"/>
                      <a:pt x="163" y="88"/>
                      <a:pt x="163" y="88"/>
                    </a:cubicBezTo>
                    <a:cubicBezTo>
                      <a:pt x="249" y="88"/>
                      <a:pt x="249" y="88"/>
                      <a:pt x="249" y="88"/>
                    </a:cubicBezTo>
                    <a:lnTo>
                      <a:pt x="249" y="97"/>
                    </a:lnTo>
                    <a:close/>
                    <a:moveTo>
                      <a:pt x="249" y="75"/>
                    </a:moveTo>
                    <a:cubicBezTo>
                      <a:pt x="163" y="75"/>
                      <a:pt x="163" y="75"/>
                      <a:pt x="163" y="75"/>
                    </a:cubicBezTo>
                    <a:cubicBezTo>
                      <a:pt x="163" y="66"/>
                      <a:pt x="163" y="66"/>
                      <a:pt x="163" y="66"/>
                    </a:cubicBezTo>
                    <a:cubicBezTo>
                      <a:pt x="249" y="66"/>
                      <a:pt x="249" y="66"/>
                      <a:pt x="249" y="66"/>
                    </a:cubicBezTo>
                    <a:lnTo>
                      <a:pt x="249" y="75"/>
                    </a:lnTo>
                    <a:close/>
                    <a:moveTo>
                      <a:pt x="161" y="40"/>
                    </a:moveTo>
                    <a:cubicBezTo>
                      <a:pt x="161" y="17"/>
                      <a:pt x="161" y="17"/>
                      <a:pt x="161" y="17"/>
                    </a:cubicBezTo>
                    <a:cubicBezTo>
                      <a:pt x="161" y="14"/>
                      <a:pt x="163" y="11"/>
                      <a:pt x="167" y="11"/>
                    </a:cubicBezTo>
                    <a:cubicBezTo>
                      <a:pt x="242" y="11"/>
                      <a:pt x="242" y="11"/>
                      <a:pt x="242" y="11"/>
                    </a:cubicBezTo>
                    <a:cubicBezTo>
                      <a:pt x="246" y="11"/>
                      <a:pt x="249" y="14"/>
                      <a:pt x="249" y="17"/>
                    </a:cubicBezTo>
                    <a:cubicBezTo>
                      <a:pt x="249" y="40"/>
                      <a:pt x="249" y="40"/>
                      <a:pt x="249" y="40"/>
                    </a:cubicBezTo>
                    <a:cubicBezTo>
                      <a:pt x="249" y="43"/>
                      <a:pt x="246" y="46"/>
                      <a:pt x="242" y="46"/>
                    </a:cubicBezTo>
                    <a:cubicBezTo>
                      <a:pt x="167" y="46"/>
                      <a:pt x="167" y="46"/>
                      <a:pt x="167" y="46"/>
                    </a:cubicBezTo>
                    <a:cubicBezTo>
                      <a:pt x="163" y="46"/>
                      <a:pt x="161" y="43"/>
                      <a:pt x="161" y="40"/>
                    </a:cubicBezTo>
                    <a:close/>
                    <a:moveTo>
                      <a:pt x="163" y="110"/>
                    </a:moveTo>
                    <a:cubicBezTo>
                      <a:pt x="249" y="110"/>
                      <a:pt x="249" y="110"/>
                      <a:pt x="249" y="110"/>
                    </a:cubicBezTo>
                    <a:cubicBezTo>
                      <a:pt x="249" y="119"/>
                      <a:pt x="249" y="119"/>
                      <a:pt x="249" y="119"/>
                    </a:cubicBezTo>
                    <a:cubicBezTo>
                      <a:pt x="163" y="119"/>
                      <a:pt x="163" y="119"/>
                      <a:pt x="163" y="119"/>
                    </a:cubicBezTo>
                    <a:lnTo>
                      <a:pt x="163" y="11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grpSp>
      </p:grpSp>
      <p:cxnSp>
        <p:nvCxnSpPr>
          <p:cNvPr id="61" name="Straight Connector 60"/>
          <p:cNvCxnSpPr/>
          <p:nvPr/>
        </p:nvCxnSpPr>
        <p:spPr>
          <a:xfrm>
            <a:off x="1949583" y="5184405"/>
            <a:ext cx="675176" cy="0"/>
          </a:xfrm>
          <a:prstGeom prst="line">
            <a:avLst/>
          </a:prstGeom>
          <a:ln w="57150" cmpd="sng">
            <a:solidFill>
              <a:schemeClr val="tx1"/>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sp>
        <p:nvSpPr>
          <p:cNvPr id="62" name="Freeform 61"/>
          <p:cNvSpPr>
            <a:spLocks/>
          </p:cNvSpPr>
          <p:nvPr/>
        </p:nvSpPr>
        <p:spPr bwMode="auto">
          <a:xfrm>
            <a:off x="5752615" y="4753850"/>
            <a:ext cx="423185" cy="595288"/>
          </a:xfrm>
          <a:custGeom>
            <a:avLst/>
            <a:gdLst>
              <a:gd name="T0" fmla="*/ 228 w 228"/>
              <a:gd name="T1" fmla="*/ 129 h 320"/>
              <a:gd name="T2" fmla="*/ 228 w 228"/>
              <a:gd name="T3" fmla="*/ 78 h 320"/>
              <a:gd name="T4" fmla="*/ 228 w 228"/>
              <a:gd name="T5" fmla="*/ 73 h 320"/>
              <a:gd name="T6" fmla="*/ 228 w 228"/>
              <a:gd name="T7" fmla="*/ 73 h 320"/>
              <a:gd name="T8" fmla="*/ 228 w 228"/>
              <a:gd name="T9" fmla="*/ 40 h 320"/>
              <a:gd name="T10" fmla="*/ 228 w 228"/>
              <a:gd name="T11" fmla="*/ 39 h 320"/>
              <a:gd name="T12" fmla="*/ 219 w 228"/>
              <a:gd name="T13" fmla="*/ 24 h 320"/>
              <a:gd name="T14" fmla="*/ 114 w 228"/>
              <a:gd name="T15" fmla="*/ 0 h 320"/>
              <a:gd name="T16" fmla="*/ 114 w 228"/>
              <a:gd name="T17" fmla="*/ 0 h 320"/>
              <a:gd name="T18" fmla="*/ 114 w 228"/>
              <a:gd name="T19" fmla="*/ 0 h 320"/>
              <a:gd name="T20" fmla="*/ 114 w 228"/>
              <a:gd name="T21" fmla="*/ 0 h 320"/>
              <a:gd name="T22" fmla="*/ 5 w 228"/>
              <a:gd name="T23" fmla="*/ 33 h 320"/>
              <a:gd name="T24" fmla="*/ 114 w 228"/>
              <a:gd name="T25" fmla="*/ 67 h 320"/>
              <a:gd name="T26" fmla="*/ 202 w 228"/>
              <a:gd name="T27" fmla="*/ 54 h 320"/>
              <a:gd name="T28" fmla="*/ 201 w 228"/>
              <a:gd name="T29" fmla="*/ 73 h 320"/>
              <a:gd name="T30" fmla="*/ 113 w 228"/>
              <a:gd name="T31" fmla="*/ 85 h 320"/>
              <a:gd name="T32" fmla="*/ 83 w 228"/>
              <a:gd name="T33" fmla="*/ 84 h 320"/>
              <a:gd name="T34" fmla="*/ 83 w 228"/>
              <a:gd name="T35" fmla="*/ 194 h 320"/>
              <a:gd name="T36" fmla="*/ 92 w 228"/>
              <a:gd name="T37" fmla="*/ 194 h 320"/>
              <a:gd name="T38" fmla="*/ 99 w 228"/>
              <a:gd name="T39" fmla="*/ 203 h 320"/>
              <a:gd name="T40" fmla="*/ 73 w 228"/>
              <a:gd name="T41" fmla="*/ 249 h 320"/>
              <a:gd name="T42" fmla="*/ 63 w 228"/>
              <a:gd name="T43" fmla="*/ 249 h 320"/>
              <a:gd name="T44" fmla="*/ 37 w 228"/>
              <a:gd name="T45" fmla="*/ 203 h 320"/>
              <a:gd name="T46" fmla="*/ 44 w 228"/>
              <a:gd name="T47" fmla="*/ 194 h 320"/>
              <a:gd name="T48" fmla="*/ 53 w 228"/>
              <a:gd name="T49" fmla="*/ 194 h 320"/>
              <a:gd name="T50" fmla="*/ 53 w 228"/>
              <a:gd name="T51" fmla="*/ 80 h 320"/>
              <a:gd name="T52" fmla="*/ 0 w 228"/>
              <a:gd name="T53" fmla="*/ 60 h 320"/>
              <a:gd name="T54" fmla="*/ 0 w 228"/>
              <a:gd name="T55" fmla="*/ 191 h 320"/>
              <a:gd name="T56" fmla="*/ 0 w 228"/>
              <a:gd name="T57" fmla="*/ 191 h 320"/>
              <a:gd name="T58" fmla="*/ 0 w 228"/>
              <a:gd name="T59" fmla="*/ 280 h 320"/>
              <a:gd name="T60" fmla="*/ 83 w 228"/>
              <a:gd name="T61" fmla="*/ 319 h 320"/>
              <a:gd name="T62" fmla="*/ 114 w 228"/>
              <a:gd name="T63" fmla="*/ 320 h 320"/>
              <a:gd name="T64" fmla="*/ 114 w 228"/>
              <a:gd name="T65" fmla="*/ 320 h 320"/>
              <a:gd name="T66" fmla="*/ 120 w 228"/>
              <a:gd name="T67" fmla="*/ 320 h 320"/>
              <a:gd name="T68" fmla="*/ 120 w 228"/>
              <a:gd name="T69" fmla="*/ 320 h 320"/>
              <a:gd name="T70" fmla="*/ 126 w 228"/>
              <a:gd name="T71" fmla="*/ 320 h 320"/>
              <a:gd name="T72" fmla="*/ 126 w 228"/>
              <a:gd name="T73" fmla="*/ 320 h 320"/>
              <a:gd name="T74" fmla="*/ 145 w 228"/>
              <a:gd name="T75" fmla="*/ 319 h 320"/>
              <a:gd name="T76" fmla="*/ 145 w 228"/>
              <a:gd name="T77" fmla="*/ 197 h 320"/>
              <a:gd name="T78" fmla="*/ 135 w 228"/>
              <a:gd name="T79" fmla="*/ 197 h 320"/>
              <a:gd name="T80" fmla="*/ 129 w 228"/>
              <a:gd name="T81" fmla="*/ 187 h 320"/>
              <a:gd name="T82" fmla="*/ 154 w 228"/>
              <a:gd name="T83" fmla="*/ 142 h 320"/>
              <a:gd name="T84" fmla="*/ 165 w 228"/>
              <a:gd name="T85" fmla="*/ 142 h 320"/>
              <a:gd name="T86" fmla="*/ 190 w 228"/>
              <a:gd name="T87" fmla="*/ 187 h 320"/>
              <a:gd name="T88" fmla="*/ 184 w 228"/>
              <a:gd name="T89" fmla="*/ 197 h 320"/>
              <a:gd name="T90" fmla="*/ 174 w 228"/>
              <a:gd name="T91" fmla="*/ 197 h 320"/>
              <a:gd name="T92" fmla="*/ 174 w 228"/>
              <a:gd name="T93" fmla="*/ 314 h 320"/>
              <a:gd name="T94" fmla="*/ 228 w 228"/>
              <a:gd name="T95" fmla="*/ 280 h 320"/>
              <a:gd name="T96" fmla="*/ 228 w 228"/>
              <a:gd name="T97" fmla="*/ 280 h 320"/>
              <a:gd name="T98" fmla="*/ 228 w 228"/>
              <a:gd name="T99" fmla="*/ 129 h 320"/>
              <a:gd name="T100" fmla="*/ 228 w 228"/>
              <a:gd name="T101" fmla="*/ 12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28" h="320">
                <a:moveTo>
                  <a:pt x="228" y="129"/>
                </a:moveTo>
                <a:cubicBezTo>
                  <a:pt x="228" y="78"/>
                  <a:pt x="228" y="78"/>
                  <a:pt x="228" y="78"/>
                </a:cubicBezTo>
                <a:cubicBezTo>
                  <a:pt x="228" y="73"/>
                  <a:pt x="228" y="73"/>
                  <a:pt x="228" y="73"/>
                </a:cubicBezTo>
                <a:cubicBezTo>
                  <a:pt x="228" y="73"/>
                  <a:pt x="228" y="73"/>
                  <a:pt x="228" y="73"/>
                </a:cubicBezTo>
                <a:cubicBezTo>
                  <a:pt x="228" y="40"/>
                  <a:pt x="228" y="40"/>
                  <a:pt x="228" y="40"/>
                </a:cubicBezTo>
                <a:cubicBezTo>
                  <a:pt x="228" y="39"/>
                  <a:pt x="228" y="39"/>
                  <a:pt x="228" y="39"/>
                </a:cubicBezTo>
                <a:cubicBezTo>
                  <a:pt x="228" y="34"/>
                  <a:pt x="225" y="29"/>
                  <a:pt x="219" y="24"/>
                </a:cubicBezTo>
                <a:cubicBezTo>
                  <a:pt x="207" y="10"/>
                  <a:pt x="164" y="0"/>
                  <a:pt x="114" y="0"/>
                </a:cubicBezTo>
                <a:cubicBezTo>
                  <a:pt x="114" y="0"/>
                  <a:pt x="114" y="0"/>
                  <a:pt x="114" y="0"/>
                </a:cubicBezTo>
                <a:cubicBezTo>
                  <a:pt x="114" y="0"/>
                  <a:pt x="114" y="0"/>
                  <a:pt x="114" y="0"/>
                </a:cubicBezTo>
                <a:cubicBezTo>
                  <a:pt x="114" y="0"/>
                  <a:pt x="114" y="0"/>
                  <a:pt x="114" y="0"/>
                </a:cubicBezTo>
                <a:cubicBezTo>
                  <a:pt x="53" y="0"/>
                  <a:pt x="5" y="15"/>
                  <a:pt x="5" y="33"/>
                </a:cubicBezTo>
                <a:cubicBezTo>
                  <a:pt x="5" y="52"/>
                  <a:pt x="53" y="67"/>
                  <a:pt x="114" y="67"/>
                </a:cubicBezTo>
                <a:cubicBezTo>
                  <a:pt x="150" y="67"/>
                  <a:pt x="182" y="62"/>
                  <a:pt x="202" y="54"/>
                </a:cubicBezTo>
                <a:cubicBezTo>
                  <a:pt x="201" y="73"/>
                  <a:pt x="201" y="73"/>
                  <a:pt x="201" y="73"/>
                </a:cubicBezTo>
                <a:cubicBezTo>
                  <a:pt x="182" y="80"/>
                  <a:pt x="153" y="85"/>
                  <a:pt x="113" y="85"/>
                </a:cubicBezTo>
                <a:cubicBezTo>
                  <a:pt x="103" y="85"/>
                  <a:pt x="93" y="85"/>
                  <a:pt x="83" y="84"/>
                </a:cubicBezTo>
                <a:cubicBezTo>
                  <a:pt x="83" y="194"/>
                  <a:pt x="83" y="194"/>
                  <a:pt x="83" y="194"/>
                </a:cubicBezTo>
                <a:cubicBezTo>
                  <a:pt x="92" y="194"/>
                  <a:pt x="92" y="194"/>
                  <a:pt x="92" y="194"/>
                </a:cubicBezTo>
                <a:cubicBezTo>
                  <a:pt x="99" y="194"/>
                  <a:pt x="102" y="198"/>
                  <a:pt x="99" y="203"/>
                </a:cubicBezTo>
                <a:cubicBezTo>
                  <a:pt x="73" y="249"/>
                  <a:pt x="73" y="249"/>
                  <a:pt x="73" y="249"/>
                </a:cubicBezTo>
                <a:cubicBezTo>
                  <a:pt x="71" y="254"/>
                  <a:pt x="66" y="254"/>
                  <a:pt x="63" y="249"/>
                </a:cubicBezTo>
                <a:cubicBezTo>
                  <a:pt x="37" y="203"/>
                  <a:pt x="37" y="203"/>
                  <a:pt x="37" y="203"/>
                </a:cubicBezTo>
                <a:cubicBezTo>
                  <a:pt x="34" y="198"/>
                  <a:pt x="37" y="194"/>
                  <a:pt x="44" y="194"/>
                </a:cubicBezTo>
                <a:cubicBezTo>
                  <a:pt x="53" y="194"/>
                  <a:pt x="53" y="194"/>
                  <a:pt x="53" y="194"/>
                </a:cubicBezTo>
                <a:cubicBezTo>
                  <a:pt x="53" y="80"/>
                  <a:pt x="53" y="80"/>
                  <a:pt x="53" y="80"/>
                </a:cubicBezTo>
                <a:cubicBezTo>
                  <a:pt x="32" y="76"/>
                  <a:pt x="12" y="70"/>
                  <a:pt x="0" y="60"/>
                </a:cubicBezTo>
                <a:cubicBezTo>
                  <a:pt x="0" y="191"/>
                  <a:pt x="0" y="191"/>
                  <a:pt x="0" y="191"/>
                </a:cubicBezTo>
                <a:cubicBezTo>
                  <a:pt x="0" y="191"/>
                  <a:pt x="0" y="191"/>
                  <a:pt x="0" y="191"/>
                </a:cubicBezTo>
                <a:cubicBezTo>
                  <a:pt x="0" y="280"/>
                  <a:pt x="0" y="280"/>
                  <a:pt x="0" y="280"/>
                </a:cubicBezTo>
                <a:cubicBezTo>
                  <a:pt x="0" y="299"/>
                  <a:pt x="35" y="314"/>
                  <a:pt x="83" y="319"/>
                </a:cubicBezTo>
                <a:cubicBezTo>
                  <a:pt x="93" y="320"/>
                  <a:pt x="103" y="320"/>
                  <a:pt x="114" y="320"/>
                </a:cubicBezTo>
                <a:cubicBezTo>
                  <a:pt x="114" y="320"/>
                  <a:pt x="114" y="320"/>
                  <a:pt x="114" y="320"/>
                </a:cubicBezTo>
                <a:cubicBezTo>
                  <a:pt x="116" y="320"/>
                  <a:pt x="118" y="320"/>
                  <a:pt x="120" y="320"/>
                </a:cubicBezTo>
                <a:cubicBezTo>
                  <a:pt x="120" y="320"/>
                  <a:pt x="120" y="320"/>
                  <a:pt x="120" y="320"/>
                </a:cubicBezTo>
                <a:cubicBezTo>
                  <a:pt x="122" y="320"/>
                  <a:pt x="124" y="320"/>
                  <a:pt x="126" y="320"/>
                </a:cubicBezTo>
                <a:cubicBezTo>
                  <a:pt x="126" y="320"/>
                  <a:pt x="126" y="320"/>
                  <a:pt x="126" y="320"/>
                </a:cubicBezTo>
                <a:cubicBezTo>
                  <a:pt x="132" y="320"/>
                  <a:pt x="139" y="319"/>
                  <a:pt x="145" y="319"/>
                </a:cubicBezTo>
                <a:cubicBezTo>
                  <a:pt x="145" y="197"/>
                  <a:pt x="145" y="197"/>
                  <a:pt x="145" y="197"/>
                </a:cubicBezTo>
                <a:cubicBezTo>
                  <a:pt x="135" y="197"/>
                  <a:pt x="135" y="197"/>
                  <a:pt x="135" y="197"/>
                </a:cubicBezTo>
                <a:cubicBezTo>
                  <a:pt x="129" y="197"/>
                  <a:pt x="126" y="193"/>
                  <a:pt x="129" y="187"/>
                </a:cubicBezTo>
                <a:cubicBezTo>
                  <a:pt x="154" y="142"/>
                  <a:pt x="154" y="142"/>
                  <a:pt x="154" y="142"/>
                </a:cubicBezTo>
                <a:cubicBezTo>
                  <a:pt x="157" y="136"/>
                  <a:pt x="162" y="136"/>
                  <a:pt x="165" y="142"/>
                </a:cubicBezTo>
                <a:cubicBezTo>
                  <a:pt x="190" y="187"/>
                  <a:pt x="190" y="187"/>
                  <a:pt x="190" y="187"/>
                </a:cubicBezTo>
                <a:cubicBezTo>
                  <a:pt x="193" y="193"/>
                  <a:pt x="190" y="197"/>
                  <a:pt x="184" y="197"/>
                </a:cubicBezTo>
                <a:cubicBezTo>
                  <a:pt x="174" y="197"/>
                  <a:pt x="174" y="197"/>
                  <a:pt x="174" y="197"/>
                </a:cubicBezTo>
                <a:cubicBezTo>
                  <a:pt x="174" y="314"/>
                  <a:pt x="174" y="314"/>
                  <a:pt x="174" y="314"/>
                </a:cubicBezTo>
                <a:cubicBezTo>
                  <a:pt x="206" y="307"/>
                  <a:pt x="228" y="294"/>
                  <a:pt x="228" y="280"/>
                </a:cubicBezTo>
                <a:cubicBezTo>
                  <a:pt x="228" y="280"/>
                  <a:pt x="228" y="280"/>
                  <a:pt x="228" y="280"/>
                </a:cubicBezTo>
                <a:cubicBezTo>
                  <a:pt x="228" y="129"/>
                  <a:pt x="228" y="129"/>
                  <a:pt x="228" y="129"/>
                </a:cubicBezTo>
                <a:cubicBezTo>
                  <a:pt x="228" y="129"/>
                  <a:pt x="228" y="129"/>
                  <a:pt x="228" y="129"/>
                </a:cubicBezTo>
                <a:close/>
              </a:path>
            </a:pathLst>
          </a:custGeom>
          <a:solidFill>
            <a:srgbClr val="00A1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9909" tIns="64954" rIns="129909" bIns="64954"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grpSp>
        <p:nvGrpSpPr>
          <p:cNvPr id="63" name="Group 62"/>
          <p:cNvGrpSpPr/>
          <p:nvPr/>
        </p:nvGrpSpPr>
        <p:grpSpPr>
          <a:xfrm>
            <a:off x="2953356" y="4699887"/>
            <a:ext cx="668318" cy="649252"/>
            <a:chOff x="0" y="1057275"/>
            <a:chExt cx="1477962" cy="1433513"/>
          </a:xfrm>
        </p:grpSpPr>
        <p:sp>
          <p:nvSpPr>
            <p:cNvPr id="64" name="Freeform 63"/>
            <p:cNvSpPr>
              <a:spLocks noEditPoints="1"/>
            </p:cNvSpPr>
            <p:nvPr/>
          </p:nvSpPr>
          <p:spPr bwMode="auto">
            <a:xfrm>
              <a:off x="0" y="1395413"/>
              <a:ext cx="1338263" cy="1095375"/>
            </a:xfrm>
            <a:custGeom>
              <a:avLst/>
              <a:gdLst>
                <a:gd name="T0" fmla="*/ 280 w 357"/>
                <a:gd name="T1" fmla="*/ 216 h 292"/>
                <a:gd name="T2" fmla="*/ 239 w 357"/>
                <a:gd name="T3" fmla="*/ 174 h 292"/>
                <a:gd name="T4" fmla="*/ 332 w 357"/>
                <a:gd name="T5" fmla="*/ 96 h 292"/>
                <a:gd name="T6" fmla="*/ 34 w 357"/>
                <a:gd name="T7" fmla="*/ 268 h 292"/>
                <a:gd name="T8" fmla="*/ 207 w 357"/>
                <a:gd name="T9" fmla="*/ 24 h 292"/>
                <a:gd name="T10" fmla="*/ 10 w 357"/>
                <a:gd name="T11" fmla="*/ 0 h 292"/>
                <a:gd name="T12" fmla="*/ 4 w 357"/>
                <a:gd name="T13" fmla="*/ 62 h 292"/>
                <a:gd name="T14" fmla="*/ 0 w 357"/>
                <a:gd name="T15" fmla="*/ 94 h 292"/>
                <a:gd name="T16" fmla="*/ 10 w 357"/>
                <a:gd name="T17" fmla="*/ 99 h 292"/>
                <a:gd name="T18" fmla="*/ 4 w 357"/>
                <a:gd name="T19" fmla="*/ 182 h 292"/>
                <a:gd name="T20" fmla="*/ 0 w 357"/>
                <a:gd name="T21" fmla="*/ 214 h 292"/>
                <a:gd name="T22" fmla="*/ 10 w 357"/>
                <a:gd name="T23" fmla="*/ 219 h 292"/>
                <a:gd name="T24" fmla="*/ 37 w 357"/>
                <a:gd name="T25" fmla="*/ 292 h 292"/>
                <a:gd name="T26" fmla="*/ 357 w 357"/>
                <a:gd name="T27" fmla="*/ 86 h 292"/>
                <a:gd name="T28" fmla="*/ 104 w 357"/>
                <a:gd name="T29" fmla="*/ 161 h 292"/>
                <a:gd name="T30" fmla="*/ 101 w 357"/>
                <a:gd name="T31" fmla="*/ 176 h 292"/>
                <a:gd name="T32" fmla="*/ 118 w 357"/>
                <a:gd name="T33" fmla="*/ 170 h 292"/>
                <a:gd name="T34" fmla="*/ 126 w 357"/>
                <a:gd name="T35" fmla="*/ 170 h 292"/>
                <a:gd name="T36" fmla="*/ 143 w 357"/>
                <a:gd name="T37" fmla="*/ 175 h 292"/>
                <a:gd name="T38" fmla="*/ 140 w 357"/>
                <a:gd name="T39" fmla="*/ 161 h 292"/>
                <a:gd name="T40" fmla="*/ 156 w 357"/>
                <a:gd name="T41" fmla="*/ 153 h 292"/>
                <a:gd name="T42" fmla="*/ 143 w 357"/>
                <a:gd name="T43" fmla="*/ 149 h 292"/>
                <a:gd name="T44" fmla="*/ 156 w 357"/>
                <a:gd name="T45" fmla="*/ 145 h 292"/>
                <a:gd name="T46" fmla="*/ 87 w 357"/>
                <a:gd name="T47" fmla="*/ 149 h 292"/>
                <a:gd name="T48" fmla="*/ 104 w 357"/>
                <a:gd name="T49" fmla="*/ 161 h 292"/>
                <a:gd name="T50" fmla="*/ 135 w 357"/>
                <a:gd name="T51" fmla="*/ 149 h 292"/>
                <a:gd name="T52" fmla="*/ 109 w 357"/>
                <a:gd name="T53" fmla="*/ 149 h 292"/>
                <a:gd name="T54" fmla="*/ 46 w 357"/>
                <a:gd name="T55" fmla="*/ 256 h 292"/>
                <a:gd name="T56" fmla="*/ 239 w 357"/>
                <a:gd name="T57" fmla="*/ 216 h 292"/>
                <a:gd name="T58" fmla="*/ 198 w 357"/>
                <a:gd name="T59" fmla="*/ 174 h 292"/>
                <a:gd name="T60" fmla="*/ 239 w 357"/>
                <a:gd name="T61" fmla="*/ 133 h 292"/>
                <a:gd name="T62" fmla="*/ 198 w 357"/>
                <a:gd name="T63" fmla="*/ 92 h 292"/>
                <a:gd name="T64" fmla="*/ 239 w 357"/>
                <a:gd name="T65" fmla="*/ 133 h 292"/>
                <a:gd name="T66" fmla="*/ 280 w 357"/>
                <a:gd name="T67" fmla="*/ 174 h 292"/>
                <a:gd name="T68" fmla="*/ 320 w 357"/>
                <a:gd name="T69" fmla="*/ 98 h 292"/>
                <a:gd name="T70" fmla="*/ 212 w 357"/>
                <a:gd name="T71" fmla="*/ 36 h 292"/>
                <a:gd name="T72" fmla="*/ 46 w 357"/>
                <a:gd name="T73" fmla="*/ 256 h 292"/>
                <a:gd name="T74" fmla="*/ 168 w 357"/>
                <a:gd name="T75" fmla="*/ 149 h 292"/>
                <a:gd name="T76" fmla="*/ 75 w 357"/>
                <a:gd name="T77" fmla="*/ 14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57" h="292">
                  <a:moveTo>
                    <a:pt x="239" y="216"/>
                  </a:moveTo>
                  <a:cubicBezTo>
                    <a:pt x="280" y="216"/>
                    <a:pt x="280" y="216"/>
                    <a:pt x="280" y="216"/>
                  </a:cubicBezTo>
                  <a:cubicBezTo>
                    <a:pt x="280" y="174"/>
                    <a:pt x="280" y="174"/>
                    <a:pt x="280" y="174"/>
                  </a:cubicBezTo>
                  <a:cubicBezTo>
                    <a:pt x="239" y="174"/>
                    <a:pt x="239" y="174"/>
                    <a:pt x="239" y="174"/>
                  </a:cubicBezTo>
                  <a:lnTo>
                    <a:pt x="239" y="216"/>
                  </a:lnTo>
                  <a:close/>
                  <a:moveTo>
                    <a:pt x="332" y="96"/>
                  </a:moveTo>
                  <a:cubicBezTo>
                    <a:pt x="332" y="268"/>
                    <a:pt x="332" y="268"/>
                    <a:pt x="332" y="268"/>
                  </a:cubicBezTo>
                  <a:cubicBezTo>
                    <a:pt x="34" y="268"/>
                    <a:pt x="34" y="268"/>
                    <a:pt x="34" y="268"/>
                  </a:cubicBezTo>
                  <a:cubicBezTo>
                    <a:pt x="34" y="24"/>
                    <a:pt x="34" y="24"/>
                    <a:pt x="34" y="24"/>
                  </a:cubicBezTo>
                  <a:cubicBezTo>
                    <a:pt x="207" y="24"/>
                    <a:pt x="207" y="24"/>
                    <a:pt x="207" y="24"/>
                  </a:cubicBezTo>
                  <a:cubicBezTo>
                    <a:pt x="205" y="17"/>
                    <a:pt x="204" y="8"/>
                    <a:pt x="203" y="0"/>
                  </a:cubicBezTo>
                  <a:cubicBezTo>
                    <a:pt x="10" y="0"/>
                    <a:pt x="10" y="0"/>
                    <a:pt x="10" y="0"/>
                  </a:cubicBezTo>
                  <a:cubicBezTo>
                    <a:pt x="10" y="62"/>
                    <a:pt x="10" y="62"/>
                    <a:pt x="10" y="62"/>
                  </a:cubicBezTo>
                  <a:cubicBezTo>
                    <a:pt x="4" y="62"/>
                    <a:pt x="4" y="62"/>
                    <a:pt x="4" y="62"/>
                  </a:cubicBezTo>
                  <a:cubicBezTo>
                    <a:pt x="2" y="62"/>
                    <a:pt x="0" y="64"/>
                    <a:pt x="0" y="66"/>
                  </a:cubicBezTo>
                  <a:cubicBezTo>
                    <a:pt x="0" y="94"/>
                    <a:pt x="0" y="94"/>
                    <a:pt x="0" y="94"/>
                  </a:cubicBezTo>
                  <a:cubicBezTo>
                    <a:pt x="0" y="97"/>
                    <a:pt x="2" y="99"/>
                    <a:pt x="4" y="99"/>
                  </a:cubicBezTo>
                  <a:cubicBezTo>
                    <a:pt x="10" y="99"/>
                    <a:pt x="10" y="99"/>
                    <a:pt x="10" y="99"/>
                  </a:cubicBezTo>
                  <a:cubicBezTo>
                    <a:pt x="10" y="182"/>
                    <a:pt x="10" y="182"/>
                    <a:pt x="10" y="182"/>
                  </a:cubicBezTo>
                  <a:cubicBezTo>
                    <a:pt x="4" y="182"/>
                    <a:pt x="4" y="182"/>
                    <a:pt x="4" y="182"/>
                  </a:cubicBezTo>
                  <a:cubicBezTo>
                    <a:pt x="2" y="182"/>
                    <a:pt x="0" y="184"/>
                    <a:pt x="0" y="186"/>
                  </a:cubicBezTo>
                  <a:cubicBezTo>
                    <a:pt x="0" y="214"/>
                    <a:pt x="0" y="214"/>
                    <a:pt x="0" y="214"/>
                  </a:cubicBezTo>
                  <a:cubicBezTo>
                    <a:pt x="0" y="217"/>
                    <a:pt x="2" y="219"/>
                    <a:pt x="4" y="219"/>
                  </a:cubicBezTo>
                  <a:cubicBezTo>
                    <a:pt x="10" y="219"/>
                    <a:pt x="10" y="219"/>
                    <a:pt x="10" y="219"/>
                  </a:cubicBezTo>
                  <a:cubicBezTo>
                    <a:pt x="10" y="265"/>
                    <a:pt x="10" y="265"/>
                    <a:pt x="10" y="265"/>
                  </a:cubicBezTo>
                  <a:cubicBezTo>
                    <a:pt x="10" y="280"/>
                    <a:pt x="22" y="292"/>
                    <a:pt x="37" y="292"/>
                  </a:cubicBezTo>
                  <a:cubicBezTo>
                    <a:pt x="357" y="292"/>
                    <a:pt x="357" y="292"/>
                    <a:pt x="357" y="292"/>
                  </a:cubicBezTo>
                  <a:cubicBezTo>
                    <a:pt x="357" y="86"/>
                    <a:pt x="357" y="86"/>
                    <a:pt x="357" y="86"/>
                  </a:cubicBezTo>
                  <a:cubicBezTo>
                    <a:pt x="349" y="90"/>
                    <a:pt x="341" y="94"/>
                    <a:pt x="332" y="96"/>
                  </a:cubicBezTo>
                  <a:close/>
                  <a:moveTo>
                    <a:pt x="104" y="161"/>
                  </a:moveTo>
                  <a:cubicBezTo>
                    <a:pt x="106" y="163"/>
                    <a:pt x="108" y="165"/>
                    <a:pt x="110" y="167"/>
                  </a:cubicBezTo>
                  <a:cubicBezTo>
                    <a:pt x="101" y="176"/>
                    <a:pt x="101" y="176"/>
                    <a:pt x="101" y="176"/>
                  </a:cubicBezTo>
                  <a:cubicBezTo>
                    <a:pt x="106" y="179"/>
                    <a:pt x="112" y="182"/>
                    <a:pt x="118" y="183"/>
                  </a:cubicBezTo>
                  <a:cubicBezTo>
                    <a:pt x="118" y="170"/>
                    <a:pt x="118" y="170"/>
                    <a:pt x="118" y="170"/>
                  </a:cubicBezTo>
                  <a:cubicBezTo>
                    <a:pt x="119" y="170"/>
                    <a:pt x="121" y="170"/>
                    <a:pt x="122" y="170"/>
                  </a:cubicBezTo>
                  <a:cubicBezTo>
                    <a:pt x="123" y="170"/>
                    <a:pt x="125" y="170"/>
                    <a:pt x="126" y="170"/>
                  </a:cubicBezTo>
                  <a:cubicBezTo>
                    <a:pt x="126" y="183"/>
                    <a:pt x="126" y="183"/>
                    <a:pt x="126" y="183"/>
                  </a:cubicBezTo>
                  <a:cubicBezTo>
                    <a:pt x="133" y="182"/>
                    <a:pt x="138" y="179"/>
                    <a:pt x="143" y="175"/>
                  </a:cubicBezTo>
                  <a:cubicBezTo>
                    <a:pt x="134" y="166"/>
                    <a:pt x="134" y="166"/>
                    <a:pt x="134" y="166"/>
                  </a:cubicBezTo>
                  <a:cubicBezTo>
                    <a:pt x="136" y="165"/>
                    <a:pt x="138" y="163"/>
                    <a:pt x="140" y="161"/>
                  </a:cubicBezTo>
                  <a:cubicBezTo>
                    <a:pt x="149" y="170"/>
                    <a:pt x="149" y="170"/>
                    <a:pt x="149" y="170"/>
                  </a:cubicBezTo>
                  <a:cubicBezTo>
                    <a:pt x="153" y="165"/>
                    <a:pt x="155" y="159"/>
                    <a:pt x="156" y="153"/>
                  </a:cubicBezTo>
                  <a:cubicBezTo>
                    <a:pt x="143" y="153"/>
                    <a:pt x="143" y="153"/>
                    <a:pt x="143" y="153"/>
                  </a:cubicBezTo>
                  <a:cubicBezTo>
                    <a:pt x="143" y="151"/>
                    <a:pt x="143" y="150"/>
                    <a:pt x="143" y="149"/>
                  </a:cubicBezTo>
                  <a:cubicBezTo>
                    <a:pt x="143" y="147"/>
                    <a:pt x="143" y="146"/>
                    <a:pt x="143" y="145"/>
                  </a:cubicBezTo>
                  <a:cubicBezTo>
                    <a:pt x="156" y="145"/>
                    <a:pt x="156" y="145"/>
                    <a:pt x="156" y="145"/>
                  </a:cubicBezTo>
                  <a:cubicBezTo>
                    <a:pt x="154" y="128"/>
                    <a:pt x="139" y="114"/>
                    <a:pt x="122" y="114"/>
                  </a:cubicBezTo>
                  <a:cubicBezTo>
                    <a:pt x="103" y="114"/>
                    <a:pt x="87" y="130"/>
                    <a:pt x="87" y="149"/>
                  </a:cubicBezTo>
                  <a:cubicBezTo>
                    <a:pt x="87" y="157"/>
                    <a:pt x="90" y="164"/>
                    <a:pt x="95" y="170"/>
                  </a:cubicBezTo>
                  <a:lnTo>
                    <a:pt x="104" y="161"/>
                  </a:lnTo>
                  <a:close/>
                  <a:moveTo>
                    <a:pt x="122" y="136"/>
                  </a:moveTo>
                  <a:cubicBezTo>
                    <a:pt x="129" y="136"/>
                    <a:pt x="135" y="141"/>
                    <a:pt x="135" y="149"/>
                  </a:cubicBezTo>
                  <a:cubicBezTo>
                    <a:pt x="135" y="156"/>
                    <a:pt x="129" y="161"/>
                    <a:pt x="122" y="161"/>
                  </a:cubicBezTo>
                  <a:cubicBezTo>
                    <a:pt x="115" y="161"/>
                    <a:pt x="109" y="156"/>
                    <a:pt x="109" y="149"/>
                  </a:cubicBezTo>
                  <a:cubicBezTo>
                    <a:pt x="109" y="141"/>
                    <a:pt x="115" y="136"/>
                    <a:pt x="122" y="136"/>
                  </a:cubicBezTo>
                  <a:close/>
                  <a:moveTo>
                    <a:pt x="46" y="256"/>
                  </a:moveTo>
                  <a:cubicBezTo>
                    <a:pt x="239" y="256"/>
                    <a:pt x="239" y="256"/>
                    <a:pt x="239" y="256"/>
                  </a:cubicBezTo>
                  <a:cubicBezTo>
                    <a:pt x="239" y="216"/>
                    <a:pt x="239" y="216"/>
                    <a:pt x="239" y="216"/>
                  </a:cubicBezTo>
                  <a:cubicBezTo>
                    <a:pt x="198" y="216"/>
                    <a:pt x="198" y="216"/>
                    <a:pt x="198" y="216"/>
                  </a:cubicBezTo>
                  <a:cubicBezTo>
                    <a:pt x="198" y="174"/>
                    <a:pt x="198" y="174"/>
                    <a:pt x="198" y="174"/>
                  </a:cubicBezTo>
                  <a:cubicBezTo>
                    <a:pt x="239" y="174"/>
                    <a:pt x="239" y="174"/>
                    <a:pt x="239" y="174"/>
                  </a:cubicBezTo>
                  <a:cubicBezTo>
                    <a:pt x="239" y="133"/>
                    <a:pt x="239" y="133"/>
                    <a:pt x="239" y="133"/>
                  </a:cubicBezTo>
                  <a:cubicBezTo>
                    <a:pt x="198" y="133"/>
                    <a:pt x="198" y="133"/>
                    <a:pt x="198" y="133"/>
                  </a:cubicBezTo>
                  <a:cubicBezTo>
                    <a:pt x="198" y="92"/>
                    <a:pt x="198" y="92"/>
                    <a:pt x="198" y="92"/>
                  </a:cubicBezTo>
                  <a:cubicBezTo>
                    <a:pt x="239" y="92"/>
                    <a:pt x="239" y="92"/>
                    <a:pt x="239" y="92"/>
                  </a:cubicBezTo>
                  <a:cubicBezTo>
                    <a:pt x="239" y="133"/>
                    <a:pt x="239" y="133"/>
                    <a:pt x="239" y="133"/>
                  </a:cubicBezTo>
                  <a:cubicBezTo>
                    <a:pt x="280" y="133"/>
                    <a:pt x="280" y="133"/>
                    <a:pt x="280" y="133"/>
                  </a:cubicBezTo>
                  <a:cubicBezTo>
                    <a:pt x="280" y="174"/>
                    <a:pt x="280" y="174"/>
                    <a:pt x="280" y="174"/>
                  </a:cubicBezTo>
                  <a:cubicBezTo>
                    <a:pt x="320" y="174"/>
                    <a:pt x="320" y="174"/>
                    <a:pt x="320" y="174"/>
                  </a:cubicBezTo>
                  <a:cubicBezTo>
                    <a:pt x="320" y="98"/>
                    <a:pt x="320" y="98"/>
                    <a:pt x="320" y="98"/>
                  </a:cubicBezTo>
                  <a:cubicBezTo>
                    <a:pt x="316" y="98"/>
                    <a:pt x="311" y="99"/>
                    <a:pt x="307" y="99"/>
                  </a:cubicBezTo>
                  <a:cubicBezTo>
                    <a:pt x="264" y="99"/>
                    <a:pt x="227" y="73"/>
                    <a:pt x="212" y="36"/>
                  </a:cubicBezTo>
                  <a:cubicBezTo>
                    <a:pt x="46" y="36"/>
                    <a:pt x="46" y="36"/>
                    <a:pt x="46" y="36"/>
                  </a:cubicBezTo>
                  <a:lnTo>
                    <a:pt x="46" y="256"/>
                  </a:lnTo>
                  <a:close/>
                  <a:moveTo>
                    <a:pt x="122" y="102"/>
                  </a:moveTo>
                  <a:cubicBezTo>
                    <a:pt x="147" y="102"/>
                    <a:pt x="168" y="123"/>
                    <a:pt x="168" y="149"/>
                  </a:cubicBezTo>
                  <a:cubicBezTo>
                    <a:pt x="168" y="174"/>
                    <a:pt x="147" y="195"/>
                    <a:pt x="122" y="195"/>
                  </a:cubicBezTo>
                  <a:cubicBezTo>
                    <a:pt x="96" y="195"/>
                    <a:pt x="75" y="174"/>
                    <a:pt x="75" y="149"/>
                  </a:cubicBezTo>
                  <a:cubicBezTo>
                    <a:pt x="75" y="123"/>
                    <a:pt x="96" y="102"/>
                    <a:pt x="122" y="102"/>
                  </a:cubicBez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65" name="Freeform 64"/>
            <p:cNvSpPr>
              <a:spLocks/>
            </p:cNvSpPr>
            <p:nvPr/>
          </p:nvSpPr>
          <p:spPr bwMode="auto">
            <a:xfrm>
              <a:off x="1120775" y="1181100"/>
              <a:ext cx="184150" cy="230188"/>
            </a:xfrm>
            <a:custGeom>
              <a:avLst/>
              <a:gdLst>
                <a:gd name="T0" fmla="*/ 0 w 116"/>
                <a:gd name="T1" fmla="*/ 145 h 145"/>
                <a:gd name="T2" fmla="*/ 0 w 116"/>
                <a:gd name="T3" fmla="*/ 0 h 145"/>
                <a:gd name="T4" fmla="*/ 33 w 116"/>
                <a:gd name="T5" fmla="*/ 0 h 145"/>
                <a:gd name="T6" fmla="*/ 33 w 116"/>
                <a:gd name="T7" fmla="*/ 112 h 145"/>
                <a:gd name="T8" fmla="*/ 116 w 116"/>
                <a:gd name="T9" fmla="*/ 112 h 145"/>
                <a:gd name="T10" fmla="*/ 116 w 116"/>
                <a:gd name="T11" fmla="*/ 145 h 145"/>
                <a:gd name="T12" fmla="*/ 0 w 116"/>
                <a:gd name="T13" fmla="*/ 145 h 145"/>
                <a:gd name="T14" fmla="*/ 0 w 116"/>
                <a:gd name="T15" fmla="*/ 145 h 1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45">
                  <a:moveTo>
                    <a:pt x="0" y="145"/>
                  </a:moveTo>
                  <a:lnTo>
                    <a:pt x="0" y="0"/>
                  </a:lnTo>
                  <a:lnTo>
                    <a:pt x="33" y="0"/>
                  </a:lnTo>
                  <a:lnTo>
                    <a:pt x="33" y="112"/>
                  </a:lnTo>
                  <a:lnTo>
                    <a:pt x="116" y="112"/>
                  </a:lnTo>
                  <a:lnTo>
                    <a:pt x="116" y="145"/>
                  </a:lnTo>
                  <a:lnTo>
                    <a:pt x="0" y="145"/>
                  </a:lnTo>
                  <a:lnTo>
                    <a:pt x="0" y="145"/>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66" name="Freeform 65"/>
            <p:cNvSpPr>
              <a:spLocks/>
            </p:cNvSpPr>
            <p:nvPr/>
          </p:nvSpPr>
          <p:spPr bwMode="auto">
            <a:xfrm>
              <a:off x="798512" y="1057275"/>
              <a:ext cx="679450" cy="649288"/>
            </a:xfrm>
            <a:custGeom>
              <a:avLst/>
              <a:gdLst>
                <a:gd name="T0" fmla="*/ 94 w 181"/>
                <a:gd name="T1" fmla="*/ 0 h 173"/>
                <a:gd name="T2" fmla="*/ 34 w 181"/>
                <a:gd name="T3" fmla="*/ 24 h 173"/>
                <a:gd name="T4" fmla="*/ 32 w 181"/>
                <a:gd name="T5" fmla="*/ 25 h 173"/>
                <a:gd name="T6" fmla="*/ 47 w 181"/>
                <a:gd name="T7" fmla="*/ 40 h 173"/>
                <a:gd name="T8" fmla="*/ 48 w 181"/>
                <a:gd name="T9" fmla="*/ 38 h 173"/>
                <a:gd name="T10" fmla="*/ 94 w 181"/>
                <a:gd name="T11" fmla="*/ 21 h 173"/>
                <a:gd name="T12" fmla="*/ 161 w 181"/>
                <a:gd name="T13" fmla="*/ 87 h 173"/>
                <a:gd name="T14" fmla="*/ 94 w 181"/>
                <a:gd name="T15" fmla="*/ 153 h 173"/>
                <a:gd name="T16" fmla="*/ 27 w 181"/>
                <a:gd name="T17" fmla="*/ 87 h 173"/>
                <a:gd name="T18" fmla="*/ 28 w 181"/>
                <a:gd name="T19" fmla="*/ 74 h 173"/>
                <a:gd name="T20" fmla="*/ 33 w 181"/>
                <a:gd name="T21" fmla="*/ 76 h 173"/>
                <a:gd name="T22" fmla="*/ 39 w 181"/>
                <a:gd name="T23" fmla="*/ 75 h 173"/>
                <a:gd name="T24" fmla="*/ 40 w 181"/>
                <a:gd name="T25" fmla="*/ 73 h 173"/>
                <a:gd name="T26" fmla="*/ 37 w 181"/>
                <a:gd name="T27" fmla="*/ 40 h 173"/>
                <a:gd name="T28" fmla="*/ 30 w 181"/>
                <a:gd name="T29" fmla="*/ 37 h 173"/>
                <a:gd name="T30" fmla="*/ 3 w 181"/>
                <a:gd name="T31" fmla="*/ 55 h 173"/>
                <a:gd name="T32" fmla="*/ 1 w 181"/>
                <a:gd name="T33" fmla="*/ 57 h 173"/>
                <a:gd name="T34" fmla="*/ 4 w 181"/>
                <a:gd name="T35" fmla="*/ 62 h 173"/>
                <a:gd name="T36" fmla="*/ 9 w 181"/>
                <a:gd name="T37" fmla="*/ 65 h 173"/>
                <a:gd name="T38" fmla="*/ 6 w 181"/>
                <a:gd name="T39" fmla="*/ 87 h 173"/>
                <a:gd name="T40" fmla="*/ 94 w 181"/>
                <a:gd name="T41" fmla="*/ 173 h 173"/>
                <a:gd name="T42" fmla="*/ 181 w 181"/>
                <a:gd name="T43" fmla="*/ 87 h 173"/>
                <a:gd name="T44" fmla="*/ 94 w 181"/>
                <a:gd name="T4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1" h="173">
                  <a:moveTo>
                    <a:pt x="94" y="0"/>
                  </a:moveTo>
                  <a:cubicBezTo>
                    <a:pt x="71" y="0"/>
                    <a:pt x="49" y="9"/>
                    <a:pt x="34" y="24"/>
                  </a:cubicBezTo>
                  <a:cubicBezTo>
                    <a:pt x="32" y="25"/>
                    <a:pt x="32" y="25"/>
                    <a:pt x="32" y="25"/>
                  </a:cubicBezTo>
                  <a:cubicBezTo>
                    <a:pt x="47" y="40"/>
                    <a:pt x="47" y="40"/>
                    <a:pt x="47" y="40"/>
                  </a:cubicBezTo>
                  <a:cubicBezTo>
                    <a:pt x="48" y="38"/>
                    <a:pt x="48" y="38"/>
                    <a:pt x="48" y="38"/>
                  </a:cubicBezTo>
                  <a:cubicBezTo>
                    <a:pt x="60" y="27"/>
                    <a:pt x="76" y="21"/>
                    <a:pt x="94" y="21"/>
                  </a:cubicBezTo>
                  <a:cubicBezTo>
                    <a:pt x="131" y="21"/>
                    <a:pt x="161" y="50"/>
                    <a:pt x="161" y="87"/>
                  </a:cubicBezTo>
                  <a:cubicBezTo>
                    <a:pt x="161" y="123"/>
                    <a:pt x="131" y="153"/>
                    <a:pt x="94" y="153"/>
                  </a:cubicBezTo>
                  <a:cubicBezTo>
                    <a:pt x="57" y="153"/>
                    <a:pt x="27" y="123"/>
                    <a:pt x="27" y="87"/>
                  </a:cubicBezTo>
                  <a:cubicBezTo>
                    <a:pt x="27" y="82"/>
                    <a:pt x="27" y="78"/>
                    <a:pt x="28" y="74"/>
                  </a:cubicBezTo>
                  <a:cubicBezTo>
                    <a:pt x="33" y="76"/>
                    <a:pt x="33" y="76"/>
                    <a:pt x="33" y="76"/>
                  </a:cubicBezTo>
                  <a:cubicBezTo>
                    <a:pt x="36" y="78"/>
                    <a:pt x="38" y="77"/>
                    <a:pt x="39" y="75"/>
                  </a:cubicBezTo>
                  <a:cubicBezTo>
                    <a:pt x="40" y="75"/>
                    <a:pt x="40" y="74"/>
                    <a:pt x="40" y="73"/>
                  </a:cubicBezTo>
                  <a:cubicBezTo>
                    <a:pt x="37" y="40"/>
                    <a:pt x="37" y="40"/>
                    <a:pt x="37" y="40"/>
                  </a:cubicBezTo>
                  <a:cubicBezTo>
                    <a:pt x="36" y="37"/>
                    <a:pt x="33" y="35"/>
                    <a:pt x="30" y="37"/>
                  </a:cubicBezTo>
                  <a:cubicBezTo>
                    <a:pt x="3" y="55"/>
                    <a:pt x="3" y="55"/>
                    <a:pt x="3" y="55"/>
                  </a:cubicBezTo>
                  <a:cubicBezTo>
                    <a:pt x="2" y="55"/>
                    <a:pt x="1" y="56"/>
                    <a:pt x="1" y="57"/>
                  </a:cubicBezTo>
                  <a:cubicBezTo>
                    <a:pt x="0" y="58"/>
                    <a:pt x="1" y="61"/>
                    <a:pt x="4" y="62"/>
                  </a:cubicBezTo>
                  <a:cubicBezTo>
                    <a:pt x="9" y="65"/>
                    <a:pt x="9" y="65"/>
                    <a:pt x="9" y="65"/>
                  </a:cubicBezTo>
                  <a:cubicBezTo>
                    <a:pt x="7" y="72"/>
                    <a:pt x="6" y="79"/>
                    <a:pt x="6" y="87"/>
                  </a:cubicBezTo>
                  <a:cubicBezTo>
                    <a:pt x="6" y="134"/>
                    <a:pt x="46" y="173"/>
                    <a:pt x="94" y="173"/>
                  </a:cubicBezTo>
                  <a:cubicBezTo>
                    <a:pt x="142" y="173"/>
                    <a:pt x="181" y="134"/>
                    <a:pt x="181" y="87"/>
                  </a:cubicBezTo>
                  <a:cubicBezTo>
                    <a:pt x="181" y="39"/>
                    <a:pt x="142" y="0"/>
                    <a:pt x="94" y="0"/>
                  </a:cubicBez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grpSp>
      <p:grpSp>
        <p:nvGrpSpPr>
          <p:cNvPr id="67" name="Group 66"/>
          <p:cNvGrpSpPr/>
          <p:nvPr/>
        </p:nvGrpSpPr>
        <p:grpSpPr>
          <a:xfrm>
            <a:off x="7619295" y="4576604"/>
            <a:ext cx="960286" cy="772535"/>
            <a:chOff x="9039226" y="1142999"/>
            <a:chExt cx="1484313" cy="1192213"/>
          </a:xfrm>
        </p:grpSpPr>
        <p:sp>
          <p:nvSpPr>
            <p:cNvPr id="68" name="Freeform 67"/>
            <p:cNvSpPr>
              <a:spLocks noEditPoints="1"/>
            </p:cNvSpPr>
            <p:nvPr/>
          </p:nvSpPr>
          <p:spPr bwMode="auto">
            <a:xfrm>
              <a:off x="9821864" y="1142999"/>
              <a:ext cx="566738" cy="1192213"/>
            </a:xfrm>
            <a:custGeom>
              <a:avLst/>
              <a:gdLst>
                <a:gd name="T0" fmla="*/ 133 w 151"/>
                <a:gd name="T1" fmla="*/ 0 h 318"/>
                <a:gd name="T2" fmla="*/ 0 w 151"/>
                <a:gd name="T3" fmla="*/ 0 h 318"/>
                <a:gd name="T4" fmla="*/ 0 w 151"/>
                <a:gd name="T5" fmla="*/ 29 h 318"/>
                <a:gd name="T6" fmla="*/ 118 w 151"/>
                <a:gd name="T7" fmla="*/ 29 h 318"/>
                <a:gd name="T8" fmla="*/ 118 w 151"/>
                <a:gd name="T9" fmla="*/ 42 h 318"/>
                <a:gd name="T10" fmla="*/ 0 w 151"/>
                <a:gd name="T11" fmla="*/ 42 h 318"/>
                <a:gd name="T12" fmla="*/ 0 w 151"/>
                <a:gd name="T13" fmla="*/ 60 h 318"/>
                <a:gd name="T14" fmla="*/ 118 w 151"/>
                <a:gd name="T15" fmla="*/ 60 h 318"/>
                <a:gd name="T16" fmla="*/ 118 w 151"/>
                <a:gd name="T17" fmla="*/ 72 h 318"/>
                <a:gd name="T18" fmla="*/ 0 w 151"/>
                <a:gd name="T19" fmla="*/ 72 h 318"/>
                <a:gd name="T20" fmla="*/ 0 w 151"/>
                <a:gd name="T21" fmla="*/ 182 h 318"/>
                <a:gd name="T22" fmla="*/ 151 w 151"/>
                <a:gd name="T23" fmla="*/ 182 h 318"/>
                <a:gd name="T24" fmla="*/ 151 w 151"/>
                <a:gd name="T25" fmla="*/ 18 h 318"/>
                <a:gd name="T26" fmla="*/ 133 w 151"/>
                <a:gd name="T27" fmla="*/ 0 h 318"/>
                <a:gd name="T28" fmla="*/ 0 w 151"/>
                <a:gd name="T29" fmla="*/ 300 h 318"/>
                <a:gd name="T30" fmla="*/ 19 w 151"/>
                <a:gd name="T31" fmla="*/ 318 h 318"/>
                <a:gd name="T32" fmla="*/ 151 w 151"/>
                <a:gd name="T33" fmla="*/ 318 h 318"/>
                <a:gd name="T34" fmla="*/ 151 w 151"/>
                <a:gd name="T35" fmla="*/ 290 h 318"/>
                <a:gd name="T36" fmla="*/ 0 w 151"/>
                <a:gd name="T37" fmla="*/ 290 h 318"/>
                <a:gd name="T38" fmla="*/ 0 w 151"/>
                <a:gd name="T39" fmla="*/ 30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1" h="318">
                  <a:moveTo>
                    <a:pt x="133" y="0"/>
                  </a:moveTo>
                  <a:cubicBezTo>
                    <a:pt x="0" y="0"/>
                    <a:pt x="0" y="0"/>
                    <a:pt x="0" y="0"/>
                  </a:cubicBezTo>
                  <a:cubicBezTo>
                    <a:pt x="0" y="29"/>
                    <a:pt x="0" y="29"/>
                    <a:pt x="0" y="29"/>
                  </a:cubicBezTo>
                  <a:cubicBezTo>
                    <a:pt x="118" y="29"/>
                    <a:pt x="118" y="29"/>
                    <a:pt x="118" y="29"/>
                  </a:cubicBezTo>
                  <a:cubicBezTo>
                    <a:pt x="118" y="42"/>
                    <a:pt x="118" y="42"/>
                    <a:pt x="118" y="42"/>
                  </a:cubicBezTo>
                  <a:cubicBezTo>
                    <a:pt x="0" y="42"/>
                    <a:pt x="0" y="42"/>
                    <a:pt x="0" y="42"/>
                  </a:cubicBezTo>
                  <a:cubicBezTo>
                    <a:pt x="0" y="60"/>
                    <a:pt x="0" y="60"/>
                    <a:pt x="0" y="60"/>
                  </a:cubicBezTo>
                  <a:cubicBezTo>
                    <a:pt x="118" y="60"/>
                    <a:pt x="118" y="60"/>
                    <a:pt x="118" y="60"/>
                  </a:cubicBezTo>
                  <a:cubicBezTo>
                    <a:pt x="118" y="72"/>
                    <a:pt x="118" y="72"/>
                    <a:pt x="118" y="72"/>
                  </a:cubicBezTo>
                  <a:cubicBezTo>
                    <a:pt x="0" y="72"/>
                    <a:pt x="0" y="72"/>
                    <a:pt x="0" y="72"/>
                  </a:cubicBezTo>
                  <a:cubicBezTo>
                    <a:pt x="0" y="182"/>
                    <a:pt x="0" y="182"/>
                    <a:pt x="0" y="182"/>
                  </a:cubicBezTo>
                  <a:cubicBezTo>
                    <a:pt x="151" y="182"/>
                    <a:pt x="151" y="182"/>
                    <a:pt x="151" y="182"/>
                  </a:cubicBezTo>
                  <a:cubicBezTo>
                    <a:pt x="151" y="18"/>
                    <a:pt x="151" y="18"/>
                    <a:pt x="151" y="18"/>
                  </a:cubicBezTo>
                  <a:cubicBezTo>
                    <a:pt x="151" y="8"/>
                    <a:pt x="143" y="0"/>
                    <a:pt x="133" y="0"/>
                  </a:cubicBezTo>
                  <a:close/>
                  <a:moveTo>
                    <a:pt x="0" y="300"/>
                  </a:moveTo>
                  <a:cubicBezTo>
                    <a:pt x="0" y="310"/>
                    <a:pt x="9" y="318"/>
                    <a:pt x="19" y="318"/>
                  </a:cubicBezTo>
                  <a:cubicBezTo>
                    <a:pt x="151" y="318"/>
                    <a:pt x="151" y="318"/>
                    <a:pt x="151" y="318"/>
                  </a:cubicBezTo>
                  <a:cubicBezTo>
                    <a:pt x="151" y="290"/>
                    <a:pt x="151" y="290"/>
                    <a:pt x="151" y="290"/>
                  </a:cubicBezTo>
                  <a:cubicBezTo>
                    <a:pt x="0" y="290"/>
                    <a:pt x="0" y="290"/>
                    <a:pt x="0" y="290"/>
                  </a:cubicBezTo>
                  <a:lnTo>
                    <a:pt x="0" y="300"/>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69" name="Freeform 68"/>
            <p:cNvSpPr>
              <a:spLocks/>
            </p:cNvSpPr>
            <p:nvPr/>
          </p:nvSpPr>
          <p:spPr bwMode="auto">
            <a:xfrm>
              <a:off x="9039226" y="1885949"/>
              <a:ext cx="1484313" cy="284163"/>
            </a:xfrm>
            <a:custGeom>
              <a:avLst/>
              <a:gdLst>
                <a:gd name="T0" fmla="*/ 372 w 396"/>
                <a:gd name="T1" fmla="*/ 0 h 76"/>
                <a:gd name="T2" fmla="*/ 61 w 396"/>
                <a:gd name="T3" fmla="*/ 0 h 76"/>
                <a:gd name="T4" fmla="*/ 61 w 396"/>
                <a:gd name="T5" fmla="*/ 56 h 76"/>
                <a:gd name="T6" fmla="*/ 49 w 396"/>
                <a:gd name="T7" fmla="*/ 56 h 76"/>
                <a:gd name="T8" fmla="*/ 49 w 396"/>
                <a:gd name="T9" fmla="*/ 0 h 76"/>
                <a:gd name="T10" fmla="*/ 36 w 396"/>
                <a:gd name="T11" fmla="*/ 0 h 76"/>
                <a:gd name="T12" fmla="*/ 36 w 396"/>
                <a:gd name="T13" fmla="*/ 56 h 76"/>
                <a:gd name="T14" fmla="*/ 24 w 396"/>
                <a:gd name="T15" fmla="*/ 56 h 76"/>
                <a:gd name="T16" fmla="*/ 24 w 396"/>
                <a:gd name="T17" fmla="*/ 0 h 76"/>
                <a:gd name="T18" fmla="*/ 0 w 396"/>
                <a:gd name="T19" fmla="*/ 0 h 76"/>
                <a:gd name="T20" fmla="*/ 0 w 396"/>
                <a:gd name="T21" fmla="*/ 52 h 76"/>
                <a:gd name="T22" fmla="*/ 24 w 396"/>
                <a:gd name="T23" fmla="*/ 76 h 76"/>
                <a:gd name="T24" fmla="*/ 396 w 396"/>
                <a:gd name="T25" fmla="*/ 76 h 76"/>
                <a:gd name="T26" fmla="*/ 396 w 396"/>
                <a:gd name="T27" fmla="*/ 24 h 76"/>
                <a:gd name="T28" fmla="*/ 372 w 396"/>
                <a:gd name="T2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6" h="76">
                  <a:moveTo>
                    <a:pt x="372" y="0"/>
                  </a:moveTo>
                  <a:cubicBezTo>
                    <a:pt x="61" y="0"/>
                    <a:pt x="61" y="0"/>
                    <a:pt x="61" y="0"/>
                  </a:cubicBezTo>
                  <a:cubicBezTo>
                    <a:pt x="61" y="56"/>
                    <a:pt x="61" y="56"/>
                    <a:pt x="61" y="56"/>
                  </a:cubicBezTo>
                  <a:cubicBezTo>
                    <a:pt x="49" y="56"/>
                    <a:pt x="49" y="56"/>
                    <a:pt x="49" y="56"/>
                  </a:cubicBezTo>
                  <a:cubicBezTo>
                    <a:pt x="49" y="0"/>
                    <a:pt x="49" y="0"/>
                    <a:pt x="49" y="0"/>
                  </a:cubicBezTo>
                  <a:cubicBezTo>
                    <a:pt x="36" y="0"/>
                    <a:pt x="36" y="0"/>
                    <a:pt x="36" y="0"/>
                  </a:cubicBezTo>
                  <a:cubicBezTo>
                    <a:pt x="36" y="56"/>
                    <a:pt x="36" y="56"/>
                    <a:pt x="36" y="56"/>
                  </a:cubicBezTo>
                  <a:cubicBezTo>
                    <a:pt x="24" y="56"/>
                    <a:pt x="24" y="56"/>
                    <a:pt x="24" y="56"/>
                  </a:cubicBezTo>
                  <a:cubicBezTo>
                    <a:pt x="24" y="0"/>
                    <a:pt x="24" y="0"/>
                    <a:pt x="24" y="0"/>
                  </a:cubicBezTo>
                  <a:cubicBezTo>
                    <a:pt x="0" y="0"/>
                    <a:pt x="0" y="0"/>
                    <a:pt x="0" y="0"/>
                  </a:cubicBezTo>
                  <a:cubicBezTo>
                    <a:pt x="0" y="52"/>
                    <a:pt x="0" y="52"/>
                    <a:pt x="0" y="52"/>
                  </a:cubicBezTo>
                  <a:cubicBezTo>
                    <a:pt x="0" y="65"/>
                    <a:pt x="11" y="76"/>
                    <a:pt x="24" y="76"/>
                  </a:cubicBezTo>
                  <a:cubicBezTo>
                    <a:pt x="396" y="76"/>
                    <a:pt x="396" y="76"/>
                    <a:pt x="396" y="76"/>
                  </a:cubicBezTo>
                  <a:cubicBezTo>
                    <a:pt x="396" y="24"/>
                    <a:pt x="396" y="24"/>
                    <a:pt x="396" y="24"/>
                  </a:cubicBezTo>
                  <a:cubicBezTo>
                    <a:pt x="396" y="10"/>
                    <a:pt x="385" y="0"/>
                    <a:pt x="372" y="0"/>
                  </a:cubicBez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grpSp>
      <p:sp>
        <p:nvSpPr>
          <p:cNvPr id="70" name="Freeform 69"/>
          <p:cNvSpPr>
            <a:spLocks/>
          </p:cNvSpPr>
          <p:nvPr/>
        </p:nvSpPr>
        <p:spPr bwMode="auto">
          <a:xfrm>
            <a:off x="4684578" y="2283245"/>
            <a:ext cx="457151" cy="435133"/>
          </a:xfrm>
          <a:custGeom>
            <a:avLst/>
            <a:gdLst>
              <a:gd name="T0" fmla="*/ 300 w 324"/>
              <a:gd name="T1" fmla="*/ 0 h 308"/>
              <a:gd name="T2" fmla="*/ 68 w 324"/>
              <a:gd name="T3" fmla="*/ 0 h 308"/>
              <a:gd name="T4" fmla="*/ 68 w 324"/>
              <a:gd name="T5" fmla="*/ 56 h 308"/>
              <a:gd name="T6" fmla="*/ 68 w 324"/>
              <a:gd name="T7" fmla="*/ 76 h 308"/>
              <a:gd name="T8" fmla="*/ 68 w 324"/>
              <a:gd name="T9" fmla="*/ 207 h 308"/>
              <a:gd name="T10" fmla="*/ 52 w 324"/>
              <a:gd name="T11" fmla="*/ 204 h 308"/>
              <a:gd name="T12" fmla="*/ 0 w 324"/>
              <a:gd name="T13" fmla="*/ 256 h 308"/>
              <a:gd name="T14" fmla="*/ 52 w 324"/>
              <a:gd name="T15" fmla="*/ 308 h 308"/>
              <a:gd name="T16" fmla="*/ 104 w 324"/>
              <a:gd name="T17" fmla="*/ 256 h 308"/>
              <a:gd name="T18" fmla="*/ 104 w 324"/>
              <a:gd name="T19" fmla="*/ 100 h 308"/>
              <a:gd name="T20" fmla="*/ 288 w 324"/>
              <a:gd name="T21" fmla="*/ 100 h 308"/>
              <a:gd name="T22" fmla="*/ 288 w 324"/>
              <a:gd name="T23" fmla="*/ 207 h 308"/>
              <a:gd name="T24" fmla="*/ 272 w 324"/>
              <a:gd name="T25" fmla="*/ 204 h 308"/>
              <a:gd name="T26" fmla="*/ 220 w 324"/>
              <a:gd name="T27" fmla="*/ 256 h 308"/>
              <a:gd name="T28" fmla="*/ 272 w 324"/>
              <a:gd name="T29" fmla="*/ 308 h 308"/>
              <a:gd name="T30" fmla="*/ 324 w 324"/>
              <a:gd name="T31" fmla="*/ 256 h 308"/>
              <a:gd name="T32" fmla="*/ 324 w 324"/>
              <a:gd name="T33" fmla="*/ 100 h 308"/>
              <a:gd name="T34" fmla="*/ 324 w 324"/>
              <a:gd name="T35" fmla="*/ 56 h 308"/>
              <a:gd name="T36" fmla="*/ 324 w 324"/>
              <a:gd name="T37" fmla="*/ 24 h 308"/>
              <a:gd name="T38" fmla="*/ 300 w 324"/>
              <a:gd name="T39"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4" h="308">
                <a:moveTo>
                  <a:pt x="300" y="0"/>
                </a:moveTo>
                <a:cubicBezTo>
                  <a:pt x="68" y="0"/>
                  <a:pt x="68" y="0"/>
                  <a:pt x="68" y="0"/>
                </a:cubicBezTo>
                <a:cubicBezTo>
                  <a:pt x="68" y="56"/>
                  <a:pt x="68" y="56"/>
                  <a:pt x="68" y="56"/>
                </a:cubicBezTo>
                <a:cubicBezTo>
                  <a:pt x="68" y="76"/>
                  <a:pt x="68" y="76"/>
                  <a:pt x="68" y="76"/>
                </a:cubicBezTo>
                <a:cubicBezTo>
                  <a:pt x="68" y="207"/>
                  <a:pt x="68" y="207"/>
                  <a:pt x="68" y="207"/>
                </a:cubicBezTo>
                <a:cubicBezTo>
                  <a:pt x="63" y="205"/>
                  <a:pt x="57" y="204"/>
                  <a:pt x="52" y="204"/>
                </a:cubicBezTo>
                <a:cubicBezTo>
                  <a:pt x="23" y="204"/>
                  <a:pt x="0" y="227"/>
                  <a:pt x="0" y="256"/>
                </a:cubicBezTo>
                <a:cubicBezTo>
                  <a:pt x="0" y="285"/>
                  <a:pt x="23" y="308"/>
                  <a:pt x="52" y="308"/>
                </a:cubicBezTo>
                <a:cubicBezTo>
                  <a:pt x="81" y="308"/>
                  <a:pt x="104" y="285"/>
                  <a:pt x="104" y="256"/>
                </a:cubicBezTo>
                <a:cubicBezTo>
                  <a:pt x="104" y="100"/>
                  <a:pt x="104" y="100"/>
                  <a:pt x="104" y="100"/>
                </a:cubicBezTo>
                <a:cubicBezTo>
                  <a:pt x="288" y="100"/>
                  <a:pt x="288" y="100"/>
                  <a:pt x="288" y="100"/>
                </a:cubicBezTo>
                <a:cubicBezTo>
                  <a:pt x="288" y="207"/>
                  <a:pt x="288" y="207"/>
                  <a:pt x="288" y="207"/>
                </a:cubicBezTo>
                <a:cubicBezTo>
                  <a:pt x="283" y="205"/>
                  <a:pt x="277" y="204"/>
                  <a:pt x="272" y="204"/>
                </a:cubicBezTo>
                <a:cubicBezTo>
                  <a:pt x="243" y="204"/>
                  <a:pt x="220" y="227"/>
                  <a:pt x="220" y="256"/>
                </a:cubicBezTo>
                <a:cubicBezTo>
                  <a:pt x="220" y="285"/>
                  <a:pt x="243" y="308"/>
                  <a:pt x="272" y="308"/>
                </a:cubicBezTo>
                <a:cubicBezTo>
                  <a:pt x="301" y="308"/>
                  <a:pt x="324" y="285"/>
                  <a:pt x="324" y="256"/>
                </a:cubicBezTo>
                <a:cubicBezTo>
                  <a:pt x="324" y="100"/>
                  <a:pt x="324" y="100"/>
                  <a:pt x="324" y="100"/>
                </a:cubicBezTo>
                <a:cubicBezTo>
                  <a:pt x="324" y="56"/>
                  <a:pt x="324" y="56"/>
                  <a:pt x="324" y="56"/>
                </a:cubicBezTo>
                <a:cubicBezTo>
                  <a:pt x="324" y="24"/>
                  <a:pt x="324" y="24"/>
                  <a:pt x="324" y="24"/>
                </a:cubicBezTo>
                <a:cubicBezTo>
                  <a:pt x="324" y="11"/>
                  <a:pt x="313" y="0"/>
                  <a:pt x="300" y="0"/>
                </a:cubicBezTo>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9909" tIns="64954" rIns="129909" bIns="64954"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grpSp>
        <p:nvGrpSpPr>
          <p:cNvPr id="71" name="Group 70"/>
          <p:cNvGrpSpPr/>
          <p:nvPr/>
        </p:nvGrpSpPr>
        <p:grpSpPr>
          <a:xfrm>
            <a:off x="6000668" y="2767224"/>
            <a:ext cx="556696" cy="521650"/>
            <a:chOff x="2209800" y="21674"/>
            <a:chExt cx="1379538" cy="1290637"/>
          </a:xfrm>
        </p:grpSpPr>
        <p:sp>
          <p:nvSpPr>
            <p:cNvPr id="72" name="Freeform 71"/>
            <p:cNvSpPr>
              <a:spLocks/>
            </p:cNvSpPr>
            <p:nvPr/>
          </p:nvSpPr>
          <p:spPr bwMode="auto">
            <a:xfrm>
              <a:off x="2209800" y="21674"/>
              <a:ext cx="1379538" cy="1035050"/>
            </a:xfrm>
            <a:custGeom>
              <a:avLst/>
              <a:gdLst>
                <a:gd name="T0" fmla="*/ 347 w 368"/>
                <a:gd name="T1" fmla="*/ 88 h 276"/>
                <a:gd name="T2" fmla="*/ 117 w 368"/>
                <a:gd name="T3" fmla="*/ 88 h 276"/>
                <a:gd name="T4" fmla="*/ 97 w 368"/>
                <a:gd name="T5" fmla="*/ 14 h 276"/>
                <a:gd name="T6" fmla="*/ 80 w 368"/>
                <a:gd name="T7" fmla="*/ 0 h 276"/>
                <a:gd name="T8" fmla="*/ 10 w 368"/>
                <a:gd name="T9" fmla="*/ 0 h 276"/>
                <a:gd name="T10" fmla="*/ 1 w 368"/>
                <a:gd name="T11" fmla="*/ 12 h 276"/>
                <a:gd name="T12" fmla="*/ 4 w 368"/>
                <a:gd name="T13" fmla="*/ 25 h 276"/>
                <a:gd name="T14" fmla="*/ 18 w 368"/>
                <a:gd name="T15" fmla="*/ 36 h 276"/>
                <a:gd name="T16" fmla="*/ 66 w 368"/>
                <a:gd name="T17" fmla="*/ 36 h 276"/>
                <a:gd name="T18" fmla="*/ 124 w 368"/>
                <a:gd name="T19" fmla="*/ 263 h 276"/>
                <a:gd name="T20" fmla="*/ 142 w 368"/>
                <a:gd name="T21" fmla="*/ 276 h 276"/>
                <a:gd name="T22" fmla="*/ 314 w 368"/>
                <a:gd name="T23" fmla="*/ 276 h 276"/>
                <a:gd name="T24" fmla="*/ 326 w 368"/>
                <a:gd name="T25" fmla="*/ 264 h 276"/>
                <a:gd name="T26" fmla="*/ 326 w 368"/>
                <a:gd name="T27" fmla="*/ 252 h 276"/>
                <a:gd name="T28" fmla="*/ 314 w 368"/>
                <a:gd name="T29" fmla="*/ 240 h 276"/>
                <a:gd name="T30" fmla="*/ 156 w 368"/>
                <a:gd name="T31" fmla="*/ 240 h 276"/>
                <a:gd name="T32" fmla="*/ 152 w 368"/>
                <a:gd name="T33" fmla="*/ 224 h 276"/>
                <a:gd name="T34" fmla="*/ 330 w 368"/>
                <a:gd name="T35" fmla="*/ 224 h 276"/>
                <a:gd name="T36" fmla="*/ 364 w 368"/>
                <a:gd name="T37" fmla="*/ 111 h 276"/>
                <a:gd name="T38" fmla="*/ 347 w 368"/>
                <a:gd name="T39" fmla="*/ 88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8" h="276">
                  <a:moveTo>
                    <a:pt x="347" y="88"/>
                  </a:moveTo>
                  <a:cubicBezTo>
                    <a:pt x="117" y="88"/>
                    <a:pt x="117" y="88"/>
                    <a:pt x="117" y="88"/>
                  </a:cubicBezTo>
                  <a:cubicBezTo>
                    <a:pt x="97" y="14"/>
                    <a:pt x="97" y="14"/>
                    <a:pt x="97" y="14"/>
                  </a:cubicBezTo>
                  <a:cubicBezTo>
                    <a:pt x="95" y="6"/>
                    <a:pt x="88" y="0"/>
                    <a:pt x="80" y="0"/>
                  </a:cubicBezTo>
                  <a:cubicBezTo>
                    <a:pt x="10" y="0"/>
                    <a:pt x="10" y="0"/>
                    <a:pt x="10" y="0"/>
                  </a:cubicBezTo>
                  <a:cubicBezTo>
                    <a:pt x="4" y="0"/>
                    <a:pt x="0" y="6"/>
                    <a:pt x="1" y="12"/>
                  </a:cubicBezTo>
                  <a:cubicBezTo>
                    <a:pt x="4" y="25"/>
                    <a:pt x="4" y="25"/>
                    <a:pt x="4" y="25"/>
                  </a:cubicBezTo>
                  <a:cubicBezTo>
                    <a:pt x="5" y="31"/>
                    <a:pt x="12" y="36"/>
                    <a:pt x="18" y="36"/>
                  </a:cubicBezTo>
                  <a:cubicBezTo>
                    <a:pt x="66" y="36"/>
                    <a:pt x="66" y="36"/>
                    <a:pt x="66" y="36"/>
                  </a:cubicBezTo>
                  <a:cubicBezTo>
                    <a:pt x="124" y="263"/>
                    <a:pt x="124" y="263"/>
                    <a:pt x="124" y="263"/>
                  </a:cubicBezTo>
                  <a:cubicBezTo>
                    <a:pt x="126" y="271"/>
                    <a:pt x="134" y="276"/>
                    <a:pt x="142" y="276"/>
                  </a:cubicBezTo>
                  <a:cubicBezTo>
                    <a:pt x="314" y="276"/>
                    <a:pt x="314" y="276"/>
                    <a:pt x="314" y="276"/>
                  </a:cubicBezTo>
                  <a:cubicBezTo>
                    <a:pt x="321" y="276"/>
                    <a:pt x="326" y="271"/>
                    <a:pt x="326" y="264"/>
                  </a:cubicBezTo>
                  <a:cubicBezTo>
                    <a:pt x="326" y="252"/>
                    <a:pt x="326" y="252"/>
                    <a:pt x="326" y="252"/>
                  </a:cubicBezTo>
                  <a:cubicBezTo>
                    <a:pt x="326" y="246"/>
                    <a:pt x="321" y="240"/>
                    <a:pt x="314" y="240"/>
                  </a:cubicBezTo>
                  <a:cubicBezTo>
                    <a:pt x="156" y="240"/>
                    <a:pt x="156" y="240"/>
                    <a:pt x="156" y="240"/>
                  </a:cubicBezTo>
                  <a:cubicBezTo>
                    <a:pt x="152" y="224"/>
                    <a:pt x="152" y="224"/>
                    <a:pt x="152" y="224"/>
                  </a:cubicBezTo>
                  <a:cubicBezTo>
                    <a:pt x="330" y="224"/>
                    <a:pt x="330" y="224"/>
                    <a:pt x="330" y="224"/>
                  </a:cubicBezTo>
                  <a:cubicBezTo>
                    <a:pt x="364" y="111"/>
                    <a:pt x="364" y="111"/>
                    <a:pt x="364" y="111"/>
                  </a:cubicBezTo>
                  <a:cubicBezTo>
                    <a:pt x="368" y="99"/>
                    <a:pt x="360" y="88"/>
                    <a:pt x="347" y="88"/>
                  </a:cubicBez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73" name="Oval 72"/>
            <p:cNvSpPr>
              <a:spLocks noChangeArrowheads="1"/>
            </p:cNvSpPr>
            <p:nvPr/>
          </p:nvSpPr>
          <p:spPr bwMode="auto">
            <a:xfrm>
              <a:off x="2606675" y="1102761"/>
              <a:ext cx="211138" cy="209550"/>
            </a:xfrm>
            <a:prstGeom prst="ellipse">
              <a:avLst/>
            </a:pr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74" name="Oval 73"/>
            <p:cNvSpPr>
              <a:spLocks noChangeArrowheads="1"/>
            </p:cNvSpPr>
            <p:nvPr/>
          </p:nvSpPr>
          <p:spPr bwMode="auto">
            <a:xfrm>
              <a:off x="3282950" y="1102761"/>
              <a:ext cx="209550" cy="209550"/>
            </a:xfrm>
            <a:prstGeom prst="ellipse">
              <a:avLst/>
            </a:pr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grpSp>
      <p:grpSp>
        <p:nvGrpSpPr>
          <p:cNvPr id="75" name="Group 74"/>
          <p:cNvGrpSpPr/>
          <p:nvPr/>
        </p:nvGrpSpPr>
        <p:grpSpPr>
          <a:xfrm>
            <a:off x="9725410" y="5316348"/>
            <a:ext cx="1341127" cy="1026468"/>
            <a:chOff x="6791325" y="0"/>
            <a:chExt cx="1373188" cy="1049338"/>
          </a:xfrm>
        </p:grpSpPr>
        <p:sp>
          <p:nvSpPr>
            <p:cNvPr id="76" name="Freeform 75"/>
            <p:cNvSpPr>
              <a:spLocks/>
            </p:cNvSpPr>
            <p:nvPr/>
          </p:nvSpPr>
          <p:spPr bwMode="auto">
            <a:xfrm>
              <a:off x="6791325" y="0"/>
              <a:ext cx="1350963" cy="1049338"/>
            </a:xfrm>
            <a:custGeom>
              <a:avLst/>
              <a:gdLst>
                <a:gd name="T0" fmla="*/ 216 w 360"/>
                <a:gd name="T1" fmla="*/ 240 h 280"/>
                <a:gd name="T2" fmla="*/ 314 w 360"/>
                <a:gd name="T3" fmla="*/ 240 h 280"/>
                <a:gd name="T4" fmla="*/ 290 w 360"/>
                <a:gd name="T5" fmla="*/ 216 h 280"/>
                <a:gd name="T6" fmla="*/ 24 w 360"/>
                <a:gd name="T7" fmla="*/ 216 h 280"/>
                <a:gd name="T8" fmla="*/ 24 w 360"/>
                <a:gd name="T9" fmla="*/ 24 h 280"/>
                <a:gd name="T10" fmla="*/ 336 w 360"/>
                <a:gd name="T11" fmla="*/ 24 h 280"/>
                <a:gd name="T12" fmla="*/ 336 w 360"/>
                <a:gd name="T13" fmla="*/ 171 h 280"/>
                <a:gd name="T14" fmla="*/ 359 w 360"/>
                <a:gd name="T15" fmla="*/ 193 h 280"/>
                <a:gd name="T16" fmla="*/ 359 w 360"/>
                <a:gd name="T17" fmla="*/ 193 h 280"/>
                <a:gd name="T18" fmla="*/ 360 w 360"/>
                <a:gd name="T19" fmla="*/ 195 h 280"/>
                <a:gd name="T20" fmla="*/ 360 w 360"/>
                <a:gd name="T21" fmla="*/ 24 h 280"/>
                <a:gd name="T22" fmla="*/ 336 w 360"/>
                <a:gd name="T23" fmla="*/ 0 h 280"/>
                <a:gd name="T24" fmla="*/ 0 w 360"/>
                <a:gd name="T25" fmla="*/ 0 h 280"/>
                <a:gd name="T26" fmla="*/ 0 w 360"/>
                <a:gd name="T27" fmla="*/ 216 h 280"/>
                <a:gd name="T28" fmla="*/ 24 w 360"/>
                <a:gd name="T29" fmla="*/ 240 h 280"/>
                <a:gd name="T30" fmla="*/ 144 w 360"/>
                <a:gd name="T31" fmla="*/ 240 h 280"/>
                <a:gd name="T32" fmla="*/ 144 w 360"/>
                <a:gd name="T33" fmla="*/ 264 h 280"/>
                <a:gd name="T34" fmla="*/ 100 w 360"/>
                <a:gd name="T35" fmla="*/ 264 h 280"/>
                <a:gd name="T36" fmla="*/ 100 w 360"/>
                <a:gd name="T37" fmla="*/ 280 h 280"/>
                <a:gd name="T38" fmla="*/ 260 w 360"/>
                <a:gd name="T39" fmla="*/ 280 h 280"/>
                <a:gd name="T40" fmla="*/ 260 w 360"/>
                <a:gd name="T41" fmla="*/ 264 h 280"/>
                <a:gd name="T42" fmla="*/ 216 w 360"/>
                <a:gd name="T43" fmla="*/ 264 h 280"/>
                <a:gd name="T44" fmla="*/ 216 w 360"/>
                <a:gd name="T45" fmla="*/ 24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0" h="280">
                  <a:moveTo>
                    <a:pt x="216" y="240"/>
                  </a:moveTo>
                  <a:cubicBezTo>
                    <a:pt x="314" y="240"/>
                    <a:pt x="314" y="240"/>
                    <a:pt x="314" y="240"/>
                  </a:cubicBezTo>
                  <a:cubicBezTo>
                    <a:pt x="290" y="216"/>
                    <a:pt x="290" y="216"/>
                    <a:pt x="290" y="216"/>
                  </a:cubicBezTo>
                  <a:cubicBezTo>
                    <a:pt x="24" y="216"/>
                    <a:pt x="24" y="216"/>
                    <a:pt x="24" y="216"/>
                  </a:cubicBezTo>
                  <a:cubicBezTo>
                    <a:pt x="24" y="24"/>
                    <a:pt x="24" y="24"/>
                    <a:pt x="24" y="24"/>
                  </a:cubicBezTo>
                  <a:cubicBezTo>
                    <a:pt x="336" y="24"/>
                    <a:pt x="336" y="24"/>
                    <a:pt x="336" y="24"/>
                  </a:cubicBezTo>
                  <a:cubicBezTo>
                    <a:pt x="336" y="171"/>
                    <a:pt x="336" y="171"/>
                    <a:pt x="336" y="171"/>
                  </a:cubicBezTo>
                  <a:cubicBezTo>
                    <a:pt x="359" y="193"/>
                    <a:pt x="359" y="193"/>
                    <a:pt x="359" y="193"/>
                  </a:cubicBezTo>
                  <a:cubicBezTo>
                    <a:pt x="359" y="193"/>
                    <a:pt x="359" y="193"/>
                    <a:pt x="359" y="193"/>
                  </a:cubicBezTo>
                  <a:cubicBezTo>
                    <a:pt x="360" y="195"/>
                    <a:pt x="360" y="195"/>
                    <a:pt x="360" y="195"/>
                  </a:cubicBezTo>
                  <a:cubicBezTo>
                    <a:pt x="360" y="24"/>
                    <a:pt x="360" y="24"/>
                    <a:pt x="360" y="24"/>
                  </a:cubicBezTo>
                  <a:cubicBezTo>
                    <a:pt x="360" y="11"/>
                    <a:pt x="349" y="0"/>
                    <a:pt x="336" y="0"/>
                  </a:cubicBezTo>
                  <a:cubicBezTo>
                    <a:pt x="0" y="0"/>
                    <a:pt x="0" y="0"/>
                    <a:pt x="0" y="0"/>
                  </a:cubicBezTo>
                  <a:cubicBezTo>
                    <a:pt x="0" y="216"/>
                    <a:pt x="0" y="216"/>
                    <a:pt x="0" y="216"/>
                  </a:cubicBezTo>
                  <a:cubicBezTo>
                    <a:pt x="0" y="229"/>
                    <a:pt x="10" y="240"/>
                    <a:pt x="24" y="240"/>
                  </a:cubicBezTo>
                  <a:cubicBezTo>
                    <a:pt x="144" y="240"/>
                    <a:pt x="144" y="240"/>
                    <a:pt x="144" y="240"/>
                  </a:cubicBezTo>
                  <a:cubicBezTo>
                    <a:pt x="144" y="264"/>
                    <a:pt x="144" y="264"/>
                    <a:pt x="144" y="264"/>
                  </a:cubicBezTo>
                  <a:cubicBezTo>
                    <a:pt x="100" y="264"/>
                    <a:pt x="100" y="264"/>
                    <a:pt x="100" y="264"/>
                  </a:cubicBezTo>
                  <a:cubicBezTo>
                    <a:pt x="100" y="280"/>
                    <a:pt x="100" y="280"/>
                    <a:pt x="100" y="280"/>
                  </a:cubicBezTo>
                  <a:cubicBezTo>
                    <a:pt x="260" y="280"/>
                    <a:pt x="260" y="280"/>
                    <a:pt x="260" y="280"/>
                  </a:cubicBezTo>
                  <a:cubicBezTo>
                    <a:pt x="260" y="264"/>
                    <a:pt x="260" y="264"/>
                    <a:pt x="260" y="264"/>
                  </a:cubicBezTo>
                  <a:cubicBezTo>
                    <a:pt x="216" y="264"/>
                    <a:pt x="216" y="264"/>
                    <a:pt x="216" y="264"/>
                  </a:cubicBezTo>
                  <a:lnTo>
                    <a:pt x="216" y="240"/>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77" name="Freeform 76"/>
            <p:cNvSpPr>
              <a:spLocks noEditPoints="1"/>
            </p:cNvSpPr>
            <p:nvPr/>
          </p:nvSpPr>
          <p:spPr bwMode="auto">
            <a:xfrm>
              <a:off x="7504113" y="258763"/>
              <a:ext cx="660400" cy="644525"/>
            </a:xfrm>
            <a:custGeom>
              <a:avLst/>
              <a:gdLst>
                <a:gd name="T0" fmla="*/ 65 w 176"/>
                <a:gd name="T1" fmla="*/ 108 h 172"/>
                <a:gd name="T2" fmla="*/ 22 w 176"/>
                <a:gd name="T3" fmla="*/ 65 h 172"/>
                <a:gd name="T4" fmla="*/ 65 w 176"/>
                <a:gd name="T5" fmla="*/ 22 h 172"/>
                <a:gd name="T6" fmla="*/ 109 w 176"/>
                <a:gd name="T7" fmla="*/ 65 h 172"/>
                <a:gd name="T8" fmla="*/ 105 w 176"/>
                <a:gd name="T9" fmla="*/ 82 h 172"/>
                <a:gd name="T10" fmla="*/ 82 w 176"/>
                <a:gd name="T11" fmla="*/ 105 h 172"/>
                <a:gd name="T12" fmla="*/ 65 w 176"/>
                <a:gd name="T13" fmla="*/ 108 h 172"/>
                <a:gd name="T14" fmla="*/ 65 w 176"/>
                <a:gd name="T15" fmla="*/ 0 h 172"/>
                <a:gd name="T16" fmla="*/ 0 w 176"/>
                <a:gd name="T17" fmla="*/ 65 h 172"/>
                <a:gd name="T18" fmla="*/ 65 w 176"/>
                <a:gd name="T19" fmla="*/ 130 h 172"/>
                <a:gd name="T20" fmla="*/ 98 w 176"/>
                <a:gd name="T21" fmla="*/ 121 h 172"/>
                <a:gd name="T22" fmla="*/ 145 w 176"/>
                <a:gd name="T23" fmla="*/ 167 h 172"/>
                <a:gd name="T24" fmla="*/ 162 w 176"/>
                <a:gd name="T25" fmla="*/ 167 h 172"/>
                <a:gd name="T26" fmla="*/ 176 w 176"/>
                <a:gd name="T27" fmla="*/ 153 h 172"/>
                <a:gd name="T28" fmla="*/ 164 w 176"/>
                <a:gd name="T29" fmla="*/ 140 h 172"/>
                <a:gd name="T30" fmla="*/ 164 w 176"/>
                <a:gd name="T31" fmla="*/ 140 h 172"/>
                <a:gd name="T32" fmla="*/ 121 w 176"/>
                <a:gd name="T33" fmla="*/ 98 h 172"/>
                <a:gd name="T34" fmla="*/ 130 w 176"/>
                <a:gd name="T35" fmla="*/ 65 h 172"/>
                <a:gd name="T36" fmla="*/ 65 w 176"/>
                <a:gd name="T37"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6" h="172">
                  <a:moveTo>
                    <a:pt x="65" y="108"/>
                  </a:moveTo>
                  <a:cubicBezTo>
                    <a:pt x="42" y="108"/>
                    <a:pt x="22" y="89"/>
                    <a:pt x="22" y="65"/>
                  </a:cubicBezTo>
                  <a:cubicBezTo>
                    <a:pt x="22" y="41"/>
                    <a:pt x="42" y="22"/>
                    <a:pt x="65" y="22"/>
                  </a:cubicBezTo>
                  <a:cubicBezTo>
                    <a:pt x="89" y="22"/>
                    <a:pt x="109" y="41"/>
                    <a:pt x="109" y="65"/>
                  </a:cubicBezTo>
                  <a:cubicBezTo>
                    <a:pt x="109" y="71"/>
                    <a:pt x="107" y="77"/>
                    <a:pt x="105" y="82"/>
                  </a:cubicBezTo>
                  <a:cubicBezTo>
                    <a:pt x="101" y="92"/>
                    <a:pt x="92" y="100"/>
                    <a:pt x="82" y="105"/>
                  </a:cubicBezTo>
                  <a:cubicBezTo>
                    <a:pt x="77" y="107"/>
                    <a:pt x="71" y="108"/>
                    <a:pt x="65" y="108"/>
                  </a:cubicBezTo>
                  <a:moveTo>
                    <a:pt x="65" y="0"/>
                  </a:moveTo>
                  <a:cubicBezTo>
                    <a:pt x="30" y="0"/>
                    <a:pt x="0" y="29"/>
                    <a:pt x="0" y="65"/>
                  </a:cubicBezTo>
                  <a:cubicBezTo>
                    <a:pt x="0" y="101"/>
                    <a:pt x="30" y="130"/>
                    <a:pt x="65" y="130"/>
                  </a:cubicBezTo>
                  <a:cubicBezTo>
                    <a:pt x="77" y="130"/>
                    <a:pt x="89" y="127"/>
                    <a:pt x="98" y="121"/>
                  </a:cubicBezTo>
                  <a:cubicBezTo>
                    <a:pt x="145" y="167"/>
                    <a:pt x="145" y="167"/>
                    <a:pt x="145" y="167"/>
                  </a:cubicBezTo>
                  <a:cubicBezTo>
                    <a:pt x="149" y="172"/>
                    <a:pt x="157" y="172"/>
                    <a:pt x="162" y="167"/>
                  </a:cubicBezTo>
                  <a:cubicBezTo>
                    <a:pt x="176" y="153"/>
                    <a:pt x="176" y="153"/>
                    <a:pt x="176" y="153"/>
                  </a:cubicBezTo>
                  <a:cubicBezTo>
                    <a:pt x="164" y="140"/>
                    <a:pt x="164" y="140"/>
                    <a:pt x="164" y="140"/>
                  </a:cubicBezTo>
                  <a:cubicBezTo>
                    <a:pt x="164" y="140"/>
                    <a:pt x="164" y="140"/>
                    <a:pt x="164" y="140"/>
                  </a:cubicBezTo>
                  <a:cubicBezTo>
                    <a:pt x="121" y="98"/>
                    <a:pt x="121" y="98"/>
                    <a:pt x="121" y="98"/>
                  </a:cubicBezTo>
                  <a:cubicBezTo>
                    <a:pt x="127" y="88"/>
                    <a:pt x="130" y="77"/>
                    <a:pt x="130" y="65"/>
                  </a:cubicBezTo>
                  <a:cubicBezTo>
                    <a:pt x="130" y="29"/>
                    <a:pt x="101" y="0"/>
                    <a:pt x="65" y="0"/>
                  </a:cubicBezTo>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78" name="Freeform 77"/>
            <p:cNvSpPr>
              <a:spLocks noEditPoints="1"/>
            </p:cNvSpPr>
            <p:nvPr/>
          </p:nvSpPr>
          <p:spPr bwMode="auto">
            <a:xfrm>
              <a:off x="7504113" y="258763"/>
              <a:ext cx="660400" cy="644525"/>
            </a:xfrm>
            <a:custGeom>
              <a:avLst/>
              <a:gdLst>
                <a:gd name="T0" fmla="*/ 65 w 176"/>
                <a:gd name="T1" fmla="*/ 108 h 172"/>
                <a:gd name="T2" fmla="*/ 22 w 176"/>
                <a:gd name="T3" fmla="*/ 65 h 172"/>
                <a:gd name="T4" fmla="*/ 65 w 176"/>
                <a:gd name="T5" fmla="*/ 22 h 172"/>
                <a:gd name="T6" fmla="*/ 109 w 176"/>
                <a:gd name="T7" fmla="*/ 65 h 172"/>
                <a:gd name="T8" fmla="*/ 105 w 176"/>
                <a:gd name="T9" fmla="*/ 82 h 172"/>
                <a:gd name="T10" fmla="*/ 82 w 176"/>
                <a:gd name="T11" fmla="*/ 105 h 172"/>
                <a:gd name="T12" fmla="*/ 65 w 176"/>
                <a:gd name="T13" fmla="*/ 108 h 172"/>
                <a:gd name="T14" fmla="*/ 65 w 176"/>
                <a:gd name="T15" fmla="*/ 0 h 172"/>
                <a:gd name="T16" fmla="*/ 0 w 176"/>
                <a:gd name="T17" fmla="*/ 65 h 172"/>
                <a:gd name="T18" fmla="*/ 65 w 176"/>
                <a:gd name="T19" fmla="*/ 130 h 172"/>
                <a:gd name="T20" fmla="*/ 98 w 176"/>
                <a:gd name="T21" fmla="*/ 121 h 172"/>
                <a:gd name="T22" fmla="*/ 145 w 176"/>
                <a:gd name="T23" fmla="*/ 167 h 172"/>
                <a:gd name="T24" fmla="*/ 162 w 176"/>
                <a:gd name="T25" fmla="*/ 167 h 172"/>
                <a:gd name="T26" fmla="*/ 176 w 176"/>
                <a:gd name="T27" fmla="*/ 153 h 172"/>
                <a:gd name="T28" fmla="*/ 164 w 176"/>
                <a:gd name="T29" fmla="*/ 140 h 172"/>
                <a:gd name="T30" fmla="*/ 164 w 176"/>
                <a:gd name="T31" fmla="*/ 140 h 172"/>
                <a:gd name="T32" fmla="*/ 121 w 176"/>
                <a:gd name="T33" fmla="*/ 98 h 172"/>
                <a:gd name="T34" fmla="*/ 130 w 176"/>
                <a:gd name="T35" fmla="*/ 65 h 172"/>
                <a:gd name="T36" fmla="*/ 65 w 176"/>
                <a:gd name="T37"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6" h="172">
                  <a:moveTo>
                    <a:pt x="65" y="108"/>
                  </a:moveTo>
                  <a:cubicBezTo>
                    <a:pt x="42" y="108"/>
                    <a:pt x="22" y="89"/>
                    <a:pt x="22" y="65"/>
                  </a:cubicBezTo>
                  <a:cubicBezTo>
                    <a:pt x="22" y="41"/>
                    <a:pt x="42" y="22"/>
                    <a:pt x="65" y="22"/>
                  </a:cubicBezTo>
                  <a:cubicBezTo>
                    <a:pt x="89" y="22"/>
                    <a:pt x="109" y="41"/>
                    <a:pt x="109" y="65"/>
                  </a:cubicBezTo>
                  <a:cubicBezTo>
                    <a:pt x="109" y="71"/>
                    <a:pt x="107" y="77"/>
                    <a:pt x="105" y="82"/>
                  </a:cubicBezTo>
                  <a:cubicBezTo>
                    <a:pt x="101" y="92"/>
                    <a:pt x="92" y="100"/>
                    <a:pt x="82" y="105"/>
                  </a:cubicBezTo>
                  <a:cubicBezTo>
                    <a:pt x="77" y="107"/>
                    <a:pt x="71" y="108"/>
                    <a:pt x="65" y="108"/>
                  </a:cubicBezTo>
                  <a:moveTo>
                    <a:pt x="65" y="0"/>
                  </a:moveTo>
                  <a:cubicBezTo>
                    <a:pt x="30" y="0"/>
                    <a:pt x="0" y="29"/>
                    <a:pt x="0" y="65"/>
                  </a:cubicBezTo>
                  <a:cubicBezTo>
                    <a:pt x="0" y="101"/>
                    <a:pt x="30" y="130"/>
                    <a:pt x="65" y="130"/>
                  </a:cubicBezTo>
                  <a:cubicBezTo>
                    <a:pt x="77" y="130"/>
                    <a:pt x="89" y="127"/>
                    <a:pt x="98" y="121"/>
                  </a:cubicBezTo>
                  <a:cubicBezTo>
                    <a:pt x="145" y="167"/>
                    <a:pt x="145" y="167"/>
                    <a:pt x="145" y="167"/>
                  </a:cubicBezTo>
                  <a:cubicBezTo>
                    <a:pt x="149" y="172"/>
                    <a:pt x="157" y="172"/>
                    <a:pt x="162" y="167"/>
                  </a:cubicBezTo>
                  <a:cubicBezTo>
                    <a:pt x="176" y="153"/>
                    <a:pt x="176" y="153"/>
                    <a:pt x="176" y="153"/>
                  </a:cubicBezTo>
                  <a:cubicBezTo>
                    <a:pt x="164" y="140"/>
                    <a:pt x="164" y="140"/>
                    <a:pt x="164" y="140"/>
                  </a:cubicBezTo>
                  <a:cubicBezTo>
                    <a:pt x="164" y="140"/>
                    <a:pt x="164" y="140"/>
                    <a:pt x="164" y="140"/>
                  </a:cubicBezTo>
                  <a:cubicBezTo>
                    <a:pt x="121" y="98"/>
                    <a:pt x="121" y="98"/>
                    <a:pt x="121" y="98"/>
                  </a:cubicBezTo>
                  <a:cubicBezTo>
                    <a:pt x="127" y="88"/>
                    <a:pt x="130" y="77"/>
                    <a:pt x="130" y="65"/>
                  </a:cubicBezTo>
                  <a:cubicBezTo>
                    <a:pt x="130" y="29"/>
                    <a:pt x="101" y="0"/>
                    <a:pt x="65" y="0"/>
                  </a:cubicBezTo>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grpSp>
      <p:cxnSp>
        <p:nvCxnSpPr>
          <p:cNvPr id="79" name="Straight Connector 78"/>
          <p:cNvCxnSpPr/>
          <p:nvPr/>
        </p:nvCxnSpPr>
        <p:spPr>
          <a:xfrm>
            <a:off x="1949583" y="3874711"/>
            <a:ext cx="675176" cy="0"/>
          </a:xfrm>
          <a:prstGeom prst="line">
            <a:avLst/>
          </a:prstGeom>
          <a:ln w="57150" cmpd="sng">
            <a:solidFill>
              <a:schemeClr val="tx1"/>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grpSp>
        <p:nvGrpSpPr>
          <p:cNvPr id="80" name="Group 79"/>
          <p:cNvGrpSpPr/>
          <p:nvPr/>
        </p:nvGrpSpPr>
        <p:grpSpPr>
          <a:xfrm>
            <a:off x="5750181" y="3525512"/>
            <a:ext cx="500972" cy="257266"/>
            <a:chOff x="0" y="0"/>
            <a:chExt cx="1185863" cy="608013"/>
          </a:xfrm>
        </p:grpSpPr>
        <p:sp>
          <p:nvSpPr>
            <p:cNvPr id="81" name="Freeform 80"/>
            <p:cNvSpPr>
              <a:spLocks/>
            </p:cNvSpPr>
            <p:nvPr/>
          </p:nvSpPr>
          <p:spPr bwMode="auto">
            <a:xfrm>
              <a:off x="0" y="0"/>
              <a:ext cx="811213" cy="608013"/>
            </a:xfrm>
            <a:custGeom>
              <a:avLst/>
              <a:gdLst>
                <a:gd name="T0" fmla="*/ 192 w 216"/>
                <a:gd name="T1" fmla="*/ 0 h 162"/>
                <a:gd name="T2" fmla="*/ 0 w 216"/>
                <a:gd name="T3" fmla="*/ 0 h 162"/>
                <a:gd name="T4" fmla="*/ 0 w 216"/>
                <a:gd name="T5" fmla="*/ 142 h 162"/>
                <a:gd name="T6" fmla="*/ 24 w 216"/>
                <a:gd name="T7" fmla="*/ 162 h 162"/>
                <a:gd name="T8" fmla="*/ 216 w 216"/>
                <a:gd name="T9" fmla="*/ 162 h 162"/>
                <a:gd name="T10" fmla="*/ 216 w 216"/>
                <a:gd name="T11" fmla="*/ 20 h 162"/>
                <a:gd name="T12" fmla="*/ 192 w 216"/>
                <a:gd name="T13" fmla="*/ 0 h 162"/>
              </a:gdLst>
              <a:ahLst/>
              <a:cxnLst>
                <a:cxn ang="0">
                  <a:pos x="T0" y="T1"/>
                </a:cxn>
                <a:cxn ang="0">
                  <a:pos x="T2" y="T3"/>
                </a:cxn>
                <a:cxn ang="0">
                  <a:pos x="T4" y="T5"/>
                </a:cxn>
                <a:cxn ang="0">
                  <a:pos x="T6" y="T7"/>
                </a:cxn>
                <a:cxn ang="0">
                  <a:pos x="T8" y="T9"/>
                </a:cxn>
                <a:cxn ang="0">
                  <a:pos x="T10" y="T11"/>
                </a:cxn>
                <a:cxn ang="0">
                  <a:pos x="T12" y="T13"/>
                </a:cxn>
              </a:cxnLst>
              <a:rect l="0" t="0" r="r" b="b"/>
              <a:pathLst>
                <a:path w="216" h="162">
                  <a:moveTo>
                    <a:pt x="192" y="0"/>
                  </a:moveTo>
                  <a:cubicBezTo>
                    <a:pt x="0" y="0"/>
                    <a:pt x="0" y="0"/>
                    <a:pt x="0" y="0"/>
                  </a:cubicBezTo>
                  <a:cubicBezTo>
                    <a:pt x="0" y="142"/>
                    <a:pt x="0" y="142"/>
                    <a:pt x="0" y="142"/>
                  </a:cubicBezTo>
                  <a:cubicBezTo>
                    <a:pt x="0" y="153"/>
                    <a:pt x="10" y="162"/>
                    <a:pt x="24" y="162"/>
                  </a:cubicBezTo>
                  <a:cubicBezTo>
                    <a:pt x="216" y="162"/>
                    <a:pt x="216" y="162"/>
                    <a:pt x="216" y="162"/>
                  </a:cubicBezTo>
                  <a:cubicBezTo>
                    <a:pt x="216" y="20"/>
                    <a:pt x="216" y="20"/>
                    <a:pt x="216" y="20"/>
                  </a:cubicBezTo>
                  <a:cubicBezTo>
                    <a:pt x="216" y="9"/>
                    <a:pt x="205" y="0"/>
                    <a:pt x="192" y="0"/>
                  </a:cubicBez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82" name="Freeform 81"/>
            <p:cNvSpPr>
              <a:spLocks/>
            </p:cNvSpPr>
            <p:nvPr/>
          </p:nvSpPr>
          <p:spPr bwMode="auto">
            <a:xfrm>
              <a:off x="919163" y="60325"/>
              <a:ext cx="266700" cy="487363"/>
            </a:xfrm>
            <a:custGeom>
              <a:avLst/>
              <a:gdLst>
                <a:gd name="T0" fmla="*/ 53 w 71"/>
                <a:gd name="T1" fmla="*/ 6 h 130"/>
                <a:gd name="T2" fmla="*/ 0 w 71"/>
                <a:gd name="T3" fmla="*/ 35 h 130"/>
                <a:gd name="T4" fmla="*/ 0 w 71"/>
                <a:gd name="T5" fmla="*/ 95 h 130"/>
                <a:gd name="T6" fmla="*/ 53 w 71"/>
                <a:gd name="T7" fmla="*/ 124 h 130"/>
                <a:gd name="T8" fmla="*/ 71 w 71"/>
                <a:gd name="T9" fmla="*/ 111 h 130"/>
                <a:gd name="T10" fmla="*/ 71 w 71"/>
                <a:gd name="T11" fmla="*/ 93 h 130"/>
                <a:gd name="T12" fmla="*/ 71 w 71"/>
                <a:gd name="T13" fmla="*/ 37 h 130"/>
                <a:gd name="T14" fmla="*/ 71 w 71"/>
                <a:gd name="T15" fmla="*/ 19 h 130"/>
                <a:gd name="T16" fmla="*/ 53 w 71"/>
                <a:gd name="T17" fmla="*/ 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130">
                  <a:moveTo>
                    <a:pt x="53" y="6"/>
                  </a:moveTo>
                  <a:cubicBezTo>
                    <a:pt x="0" y="35"/>
                    <a:pt x="0" y="35"/>
                    <a:pt x="0" y="35"/>
                  </a:cubicBezTo>
                  <a:cubicBezTo>
                    <a:pt x="0" y="95"/>
                    <a:pt x="0" y="95"/>
                    <a:pt x="0" y="95"/>
                  </a:cubicBezTo>
                  <a:cubicBezTo>
                    <a:pt x="53" y="124"/>
                    <a:pt x="53" y="124"/>
                    <a:pt x="53" y="124"/>
                  </a:cubicBezTo>
                  <a:cubicBezTo>
                    <a:pt x="63" y="130"/>
                    <a:pt x="71" y="124"/>
                    <a:pt x="71" y="111"/>
                  </a:cubicBezTo>
                  <a:cubicBezTo>
                    <a:pt x="71" y="93"/>
                    <a:pt x="71" y="93"/>
                    <a:pt x="71" y="93"/>
                  </a:cubicBezTo>
                  <a:cubicBezTo>
                    <a:pt x="71" y="37"/>
                    <a:pt x="71" y="37"/>
                    <a:pt x="71" y="37"/>
                  </a:cubicBezTo>
                  <a:cubicBezTo>
                    <a:pt x="71" y="19"/>
                    <a:pt x="71" y="19"/>
                    <a:pt x="71" y="19"/>
                  </a:cubicBezTo>
                  <a:cubicBezTo>
                    <a:pt x="71" y="6"/>
                    <a:pt x="63" y="0"/>
                    <a:pt x="53" y="6"/>
                  </a:cubicBez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grpSp>
      <p:grpSp>
        <p:nvGrpSpPr>
          <p:cNvPr id="83" name="Group 82"/>
          <p:cNvGrpSpPr/>
          <p:nvPr/>
        </p:nvGrpSpPr>
        <p:grpSpPr>
          <a:xfrm>
            <a:off x="6611032" y="4659425"/>
            <a:ext cx="793738" cy="689714"/>
            <a:chOff x="4429124" y="0"/>
            <a:chExt cx="1414463" cy="1227138"/>
          </a:xfrm>
        </p:grpSpPr>
        <p:sp>
          <p:nvSpPr>
            <p:cNvPr id="84" name="Freeform 83"/>
            <p:cNvSpPr>
              <a:spLocks noEditPoints="1"/>
            </p:cNvSpPr>
            <p:nvPr/>
          </p:nvSpPr>
          <p:spPr bwMode="auto">
            <a:xfrm>
              <a:off x="4429124" y="177800"/>
              <a:ext cx="1304925" cy="1049338"/>
            </a:xfrm>
            <a:custGeom>
              <a:avLst/>
              <a:gdLst>
                <a:gd name="T0" fmla="*/ 108 w 348"/>
                <a:gd name="T1" fmla="*/ 228 h 280"/>
                <a:gd name="T2" fmla="*/ 244 w 348"/>
                <a:gd name="T3" fmla="*/ 228 h 280"/>
                <a:gd name="T4" fmla="*/ 244 w 348"/>
                <a:gd name="T5" fmla="*/ 212 h 280"/>
                <a:gd name="T6" fmla="*/ 108 w 348"/>
                <a:gd name="T7" fmla="*/ 212 h 280"/>
                <a:gd name="T8" fmla="*/ 108 w 348"/>
                <a:gd name="T9" fmla="*/ 228 h 280"/>
                <a:gd name="T10" fmla="*/ 205 w 348"/>
                <a:gd name="T11" fmla="*/ 31 h 280"/>
                <a:gd name="T12" fmla="*/ 211 w 348"/>
                <a:gd name="T13" fmla="*/ 0 h 280"/>
                <a:gd name="T14" fmla="*/ 0 w 348"/>
                <a:gd name="T15" fmla="*/ 0 h 280"/>
                <a:gd name="T16" fmla="*/ 0 w 348"/>
                <a:gd name="T17" fmla="*/ 49 h 280"/>
                <a:gd name="T18" fmla="*/ 207 w 348"/>
                <a:gd name="T19" fmla="*/ 49 h 280"/>
                <a:gd name="T20" fmla="*/ 205 w 348"/>
                <a:gd name="T21" fmla="*/ 31 h 280"/>
                <a:gd name="T22" fmla="*/ 299 w 348"/>
                <a:gd name="T23" fmla="*/ 126 h 280"/>
                <a:gd name="T24" fmla="*/ 210 w 348"/>
                <a:gd name="T25" fmla="*/ 61 h 280"/>
                <a:gd name="T26" fmla="*/ 0 w 348"/>
                <a:gd name="T27" fmla="*/ 61 h 280"/>
                <a:gd name="T28" fmla="*/ 0 w 348"/>
                <a:gd name="T29" fmla="*/ 168 h 280"/>
                <a:gd name="T30" fmla="*/ 24 w 348"/>
                <a:gd name="T31" fmla="*/ 192 h 280"/>
                <a:gd name="T32" fmla="*/ 60 w 348"/>
                <a:gd name="T33" fmla="*/ 192 h 280"/>
                <a:gd name="T34" fmla="*/ 60 w 348"/>
                <a:gd name="T35" fmla="*/ 256 h 280"/>
                <a:gd name="T36" fmla="*/ 84 w 348"/>
                <a:gd name="T37" fmla="*/ 280 h 280"/>
                <a:gd name="T38" fmla="*/ 292 w 348"/>
                <a:gd name="T39" fmla="*/ 280 h 280"/>
                <a:gd name="T40" fmla="*/ 292 w 348"/>
                <a:gd name="T41" fmla="*/ 192 h 280"/>
                <a:gd name="T42" fmla="*/ 348 w 348"/>
                <a:gd name="T43" fmla="*/ 192 h 280"/>
                <a:gd name="T44" fmla="*/ 348 w 348"/>
                <a:gd name="T45" fmla="*/ 112 h 280"/>
                <a:gd name="T46" fmla="*/ 299 w 348"/>
                <a:gd name="T47" fmla="*/ 126 h 280"/>
                <a:gd name="T48" fmla="*/ 272 w 348"/>
                <a:gd name="T49" fmla="*/ 260 h 280"/>
                <a:gd name="T50" fmla="*/ 84 w 348"/>
                <a:gd name="T51" fmla="*/ 260 h 280"/>
                <a:gd name="T52" fmla="*/ 80 w 348"/>
                <a:gd name="T53" fmla="*/ 256 h 280"/>
                <a:gd name="T54" fmla="*/ 80 w 348"/>
                <a:gd name="T55" fmla="*/ 140 h 280"/>
                <a:gd name="T56" fmla="*/ 272 w 348"/>
                <a:gd name="T57" fmla="*/ 140 h 280"/>
                <a:gd name="T58" fmla="*/ 272 w 348"/>
                <a:gd name="T59" fmla="*/ 260 h 280"/>
                <a:gd name="T60" fmla="*/ 108 w 348"/>
                <a:gd name="T61" fmla="*/ 188 h 280"/>
                <a:gd name="T62" fmla="*/ 244 w 348"/>
                <a:gd name="T63" fmla="*/ 188 h 280"/>
                <a:gd name="T64" fmla="*/ 244 w 348"/>
                <a:gd name="T65" fmla="*/ 172 h 280"/>
                <a:gd name="T66" fmla="*/ 108 w 348"/>
                <a:gd name="T67" fmla="*/ 172 h 280"/>
                <a:gd name="T68" fmla="*/ 108 w 348"/>
                <a:gd name="T69" fmla="*/ 18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8" h="280">
                  <a:moveTo>
                    <a:pt x="108" y="228"/>
                  </a:moveTo>
                  <a:cubicBezTo>
                    <a:pt x="244" y="228"/>
                    <a:pt x="244" y="228"/>
                    <a:pt x="244" y="228"/>
                  </a:cubicBezTo>
                  <a:cubicBezTo>
                    <a:pt x="244" y="212"/>
                    <a:pt x="244" y="212"/>
                    <a:pt x="244" y="212"/>
                  </a:cubicBezTo>
                  <a:cubicBezTo>
                    <a:pt x="108" y="212"/>
                    <a:pt x="108" y="212"/>
                    <a:pt x="108" y="212"/>
                  </a:cubicBezTo>
                  <a:lnTo>
                    <a:pt x="108" y="228"/>
                  </a:lnTo>
                  <a:close/>
                  <a:moveTo>
                    <a:pt x="205" y="31"/>
                  </a:moveTo>
                  <a:cubicBezTo>
                    <a:pt x="205" y="20"/>
                    <a:pt x="207" y="10"/>
                    <a:pt x="211" y="0"/>
                  </a:cubicBezTo>
                  <a:cubicBezTo>
                    <a:pt x="0" y="0"/>
                    <a:pt x="0" y="0"/>
                    <a:pt x="0" y="0"/>
                  </a:cubicBezTo>
                  <a:cubicBezTo>
                    <a:pt x="0" y="49"/>
                    <a:pt x="0" y="49"/>
                    <a:pt x="0" y="49"/>
                  </a:cubicBezTo>
                  <a:cubicBezTo>
                    <a:pt x="207" y="49"/>
                    <a:pt x="207" y="49"/>
                    <a:pt x="207" y="49"/>
                  </a:cubicBezTo>
                  <a:cubicBezTo>
                    <a:pt x="206" y="43"/>
                    <a:pt x="205" y="37"/>
                    <a:pt x="205" y="31"/>
                  </a:cubicBezTo>
                  <a:close/>
                  <a:moveTo>
                    <a:pt x="299" y="126"/>
                  </a:moveTo>
                  <a:cubicBezTo>
                    <a:pt x="258" y="126"/>
                    <a:pt x="222" y="98"/>
                    <a:pt x="210" y="61"/>
                  </a:cubicBezTo>
                  <a:cubicBezTo>
                    <a:pt x="0" y="61"/>
                    <a:pt x="0" y="61"/>
                    <a:pt x="0" y="61"/>
                  </a:cubicBezTo>
                  <a:cubicBezTo>
                    <a:pt x="0" y="168"/>
                    <a:pt x="0" y="168"/>
                    <a:pt x="0" y="168"/>
                  </a:cubicBezTo>
                  <a:cubicBezTo>
                    <a:pt x="0" y="181"/>
                    <a:pt x="11" y="192"/>
                    <a:pt x="24" y="192"/>
                  </a:cubicBezTo>
                  <a:cubicBezTo>
                    <a:pt x="60" y="192"/>
                    <a:pt x="60" y="192"/>
                    <a:pt x="60" y="192"/>
                  </a:cubicBezTo>
                  <a:cubicBezTo>
                    <a:pt x="60" y="256"/>
                    <a:pt x="60" y="256"/>
                    <a:pt x="60" y="256"/>
                  </a:cubicBezTo>
                  <a:cubicBezTo>
                    <a:pt x="60" y="269"/>
                    <a:pt x="71" y="280"/>
                    <a:pt x="84" y="280"/>
                  </a:cubicBezTo>
                  <a:cubicBezTo>
                    <a:pt x="292" y="280"/>
                    <a:pt x="292" y="280"/>
                    <a:pt x="292" y="280"/>
                  </a:cubicBezTo>
                  <a:cubicBezTo>
                    <a:pt x="292" y="192"/>
                    <a:pt x="292" y="192"/>
                    <a:pt x="292" y="192"/>
                  </a:cubicBezTo>
                  <a:cubicBezTo>
                    <a:pt x="348" y="192"/>
                    <a:pt x="348" y="192"/>
                    <a:pt x="348" y="192"/>
                  </a:cubicBezTo>
                  <a:cubicBezTo>
                    <a:pt x="348" y="112"/>
                    <a:pt x="348" y="112"/>
                    <a:pt x="348" y="112"/>
                  </a:cubicBezTo>
                  <a:cubicBezTo>
                    <a:pt x="334" y="121"/>
                    <a:pt x="317" y="126"/>
                    <a:pt x="299" y="126"/>
                  </a:cubicBezTo>
                  <a:close/>
                  <a:moveTo>
                    <a:pt x="272" y="260"/>
                  </a:moveTo>
                  <a:cubicBezTo>
                    <a:pt x="84" y="260"/>
                    <a:pt x="84" y="260"/>
                    <a:pt x="84" y="260"/>
                  </a:cubicBezTo>
                  <a:cubicBezTo>
                    <a:pt x="82" y="260"/>
                    <a:pt x="80" y="258"/>
                    <a:pt x="80" y="256"/>
                  </a:cubicBezTo>
                  <a:cubicBezTo>
                    <a:pt x="80" y="140"/>
                    <a:pt x="80" y="140"/>
                    <a:pt x="80" y="140"/>
                  </a:cubicBezTo>
                  <a:cubicBezTo>
                    <a:pt x="81" y="139"/>
                    <a:pt x="271" y="139"/>
                    <a:pt x="272" y="140"/>
                  </a:cubicBezTo>
                  <a:lnTo>
                    <a:pt x="272" y="260"/>
                  </a:lnTo>
                  <a:close/>
                  <a:moveTo>
                    <a:pt x="108" y="188"/>
                  </a:moveTo>
                  <a:cubicBezTo>
                    <a:pt x="244" y="188"/>
                    <a:pt x="244" y="188"/>
                    <a:pt x="244" y="188"/>
                  </a:cubicBezTo>
                  <a:cubicBezTo>
                    <a:pt x="244" y="172"/>
                    <a:pt x="244" y="172"/>
                    <a:pt x="244" y="172"/>
                  </a:cubicBezTo>
                  <a:cubicBezTo>
                    <a:pt x="108" y="172"/>
                    <a:pt x="108" y="172"/>
                    <a:pt x="108" y="172"/>
                  </a:cubicBezTo>
                  <a:lnTo>
                    <a:pt x="108" y="188"/>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85" name="Freeform 84"/>
            <p:cNvSpPr>
              <a:spLocks noEditPoints="1"/>
            </p:cNvSpPr>
            <p:nvPr/>
          </p:nvSpPr>
          <p:spPr bwMode="auto">
            <a:xfrm>
              <a:off x="5257799" y="0"/>
              <a:ext cx="585788" cy="585788"/>
            </a:xfrm>
            <a:custGeom>
              <a:avLst/>
              <a:gdLst>
                <a:gd name="T0" fmla="*/ 0 w 156"/>
                <a:gd name="T1" fmla="*/ 78 h 156"/>
                <a:gd name="T2" fmla="*/ 78 w 156"/>
                <a:gd name="T3" fmla="*/ 0 h 156"/>
                <a:gd name="T4" fmla="*/ 78 w 156"/>
                <a:gd name="T5" fmla="*/ 0 h 156"/>
                <a:gd name="T6" fmla="*/ 156 w 156"/>
                <a:gd name="T7" fmla="*/ 78 h 156"/>
                <a:gd name="T8" fmla="*/ 156 w 156"/>
                <a:gd name="T9" fmla="*/ 78 h 156"/>
                <a:gd name="T10" fmla="*/ 78 w 156"/>
                <a:gd name="T11" fmla="*/ 156 h 156"/>
                <a:gd name="T12" fmla="*/ 78 w 156"/>
                <a:gd name="T13" fmla="*/ 156 h 156"/>
                <a:gd name="T14" fmla="*/ 0 w 156"/>
                <a:gd name="T15" fmla="*/ 78 h 156"/>
                <a:gd name="T16" fmla="*/ 17 w 156"/>
                <a:gd name="T17" fmla="*/ 78 h 156"/>
                <a:gd name="T18" fmla="*/ 78 w 156"/>
                <a:gd name="T19" fmla="*/ 140 h 156"/>
                <a:gd name="T20" fmla="*/ 78 w 156"/>
                <a:gd name="T21" fmla="*/ 140 h 156"/>
                <a:gd name="T22" fmla="*/ 140 w 156"/>
                <a:gd name="T23" fmla="*/ 78 h 156"/>
                <a:gd name="T24" fmla="*/ 140 w 156"/>
                <a:gd name="T25" fmla="*/ 78 h 156"/>
                <a:gd name="T26" fmla="*/ 78 w 156"/>
                <a:gd name="T27" fmla="*/ 16 h 156"/>
                <a:gd name="T28" fmla="*/ 78 w 156"/>
                <a:gd name="T29" fmla="*/ 16 h 156"/>
                <a:gd name="T30" fmla="*/ 17 w 156"/>
                <a:gd name="T31" fmla="*/ 7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6" h="156">
                  <a:moveTo>
                    <a:pt x="0" y="78"/>
                  </a:moveTo>
                  <a:cubicBezTo>
                    <a:pt x="0" y="35"/>
                    <a:pt x="35" y="0"/>
                    <a:pt x="78" y="0"/>
                  </a:cubicBezTo>
                  <a:cubicBezTo>
                    <a:pt x="78" y="0"/>
                    <a:pt x="78" y="0"/>
                    <a:pt x="78" y="0"/>
                  </a:cubicBezTo>
                  <a:cubicBezTo>
                    <a:pt x="122" y="0"/>
                    <a:pt x="156" y="35"/>
                    <a:pt x="156" y="78"/>
                  </a:cubicBezTo>
                  <a:cubicBezTo>
                    <a:pt x="156" y="78"/>
                    <a:pt x="156" y="78"/>
                    <a:pt x="156" y="78"/>
                  </a:cubicBezTo>
                  <a:cubicBezTo>
                    <a:pt x="156" y="122"/>
                    <a:pt x="122" y="156"/>
                    <a:pt x="78" y="156"/>
                  </a:cubicBezTo>
                  <a:cubicBezTo>
                    <a:pt x="78" y="156"/>
                    <a:pt x="78" y="156"/>
                    <a:pt x="78" y="156"/>
                  </a:cubicBezTo>
                  <a:cubicBezTo>
                    <a:pt x="35" y="156"/>
                    <a:pt x="0" y="122"/>
                    <a:pt x="0" y="78"/>
                  </a:cubicBezTo>
                  <a:close/>
                  <a:moveTo>
                    <a:pt x="17" y="78"/>
                  </a:moveTo>
                  <a:cubicBezTo>
                    <a:pt x="17" y="113"/>
                    <a:pt x="44" y="140"/>
                    <a:pt x="78" y="140"/>
                  </a:cubicBezTo>
                  <a:cubicBezTo>
                    <a:pt x="78" y="140"/>
                    <a:pt x="78" y="140"/>
                    <a:pt x="78" y="140"/>
                  </a:cubicBezTo>
                  <a:cubicBezTo>
                    <a:pt x="113" y="140"/>
                    <a:pt x="140" y="113"/>
                    <a:pt x="140" y="78"/>
                  </a:cubicBezTo>
                  <a:cubicBezTo>
                    <a:pt x="140" y="78"/>
                    <a:pt x="140" y="78"/>
                    <a:pt x="140" y="78"/>
                  </a:cubicBezTo>
                  <a:cubicBezTo>
                    <a:pt x="140" y="44"/>
                    <a:pt x="113" y="17"/>
                    <a:pt x="78" y="16"/>
                  </a:cubicBezTo>
                  <a:cubicBezTo>
                    <a:pt x="78" y="16"/>
                    <a:pt x="78" y="16"/>
                    <a:pt x="78" y="16"/>
                  </a:cubicBezTo>
                  <a:cubicBezTo>
                    <a:pt x="44" y="17"/>
                    <a:pt x="17" y="44"/>
                    <a:pt x="17" y="78"/>
                  </a:cubicBez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86" name="Freeform 85"/>
            <p:cNvSpPr>
              <a:spLocks/>
            </p:cNvSpPr>
            <p:nvPr/>
          </p:nvSpPr>
          <p:spPr bwMode="auto">
            <a:xfrm>
              <a:off x="5532436" y="106363"/>
              <a:ext cx="165100" cy="217488"/>
            </a:xfrm>
            <a:custGeom>
              <a:avLst/>
              <a:gdLst>
                <a:gd name="T0" fmla="*/ 0 w 104"/>
                <a:gd name="T1" fmla="*/ 0 h 137"/>
                <a:gd name="T2" fmla="*/ 28 w 104"/>
                <a:gd name="T3" fmla="*/ 0 h 137"/>
                <a:gd name="T4" fmla="*/ 28 w 104"/>
                <a:gd name="T5" fmla="*/ 108 h 137"/>
                <a:gd name="T6" fmla="*/ 104 w 104"/>
                <a:gd name="T7" fmla="*/ 108 h 137"/>
                <a:gd name="T8" fmla="*/ 104 w 104"/>
                <a:gd name="T9" fmla="*/ 137 h 137"/>
                <a:gd name="T10" fmla="*/ 0 w 104"/>
                <a:gd name="T11" fmla="*/ 137 h 137"/>
                <a:gd name="T12" fmla="*/ 0 w 104"/>
                <a:gd name="T13" fmla="*/ 0 h 137"/>
                <a:gd name="T14" fmla="*/ 0 w 104"/>
                <a:gd name="T15" fmla="*/ 0 h 1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137">
                  <a:moveTo>
                    <a:pt x="0" y="0"/>
                  </a:moveTo>
                  <a:lnTo>
                    <a:pt x="28" y="0"/>
                  </a:lnTo>
                  <a:lnTo>
                    <a:pt x="28" y="108"/>
                  </a:lnTo>
                  <a:lnTo>
                    <a:pt x="104" y="108"/>
                  </a:lnTo>
                  <a:lnTo>
                    <a:pt x="104" y="137"/>
                  </a:lnTo>
                  <a:lnTo>
                    <a:pt x="0" y="137"/>
                  </a:lnTo>
                  <a:lnTo>
                    <a:pt x="0" y="0"/>
                  </a:lnTo>
                  <a:lnTo>
                    <a:pt x="0" y="0"/>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grpSp>
      <p:grpSp>
        <p:nvGrpSpPr>
          <p:cNvPr id="87" name="Group 86"/>
          <p:cNvGrpSpPr/>
          <p:nvPr/>
        </p:nvGrpSpPr>
        <p:grpSpPr>
          <a:xfrm>
            <a:off x="3763328" y="4688505"/>
            <a:ext cx="561395" cy="660634"/>
            <a:chOff x="0" y="3012166"/>
            <a:chExt cx="1252537" cy="1471613"/>
          </a:xfrm>
          <a:solidFill>
            <a:schemeClr val="accent1"/>
          </a:solidFill>
        </p:grpSpPr>
        <p:sp>
          <p:nvSpPr>
            <p:cNvPr id="88" name="Freeform 87"/>
            <p:cNvSpPr>
              <a:spLocks noEditPoints="1"/>
            </p:cNvSpPr>
            <p:nvPr/>
          </p:nvSpPr>
          <p:spPr bwMode="auto">
            <a:xfrm>
              <a:off x="558800" y="3012166"/>
              <a:ext cx="693737" cy="954088"/>
            </a:xfrm>
            <a:custGeom>
              <a:avLst/>
              <a:gdLst>
                <a:gd name="T0" fmla="*/ 153 w 185"/>
                <a:gd name="T1" fmla="*/ 0 h 254"/>
                <a:gd name="T2" fmla="*/ 32 w 185"/>
                <a:gd name="T3" fmla="*/ 0 h 254"/>
                <a:gd name="T4" fmla="*/ 0 w 185"/>
                <a:gd name="T5" fmla="*/ 30 h 254"/>
                <a:gd name="T6" fmla="*/ 0 w 185"/>
                <a:gd name="T7" fmla="*/ 98 h 254"/>
                <a:gd name="T8" fmla="*/ 19 w 185"/>
                <a:gd name="T9" fmla="*/ 98 h 254"/>
                <a:gd name="T10" fmla="*/ 19 w 185"/>
                <a:gd name="T11" fmla="*/ 30 h 254"/>
                <a:gd name="T12" fmla="*/ 32 w 185"/>
                <a:gd name="T13" fmla="*/ 19 h 254"/>
                <a:gd name="T14" fmla="*/ 45 w 185"/>
                <a:gd name="T15" fmla="*/ 19 h 254"/>
                <a:gd name="T16" fmla="*/ 45 w 185"/>
                <a:gd name="T17" fmla="*/ 105 h 254"/>
                <a:gd name="T18" fmla="*/ 62 w 185"/>
                <a:gd name="T19" fmla="*/ 136 h 254"/>
                <a:gd name="T20" fmla="*/ 62 w 185"/>
                <a:gd name="T21" fmla="*/ 254 h 254"/>
                <a:gd name="T22" fmla="*/ 153 w 185"/>
                <a:gd name="T23" fmla="*/ 254 h 254"/>
                <a:gd name="T24" fmla="*/ 185 w 185"/>
                <a:gd name="T25" fmla="*/ 223 h 254"/>
                <a:gd name="T26" fmla="*/ 185 w 185"/>
                <a:gd name="T27" fmla="*/ 30 h 254"/>
                <a:gd name="T28" fmla="*/ 153 w 185"/>
                <a:gd name="T29" fmla="*/ 0 h 254"/>
                <a:gd name="T30" fmla="*/ 165 w 185"/>
                <a:gd name="T31" fmla="*/ 223 h 254"/>
                <a:gd name="T32" fmla="*/ 153 w 185"/>
                <a:gd name="T33" fmla="*/ 234 h 254"/>
                <a:gd name="T34" fmla="*/ 79 w 185"/>
                <a:gd name="T35" fmla="*/ 234 h 254"/>
                <a:gd name="T36" fmla="*/ 79 w 185"/>
                <a:gd name="T37" fmla="*/ 19 h 254"/>
                <a:gd name="T38" fmla="*/ 153 w 185"/>
                <a:gd name="T39" fmla="*/ 19 h 254"/>
                <a:gd name="T40" fmla="*/ 165 w 185"/>
                <a:gd name="T41" fmla="*/ 30 h 254"/>
                <a:gd name="T42" fmla="*/ 165 w 185"/>
                <a:gd name="T43" fmla="*/ 223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5" h="254">
                  <a:moveTo>
                    <a:pt x="153" y="0"/>
                  </a:moveTo>
                  <a:cubicBezTo>
                    <a:pt x="32" y="0"/>
                    <a:pt x="32" y="0"/>
                    <a:pt x="32" y="0"/>
                  </a:cubicBezTo>
                  <a:cubicBezTo>
                    <a:pt x="14" y="0"/>
                    <a:pt x="0" y="13"/>
                    <a:pt x="0" y="30"/>
                  </a:cubicBezTo>
                  <a:cubicBezTo>
                    <a:pt x="0" y="98"/>
                    <a:pt x="0" y="98"/>
                    <a:pt x="0" y="98"/>
                  </a:cubicBezTo>
                  <a:cubicBezTo>
                    <a:pt x="19" y="98"/>
                    <a:pt x="19" y="98"/>
                    <a:pt x="19" y="98"/>
                  </a:cubicBezTo>
                  <a:cubicBezTo>
                    <a:pt x="19" y="30"/>
                    <a:pt x="19" y="30"/>
                    <a:pt x="19" y="30"/>
                  </a:cubicBezTo>
                  <a:cubicBezTo>
                    <a:pt x="19" y="24"/>
                    <a:pt x="25" y="19"/>
                    <a:pt x="32" y="19"/>
                  </a:cubicBezTo>
                  <a:cubicBezTo>
                    <a:pt x="45" y="19"/>
                    <a:pt x="45" y="19"/>
                    <a:pt x="45" y="19"/>
                  </a:cubicBezTo>
                  <a:cubicBezTo>
                    <a:pt x="45" y="105"/>
                    <a:pt x="45" y="105"/>
                    <a:pt x="45" y="105"/>
                  </a:cubicBezTo>
                  <a:cubicBezTo>
                    <a:pt x="55" y="112"/>
                    <a:pt x="62" y="123"/>
                    <a:pt x="62" y="136"/>
                  </a:cubicBezTo>
                  <a:cubicBezTo>
                    <a:pt x="62" y="254"/>
                    <a:pt x="62" y="254"/>
                    <a:pt x="62" y="254"/>
                  </a:cubicBezTo>
                  <a:cubicBezTo>
                    <a:pt x="153" y="254"/>
                    <a:pt x="153" y="254"/>
                    <a:pt x="153" y="254"/>
                  </a:cubicBezTo>
                  <a:cubicBezTo>
                    <a:pt x="171" y="254"/>
                    <a:pt x="185" y="240"/>
                    <a:pt x="185" y="223"/>
                  </a:cubicBezTo>
                  <a:cubicBezTo>
                    <a:pt x="185" y="30"/>
                    <a:pt x="185" y="30"/>
                    <a:pt x="185" y="30"/>
                  </a:cubicBezTo>
                  <a:cubicBezTo>
                    <a:pt x="185" y="13"/>
                    <a:pt x="171" y="0"/>
                    <a:pt x="153" y="0"/>
                  </a:cubicBezTo>
                  <a:close/>
                  <a:moveTo>
                    <a:pt x="165" y="223"/>
                  </a:moveTo>
                  <a:cubicBezTo>
                    <a:pt x="165" y="229"/>
                    <a:pt x="160" y="234"/>
                    <a:pt x="153" y="234"/>
                  </a:cubicBezTo>
                  <a:cubicBezTo>
                    <a:pt x="79" y="234"/>
                    <a:pt x="79" y="234"/>
                    <a:pt x="79" y="234"/>
                  </a:cubicBezTo>
                  <a:cubicBezTo>
                    <a:pt x="79" y="19"/>
                    <a:pt x="79" y="19"/>
                    <a:pt x="79" y="19"/>
                  </a:cubicBezTo>
                  <a:cubicBezTo>
                    <a:pt x="153" y="19"/>
                    <a:pt x="153" y="19"/>
                    <a:pt x="153" y="19"/>
                  </a:cubicBezTo>
                  <a:cubicBezTo>
                    <a:pt x="160" y="19"/>
                    <a:pt x="165" y="24"/>
                    <a:pt x="165" y="30"/>
                  </a:cubicBezTo>
                  <a:lnTo>
                    <a:pt x="165" y="2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89" name="Freeform 88"/>
            <p:cNvSpPr>
              <a:spLocks/>
            </p:cNvSpPr>
            <p:nvPr/>
          </p:nvSpPr>
          <p:spPr bwMode="auto">
            <a:xfrm>
              <a:off x="779462" y="4024991"/>
              <a:ext cx="176212" cy="458788"/>
            </a:xfrm>
            <a:custGeom>
              <a:avLst/>
              <a:gdLst>
                <a:gd name="T0" fmla="*/ 0 w 111"/>
                <a:gd name="T1" fmla="*/ 0 h 289"/>
                <a:gd name="T2" fmla="*/ 3 w 111"/>
                <a:gd name="T3" fmla="*/ 289 h 289"/>
                <a:gd name="T4" fmla="*/ 111 w 111"/>
                <a:gd name="T5" fmla="*/ 289 h 289"/>
                <a:gd name="T6" fmla="*/ 111 w 111"/>
                <a:gd name="T7" fmla="*/ 0 h 289"/>
                <a:gd name="T8" fmla="*/ 0 w 111"/>
                <a:gd name="T9" fmla="*/ 0 h 289"/>
              </a:gdLst>
              <a:ahLst/>
              <a:cxnLst>
                <a:cxn ang="0">
                  <a:pos x="T0" y="T1"/>
                </a:cxn>
                <a:cxn ang="0">
                  <a:pos x="T2" y="T3"/>
                </a:cxn>
                <a:cxn ang="0">
                  <a:pos x="T4" y="T5"/>
                </a:cxn>
                <a:cxn ang="0">
                  <a:pos x="T6" y="T7"/>
                </a:cxn>
                <a:cxn ang="0">
                  <a:pos x="T8" y="T9"/>
                </a:cxn>
              </a:cxnLst>
              <a:rect l="0" t="0" r="r" b="b"/>
              <a:pathLst>
                <a:path w="111" h="289">
                  <a:moveTo>
                    <a:pt x="0" y="0"/>
                  </a:moveTo>
                  <a:lnTo>
                    <a:pt x="3" y="289"/>
                  </a:lnTo>
                  <a:lnTo>
                    <a:pt x="111" y="289"/>
                  </a:lnTo>
                  <a:lnTo>
                    <a:pt x="11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90" name="Freeform 89"/>
            <p:cNvSpPr>
              <a:spLocks/>
            </p:cNvSpPr>
            <p:nvPr/>
          </p:nvSpPr>
          <p:spPr bwMode="auto">
            <a:xfrm>
              <a:off x="0" y="3440791"/>
              <a:ext cx="731837" cy="1042988"/>
            </a:xfrm>
            <a:custGeom>
              <a:avLst/>
              <a:gdLst>
                <a:gd name="T0" fmla="*/ 195 w 195"/>
                <a:gd name="T1" fmla="*/ 22 h 278"/>
                <a:gd name="T2" fmla="*/ 195 w 195"/>
                <a:gd name="T3" fmla="*/ 278 h 278"/>
                <a:gd name="T4" fmla="*/ 22 w 195"/>
                <a:gd name="T5" fmla="*/ 278 h 278"/>
                <a:gd name="T6" fmla="*/ 0 w 195"/>
                <a:gd name="T7" fmla="*/ 256 h 278"/>
                <a:gd name="T8" fmla="*/ 0 w 195"/>
                <a:gd name="T9" fmla="*/ 0 h 278"/>
                <a:gd name="T10" fmla="*/ 172 w 195"/>
                <a:gd name="T11" fmla="*/ 0 h 278"/>
                <a:gd name="T12" fmla="*/ 195 w 195"/>
                <a:gd name="T13" fmla="*/ 22 h 278"/>
              </a:gdLst>
              <a:ahLst/>
              <a:cxnLst>
                <a:cxn ang="0">
                  <a:pos x="T0" y="T1"/>
                </a:cxn>
                <a:cxn ang="0">
                  <a:pos x="T2" y="T3"/>
                </a:cxn>
                <a:cxn ang="0">
                  <a:pos x="T4" y="T5"/>
                </a:cxn>
                <a:cxn ang="0">
                  <a:pos x="T6" y="T7"/>
                </a:cxn>
                <a:cxn ang="0">
                  <a:pos x="T8" y="T9"/>
                </a:cxn>
                <a:cxn ang="0">
                  <a:pos x="T10" y="T11"/>
                </a:cxn>
                <a:cxn ang="0">
                  <a:pos x="T12" y="T13"/>
                </a:cxn>
              </a:cxnLst>
              <a:rect l="0" t="0" r="r" b="b"/>
              <a:pathLst>
                <a:path w="195" h="278">
                  <a:moveTo>
                    <a:pt x="195" y="22"/>
                  </a:moveTo>
                  <a:cubicBezTo>
                    <a:pt x="195" y="278"/>
                    <a:pt x="195" y="278"/>
                    <a:pt x="195" y="278"/>
                  </a:cubicBezTo>
                  <a:cubicBezTo>
                    <a:pt x="22" y="278"/>
                    <a:pt x="22" y="278"/>
                    <a:pt x="22" y="278"/>
                  </a:cubicBezTo>
                  <a:cubicBezTo>
                    <a:pt x="10" y="278"/>
                    <a:pt x="0" y="268"/>
                    <a:pt x="0" y="256"/>
                  </a:cubicBezTo>
                  <a:cubicBezTo>
                    <a:pt x="0" y="0"/>
                    <a:pt x="0" y="0"/>
                    <a:pt x="0" y="0"/>
                  </a:cubicBezTo>
                  <a:cubicBezTo>
                    <a:pt x="172" y="0"/>
                    <a:pt x="172" y="0"/>
                    <a:pt x="172" y="0"/>
                  </a:cubicBezTo>
                  <a:cubicBezTo>
                    <a:pt x="184" y="0"/>
                    <a:pt x="195" y="10"/>
                    <a:pt x="195"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grpSp>
      <p:grpSp>
        <p:nvGrpSpPr>
          <p:cNvPr id="91" name="Group 90"/>
          <p:cNvGrpSpPr/>
          <p:nvPr/>
        </p:nvGrpSpPr>
        <p:grpSpPr>
          <a:xfrm>
            <a:off x="4429494" y="4636857"/>
            <a:ext cx="774056" cy="923432"/>
            <a:chOff x="0" y="0"/>
            <a:chExt cx="1246188" cy="1484312"/>
          </a:xfrm>
        </p:grpSpPr>
        <p:sp>
          <p:nvSpPr>
            <p:cNvPr id="92" name="Freeform 91"/>
            <p:cNvSpPr>
              <a:spLocks noEditPoints="1"/>
            </p:cNvSpPr>
            <p:nvPr/>
          </p:nvSpPr>
          <p:spPr bwMode="auto">
            <a:xfrm>
              <a:off x="307975" y="0"/>
              <a:ext cx="630238" cy="622300"/>
            </a:xfrm>
            <a:custGeom>
              <a:avLst/>
              <a:gdLst>
                <a:gd name="T0" fmla="*/ 131 w 168"/>
                <a:gd name="T1" fmla="*/ 88 h 166"/>
                <a:gd name="T2" fmla="*/ 149 w 168"/>
                <a:gd name="T3" fmla="*/ 117 h 166"/>
                <a:gd name="T4" fmla="*/ 104 w 168"/>
                <a:gd name="T5" fmla="*/ 153 h 166"/>
                <a:gd name="T6" fmla="*/ 142 w 168"/>
                <a:gd name="T7" fmla="*/ 127 h 166"/>
                <a:gd name="T8" fmla="*/ 26 w 168"/>
                <a:gd name="T9" fmla="*/ 127 h 166"/>
                <a:gd name="T10" fmla="*/ 63 w 168"/>
                <a:gd name="T11" fmla="*/ 153 h 166"/>
                <a:gd name="T12" fmla="*/ 19 w 168"/>
                <a:gd name="T13" fmla="*/ 117 h 166"/>
                <a:gd name="T14" fmla="*/ 37 w 168"/>
                <a:gd name="T15" fmla="*/ 88 h 166"/>
                <a:gd name="T16" fmla="*/ 19 w 168"/>
                <a:gd name="T17" fmla="*/ 117 h 166"/>
                <a:gd name="T18" fmla="*/ 42 w 168"/>
                <a:gd name="T19" fmla="*/ 49 h 166"/>
                <a:gd name="T20" fmla="*/ 11 w 168"/>
                <a:gd name="T21" fmla="*/ 78 h 166"/>
                <a:gd name="T22" fmla="*/ 63 w 168"/>
                <a:gd name="T23" fmla="*/ 13 h 166"/>
                <a:gd name="T24" fmla="*/ 26 w 168"/>
                <a:gd name="T25" fmla="*/ 39 h 166"/>
                <a:gd name="T26" fmla="*/ 142 w 168"/>
                <a:gd name="T27" fmla="*/ 39 h 166"/>
                <a:gd name="T28" fmla="*/ 104 w 168"/>
                <a:gd name="T29" fmla="*/ 13 h 166"/>
                <a:gd name="T30" fmla="*/ 89 w 168"/>
                <a:gd name="T31" fmla="*/ 78 h 166"/>
                <a:gd name="T32" fmla="*/ 114 w 168"/>
                <a:gd name="T33" fmla="*/ 49 h 166"/>
                <a:gd name="T34" fmla="*/ 89 w 168"/>
                <a:gd name="T35" fmla="*/ 78 h 166"/>
                <a:gd name="T36" fmla="*/ 89 w 168"/>
                <a:gd name="T37" fmla="*/ 88 h 166"/>
                <a:gd name="T38" fmla="*/ 114 w 168"/>
                <a:gd name="T39" fmla="*/ 117 h 166"/>
                <a:gd name="T40" fmla="*/ 89 w 168"/>
                <a:gd name="T41" fmla="*/ 152 h 166"/>
                <a:gd name="T42" fmla="*/ 110 w 168"/>
                <a:gd name="T43" fmla="*/ 127 h 166"/>
                <a:gd name="T44" fmla="*/ 79 w 168"/>
                <a:gd name="T45" fmla="*/ 127 h 166"/>
                <a:gd name="T46" fmla="*/ 58 w 168"/>
                <a:gd name="T47" fmla="*/ 127 h 166"/>
                <a:gd name="T48" fmla="*/ 79 w 168"/>
                <a:gd name="T49" fmla="*/ 88 h 166"/>
                <a:gd name="T50" fmla="*/ 53 w 168"/>
                <a:gd name="T51" fmla="*/ 117 h 166"/>
                <a:gd name="T52" fmla="*/ 79 w 168"/>
                <a:gd name="T53" fmla="*/ 88 h 166"/>
                <a:gd name="T54" fmla="*/ 79 w 168"/>
                <a:gd name="T55" fmla="*/ 78 h 166"/>
                <a:gd name="T56" fmla="*/ 53 w 168"/>
                <a:gd name="T57" fmla="*/ 49 h 166"/>
                <a:gd name="T58" fmla="*/ 79 w 168"/>
                <a:gd name="T59" fmla="*/ 14 h 166"/>
                <a:gd name="T60" fmla="*/ 58 w 168"/>
                <a:gd name="T61" fmla="*/ 39 h 166"/>
                <a:gd name="T62" fmla="*/ 110 w 168"/>
                <a:gd name="T63" fmla="*/ 39 h 166"/>
                <a:gd name="T64" fmla="*/ 89 w 168"/>
                <a:gd name="T65" fmla="*/ 14 h 166"/>
                <a:gd name="T66" fmla="*/ 149 w 168"/>
                <a:gd name="T67" fmla="*/ 49 h 166"/>
                <a:gd name="T68" fmla="*/ 131 w 168"/>
                <a:gd name="T69" fmla="*/ 78 h 166"/>
                <a:gd name="T70" fmla="*/ 149 w 168"/>
                <a:gd name="T71" fmla="*/ 49 h 166"/>
                <a:gd name="T72" fmla="*/ 0 w 168"/>
                <a:gd name="T73" fmla="*/ 83 h 166"/>
                <a:gd name="T74" fmla="*/ 168 w 168"/>
                <a:gd name="T75"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8" h="166">
                  <a:moveTo>
                    <a:pt x="126" y="117"/>
                  </a:moveTo>
                  <a:cubicBezTo>
                    <a:pt x="129" y="108"/>
                    <a:pt x="130" y="98"/>
                    <a:pt x="131" y="88"/>
                  </a:cubicBezTo>
                  <a:cubicBezTo>
                    <a:pt x="157" y="88"/>
                    <a:pt x="157" y="88"/>
                    <a:pt x="157" y="88"/>
                  </a:cubicBezTo>
                  <a:cubicBezTo>
                    <a:pt x="156" y="99"/>
                    <a:pt x="153" y="108"/>
                    <a:pt x="149" y="117"/>
                  </a:cubicBezTo>
                  <a:lnTo>
                    <a:pt x="126" y="117"/>
                  </a:lnTo>
                  <a:close/>
                  <a:moveTo>
                    <a:pt x="104" y="153"/>
                  </a:moveTo>
                  <a:cubicBezTo>
                    <a:pt x="111" y="146"/>
                    <a:pt x="117" y="137"/>
                    <a:pt x="122" y="127"/>
                  </a:cubicBezTo>
                  <a:cubicBezTo>
                    <a:pt x="142" y="127"/>
                    <a:pt x="142" y="127"/>
                    <a:pt x="142" y="127"/>
                  </a:cubicBezTo>
                  <a:cubicBezTo>
                    <a:pt x="133" y="140"/>
                    <a:pt x="119" y="149"/>
                    <a:pt x="104" y="153"/>
                  </a:cubicBezTo>
                  <a:moveTo>
                    <a:pt x="26" y="127"/>
                  </a:moveTo>
                  <a:cubicBezTo>
                    <a:pt x="46" y="127"/>
                    <a:pt x="46" y="127"/>
                    <a:pt x="46" y="127"/>
                  </a:cubicBezTo>
                  <a:cubicBezTo>
                    <a:pt x="50" y="137"/>
                    <a:pt x="56" y="146"/>
                    <a:pt x="63" y="153"/>
                  </a:cubicBezTo>
                  <a:cubicBezTo>
                    <a:pt x="48" y="149"/>
                    <a:pt x="35" y="140"/>
                    <a:pt x="26" y="127"/>
                  </a:cubicBezTo>
                  <a:moveTo>
                    <a:pt x="19" y="117"/>
                  </a:moveTo>
                  <a:cubicBezTo>
                    <a:pt x="14" y="108"/>
                    <a:pt x="11" y="99"/>
                    <a:pt x="11" y="88"/>
                  </a:cubicBezTo>
                  <a:cubicBezTo>
                    <a:pt x="37" y="88"/>
                    <a:pt x="37" y="88"/>
                    <a:pt x="37" y="88"/>
                  </a:cubicBezTo>
                  <a:cubicBezTo>
                    <a:pt x="37" y="98"/>
                    <a:pt x="39" y="108"/>
                    <a:pt x="42" y="117"/>
                  </a:cubicBezTo>
                  <a:lnTo>
                    <a:pt x="19" y="117"/>
                  </a:lnTo>
                  <a:close/>
                  <a:moveTo>
                    <a:pt x="19" y="49"/>
                  </a:moveTo>
                  <a:cubicBezTo>
                    <a:pt x="42" y="49"/>
                    <a:pt x="42" y="49"/>
                    <a:pt x="42" y="49"/>
                  </a:cubicBezTo>
                  <a:cubicBezTo>
                    <a:pt x="39" y="58"/>
                    <a:pt x="37" y="68"/>
                    <a:pt x="37" y="78"/>
                  </a:cubicBezTo>
                  <a:cubicBezTo>
                    <a:pt x="11" y="78"/>
                    <a:pt x="11" y="78"/>
                    <a:pt x="11" y="78"/>
                  </a:cubicBezTo>
                  <a:cubicBezTo>
                    <a:pt x="11" y="67"/>
                    <a:pt x="14" y="58"/>
                    <a:pt x="19" y="49"/>
                  </a:cubicBezTo>
                  <a:moveTo>
                    <a:pt x="63" y="13"/>
                  </a:moveTo>
                  <a:cubicBezTo>
                    <a:pt x="56" y="20"/>
                    <a:pt x="50" y="29"/>
                    <a:pt x="46" y="39"/>
                  </a:cubicBezTo>
                  <a:cubicBezTo>
                    <a:pt x="26" y="39"/>
                    <a:pt x="26" y="39"/>
                    <a:pt x="26" y="39"/>
                  </a:cubicBezTo>
                  <a:cubicBezTo>
                    <a:pt x="35" y="27"/>
                    <a:pt x="48" y="17"/>
                    <a:pt x="63" y="13"/>
                  </a:cubicBezTo>
                  <a:moveTo>
                    <a:pt x="142" y="39"/>
                  </a:moveTo>
                  <a:cubicBezTo>
                    <a:pt x="122" y="39"/>
                    <a:pt x="122" y="39"/>
                    <a:pt x="122" y="39"/>
                  </a:cubicBezTo>
                  <a:cubicBezTo>
                    <a:pt x="117" y="29"/>
                    <a:pt x="111" y="20"/>
                    <a:pt x="104" y="13"/>
                  </a:cubicBezTo>
                  <a:cubicBezTo>
                    <a:pt x="119" y="17"/>
                    <a:pt x="133" y="26"/>
                    <a:pt x="142" y="39"/>
                  </a:cubicBezTo>
                  <a:moveTo>
                    <a:pt x="89" y="78"/>
                  </a:moveTo>
                  <a:cubicBezTo>
                    <a:pt x="89" y="49"/>
                    <a:pt x="89" y="49"/>
                    <a:pt x="89" y="49"/>
                  </a:cubicBezTo>
                  <a:cubicBezTo>
                    <a:pt x="114" y="49"/>
                    <a:pt x="114" y="49"/>
                    <a:pt x="114" y="49"/>
                  </a:cubicBezTo>
                  <a:cubicBezTo>
                    <a:pt x="118" y="58"/>
                    <a:pt x="120" y="68"/>
                    <a:pt x="120" y="78"/>
                  </a:cubicBezTo>
                  <a:lnTo>
                    <a:pt x="89" y="78"/>
                  </a:lnTo>
                  <a:close/>
                  <a:moveTo>
                    <a:pt x="89" y="117"/>
                  </a:moveTo>
                  <a:cubicBezTo>
                    <a:pt x="89" y="88"/>
                    <a:pt x="89" y="88"/>
                    <a:pt x="89" y="88"/>
                  </a:cubicBezTo>
                  <a:cubicBezTo>
                    <a:pt x="120" y="88"/>
                    <a:pt x="120" y="88"/>
                    <a:pt x="120" y="88"/>
                  </a:cubicBezTo>
                  <a:cubicBezTo>
                    <a:pt x="120" y="98"/>
                    <a:pt x="118" y="108"/>
                    <a:pt x="114" y="117"/>
                  </a:cubicBezTo>
                  <a:lnTo>
                    <a:pt x="89" y="117"/>
                  </a:lnTo>
                  <a:close/>
                  <a:moveTo>
                    <a:pt x="89" y="152"/>
                  </a:moveTo>
                  <a:cubicBezTo>
                    <a:pt x="89" y="127"/>
                    <a:pt x="89" y="127"/>
                    <a:pt x="89" y="127"/>
                  </a:cubicBezTo>
                  <a:cubicBezTo>
                    <a:pt x="110" y="127"/>
                    <a:pt x="110" y="127"/>
                    <a:pt x="110" y="127"/>
                  </a:cubicBezTo>
                  <a:cubicBezTo>
                    <a:pt x="105" y="137"/>
                    <a:pt x="97" y="146"/>
                    <a:pt x="89" y="152"/>
                  </a:cubicBezTo>
                  <a:moveTo>
                    <a:pt x="79" y="127"/>
                  </a:moveTo>
                  <a:cubicBezTo>
                    <a:pt x="79" y="152"/>
                    <a:pt x="79" y="152"/>
                    <a:pt x="79" y="152"/>
                  </a:cubicBezTo>
                  <a:cubicBezTo>
                    <a:pt x="70" y="146"/>
                    <a:pt x="63" y="138"/>
                    <a:pt x="58" y="127"/>
                  </a:cubicBezTo>
                  <a:lnTo>
                    <a:pt x="79" y="127"/>
                  </a:lnTo>
                  <a:close/>
                  <a:moveTo>
                    <a:pt x="79" y="88"/>
                  </a:moveTo>
                  <a:cubicBezTo>
                    <a:pt x="79" y="117"/>
                    <a:pt x="79" y="117"/>
                    <a:pt x="79" y="117"/>
                  </a:cubicBezTo>
                  <a:cubicBezTo>
                    <a:pt x="53" y="117"/>
                    <a:pt x="53" y="117"/>
                    <a:pt x="53" y="117"/>
                  </a:cubicBezTo>
                  <a:cubicBezTo>
                    <a:pt x="50" y="108"/>
                    <a:pt x="48" y="98"/>
                    <a:pt x="47" y="88"/>
                  </a:cubicBezTo>
                  <a:lnTo>
                    <a:pt x="79" y="88"/>
                  </a:lnTo>
                  <a:close/>
                  <a:moveTo>
                    <a:pt x="79" y="49"/>
                  </a:moveTo>
                  <a:cubicBezTo>
                    <a:pt x="79" y="78"/>
                    <a:pt x="79" y="78"/>
                    <a:pt x="79" y="78"/>
                  </a:cubicBezTo>
                  <a:cubicBezTo>
                    <a:pt x="47" y="78"/>
                    <a:pt x="47" y="78"/>
                    <a:pt x="47" y="78"/>
                  </a:cubicBezTo>
                  <a:cubicBezTo>
                    <a:pt x="48" y="68"/>
                    <a:pt x="50" y="58"/>
                    <a:pt x="53" y="49"/>
                  </a:cubicBezTo>
                  <a:lnTo>
                    <a:pt x="79" y="49"/>
                  </a:lnTo>
                  <a:close/>
                  <a:moveTo>
                    <a:pt x="79" y="14"/>
                  </a:moveTo>
                  <a:cubicBezTo>
                    <a:pt x="79" y="39"/>
                    <a:pt x="79" y="39"/>
                    <a:pt x="79" y="39"/>
                  </a:cubicBezTo>
                  <a:cubicBezTo>
                    <a:pt x="58" y="39"/>
                    <a:pt x="58" y="39"/>
                    <a:pt x="58" y="39"/>
                  </a:cubicBezTo>
                  <a:cubicBezTo>
                    <a:pt x="63" y="29"/>
                    <a:pt x="70" y="20"/>
                    <a:pt x="79" y="14"/>
                  </a:cubicBezTo>
                  <a:moveTo>
                    <a:pt x="110" y="39"/>
                  </a:moveTo>
                  <a:cubicBezTo>
                    <a:pt x="89" y="39"/>
                    <a:pt x="89" y="39"/>
                    <a:pt x="89" y="39"/>
                  </a:cubicBezTo>
                  <a:cubicBezTo>
                    <a:pt x="89" y="14"/>
                    <a:pt x="89" y="14"/>
                    <a:pt x="89" y="14"/>
                  </a:cubicBezTo>
                  <a:cubicBezTo>
                    <a:pt x="97" y="20"/>
                    <a:pt x="104" y="29"/>
                    <a:pt x="110" y="39"/>
                  </a:cubicBezTo>
                  <a:moveTo>
                    <a:pt x="149" y="49"/>
                  </a:moveTo>
                  <a:cubicBezTo>
                    <a:pt x="154" y="58"/>
                    <a:pt x="156" y="67"/>
                    <a:pt x="157" y="78"/>
                  </a:cubicBezTo>
                  <a:cubicBezTo>
                    <a:pt x="131" y="78"/>
                    <a:pt x="131" y="78"/>
                    <a:pt x="131" y="78"/>
                  </a:cubicBezTo>
                  <a:cubicBezTo>
                    <a:pt x="130" y="68"/>
                    <a:pt x="129" y="58"/>
                    <a:pt x="126" y="49"/>
                  </a:cubicBezTo>
                  <a:lnTo>
                    <a:pt x="149" y="49"/>
                  </a:lnTo>
                  <a:close/>
                  <a:moveTo>
                    <a:pt x="84" y="0"/>
                  </a:moveTo>
                  <a:cubicBezTo>
                    <a:pt x="38" y="0"/>
                    <a:pt x="0" y="37"/>
                    <a:pt x="0" y="83"/>
                  </a:cubicBezTo>
                  <a:cubicBezTo>
                    <a:pt x="0" y="129"/>
                    <a:pt x="38" y="166"/>
                    <a:pt x="84" y="166"/>
                  </a:cubicBezTo>
                  <a:cubicBezTo>
                    <a:pt x="130" y="166"/>
                    <a:pt x="168" y="129"/>
                    <a:pt x="168" y="83"/>
                  </a:cubicBezTo>
                  <a:cubicBezTo>
                    <a:pt x="168" y="37"/>
                    <a:pt x="130" y="0"/>
                    <a:pt x="84" y="0"/>
                  </a:cubicBezTo>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93" name="Freeform 92"/>
            <p:cNvSpPr>
              <a:spLocks/>
            </p:cNvSpPr>
            <p:nvPr/>
          </p:nvSpPr>
          <p:spPr bwMode="auto">
            <a:xfrm>
              <a:off x="142875" y="708025"/>
              <a:ext cx="960438" cy="252413"/>
            </a:xfrm>
            <a:custGeom>
              <a:avLst/>
              <a:gdLst>
                <a:gd name="T0" fmla="*/ 38 w 605"/>
                <a:gd name="T1" fmla="*/ 38 h 159"/>
                <a:gd name="T2" fmla="*/ 284 w 605"/>
                <a:gd name="T3" fmla="*/ 38 h 159"/>
                <a:gd name="T4" fmla="*/ 284 w 605"/>
                <a:gd name="T5" fmla="*/ 159 h 159"/>
                <a:gd name="T6" fmla="*/ 321 w 605"/>
                <a:gd name="T7" fmla="*/ 159 h 159"/>
                <a:gd name="T8" fmla="*/ 321 w 605"/>
                <a:gd name="T9" fmla="*/ 38 h 159"/>
                <a:gd name="T10" fmla="*/ 567 w 605"/>
                <a:gd name="T11" fmla="*/ 38 h 159"/>
                <a:gd name="T12" fmla="*/ 567 w 605"/>
                <a:gd name="T13" fmla="*/ 156 h 159"/>
                <a:gd name="T14" fmla="*/ 605 w 605"/>
                <a:gd name="T15" fmla="*/ 156 h 159"/>
                <a:gd name="T16" fmla="*/ 605 w 605"/>
                <a:gd name="T17" fmla="*/ 0 h 159"/>
                <a:gd name="T18" fmla="*/ 0 w 605"/>
                <a:gd name="T19" fmla="*/ 0 h 159"/>
                <a:gd name="T20" fmla="*/ 0 w 605"/>
                <a:gd name="T21" fmla="*/ 159 h 159"/>
                <a:gd name="T22" fmla="*/ 38 w 605"/>
                <a:gd name="T23" fmla="*/ 159 h 159"/>
                <a:gd name="T24" fmla="*/ 38 w 605"/>
                <a:gd name="T25" fmla="*/ 38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5" h="159">
                  <a:moveTo>
                    <a:pt x="38" y="38"/>
                  </a:moveTo>
                  <a:lnTo>
                    <a:pt x="284" y="38"/>
                  </a:lnTo>
                  <a:lnTo>
                    <a:pt x="284" y="159"/>
                  </a:lnTo>
                  <a:lnTo>
                    <a:pt x="321" y="159"/>
                  </a:lnTo>
                  <a:lnTo>
                    <a:pt x="321" y="38"/>
                  </a:lnTo>
                  <a:lnTo>
                    <a:pt x="567" y="38"/>
                  </a:lnTo>
                  <a:lnTo>
                    <a:pt x="567" y="156"/>
                  </a:lnTo>
                  <a:lnTo>
                    <a:pt x="605" y="156"/>
                  </a:lnTo>
                  <a:lnTo>
                    <a:pt x="605" y="0"/>
                  </a:lnTo>
                  <a:lnTo>
                    <a:pt x="0" y="0"/>
                  </a:lnTo>
                  <a:lnTo>
                    <a:pt x="0" y="159"/>
                  </a:lnTo>
                  <a:lnTo>
                    <a:pt x="38" y="159"/>
                  </a:lnTo>
                  <a:lnTo>
                    <a:pt x="38" y="38"/>
                  </a:lnTo>
                  <a:close/>
                </a:path>
              </a:pathLst>
            </a:custGeom>
            <a:solidFill>
              <a:srgbClr val="00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94" name="Freeform 93"/>
            <p:cNvSpPr>
              <a:spLocks noEditPoints="1"/>
            </p:cNvSpPr>
            <p:nvPr/>
          </p:nvSpPr>
          <p:spPr bwMode="auto">
            <a:xfrm>
              <a:off x="450850" y="1027112"/>
              <a:ext cx="344488" cy="457200"/>
            </a:xfrm>
            <a:custGeom>
              <a:avLst/>
              <a:gdLst>
                <a:gd name="T0" fmla="*/ 92 w 92"/>
                <a:gd name="T1" fmla="*/ 38 h 122"/>
                <a:gd name="T2" fmla="*/ 92 w 92"/>
                <a:gd name="T3" fmla="*/ 31 h 122"/>
                <a:gd name="T4" fmla="*/ 61 w 92"/>
                <a:gd name="T5" fmla="*/ 0 h 122"/>
                <a:gd name="T6" fmla="*/ 0 w 92"/>
                <a:gd name="T7" fmla="*/ 0 h 122"/>
                <a:gd name="T8" fmla="*/ 0 w 92"/>
                <a:gd name="T9" fmla="*/ 114 h 122"/>
                <a:gd name="T10" fmla="*/ 8 w 92"/>
                <a:gd name="T11" fmla="*/ 122 h 122"/>
                <a:gd name="T12" fmla="*/ 92 w 92"/>
                <a:gd name="T13" fmla="*/ 122 h 122"/>
                <a:gd name="T14" fmla="*/ 92 w 92"/>
                <a:gd name="T15" fmla="*/ 38 h 122"/>
                <a:gd name="T16" fmla="*/ 61 w 92"/>
                <a:gd name="T17" fmla="*/ 12 h 122"/>
                <a:gd name="T18" fmla="*/ 80 w 92"/>
                <a:gd name="T19" fmla="*/ 30 h 122"/>
                <a:gd name="T20" fmla="*/ 61 w 92"/>
                <a:gd name="T21" fmla="*/ 30 h 122"/>
                <a:gd name="T22" fmla="*/ 61 w 92"/>
                <a:gd name="T23" fmla="*/ 12 h 122"/>
                <a:gd name="T24" fmla="*/ 80 w 92"/>
                <a:gd name="T25" fmla="*/ 110 h 122"/>
                <a:gd name="T26" fmla="*/ 12 w 92"/>
                <a:gd name="T27" fmla="*/ 110 h 122"/>
                <a:gd name="T28" fmla="*/ 12 w 92"/>
                <a:gd name="T29" fmla="*/ 12 h 122"/>
                <a:gd name="T30" fmla="*/ 53 w 92"/>
                <a:gd name="T31" fmla="*/ 12 h 122"/>
                <a:gd name="T32" fmla="*/ 53 w 92"/>
                <a:gd name="T33" fmla="*/ 30 h 122"/>
                <a:gd name="T34" fmla="*/ 61 w 92"/>
                <a:gd name="T35" fmla="*/ 38 h 122"/>
                <a:gd name="T36" fmla="*/ 80 w 92"/>
                <a:gd name="T37" fmla="*/ 38 h 122"/>
                <a:gd name="T38" fmla="*/ 80 w 92"/>
                <a:gd name="T39" fmla="*/ 11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2" h="122">
                  <a:moveTo>
                    <a:pt x="92" y="38"/>
                  </a:moveTo>
                  <a:cubicBezTo>
                    <a:pt x="92" y="31"/>
                    <a:pt x="92" y="31"/>
                    <a:pt x="92" y="31"/>
                  </a:cubicBezTo>
                  <a:cubicBezTo>
                    <a:pt x="61" y="0"/>
                    <a:pt x="61" y="0"/>
                    <a:pt x="61" y="0"/>
                  </a:cubicBezTo>
                  <a:cubicBezTo>
                    <a:pt x="0" y="0"/>
                    <a:pt x="0" y="0"/>
                    <a:pt x="0" y="0"/>
                  </a:cubicBezTo>
                  <a:cubicBezTo>
                    <a:pt x="0" y="114"/>
                    <a:pt x="0" y="114"/>
                    <a:pt x="0" y="114"/>
                  </a:cubicBezTo>
                  <a:cubicBezTo>
                    <a:pt x="0" y="119"/>
                    <a:pt x="3" y="122"/>
                    <a:pt x="8" y="122"/>
                  </a:cubicBezTo>
                  <a:cubicBezTo>
                    <a:pt x="92" y="122"/>
                    <a:pt x="92" y="122"/>
                    <a:pt x="92" y="122"/>
                  </a:cubicBezTo>
                  <a:cubicBezTo>
                    <a:pt x="92" y="38"/>
                    <a:pt x="92" y="38"/>
                    <a:pt x="92" y="38"/>
                  </a:cubicBezTo>
                  <a:close/>
                  <a:moveTo>
                    <a:pt x="61" y="12"/>
                  </a:moveTo>
                  <a:cubicBezTo>
                    <a:pt x="80" y="30"/>
                    <a:pt x="80" y="30"/>
                    <a:pt x="80" y="30"/>
                  </a:cubicBezTo>
                  <a:cubicBezTo>
                    <a:pt x="61" y="30"/>
                    <a:pt x="61" y="30"/>
                    <a:pt x="61" y="30"/>
                  </a:cubicBezTo>
                  <a:lnTo>
                    <a:pt x="61" y="12"/>
                  </a:lnTo>
                  <a:close/>
                  <a:moveTo>
                    <a:pt x="80" y="110"/>
                  </a:moveTo>
                  <a:cubicBezTo>
                    <a:pt x="12" y="110"/>
                    <a:pt x="12" y="110"/>
                    <a:pt x="12" y="110"/>
                  </a:cubicBezTo>
                  <a:cubicBezTo>
                    <a:pt x="12" y="12"/>
                    <a:pt x="12" y="12"/>
                    <a:pt x="12" y="12"/>
                  </a:cubicBezTo>
                  <a:cubicBezTo>
                    <a:pt x="53" y="12"/>
                    <a:pt x="53" y="12"/>
                    <a:pt x="53" y="12"/>
                  </a:cubicBezTo>
                  <a:cubicBezTo>
                    <a:pt x="53" y="30"/>
                    <a:pt x="53" y="30"/>
                    <a:pt x="53" y="30"/>
                  </a:cubicBezTo>
                  <a:cubicBezTo>
                    <a:pt x="53" y="35"/>
                    <a:pt x="57" y="38"/>
                    <a:pt x="61" y="38"/>
                  </a:cubicBezTo>
                  <a:cubicBezTo>
                    <a:pt x="80" y="38"/>
                    <a:pt x="80" y="38"/>
                    <a:pt x="80" y="38"/>
                  </a:cubicBezTo>
                  <a:lnTo>
                    <a:pt x="80" y="110"/>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95" name="Freeform 94"/>
            <p:cNvSpPr>
              <a:spLocks noEditPoints="1"/>
            </p:cNvSpPr>
            <p:nvPr/>
          </p:nvSpPr>
          <p:spPr bwMode="auto">
            <a:xfrm>
              <a:off x="900113" y="1027112"/>
              <a:ext cx="346075" cy="457200"/>
            </a:xfrm>
            <a:custGeom>
              <a:avLst/>
              <a:gdLst>
                <a:gd name="T0" fmla="*/ 92 w 92"/>
                <a:gd name="T1" fmla="*/ 38 h 122"/>
                <a:gd name="T2" fmla="*/ 92 w 92"/>
                <a:gd name="T3" fmla="*/ 31 h 122"/>
                <a:gd name="T4" fmla="*/ 61 w 92"/>
                <a:gd name="T5" fmla="*/ 0 h 122"/>
                <a:gd name="T6" fmla="*/ 0 w 92"/>
                <a:gd name="T7" fmla="*/ 0 h 122"/>
                <a:gd name="T8" fmla="*/ 0 w 92"/>
                <a:gd name="T9" fmla="*/ 114 h 122"/>
                <a:gd name="T10" fmla="*/ 8 w 92"/>
                <a:gd name="T11" fmla="*/ 122 h 122"/>
                <a:gd name="T12" fmla="*/ 92 w 92"/>
                <a:gd name="T13" fmla="*/ 122 h 122"/>
                <a:gd name="T14" fmla="*/ 92 w 92"/>
                <a:gd name="T15" fmla="*/ 38 h 122"/>
                <a:gd name="T16" fmla="*/ 61 w 92"/>
                <a:gd name="T17" fmla="*/ 12 h 122"/>
                <a:gd name="T18" fmla="*/ 80 w 92"/>
                <a:gd name="T19" fmla="*/ 30 h 122"/>
                <a:gd name="T20" fmla="*/ 61 w 92"/>
                <a:gd name="T21" fmla="*/ 30 h 122"/>
                <a:gd name="T22" fmla="*/ 61 w 92"/>
                <a:gd name="T23" fmla="*/ 12 h 122"/>
                <a:gd name="T24" fmla="*/ 80 w 92"/>
                <a:gd name="T25" fmla="*/ 110 h 122"/>
                <a:gd name="T26" fmla="*/ 12 w 92"/>
                <a:gd name="T27" fmla="*/ 110 h 122"/>
                <a:gd name="T28" fmla="*/ 12 w 92"/>
                <a:gd name="T29" fmla="*/ 12 h 122"/>
                <a:gd name="T30" fmla="*/ 53 w 92"/>
                <a:gd name="T31" fmla="*/ 12 h 122"/>
                <a:gd name="T32" fmla="*/ 53 w 92"/>
                <a:gd name="T33" fmla="*/ 30 h 122"/>
                <a:gd name="T34" fmla="*/ 61 w 92"/>
                <a:gd name="T35" fmla="*/ 38 h 122"/>
                <a:gd name="T36" fmla="*/ 80 w 92"/>
                <a:gd name="T37" fmla="*/ 38 h 122"/>
                <a:gd name="T38" fmla="*/ 80 w 92"/>
                <a:gd name="T39" fmla="*/ 11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2" h="122">
                  <a:moveTo>
                    <a:pt x="92" y="38"/>
                  </a:moveTo>
                  <a:cubicBezTo>
                    <a:pt x="92" y="31"/>
                    <a:pt x="92" y="31"/>
                    <a:pt x="92" y="31"/>
                  </a:cubicBezTo>
                  <a:cubicBezTo>
                    <a:pt x="61" y="0"/>
                    <a:pt x="61" y="0"/>
                    <a:pt x="61" y="0"/>
                  </a:cubicBezTo>
                  <a:cubicBezTo>
                    <a:pt x="0" y="0"/>
                    <a:pt x="0" y="0"/>
                    <a:pt x="0" y="0"/>
                  </a:cubicBezTo>
                  <a:cubicBezTo>
                    <a:pt x="0" y="114"/>
                    <a:pt x="0" y="114"/>
                    <a:pt x="0" y="114"/>
                  </a:cubicBezTo>
                  <a:cubicBezTo>
                    <a:pt x="0" y="119"/>
                    <a:pt x="3" y="122"/>
                    <a:pt x="8" y="122"/>
                  </a:cubicBezTo>
                  <a:cubicBezTo>
                    <a:pt x="92" y="122"/>
                    <a:pt x="92" y="122"/>
                    <a:pt x="92" y="122"/>
                  </a:cubicBezTo>
                  <a:cubicBezTo>
                    <a:pt x="92" y="38"/>
                    <a:pt x="92" y="38"/>
                    <a:pt x="92" y="38"/>
                  </a:cubicBezTo>
                  <a:close/>
                  <a:moveTo>
                    <a:pt x="61" y="12"/>
                  </a:moveTo>
                  <a:cubicBezTo>
                    <a:pt x="80" y="30"/>
                    <a:pt x="80" y="30"/>
                    <a:pt x="80" y="30"/>
                  </a:cubicBezTo>
                  <a:cubicBezTo>
                    <a:pt x="61" y="30"/>
                    <a:pt x="61" y="30"/>
                    <a:pt x="61" y="30"/>
                  </a:cubicBezTo>
                  <a:lnTo>
                    <a:pt x="61" y="12"/>
                  </a:lnTo>
                  <a:close/>
                  <a:moveTo>
                    <a:pt x="80" y="110"/>
                  </a:moveTo>
                  <a:cubicBezTo>
                    <a:pt x="12" y="110"/>
                    <a:pt x="12" y="110"/>
                    <a:pt x="12" y="110"/>
                  </a:cubicBezTo>
                  <a:cubicBezTo>
                    <a:pt x="12" y="12"/>
                    <a:pt x="12" y="12"/>
                    <a:pt x="12" y="12"/>
                  </a:cubicBezTo>
                  <a:cubicBezTo>
                    <a:pt x="53" y="12"/>
                    <a:pt x="53" y="12"/>
                    <a:pt x="53" y="12"/>
                  </a:cubicBezTo>
                  <a:cubicBezTo>
                    <a:pt x="53" y="30"/>
                    <a:pt x="53" y="30"/>
                    <a:pt x="53" y="30"/>
                  </a:cubicBezTo>
                  <a:cubicBezTo>
                    <a:pt x="53" y="35"/>
                    <a:pt x="57" y="38"/>
                    <a:pt x="61" y="38"/>
                  </a:cubicBezTo>
                  <a:cubicBezTo>
                    <a:pt x="80" y="38"/>
                    <a:pt x="80" y="38"/>
                    <a:pt x="80" y="38"/>
                  </a:cubicBezTo>
                  <a:lnTo>
                    <a:pt x="80" y="110"/>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96" name="Freeform 95"/>
            <p:cNvSpPr>
              <a:spLocks noEditPoints="1"/>
            </p:cNvSpPr>
            <p:nvPr/>
          </p:nvSpPr>
          <p:spPr bwMode="auto">
            <a:xfrm>
              <a:off x="0" y="1027112"/>
              <a:ext cx="346075" cy="457200"/>
            </a:xfrm>
            <a:custGeom>
              <a:avLst/>
              <a:gdLst>
                <a:gd name="T0" fmla="*/ 92 w 92"/>
                <a:gd name="T1" fmla="*/ 38 h 122"/>
                <a:gd name="T2" fmla="*/ 92 w 92"/>
                <a:gd name="T3" fmla="*/ 31 h 122"/>
                <a:gd name="T4" fmla="*/ 61 w 92"/>
                <a:gd name="T5" fmla="*/ 0 h 122"/>
                <a:gd name="T6" fmla="*/ 0 w 92"/>
                <a:gd name="T7" fmla="*/ 0 h 122"/>
                <a:gd name="T8" fmla="*/ 0 w 92"/>
                <a:gd name="T9" fmla="*/ 114 h 122"/>
                <a:gd name="T10" fmla="*/ 8 w 92"/>
                <a:gd name="T11" fmla="*/ 122 h 122"/>
                <a:gd name="T12" fmla="*/ 92 w 92"/>
                <a:gd name="T13" fmla="*/ 122 h 122"/>
                <a:gd name="T14" fmla="*/ 92 w 92"/>
                <a:gd name="T15" fmla="*/ 38 h 122"/>
                <a:gd name="T16" fmla="*/ 61 w 92"/>
                <a:gd name="T17" fmla="*/ 12 h 122"/>
                <a:gd name="T18" fmla="*/ 80 w 92"/>
                <a:gd name="T19" fmla="*/ 30 h 122"/>
                <a:gd name="T20" fmla="*/ 61 w 92"/>
                <a:gd name="T21" fmla="*/ 30 h 122"/>
                <a:gd name="T22" fmla="*/ 61 w 92"/>
                <a:gd name="T23" fmla="*/ 12 h 122"/>
                <a:gd name="T24" fmla="*/ 80 w 92"/>
                <a:gd name="T25" fmla="*/ 110 h 122"/>
                <a:gd name="T26" fmla="*/ 12 w 92"/>
                <a:gd name="T27" fmla="*/ 110 h 122"/>
                <a:gd name="T28" fmla="*/ 12 w 92"/>
                <a:gd name="T29" fmla="*/ 12 h 122"/>
                <a:gd name="T30" fmla="*/ 53 w 92"/>
                <a:gd name="T31" fmla="*/ 12 h 122"/>
                <a:gd name="T32" fmla="*/ 53 w 92"/>
                <a:gd name="T33" fmla="*/ 30 h 122"/>
                <a:gd name="T34" fmla="*/ 61 w 92"/>
                <a:gd name="T35" fmla="*/ 38 h 122"/>
                <a:gd name="T36" fmla="*/ 80 w 92"/>
                <a:gd name="T37" fmla="*/ 38 h 122"/>
                <a:gd name="T38" fmla="*/ 80 w 92"/>
                <a:gd name="T39" fmla="*/ 11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2" h="122">
                  <a:moveTo>
                    <a:pt x="92" y="38"/>
                  </a:moveTo>
                  <a:cubicBezTo>
                    <a:pt x="92" y="31"/>
                    <a:pt x="92" y="31"/>
                    <a:pt x="92" y="31"/>
                  </a:cubicBezTo>
                  <a:cubicBezTo>
                    <a:pt x="61" y="0"/>
                    <a:pt x="61" y="0"/>
                    <a:pt x="61" y="0"/>
                  </a:cubicBezTo>
                  <a:cubicBezTo>
                    <a:pt x="0" y="0"/>
                    <a:pt x="0" y="0"/>
                    <a:pt x="0" y="0"/>
                  </a:cubicBezTo>
                  <a:cubicBezTo>
                    <a:pt x="0" y="114"/>
                    <a:pt x="0" y="114"/>
                    <a:pt x="0" y="114"/>
                  </a:cubicBezTo>
                  <a:cubicBezTo>
                    <a:pt x="0" y="119"/>
                    <a:pt x="4" y="122"/>
                    <a:pt x="8" y="122"/>
                  </a:cubicBezTo>
                  <a:cubicBezTo>
                    <a:pt x="92" y="122"/>
                    <a:pt x="92" y="122"/>
                    <a:pt x="92" y="122"/>
                  </a:cubicBezTo>
                  <a:cubicBezTo>
                    <a:pt x="92" y="38"/>
                    <a:pt x="92" y="38"/>
                    <a:pt x="92" y="38"/>
                  </a:cubicBezTo>
                  <a:close/>
                  <a:moveTo>
                    <a:pt x="61" y="12"/>
                  </a:moveTo>
                  <a:cubicBezTo>
                    <a:pt x="80" y="30"/>
                    <a:pt x="80" y="30"/>
                    <a:pt x="80" y="30"/>
                  </a:cubicBezTo>
                  <a:cubicBezTo>
                    <a:pt x="61" y="30"/>
                    <a:pt x="61" y="30"/>
                    <a:pt x="61" y="30"/>
                  </a:cubicBezTo>
                  <a:lnTo>
                    <a:pt x="61" y="12"/>
                  </a:lnTo>
                  <a:close/>
                  <a:moveTo>
                    <a:pt x="80" y="110"/>
                  </a:moveTo>
                  <a:cubicBezTo>
                    <a:pt x="12" y="110"/>
                    <a:pt x="12" y="110"/>
                    <a:pt x="12" y="110"/>
                  </a:cubicBezTo>
                  <a:cubicBezTo>
                    <a:pt x="12" y="12"/>
                    <a:pt x="12" y="12"/>
                    <a:pt x="12" y="12"/>
                  </a:cubicBezTo>
                  <a:cubicBezTo>
                    <a:pt x="53" y="12"/>
                    <a:pt x="53" y="12"/>
                    <a:pt x="53" y="12"/>
                  </a:cubicBezTo>
                  <a:cubicBezTo>
                    <a:pt x="53" y="30"/>
                    <a:pt x="53" y="30"/>
                    <a:pt x="53" y="30"/>
                  </a:cubicBezTo>
                  <a:cubicBezTo>
                    <a:pt x="53" y="35"/>
                    <a:pt x="57" y="38"/>
                    <a:pt x="61" y="38"/>
                  </a:cubicBezTo>
                  <a:cubicBezTo>
                    <a:pt x="80" y="38"/>
                    <a:pt x="80" y="38"/>
                    <a:pt x="80" y="38"/>
                  </a:cubicBezTo>
                  <a:lnTo>
                    <a:pt x="80" y="110"/>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grpSp>
      <p:grpSp>
        <p:nvGrpSpPr>
          <p:cNvPr id="97" name="Group 96"/>
          <p:cNvGrpSpPr/>
          <p:nvPr/>
        </p:nvGrpSpPr>
        <p:grpSpPr>
          <a:xfrm>
            <a:off x="7455787" y="2883382"/>
            <a:ext cx="556822" cy="742534"/>
            <a:chOff x="0" y="0"/>
            <a:chExt cx="1087438" cy="1447800"/>
          </a:xfrm>
        </p:grpSpPr>
        <p:sp>
          <p:nvSpPr>
            <p:cNvPr id="98" name="Freeform 97"/>
            <p:cNvSpPr>
              <a:spLocks/>
            </p:cNvSpPr>
            <p:nvPr/>
          </p:nvSpPr>
          <p:spPr bwMode="auto">
            <a:xfrm>
              <a:off x="700088" y="1101725"/>
              <a:ext cx="96838" cy="98425"/>
            </a:xfrm>
            <a:custGeom>
              <a:avLst/>
              <a:gdLst>
                <a:gd name="T0" fmla="*/ 5 w 26"/>
                <a:gd name="T1" fmla="*/ 4 h 26"/>
                <a:gd name="T2" fmla="*/ 5 w 26"/>
                <a:gd name="T3" fmla="*/ 21 h 26"/>
                <a:gd name="T4" fmla="*/ 21 w 26"/>
                <a:gd name="T5" fmla="*/ 21 h 26"/>
                <a:gd name="T6" fmla="*/ 21 w 26"/>
                <a:gd name="T7" fmla="*/ 4 h 26"/>
                <a:gd name="T8" fmla="*/ 5 w 26"/>
                <a:gd name="T9" fmla="*/ 4 h 26"/>
              </a:gdLst>
              <a:ahLst/>
              <a:cxnLst>
                <a:cxn ang="0">
                  <a:pos x="T0" y="T1"/>
                </a:cxn>
                <a:cxn ang="0">
                  <a:pos x="T2" y="T3"/>
                </a:cxn>
                <a:cxn ang="0">
                  <a:pos x="T4" y="T5"/>
                </a:cxn>
                <a:cxn ang="0">
                  <a:pos x="T6" y="T7"/>
                </a:cxn>
                <a:cxn ang="0">
                  <a:pos x="T8" y="T9"/>
                </a:cxn>
              </a:cxnLst>
              <a:rect l="0" t="0" r="r" b="b"/>
              <a:pathLst>
                <a:path w="26" h="26">
                  <a:moveTo>
                    <a:pt x="5" y="4"/>
                  </a:moveTo>
                  <a:cubicBezTo>
                    <a:pt x="0" y="9"/>
                    <a:pt x="0" y="16"/>
                    <a:pt x="5" y="21"/>
                  </a:cubicBezTo>
                  <a:cubicBezTo>
                    <a:pt x="9" y="26"/>
                    <a:pt x="17" y="26"/>
                    <a:pt x="21" y="21"/>
                  </a:cubicBezTo>
                  <a:cubicBezTo>
                    <a:pt x="26" y="16"/>
                    <a:pt x="26" y="9"/>
                    <a:pt x="21" y="4"/>
                  </a:cubicBezTo>
                  <a:cubicBezTo>
                    <a:pt x="17" y="0"/>
                    <a:pt x="9" y="0"/>
                    <a:pt x="5" y="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99" name="Freeform 98"/>
            <p:cNvSpPr>
              <a:spLocks noEditPoints="1"/>
            </p:cNvSpPr>
            <p:nvPr/>
          </p:nvSpPr>
          <p:spPr bwMode="auto">
            <a:xfrm>
              <a:off x="11113" y="466725"/>
              <a:ext cx="1076325" cy="981075"/>
            </a:xfrm>
            <a:custGeom>
              <a:avLst/>
              <a:gdLst>
                <a:gd name="T0" fmla="*/ 225 w 286"/>
                <a:gd name="T1" fmla="*/ 100 h 261"/>
                <a:gd name="T2" fmla="*/ 144 w 286"/>
                <a:gd name="T3" fmla="*/ 19 h 261"/>
                <a:gd name="T4" fmla="*/ 83 w 286"/>
                <a:gd name="T5" fmla="*/ 19 h 261"/>
                <a:gd name="T6" fmla="*/ 64 w 286"/>
                <a:gd name="T7" fmla="*/ 37 h 261"/>
                <a:gd name="T8" fmla="*/ 0 w 286"/>
                <a:gd name="T9" fmla="*/ 101 h 261"/>
                <a:gd name="T10" fmla="*/ 60 w 286"/>
                <a:gd name="T11" fmla="*/ 162 h 261"/>
                <a:gd name="T12" fmla="*/ 141 w 286"/>
                <a:gd name="T13" fmla="*/ 243 h 261"/>
                <a:gd name="T14" fmla="*/ 203 w 286"/>
                <a:gd name="T15" fmla="*/ 243 h 261"/>
                <a:gd name="T16" fmla="*/ 246 w 286"/>
                <a:gd name="T17" fmla="*/ 199 h 261"/>
                <a:gd name="T18" fmla="*/ 286 w 286"/>
                <a:gd name="T19" fmla="*/ 160 h 261"/>
                <a:gd name="T20" fmla="*/ 225 w 286"/>
                <a:gd name="T21" fmla="*/ 100 h 261"/>
                <a:gd name="T22" fmla="*/ 187 w 286"/>
                <a:gd name="T23" fmla="*/ 227 h 261"/>
                <a:gd name="T24" fmla="*/ 157 w 286"/>
                <a:gd name="T25" fmla="*/ 227 h 261"/>
                <a:gd name="T26" fmla="*/ 31 w 286"/>
                <a:gd name="T27" fmla="*/ 102 h 261"/>
                <a:gd name="T28" fmla="*/ 98 w 286"/>
                <a:gd name="T29" fmla="*/ 34 h 261"/>
                <a:gd name="T30" fmla="*/ 129 w 286"/>
                <a:gd name="T31" fmla="*/ 34 h 261"/>
                <a:gd name="T32" fmla="*/ 255 w 286"/>
                <a:gd name="T33" fmla="*/ 160 h 261"/>
                <a:gd name="T34" fmla="*/ 187 w 286"/>
                <a:gd name="T35" fmla="*/ 227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6" h="261">
                  <a:moveTo>
                    <a:pt x="225" y="100"/>
                  </a:moveTo>
                  <a:cubicBezTo>
                    <a:pt x="144" y="19"/>
                    <a:pt x="144" y="19"/>
                    <a:pt x="144" y="19"/>
                  </a:cubicBezTo>
                  <a:cubicBezTo>
                    <a:pt x="126" y="0"/>
                    <a:pt x="101" y="0"/>
                    <a:pt x="83" y="19"/>
                  </a:cubicBezTo>
                  <a:cubicBezTo>
                    <a:pt x="64" y="37"/>
                    <a:pt x="64" y="37"/>
                    <a:pt x="64" y="37"/>
                  </a:cubicBezTo>
                  <a:cubicBezTo>
                    <a:pt x="0" y="101"/>
                    <a:pt x="0" y="101"/>
                    <a:pt x="0" y="101"/>
                  </a:cubicBezTo>
                  <a:cubicBezTo>
                    <a:pt x="60" y="162"/>
                    <a:pt x="60" y="162"/>
                    <a:pt x="60" y="162"/>
                  </a:cubicBezTo>
                  <a:cubicBezTo>
                    <a:pt x="141" y="243"/>
                    <a:pt x="141" y="243"/>
                    <a:pt x="141" y="243"/>
                  </a:cubicBezTo>
                  <a:cubicBezTo>
                    <a:pt x="160" y="261"/>
                    <a:pt x="184" y="261"/>
                    <a:pt x="203" y="243"/>
                  </a:cubicBezTo>
                  <a:cubicBezTo>
                    <a:pt x="246" y="199"/>
                    <a:pt x="246" y="199"/>
                    <a:pt x="246" y="199"/>
                  </a:cubicBezTo>
                  <a:cubicBezTo>
                    <a:pt x="286" y="160"/>
                    <a:pt x="286" y="160"/>
                    <a:pt x="286" y="160"/>
                  </a:cubicBezTo>
                  <a:lnTo>
                    <a:pt x="225" y="100"/>
                  </a:lnTo>
                  <a:close/>
                  <a:moveTo>
                    <a:pt x="187" y="227"/>
                  </a:moveTo>
                  <a:cubicBezTo>
                    <a:pt x="178" y="237"/>
                    <a:pt x="166" y="237"/>
                    <a:pt x="157" y="227"/>
                  </a:cubicBezTo>
                  <a:cubicBezTo>
                    <a:pt x="151" y="222"/>
                    <a:pt x="31" y="102"/>
                    <a:pt x="31" y="102"/>
                  </a:cubicBezTo>
                  <a:cubicBezTo>
                    <a:pt x="31" y="102"/>
                    <a:pt x="95" y="37"/>
                    <a:pt x="98" y="34"/>
                  </a:cubicBezTo>
                  <a:cubicBezTo>
                    <a:pt x="107" y="25"/>
                    <a:pt x="120" y="25"/>
                    <a:pt x="129" y="34"/>
                  </a:cubicBezTo>
                  <a:cubicBezTo>
                    <a:pt x="255" y="160"/>
                    <a:pt x="255" y="160"/>
                    <a:pt x="255" y="160"/>
                  </a:cubicBezTo>
                  <a:cubicBezTo>
                    <a:pt x="255" y="160"/>
                    <a:pt x="190" y="225"/>
                    <a:pt x="187" y="22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100" name="Freeform 99"/>
            <p:cNvSpPr>
              <a:spLocks/>
            </p:cNvSpPr>
            <p:nvPr/>
          </p:nvSpPr>
          <p:spPr bwMode="auto">
            <a:xfrm>
              <a:off x="247650" y="255587"/>
              <a:ext cx="376238" cy="260350"/>
            </a:xfrm>
            <a:custGeom>
              <a:avLst/>
              <a:gdLst>
                <a:gd name="T0" fmla="*/ 82 w 100"/>
                <a:gd name="T1" fmla="*/ 55 h 69"/>
                <a:gd name="T2" fmla="*/ 83 w 100"/>
                <a:gd name="T3" fmla="*/ 56 h 69"/>
                <a:gd name="T4" fmla="*/ 86 w 100"/>
                <a:gd name="T5" fmla="*/ 59 h 69"/>
                <a:gd name="T6" fmla="*/ 97 w 100"/>
                <a:gd name="T7" fmla="*/ 69 h 69"/>
                <a:gd name="T8" fmla="*/ 97 w 100"/>
                <a:gd name="T9" fmla="*/ 68 h 69"/>
                <a:gd name="T10" fmla="*/ 100 w 100"/>
                <a:gd name="T11" fmla="*/ 51 h 69"/>
                <a:gd name="T12" fmla="*/ 50 w 100"/>
                <a:gd name="T13" fmla="*/ 0 h 69"/>
                <a:gd name="T14" fmla="*/ 0 w 100"/>
                <a:gd name="T15" fmla="*/ 51 h 69"/>
                <a:gd name="T16" fmla="*/ 3 w 100"/>
                <a:gd name="T17" fmla="*/ 68 h 69"/>
                <a:gd name="T18" fmla="*/ 3 w 100"/>
                <a:gd name="T19" fmla="*/ 69 h 69"/>
                <a:gd name="T20" fmla="*/ 14 w 100"/>
                <a:gd name="T21" fmla="*/ 59 h 69"/>
                <a:gd name="T22" fmla="*/ 17 w 100"/>
                <a:gd name="T23" fmla="*/ 55 h 69"/>
                <a:gd name="T24" fmla="*/ 18 w 100"/>
                <a:gd name="T25" fmla="*/ 55 h 69"/>
                <a:gd name="T26" fmla="*/ 18 w 100"/>
                <a:gd name="T27" fmla="*/ 55 h 69"/>
                <a:gd name="T28" fmla="*/ 17 w 100"/>
                <a:gd name="T29" fmla="*/ 51 h 69"/>
                <a:gd name="T30" fmla="*/ 50 w 100"/>
                <a:gd name="T31" fmla="*/ 18 h 69"/>
                <a:gd name="T32" fmla="*/ 83 w 100"/>
                <a:gd name="T33" fmla="*/ 51 h 69"/>
                <a:gd name="T34" fmla="*/ 82 w 100"/>
                <a:gd name="T35" fmla="*/ 5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69">
                  <a:moveTo>
                    <a:pt x="82" y="55"/>
                  </a:moveTo>
                  <a:cubicBezTo>
                    <a:pt x="83" y="56"/>
                    <a:pt x="83" y="56"/>
                    <a:pt x="83" y="56"/>
                  </a:cubicBezTo>
                  <a:cubicBezTo>
                    <a:pt x="84" y="56"/>
                    <a:pt x="85" y="57"/>
                    <a:pt x="86" y="59"/>
                  </a:cubicBezTo>
                  <a:cubicBezTo>
                    <a:pt x="97" y="69"/>
                    <a:pt x="97" y="69"/>
                    <a:pt x="97" y="69"/>
                  </a:cubicBezTo>
                  <a:cubicBezTo>
                    <a:pt x="97" y="68"/>
                    <a:pt x="97" y="68"/>
                    <a:pt x="97" y="68"/>
                  </a:cubicBezTo>
                  <a:cubicBezTo>
                    <a:pt x="99" y="62"/>
                    <a:pt x="100" y="57"/>
                    <a:pt x="100" y="51"/>
                  </a:cubicBezTo>
                  <a:cubicBezTo>
                    <a:pt x="100" y="23"/>
                    <a:pt x="78" y="0"/>
                    <a:pt x="50" y="0"/>
                  </a:cubicBezTo>
                  <a:cubicBezTo>
                    <a:pt x="22" y="0"/>
                    <a:pt x="0" y="23"/>
                    <a:pt x="0" y="51"/>
                  </a:cubicBezTo>
                  <a:cubicBezTo>
                    <a:pt x="0" y="57"/>
                    <a:pt x="1" y="62"/>
                    <a:pt x="3" y="68"/>
                  </a:cubicBezTo>
                  <a:cubicBezTo>
                    <a:pt x="3" y="69"/>
                    <a:pt x="3" y="69"/>
                    <a:pt x="3" y="69"/>
                  </a:cubicBezTo>
                  <a:cubicBezTo>
                    <a:pt x="14" y="59"/>
                    <a:pt x="14" y="59"/>
                    <a:pt x="14" y="59"/>
                  </a:cubicBezTo>
                  <a:cubicBezTo>
                    <a:pt x="15" y="58"/>
                    <a:pt x="16" y="56"/>
                    <a:pt x="17" y="55"/>
                  </a:cubicBezTo>
                  <a:cubicBezTo>
                    <a:pt x="18" y="55"/>
                    <a:pt x="18" y="55"/>
                    <a:pt x="18" y="55"/>
                  </a:cubicBezTo>
                  <a:cubicBezTo>
                    <a:pt x="18" y="55"/>
                    <a:pt x="18" y="55"/>
                    <a:pt x="18" y="55"/>
                  </a:cubicBezTo>
                  <a:cubicBezTo>
                    <a:pt x="17" y="53"/>
                    <a:pt x="17" y="52"/>
                    <a:pt x="17" y="51"/>
                  </a:cubicBezTo>
                  <a:cubicBezTo>
                    <a:pt x="17" y="33"/>
                    <a:pt x="32" y="18"/>
                    <a:pt x="50" y="18"/>
                  </a:cubicBezTo>
                  <a:cubicBezTo>
                    <a:pt x="68" y="18"/>
                    <a:pt x="83" y="33"/>
                    <a:pt x="83" y="51"/>
                  </a:cubicBezTo>
                  <a:cubicBezTo>
                    <a:pt x="83" y="52"/>
                    <a:pt x="83" y="53"/>
                    <a:pt x="82" y="5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101" name="Freeform 100"/>
            <p:cNvSpPr>
              <a:spLocks/>
            </p:cNvSpPr>
            <p:nvPr/>
          </p:nvSpPr>
          <p:spPr bwMode="auto">
            <a:xfrm>
              <a:off x="112713" y="117475"/>
              <a:ext cx="646113" cy="488950"/>
            </a:xfrm>
            <a:custGeom>
              <a:avLst/>
              <a:gdLst>
                <a:gd name="T0" fmla="*/ 146 w 172"/>
                <a:gd name="T1" fmla="*/ 117 h 130"/>
                <a:gd name="T2" fmla="*/ 160 w 172"/>
                <a:gd name="T3" fmla="*/ 130 h 130"/>
                <a:gd name="T4" fmla="*/ 160 w 172"/>
                <a:gd name="T5" fmla="*/ 129 h 130"/>
                <a:gd name="T6" fmla="*/ 172 w 172"/>
                <a:gd name="T7" fmla="*/ 86 h 130"/>
                <a:gd name="T8" fmla="*/ 86 w 172"/>
                <a:gd name="T9" fmla="*/ 0 h 130"/>
                <a:gd name="T10" fmla="*/ 0 w 172"/>
                <a:gd name="T11" fmla="*/ 86 h 130"/>
                <a:gd name="T12" fmla="*/ 11 w 172"/>
                <a:gd name="T13" fmla="*/ 129 h 130"/>
                <a:gd name="T14" fmla="*/ 12 w 172"/>
                <a:gd name="T15" fmla="*/ 130 h 130"/>
                <a:gd name="T16" fmla="*/ 26 w 172"/>
                <a:gd name="T17" fmla="*/ 116 h 130"/>
                <a:gd name="T18" fmla="*/ 25 w 172"/>
                <a:gd name="T19" fmla="*/ 116 h 130"/>
                <a:gd name="T20" fmla="*/ 18 w 172"/>
                <a:gd name="T21" fmla="*/ 86 h 130"/>
                <a:gd name="T22" fmla="*/ 86 w 172"/>
                <a:gd name="T23" fmla="*/ 18 h 130"/>
                <a:gd name="T24" fmla="*/ 154 w 172"/>
                <a:gd name="T25" fmla="*/ 86 h 130"/>
                <a:gd name="T26" fmla="*/ 147 w 172"/>
                <a:gd name="T27" fmla="*/ 116 h 130"/>
                <a:gd name="T28" fmla="*/ 146 w 172"/>
                <a:gd name="T29" fmla="*/ 11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2" h="130">
                  <a:moveTo>
                    <a:pt x="146" y="117"/>
                  </a:moveTo>
                  <a:cubicBezTo>
                    <a:pt x="160" y="130"/>
                    <a:pt x="160" y="130"/>
                    <a:pt x="160" y="130"/>
                  </a:cubicBezTo>
                  <a:cubicBezTo>
                    <a:pt x="160" y="129"/>
                    <a:pt x="160" y="129"/>
                    <a:pt x="160" y="129"/>
                  </a:cubicBezTo>
                  <a:cubicBezTo>
                    <a:pt x="168" y="116"/>
                    <a:pt x="172" y="101"/>
                    <a:pt x="172" y="86"/>
                  </a:cubicBezTo>
                  <a:cubicBezTo>
                    <a:pt x="172" y="38"/>
                    <a:pt x="134" y="0"/>
                    <a:pt x="86" y="0"/>
                  </a:cubicBezTo>
                  <a:cubicBezTo>
                    <a:pt x="38" y="0"/>
                    <a:pt x="0" y="38"/>
                    <a:pt x="0" y="86"/>
                  </a:cubicBezTo>
                  <a:cubicBezTo>
                    <a:pt x="0" y="101"/>
                    <a:pt x="4" y="116"/>
                    <a:pt x="11" y="129"/>
                  </a:cubicBezTo>
                  <a:cubicBezTo>
                    <a:pt x="12" y="130"/>
                    <a:pt x="12" y="130"/>
                    <a:pt x="12" y="130"/>
                  </a:cubicBezTo>
                  <a:cubicBezTo>
                    <a:pt x="26" y="116"/>
                    <a:pt x="26" y="116"/>
                    <a:pt x="26" y="116"/>
                  </a:cubicBezTo>
                  <a:cubicBezTo>
                    <a:pt x="25" y="116"/>
                    <a:pt x="25" y="116"/>
                    <a:pt x="25" y="116"/>
                  </a:cubicBezTo>
                  <a:cubicBezTo>
                    <a:pt x="21" y="106"/>
                    <a:pt x="18" y="96"/>
                    <a:pt x="18" y="86"/>
                  </a:cubicBezTo>
                  <a:cubicBezTo>
                    <a:pt x="18" y="48"/>
                    <a:pt x="49" y="18"/>
                    <a:pt x="86" y="18"/>
                  </a:cubicBezTo>
                  <a:cubicBezTo>
                    <a:pt x="123" y="18"/>
                    <a:pt x="154" y="48"/>
                    <a:pt x="154" y="86"/>
                  </a:cubicBezTo>
                  <a:cubicBezTo>
                    <a:pt x="154" y="96"/>
                    <a:pt x="151" y="106"/>
                    <a:pt x="147" y="116"/>
                  </a:cubicBezTo>
                  <a:lnTo>
                    <a:pt x="146" y="11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102" name="Freeform 101"/>
            <p:cNvSpPr>
              <a:spLocks/>
            </p:cNvSpPr>
            <p:nvPr/>
          </p:nvSpPr>
          <p:spPr bwMode="auto">
            <a:xfrm>
              <a:off x="0" y="0"/>
              <a:ext cx="871538" cy="684213"/>
            </a:xfrm>
            <a:custGeom>
              <a:avLst/>
              <a:gdLst>
                <a:gd name="T0" fmla="*/ 30 w 232"/>
                <a:gd name="T1" fmla="*/ 172 h 182"/>
                <a:gd name="T2" fmla="*/ 13 w 232"/>
                <a:gd name="T3" fmla="*/ 116 h 182"/>
                <a:gd name="T4" fmla="*/ 116 w 232"/>
                <a:gd name="T5" fmla="*/ 14 h 182"/>
                <a:gd name="T6" fmla="*/ 219 w 232"/>
                <a:gd name="T7" fmla="*/ 116 h 182"/>
                <a:gd name="T8" fmla="*/ 202 w 232"/>
                <a:gd name="T9" fmla="*/ 172 h 182"/>
                <a:gd name="T10" fmla="*/ 212 w 232"/>
                <a:gd name="T11" fmla="*/ 182 h 182"/>
                <a:gd name="T12" fmla="*/ 232 w 232"/>
                <a:gd name="T13" fmla="*/ 116 h 182"/>
                <a:gd name="T14" fmla="*/ 116 w 232"/>
                <a:gd name="T15" fmla="*/ 0 h 182"/>
                <a:gd name="T16" fmla="*/ 0 w 232"/>
                <a:gd name="T17" fmla="*/ 116 h 182"/>
                <a:gd name="T18" fmla="*/ 20 w 232"/>
                <a:gd name="T19" fmla="*/ 182 h 182"/>
                <a:gd name="T20" fmla="*/ 30 w 232"/>
                <a:gd name="T21" fmla="*/ 17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2" h="182">
                  <a:moveTo>
                    <a:pt x="30" y="172"/>
                  </a:moveTo>
                  <a:cubicBezTo>
                    <a:pt x="19" y="156"/>
                    <a:pt x="13" y="137"/>
                    <a:pt x="13" y="116"/>
                  </a:cubicBezTo>
                  <a:cubicBezTo>
                    <a:pt x="13" y="60"/>
                    <a:pt x="59" y="14"/>
                    <a:pt x="116" y="14"/>
                  </a:cubicBezTo>
                  <a:cubicBezTo>
                    <a:pt x="173" y="14"/>
                    <a:pt x="219" y="60"/>
                    <a:pt x="219" y="116"/>
                  </a:cubicBezTo>
                  <a:cubicBezTo>
                    <a:pt x="219" y="137"/>
                    <a:pt x="213" y="156"/>
                    <a:pt x="202" y="172"/>
                  </a:cubicBezTo>
                  <a:cubicBezTo>
                    <a:pt x="212" y="182"/>
                    <a:pt x="212" y="182"/>
                    <a:pt x="212" y="182"/>
                  </a:cubicBezTo>
                  <a:cubicBezTo>
                    <a:pt x="225" y="163"/>
                    <a:pt x="232" y="141"/>
                    <a:pt x="232" y="116"/>
                  </a:cubicBezTo>
                  <a:cubicBezTo>
                    <a:pt x="232" y="52"/>
                    <a:pt x="180" y="0"/>
                    <a:pt x="116" y="0"/>
                  </a:cubicBezTo>
                  <a:cubicBezTo>
                    <a:pt x="52" y="0"/>
                    <a:pt x="0" y="52"/>
                    <a:pt x="0" y="116"/>
                  </a:cubicBezTo>
                  <a:cubicBezTo>
                    <a:pt x="0" y="141"/>
                    <a:pt x="7" y="163"/>
                    <a:pt x="20" y="182"/>
                  </a:cubicBezTo>
                  <a:lnTo>
                    <a:pt x="30" y="17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grpSp>
      <p:sp>
        <p:nvSpPr>
          <p:cNvPr id="103" name="Freeform 102"/>
          <p:cNvSpPr>
            <a:spLocks/>
          </p:cNvSpPr>
          <p:nvPr/>
        </p:nvSpPr>
        <p:spPr bwMode="auto">
          <a:xfrm>
            <a:off x="11157724" y="2874371"/>
            <a:ext cx="588615" cy="988368"/>
          </a:xfrm>
          <a:custGeom>
            <a:avLst/>
            <a:gdLst>
              <a:gd name="T0" fmla="*/ 165 w 187"/>
              <a:gd name="T1" fmla="*/ 0 h 314"/>
              <a:gd name="T2" fmla="*/ 0 w 187"/>
              <a:gd name="T3" fmla="*/ 0 h 314"/>
              <a:gd name="T4" fmla="*/ 0 w 187"/>
              <a:gd name="T5" fmla="*/ 36 h 314"/>
              <a:gd name="T6" fmla="*/ 146 w 187"/>
              <a:gd name="T7" fmla="*/ 36 h 314"/>
              <a:gd name="T8" fmla="*/ 146 w 187"/>
              <a:gd name="T9" fmla="*/ 51 h 314"/>
              <a:gd name="T10" fmla="*/ 0 w 187"/>
              <a:gd name="T11" fmla="*/ 51 h 314"/>
              <a:gd name="T12" fmla="*/ 0 w 187"/>
              <a:gd name="T13" fmla="*/ 74 h 314"/>
              <a:gd name="T14" fmla="*/ 146 w 187"/>
              <a:gd name="T15" fmla="*/ 74 h 314"/>
              <a:gd name="T16" fmla="*/ 146 w 187"/>
              <a:gd name="T17" fmla="*/ 89 h 314"/>
              <a:gd name="T18" fmla="*/ 0 w 187"/>
              <a:gd name="T19" fmla="*/ 89 h 314"/>
              <a:gd name="T20" fmla="*/ 0 w 187"/>
              <a:gd name="T21" fmla="*/ 292 h 314"/>
              <a:gd name="T22" fmla="*/ 23 w 187"/>
              <a:gd name="T23" fmla="*/ 314 h 314"/>
              <a:gd name="T24" fmla="*/ 187 w 187"/>
              <a:gd name="T25" fmla="*/ 314 h 314"/>
              <a:gd name="T26" fmla="*/ 187 w 187"/>
              <a:gd name="T27" fmla="*/ 22 h 314"/>
              <a:gd name="T28" fmla="*/ 165 w 187"/>
              <a:gd name="T29"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7" h="314">
                <a:moveTo>
                  <a:pt x="165" y="0"/>
                </a:moveTo>
                <a:cubicBezTo>
                  <a:pt x="0" y="0"/>
                  <a:pt x="0" y="0"/>
                  <a:pt x="0" y="0"/>
                </a:cubicBezTo>
                <a:cubicBezTo>
                  <a:pt x="0" y="36"/>
                  <a:pt x="0" y="36"/>
                  <a:pt x="0" y="36"/>
                </a:cubicBezTo>
                <a:cubicBezTo>
                  <a:pt x="146" y="36"/>
                  <a:pt x="146" y="36"/>
                  <a:pt x="146" y="36"/>
                </a:cubicBezTo>
                <a:cubicBezTo>
                  <a:pt x="146" y="51"/>
                  <a:pt x="146" y="51"/>
                  <a:pt x="146" y="51"/>
                </a:cubicBezTo>
                <a:cubicBezTo>
                  <a:pt x="0" y="51"/>
                  <a:pt x="0" y="51"/>
                  <a:pt x="0" y="51"/>
                </a:cubicBezTo>
                <a:cubicBezTo>
                  <a:pt x="0" y="74"/>
                  <a:pt x="0" y="74"/>
                  <a:pt x="0" y="74"/>
                </a:cubicBezTo>
                <a:cubicBezTo>
                  <a:pt x="146" y="74"/>
                  <a:pt x="146" y="74"/>
                  <a:pt x="146" y="74"/>
                </a:cubicBezTo>
                <a:cubicBezTo>
                  <a:pt x="146" y="89"/>
                  <a:pt x="146" y="89"/>
                  <a:pt x="146" y="89"/>
                </a:cubicBezTo>
                <a:cubicBezTo>
                  <a:pt x="0" y="89"/>
                  <a:pt x="0" y="89"/>
                  <a:pt x="0" y="89"/>
                </a:cubicBezTo>
                <a:cubicBezTo>
                  <a:pt x="0" y="292"/>
                  <a:pt x="0" y="292"/>
                  <a:pt x="0" y="292"/>
                </a:cubicBezTo>
                <a:cubicBezTo>
                  <a:pt x="0" y="304"/>
                  <a:pt x="10" y="314"/>
                  <a:pt x="23" y="314"/>
                </a:cubicBezTo>
                <a:cubicBezTo>
                  <a:pt x="187" y="314"/>
                  <a:pt x="187" y="314"/>
                  <a:pt x="187" y="314"/>
                </a:cubicBezTo>
                <a:cubicBezTo>
                  <a:pt x="187" y="22"/>
                  <a:pt x="187" y="22"/>
                  <a:pt x="187" y="22"/>
                </a:cubicBezTo>
                <a:cubicBezTo>
                  <a:pt x="187" y="10"/>
                  <a:pt x="177" y="0"/>
                  <a:pt x="165" y="0"/>
                </a:cubicBez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9909" tIns="64954" rIns="129909" bIns="64954"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104" name="Freeform 103"/>
          <p:cNvSpPr>
            <a:spLocks noEditPoints="1"/>
          </p:cNvSpPr>
          <p:nvPr/>
        </p:nvSpPr>
        <p:spPr bwMode="auto">
          <a:xfrm>
            <a:off x="9712317" y="2883183"/>
            <a:ext cx="1263440" cy="983578"/>
          </a:xfrm>
          <a:custGeom>
            <a:avLst/>
            <a:gdLst>
              <a:gd name="T0" fmla="*/ 360 w 360"/>
              <a:gd name="T1" fmla="*/ 240 h 280"/>
              <a:gd name="T2" fmla="*/ 360 w 360"/>
              <a:gd name="T3" fmla="*/ 24 h 280"/>
              <a:gd name="T4" fmla="*/ 336 w 360"/>
              <a:gd name="T5" fmla="*/ 0 h 280"/>
              <a:gd name="T6" fmla="*/ 0 w 360"/>
              <a:gd name="T7" fmla="*/ 0 h 280"/>
              <a:gd name="T8" fmla="*/ 0 w 360"/>
              <a:gd name="T9" fmla="*/ 216 h 280"/>
              <a:gd name="T10" fmla="*/ 24 w 360"/>
              <a:gd name="T11" fmla="*/ 240 h 280"/>
              <a:gd name="T12" fmla="*/ 144 w 360"/>
              <a:gd name="T13" fmla="*/ 240 h 280"/>
              <a:gd name="T14" fmla="*/ 144 w 360"/>
              <a:gd name="T15" fmla="*/ 264 h 280"/>
              <a:gd name="T16" fmla="*/ 100 w 360"/>
              <a:gd name="T17" fmla="*/ 264 h 280"/>
              <a:gd name="T18" fmla="*/ 100 w 360"/>
              <a:gd name="T19" fmla="*/ 280 h 280"/>
              <a:gd name="T20" fmla="*/ 260 w 360"/>
              <a:gd name="T21" fmla="*/ 280 h 280"/>
              <a:gd name="T22" fmla="*/ 260 w 360"/>
              <a:gd name="T23" fmla="*/ 264 h 280"/>
              <a:gd name="T24" fmla="*/ 216 w 360"/>
              <a:gd name="T25" fmla="*/ 264 h 280"/>
              <a:gd name="T26" fmla="*/ 216 w 360"/>
              <a:gd name="T27" fmla="*/ 240 h 280"/>
              <a:gd name="T28" fmla="*/ 360 w 360"/>
              <a:gd name="T29" fmla="*/ 240 h 280"/>
              <a:gd name="T30" fmla="*/ 24 w 360"/>
              <a:gd name="T31" fmla="*/ 24 h 280"/>
              <a:gd name="T32" fmla="*/ 336 w 360"/>
              <a:gd name="T33" fmla="*/ 24 h 280"/>
              <a:gd name="T34" fmla="*/ 336 w 360"/>
              <a:gd name="T35" fmla="*/ 216 h 280"/>
              <a:gd name="T36" fmla="*/ 24 w 360"/>
              <a:gd name="T37" fmla="*/ 216 h 280"/>
              <a:gd name="T38" fmla="*/ 24 w 360"/>
              <a:gd name="T39" fmla="*/ 2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0" h="280">
                <a:moveTo>
                  <a:pt x="360" y="240"/>
                </a:moveTo>
                <a:cubicBezTo>
                  <a:pt x="360" y="24"/>
                  <a:pt x="360" y="24"/>
                  <a:pt x="360" y="24"/>
                </a:cubicBezTo>
                <a:cubicBezTo>
                  <a:pt x="360" y="11"/>
                  <a:pt x="349" y="0"/>
                  <a:pt x="336" y="0"/>
                </a:cubicBezTo>
                <a:cubicBezTo>
                  <a:pt x="0" y="0"/>
                  <a:pt x="0" y="0"/>
                  <a:pt x="0" y="0"/>
                </a:cubicBezTo>
                <a:cubicBezTo>
                  <a:pt x="0" y="216"/>
                  <a:pt x="0" y="216"/>
                  <a:pt x="0" y="216"/>
                </a:cubicBezTo>
                <a:cubicBezTo>
                  <a:pt x="0" y="229"/>
                  <a:pt x="11" y="240"/>
                  <a:pt x="24" y="240"/>
                </a:cubicBezTo>
                <a:cubicBezTo>
                  <a:pt x="144" y="240"/>
                  <a:pt x="144" y="240"/>
                  <a:pt x="144" y="240"/>
                </a:cubicBezTo>
                <a:cubicBezTo>
                  <a:pt x="144" y="264"/>
                  <a:pt x="144" y="264"/>
                  <a:pt x="144" y="264"/>
                </a:cubicBezTo>
                <a:cubicBezTo>
                  <a:pt x="100" y="264"/>
                  <a:pt x="100" y="264"/>
                  <a:pt x="100" y="264"/>
                </a:cubicBezTo>
                <a:cubicBezTo>
                  <a:pt x="100" y="280"/>
                  <a:pt x="100" y="280"/>
                  <a:pt x="100" y="280"/>
                </a:cubicBezTo>
                <a:cubicBezTo>
                  <a:pt x="260" y="280"/>
                  <a:pt x="260" y="280"/>
                  <a:pt x="260" y="280"/>
                </a:cubicBezTo>
                <a:cubicBezTo>
                  <a:pt x="260" y="264"/>
                  <a:pt x="260" y="264"/>
                  <a:pt x="260" y="264"/>
                </a:cubicBezTo>
                <a:cubicBezTo>
                  <a:pt x="216" y="264"/>
                  <a:pt x="216" y="264"/>
                  <a:pt x="216" y="264"/>
                </a:cubicBezTo>
                <a:cubicBezTo>
                  <a:pt x="216" y="240"/>
                  <a:pt x="216" y="240"/>
                  <a:pt x="216" y="240"/>
                </a:cubicBezTo>
                <a:lnTo>
                  <a:pt x="360" y="240"/>
                </a:lnTo>
                <a:close/>
                <a:moveTo>
                  <a:pt x="24" y="24"/>
                </a:moveTo>
                <a:cubicBezTo>
                  <a:pt x="336" y="24"/>
                  <a:pt x="336" y="24"/>
                  <a:pt x="336" y="24"/>
                </a:cubicBezTo>
                <a:cubicBezTo>
                  <a:pt x="336" y="216"/>
                  <a:pt x="336" y="216"/>
                  <a:pt x="336" y="216"/>
                </a:cubicBezTo>
                <a:cubicBezTo>
                  <a:pt x="24" y="216"/>
                  <a:pt x="24" y="216"/>
                  <a:pt x="24" y="216"/>
                </a:cubicBezTo>
                <a:lnTo>
                  <a:pt x="24" y="24"/>
                </a:lnTo>
                <a:close/>
              </a:path>
            </a:pathLst>
          </a:custGeom>
          <a:solidFill>
            <a:schemeClr val="accent1"/>
          </a:solidFill>
          <a:ln>
            <a:noFill/>
          </a:ln>
        </p:spPr>
        <p:txBody>
          <a:bodyPr vert="horz" wrap="square" lIns="129909" tIns="64954" rIns="129909" bIns="64954"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105" name="Freeform 104"/>
          <p:cNvSpPr>
            <a:spLocks/>
          </p:cNvSpPr>
          <p:nvPr/>
        </p:nvSpPr>
        <p:spPr bwMode="auto">
          <a:xfrm>
            <a:off x="11157724" y="5335398"/>
            <a:ext cx="588615" cy="988368"/>
          </a:xfrm>
          <a:custGeom>
            <a:avLst/>
            <a:gdLst>
              <a:gd name="T0" fmla="*/ 165 w 187"/>
              <a:gd name="T1" fmla="*/ 0 h 314"/>
              <a:gd name="T2" fmla="*/ 0 w 187"/>
              <a:gd name="T3" fmla="*/ 0 h 314"/>
              <a:gd name="T4" fmla="*/ 0 w 187"/>
              <a:gd name="T5" fmla="*/ 36 h 314"/>
              <a:gd name="T6" fmla="*/ 146 w 187"/>
              <a:gd name="T7" fmla="*/ 36 h 314"/>
              <a:gd name="T8" fmla="*/ 146 w 187"/>
              <a:gd name="T9" fmla="*/ 51 h 314"/>
              <a:gd name="T10" fmla="*/ 0 w 187"/>
              <a:gd name="T11" fmla="*/ 51 h 314"/>
              <a:gd name="T12" fmla="*/ 0 w 187"/>
              <a:gd name="T13" fmla="*/ 74 h 314"/>
              <a:gd name="T14" fmla="*/ 146 w 187"/>
              <a:gd name="T15" fmla="*/ 74 h 314"/>
              <a:gd name="T16" fmla="*/ 146 w 187"/>
              <a:gd name="T17" fmla="*/ 89 h 314"/>
              <a:gd name="T18" fmla="*/ 0 w 187"/>
              <a:gd name="T19" fmla="*/ 89 h 314"/>
              <a:gd name="T20" fmla="*/ 0 w 187"/>
              <a:gd name="T21" fmla="*/ 292 h 314"/>
              <a:gd name="T22" fmla="*/ 23 w 187"/>
              <a:gd name="T23" fmla="*/ 314 h 314"/>
              <a:gd name="T24" fmla="*/ 187 w 187"/>
              <a:gd name="T25" fmla="*/ 314 h 314"/>
              <a:gd name="T26" fmla="*/ 187 w 187"/>
              <a:gd name="T27" fmla="*/ 22 h 314"/>
              <a:gd name="T28" fmla="*/ 165 w 187"/>
              <a:gd name="T29"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7" h="314">
                <a:moveTo>
                  <a:pt x="165" y="0"/>
                </a:moveTo>
                <a:cubicBezTo>
                  <a:pt x="0" y="0"/>
                  <a:pt x="0" y="0"/>
                  <a:pt x="0" y="0"/>
                </a:cubicBezTo>
                <a:cubicBezTo>
                  <a:pt x="0" y="36"/>
                  <a:pt x="0" y="36"/>
                  <a:pt x="0" y="36"/>
                </a:cubicBezTo>
                <a:cubicBezTo>
                  <a:pt x="146" y="36"/>
                  <a:pt x="146" y="36"/>
                  <a:pt x="146" y="36"/>
                </a:cubicBezTo>
                <a:cubicBezTo>
                  <a:pt x="146" y="51"/>
                  <a:pt x="146" y="51"/>
                  <a:pt x="146" y="51"/>
                </a:cubicBezTo>
                <a:cubicBezTo>
                  <a:pt x="0" y="51"/>
                  <a:pt x="0" y="51"/>
                  <a:pt x="0" y="51"/>
                </a:cubicBezTo>
                <a:cubicBezTo>
                  <a:pt x="0" y="74"/>
                  <a:pt x="0" y="74"/>
                  <a:pt x="0" y="74"/>
                </a:cubicBezTo>
                <a:cubicBezTo>
                  <a:pt x="146" y="74"/>
                  <a:pt x="146" y="74"/>
                  <a:pt x="146" y="74"/>
                </a:cubicBezTo>
                <a:cubicBezTo>
                  <a:pt x="146" y="89"/>
                  <a:pt x="146" y="89"/>
                  <a:pt x="146" y="89"/>
                </a:cubicBezTo>
                <a:cubicBezTo>
                  <a:pt x="0" y="89"/>
                  <a:pt x="0" y="89"/>
                  <a:pt x="0" y="89"/>
                </a:cubicBezTo>
                <a:cubicBezTo>
                  <a:pt x="0" y="292"/>
                  <a:pt x="0" y="292"/>
                  <a:pt x="0" y="292"/>
                </a:cubicBezTo>
                <a:cubicBezTo>
                  <a:pt x="0" y="304"/>
                  <a:pt x="10" y="314"/>
                  <a:pt x="23" y="314"/>
                </a:cubicBezTo>
                <a:cubicBezTo>
                  <a:pt x="187" y="314"/>
                  <a:pt x="187" y="314"/>
                  <a:pt x="187" y="314"/>
                </a:cubicBezTo>
                <a:cubicBezTo>
                  <a:pt x="187" y="22"/>
                  <a:pt x="187" y="22"/>
                  <a:pt x="187" y="22"/>
                </a:cubicBezTo>
                <a:cubicBezTo>
                  <a:pt x="187" y="10"/>
                  <a:pt x="177" y="0"/>
                  <a:pt x="165" y="0"/>
                </a:cubicBez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9909" tIns="64954" rIns="129909" bIns="64954"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106" name="Freeform 105"/>
          <p:cNvSpPr>
            <a:spLocks noEditPoints="1"/>
          </p:cNvSpPr>
          <p:nvPr/>
        </p:nvSpPr>
        <p:spPr bwMode="auto">
          <a:xfrm>
            <a:off x="10640226" y="5716780"/>
            <a:ext cx="54417" cy="200323"/>
          </a:xfrm>
          <a:custGeom>
            <a:avLst/>
            <a:gdLst>
              <a:gd name="T0" fmla="*/ 48 w 48"/>
              <a:gd name="T1" fmla="*/ 155 h 177"/>
              <a:gd name="T2" fmla="*/ 43 w 48"/>
              <a:gd name="T3" fmla="*/ 172 h 177"/>
              <a:gd name="T4" fmla="*/ 24 w 48"/>
              <a:gd name="T5" fmla="*/ 177 h 177"/>
              <a:gd name="T6" fmla="*/ 5 w 48"/>
              <a:gd name="T7" fmla="*/ 172 h 177"/>
              <a:gd name="T8" fmla="*/ 0 w 48"/>
              <a:gd name="T9" fmla="*/ 155 h 177"/>
              <a:gd name="T10" fmla="*/ 5 w 48"/>
              <a:gd name="T11" fmla="*/ 138 h 177"/>
              <a:gd name="T12" fmla="*/ 24 w 48"/>
              <a:gd name="T13" fmla="*/ 132 h 177"/>
              <a:gd name="T14" fmla="*/ 43 w 48"/>
              <a:gd name="T15" fmla="*/ 138 h 177"/>
              <a:gd name="T16" fmla="*/ 48 w 48"/>
              <a:gd name="T17" fmla="*/ 155 h 177"/>
              <a:gd name="T18" fmla="*/ 8 w 48"/>
              <a:gd name="T19" fmla="*/ 108 h 177"/>
              <a:gd name="T20" fmla="*/ 6 w 48"/>
              <a:gd name="T21" fmla="*/ 90 h 177"/>
              <a:gd name="T22" fmla="*/ 4 w 48"/>
              <a:gd name="T23" fmla="*/ 70 h 177"/>
              <a:gd name="T24" fmla="*/ 3 w 48"/>
              <a:gd name="T25" fmla="*/ 52 h 177"/>
              <a:gd name="T26" fmla="*/ 2 w 48"/>
              <a:gd name="T27" fmla="*/ 37 h 177"/>
              <a:gd name="T28" fmla="*/ 2 w 48"/>
              <a:gd name="T29" fmla="*/ 0 h 177"/>
              <a:gd name="T30" fmla="*/ 36 w 48"/>
              <a:gd name="T31" fmla="*/ 0 h 177"/>
              <a:gd name="T32" fmla="*/ 46 w 48"/>
              <a:gd name="T33" fmla="*/ 9 h 177"/>
              <a:gd name="T34" fmla="*/ 46 w 48"/>
              <a:gd name="T35" fmla="*/ 36 h 177"/>
              <a:gd name="T36" fmla="*/ 45 w 48"/>
              <a:gd name="T37" fmla="*/ 53 h 177"/>
              <a:gd name="T38" fmla="*/ 43 w 48"/>
              <a:gd name="T39" fmla="*/ 75 h 177"/>
              <a:gd name="T40" fmla="*/ 41 w 48"/>
              <a:gd name="T41" fmla="*/ 98 h 177"/>
              <a:gd name="T42" fmla="*/ 39 w 48"/>
              <a:gd name="T43" fmla="*/ 118 h 177"/>
              <a:gd name="T44" fmla="*/ 17 w 48"/>
              <a:gd name="T45" fmla="*/ 118 h 177"/>
              <a:gd name="T46" fmla="*/ 11 w 48"/>
              <a:gd name="T47" fmla="*/ 115 h 177"/>
              <a:gd name="T48" fmla="*/ 8 w 48"/>
              <a:gd name="T49" fmla="*/ 10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 h="177">
                <a:moveTo>
                  <a:pt x="48" y="155"/>
                </a:moveTo>
                <a:cubicBezTo>
                  <a:pt x="48" y="163"/>
                  <a:pt x="46" y="168"/>
                  <a:pt x="43" y="172"/>
                </a:cubicBezTo>
                <a:cubicBezTo>
                  <a:pt x="39" y="176"/>
                  <a:pt x="33" y="177"/>
                  <a:pt x="24" y="177"/>
                </a:cubicBezTo>
                <a:cubicBezTo>
                  <a:pt x="15" y="177"/>
                  <a:pt x="9" y="176"/>
                  <a:pt x="5" y="172"/>
                </a:cubicBezTo>
                <a:cubicBezTo>
                  <a:pt x="1" y="168"/>
                  <a:pt x="0" y="163"/>
                  <a:pt x="0" y="155"/>
                </a:cubicBezTo>
                <a:cubicBezTo>
                  <a:pt x="0" y="147"/>
                  <a:pt x="1" y="141"/>
                  <a:pt x="5" y="138"/>
                </a:cubicBezTo>
                <a:cubicBezTo>
                  <a:pt x="9" y="134"/>
                  <a:pt x="15" y="132"/>
                  <a:pt x="24" y="132"/>
                </a:cubicBezTo>
                <a:cubicBezTo>
                  <a:pt x="33" y="132"/>
                  <a:pt x="39" y="134"/>
                  <a:pt x="43" y="138"/>
                </a:cubicBezTo>
                <a:cubicBezTo>
                  <a:pt x="46" y="141"/>
                  <a:pt x="48" y="147"/>
                  <a:pt x="48" y="155"/>
                </a:cubicBezTo>
                <a:close/>
                <a:moveTo>
                  <a:pt x="8" y="108"/>
                </a:moveTo>
                <a:cubicBezTo>
                  <a:pt x="7" y="103"/>
                  <a:pt x="6" y="96"/>
                  <a:pt x="6" y="90"/>
                </a:cubicBezTo>
                <a:cubicBezTo>
                  <a:pt x="5" y="83"/>
                  <a:pt x="4" y="77"/>
                  <a:pt x="4" y="70"/>
                </a:cubicBezTo>
                <a:cubicBezTo>
                  <a:pt x="3" y="64"/>
                  <a:pt x="3" y="58"/>
                  <a:pt x="3" y="52"/>
                </a:cubicBezTo>
                <a:cubicBezTo>
                  <a:pt x="2" y="46"/>
                  <a:pt x="2" y="41"/>
                  <a:pt x="2" y="37"/>
                </a:cubicBezTo>
                <a:cubicBezTo>
                  <a:pt x="2" y="0"/>
                  <a:pt x="2" y="0"/>
                  <a:pt x="2" y="0"/>
                </a:cubicBezTo>
                <a:cubicBezTo>
                  <a:pt x="36" y="0"/>
                  <a:pt x="36" y="0"/>
                  <a:pt x="36" y="0"/>
                </a:cubicBezTo>
                <a:cubicBezTo>
                  <a:pt x="42" y="0"/>
                  <a:pt x="46" y="3"/>
                  <a:pt x="46" y="9"/>
                </a:cubicBezTo>
                <a:cubicBezTo>
                  <a:pt x="46" y="36"/>
                  <a:pt x="46" y="36"/>
                  <a:pt x="46" y="36"/>
                </a:cubicBezTo>
                <a:cubicBezTo>
                  <a:pt x="46" y="40"/>
                  <a:pt x="45" y="46"/>
                  <a:pt x="45" y="53"/>
                </a:cubicBezTo>
                <a:cubicBezTo>
                  <a:pt x="45" y="60"/>
                  <a:pt x="44" y="68"/>
                  <a:pt x="43" y="75"/>
                </a:cubicBezTo>
                <a:cubicBezTo>
                  <a:pt x="43" y="83"/>
                  <a:pt x="42" y="91"/>
                  <a:pt x="41" y="98"/>
                </a:cubicBezTo>
                <a:cubicBezTo>
                  <a:pt x="40" y="106"/>
                  <a:pt x="39" y="112"/>
                  <a:pt x="39" y="118"/>
                </a:cubicBezTo>
                <a:cubicBezTo>
                  <a:pt x="17" y="118"/>
                  <a:pt x="17" y="118"/>
                  <a:pt x="17" y="118"/>
                </a:cubicBezTo>
                <a:cubicBezTo>
                  <a:pt x="14" y="118"/>
                  <a:pt x="12" y="117"/>
                  <a:pt x="11" y="115"/>
                </a:cubicBezTo>
                <a:cubicBezTo>
                  <a:pt x="9" y="114"/>
                  <a:pt x="8" y="112"/>
                  <a:pt x="8" y="108"/>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9909" tIns="64954" rIns="129909" bIns="64954"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107" name="Freeform 106"/>
          <p:cNvSpPr/>
          <p:nvPr/>
        </p:nvSpPr>
        <p:spPr>
          <a:xfrm>
            <a:off x="5276897" y="5373529"/>
            <a:ext cx="5393422" cy="291523"/>
          </a:xfrm>
          <a:custGeom>
            <a:avLst/>
            <a:gdLst>
              <a:gd name="connsiteX0" fmla="*/ 3798277 w 3798277"/>
              <a:gd name="connsiteY0" fmla="*/ 269631 h 269631"/>
              <a:gd name="connsiteX1" fmla="*/ 3798277 w 3798277"/>
              <a:gd name="connsiteY1" fmla="*/ 0 h 269631"/>
              <a:gd name="connsiteX2" fmla="*/ 0 w 3798277"/>
              <a:gd name="connsiteY2" fmla="*/ 0 h 269631"/>
            </a:gdLst>
            <a:ahLst/>
            <a:cxnLst>
              <a:cxn ang="0">
                <a:pos x="connsiteX0" y="connsiteY0"/>
              </a:cxn>
              <a:cxn ang="0">
                <a:pos x="connsiteX1" y="connsiteY1"/>
              </a:cxn>
              <a:cxn ang="0">
                <a:pos x="connsiteX2" y="connsiteY2"/>
              </a:cxn>
            </a:cxnLst>
            <a:rect l="l" t="t" r="r" b="b"/>
            <a:pathLst>
              <a:path w="3798277" h="269631">
                <a:moveTo>
                  <a:pt x="3798277" y="269631"/>
                </a:moveTo>
                <a:lnTo>
                  <a:pt x="3798277" y="0"/>
                </a:lnTo>
                <a:lnTo>
                  <a:pt x="0" y="0"/>
                </a:lnTo>
              </a:path>
            </a:pathLst>
          </a:custGeom>
          <a:noFill/>
          <a:ln w="28575">
            <a:solidFill>
              <a:schemeClr val="accent2"/>
            </a:solidFill>
            <a:prstDash val="sysDot"/>
          </a:ln>
          <a:effectLst/>
        </p:spPr>
        <p:style>
          <a:lnRef idx="1">
            <a:schemeClr val="accent1"/>
          </a:lnRef>
          <a:fillRef idx="3">
            <a:schemeClr val="accent1"/>
          </a:fillRef>
          <a:effectRef idx="2">
            <a:schemeClr val="accent1"/>
          </a:effectRef>
          <a:fontRef idx="minor">
            <a:schemeClr val="lt1"/>
          </a:fontRef>
        </p:style>
        <p:txBody>
          <a:bodyPr lIns="129909" tIns="64954" rIns="129909" bIns="64954" rtlCol="0" anchor="ctr"/>
          <a:lstStyle/>
          <a:p>
            <a:pPr algn="ctr"/>
            <a:endParaRPr lang="en-US">
              <a:latin typeface="微软雅黑" pitchFamily="34" charset="-122"/>
              <a:ea typeface="微软雅黑" pitchFamily="34" charset="-122"/>
            </a:endParaRPr>
          </a:p>
        </p:txBody>
      </p:sp>
      <p:grpSp>
        <p:nvGrpSpPr>
          <p:cNvPr id="108" name="Group 107"/>
          <p:cNvGrpSpPr/>
          <p:nvPr/>
        </p:nvGrpSpPr>
        <p:grpSpPr>
          <a:xfrm>
            <a:off x="4939528" y="5178459"/>
            <a:ext cx="467752" cy="457233"/>
            <a:chOff x="3478625" y="3552619"/>
            <a:chExt cx="329411" cy="321492"/>
          </a:xfrm>
        </p:grpSpPr>
        <p:sp>
          <p:nvSpPr>
            <p:cNvPr id="109" name="Oval 108"/>
            <p:cNvSpPr/>
            <p:nvPr/>
          </p:nvSpPr>
          <p:spPr>
            <a:xfrm>
              <a:off x="3503981" y="3584448"/>
              <a:ext cx="182880" cy="182880"/>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微软雅黑" pitchFamily="34" charset="-122"/>
                <a:ea typeface="微软雅黑" pitchFamily="34" charset="-122"/>
              </a:endParaRPr>
            </a:p>
          </p:txBody>
        </p:sp>
        <p:sp>
          <p:nvSpPr>
            <p:cNvPr id="110" name="Freeform 109"/>
            <p:cNvSpPr>
              <a:spLocks noEditPoints="1"/>
            </p:cNvSpPr>
            <p:nvPr/>
          </p:nvSpPr>
          <p:spPr bwMode="auto">
            <a:xfrm>
              <a:off x="3478625" y="3552619"/>
              <a:ext cx="329411" cy="321492"/>
            </a:xfrm>
            <a:custGeom>
              <a:avLst/>
              <a:gdLst>
                <a:gd name="T0" fmla="*/ 65 w 176"/>
                <a:gd name="T1" fmla="*/ 108 h 172"/>
                <a:gd name="T2" fmla="*/ 22 w 176"/>
                <a:gd name="T3" fmla="*/ 65 h 172"/>
                <a:gd name="T4" fmla="*/ 65 w 176"/>
                <a:gd name="T5" fmla="*/ 22 h 172"/>
                <a:gd name="T6" fmla="*/ 109 w 176"/>
                <a:gd name="T7" fmla="*/ 65 h 172"/>
                <a:gd name="T8" fmla="*/ 105 w 176"/>
                <a:gd name="T9" fmla="*/ 82 h 172"/>
                <a:gd name="T10" fmla="*/ 82 w 176"/>
                <a:gd name="T11" fmla="*/ 105 h 172"/>
                <a:gd name="T12" fmla="*/ 65 w 176"/>
                <a:gd name="T13" fmla="*/ 108 h 172"/>
                <a:gd name="T14" fmla="*/ 65 w 176"/>
                <a:gd name="T15" fmla="*/ 0 h 172"/>
                <a:gd name="T16" fmla="*/ 0 w 176"/>
                <a:gd name="T17" fmla="*/ 65 h 172"/>
                <a:gd name="T18" fmla="*/ 65 w 176"/>
                <a:gd name="T19" fmla="*/ 130 h 172"/>
                <a:gd name="T20" fmla="*/ 98 w 176"/>
                <a:gd name="T21" fmla="*/ 121 h 172"/>
                <a:gd name="T22" fmla="*/ 145 w 176"/>
                <a:gd name="T23" fmla="*/ 167 h 172"/>
                <a:gd name="T24" fmla="*/ 162 w 176"/>
                <a:gd name="T25" fmla="*/ 167 h 172"/>
                <a:gd name="T26" fmla="*/ 176 w 176"/>
                <a:gd name="T27" fmla="*/ 153 h 172"/>
                <a:gd name="T28" fmla="*/ 164 w 176"/>
                <a:gd name="T29" fmla="*/ 140 h 172"/>
                <a:gd name="T30" fmla="*/ 164 w 176"/>
                <a:gd name="T31" fmla="*/ 140 h 172"/>
                <a:gd name="T32" fmla="*/ 121 w 176"/>
                <a:gd name="T33" fmla="*/ 98 h 172"/>
                <a:gd name="T34" fmla="*/ 130 w 176"/>
                <a:gd name="T35" fmla="*/ 65 h 172"/>
                <a:gd name="T36" fmla="*/ 65 w 176"/>
                <a:gd name="T37"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6" h="172">
                  <a:moveTo>
                    <a:pt x="65" y="108"/>
                  </a:moveTo>
                  <a:cubicBezTo>
                    <a:pt x="42" y="108"/>
                    <a:pt x="22" y="89"/>
                    <a:pt x="22" y="65"/>
                  </a:cubicBezTo>
                  <a:cubicBezTo>
                    <a:pt x="22" y="41"/>
                    <a:pt x="42" y="22"/>
                    <a:pt x="65" y="22"/>
                  </a:cubicBezTo>
                  <a:cubicBezTo>
                    <a:pt x="89" y="22"/>
                    <a:pt x="109" y="41"/>
                    <a:pt x="109" y="65"/>
                  </a:cubicBezTo>
                  <a:cubicBezTo>
                    <a:pt x="109" y="71"/>
                    <a:pt x="107" y="77"/>
                    <a:pt x="105" y="82"/>
                  </a:cubicBezTo>
                  <a:cubicBezTo>
                    <a:pt x="101" y="92"/>
                    <a:pt x="92" y="100"/>
                    <a:pt x="82" y="105"/>
                  </a:cubicBezTo>
                  <a:cubicBezTo>
                    <a:pt x="77" y="107"/>
                    <a:pt x="71" y="108"/>
                    <a:pt x="65" y="108"/>
                  </a:cubicBezTo>
                  <a:moveTo>
                    <a:pt x="65" y="0"/>
                  </a:moveTo>
                  <a:cubicBezTo>
                    <a:pt x="30" y="0"/>
                    <a:pt x="0" y="29"/>
                    <a:pt x="0" y="65"/>
                  </a:cubicBezTo>
                  <a:cubicBezTo>
                    <a:pt x="0" y="101"/>
                    <a:pt x="30" y="130"/>
                    <a:pt x="65" y="130"/>
                  </a:cubicBezTo>
                  <a:cubicBezTo>
                    <a:pt x="77" y="130"/>
                    <a:pt x="89" y="127"/>
                    <a:pt x="98" y="121"/>
                  </a:cubicBezTo>
                  <a:cubicBezTo>
                    <a:pt x="145" y="167"/>
                    <a:pt x="145" y="167"/>
                    <a:pt x="145" y="167"/>
                  </a:cubicBezTo>
                  <a:cubicBezTo>
                    <a:pt x="149" y="172"/>
                    <a:pt x="157" y="172"/>
                    <a:pt x="162" y="167"/>
                  </a:cubicBezTo>
                  <a:cubicBezTo>
                    <a:pt x="176" y="153"/>
                    <a:pt x="176" y="153"/>
                    <a:pt x="176" y="153"/>
                  </a:cubicBezTo>
                  <a:cubicBezTo>
                    <a:pt x="164" y="140"/>
                    <a:pt x="164" y="140"/>
                    <a:pt x="164" y="140"/>
                  </a:cubicBezTo>
                  <a:cubicBezTo>
                    <a:pt x="164" y="140"/>
                    <a:pt x="164" y="140"/>
                    <a:pt x="164" y="140"/>
                  </a:cubicBezTo>
                  <a:cubicBezTo>
                    <a:pt x="121" y="98"/>
                    <a:pt x="121" y="98"/>
                    <a:pt x="121" y="98"/>
                  </a:cubicBezTo>
                  <a:cubicBezTo>
                    <a:pt x="127" y="88"/>
                    <a:pt x="130" y="77"/>
                    <a:pt x="130" y="65"/>
                  </a:cubicBezTo>
                  <a:cubicBezTo>
                    <a:pt x="130" y="29"/>
                    <a:pt x="101" y="0"/>
                    <a:pt x="65" y="0"/>
                  </a:cubicBezTo>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111" name="Freeform 110"/>
            <p:cNvSpPr>
              <a:spLocks noChangeAspect="1" noEditPoints="1"/>
            </p:cNvSpPr>
            <p:nvPr/>
          </p:nvSpPr>
          <p:spPr bwMode="auto">
            <a:xfrm>
              <a:off x="3582982" y="3630168"/>
              <a:ext cx="24879" cy="91440"/>
            </a:xfrm>
            <a:custGeom>
              <a:avLst/>
              <a:gdLst>
                <a:gd name="T0" fmla="*/ 48 w 48"/>
                <a:gd name="T1" fmla="*/ 155 h 177"/>
                <a:gd name="T2" fmla="*/ 43 w 48"/>
                <a:gd name="T3" fmla="*/ 172 h 177"/>
                <a:gd name="T4" fmla="*/ 24 w 48"/>
                <a:gd name="T5" fmla="*/ 177 h 177"/>
                <a:gd name="T6" fmla="*/ 5 w 48"/>
                <a:gd name="T7" fmla="*/ 172 h 177"/>
                <a:gd name="T8" fmla="*/ 0 w 48"/>
                <a:gd name="T9" fmla="*/ 155 h 177"/>
                <a:gd name="T10" fmla="*/ 5 w 48"/>
                <a:gd name="T11" fmla="*/ 138 h 177"/>
                <a:gd name="T12" fmla="*/ 24 w 48"/>
                <a:gd name="T13" fmla="*/ 132 h 177"/>
                <a:gd name="T14" fmla="*/ 43 w 48"/>
                <a:gd name="T15" fmla="*/ 138 h 177"/>
                <a:gd name="T16" fmla="*/ 48 w 48"/>
                <a:gd name="T17" fmla="*/ 155 h 177"/>
                <a:gd name="T18" fmla="*/ 8 w 48"/>
                <a:gd name="T19" fmla="*/ 108 h 177"/>
                <a:gd name="T20" fmla="*/ 6 w 48"/>
                <a:gd name="T21" fmla="*/ 90 h 177"/>
                <a:gd name="T22" fmla="*/ 4 w 48"/>
                <a:gd name="T23" fmla="*/ 70 h 177"/>
                <a:gd name="T24" fmla="*/ 3 w 48"/>
                <a:gd name="T25" fmla="*/ 52 h 177"/>
                <a:gd name="T26" fmla="*/ 2 w 48"/>
                <a:gd name="T27" fmla="*/ 37 h 177"/>
                <a:gd name="T28" fmla="*/ 2 w 48"/>
                <a:gd name="T29" fmla="*/ 0 h 177"/>
                <a:gd name="T30" fmla="*/ 36 w 48"/>
                <a:gd name="T31" fmla="*/ 0 h 177"/>
                <a:gd name="T32" fmla="*/ 46 w 48"/>
                <a:gd name="T33" fmla="*/ 9 h 177"/>
                <a:gd name="T34" fmla="*/ 46 w 48"/>
                <a:gd name="T35" fmla="*/ 36 h 177"/>
                <a:gd name="T36" fmla="*/ 45 w 48"/>
                <a:gd name="T37" fmla="*/ 53 h 177"/>
                <a:gd name="T38" fmla="*/ 43 w 48"/>
                <a:gd name="T39" fmla="*/ 75 h 177"/>
                <a:gd name="T40" fmla="*/ 41 w 48"/>
                <a:gd name="T41" fmla="*/ 98 h 177"/>
                <a:gd name="T42" fmla="*/ 39 w 48"/>
                <a:gd name="T43" fmla="*/ 118 h 177"/>
                <a:gd name="T44" fmla="*/ 17 w 48"/>
                <a:gd name="T45" fmla="*/ 118 h 177"/>
                <a:gd name="T46" fmla="*/ 11 w 48"/>
                <a:gd name="T47" fmla="*/ 115 h 177"/>
                <a:gd name="T48" fmla="*/ 8 w 48"/>
                <a:gd name="T49" fmla="*/ 10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 h="177">
                  <a:moveTo>
                    <a:pt x="48" y="155"/>
                  </a:moveTo>
                  <a:cubicBezTo>
                    <a:pt x="48" y="163"/>
                    <a:pt x="46" y="168"/>
                    <a:pt x="43" y="172"/>
                  </a:cubicBezTo>
                  <a:cubicBezTo>
                    <a:pt x="39" y="176"/>
                    <a:pt x="33" y="177"/>
                    <a:pt x="24" y="177"/>
                  </a:cubicBezTo>
                  <a:cubicBezTo>
                    <a:pt x="15" y="177"/>
                    <a:pt x="9" y="176"/>
                    <a:pt x="5" y="172"/>
                  </a:cubicBezTo>
                  <a:cubicBezTo>
                    <a:pt x="1" y="168"/>
                    <a:pt x="0" y="163"/>
                    <a:pt x="0" y="155"/>
                  </a:cubicBezTo>
                  <a:cubicBezTo>
                    <a:pt x="0" y="147"/>
                    <a:pt x="1" y="141"/>
                    <a:pt x="5" y="138"/>
                  </a:cubicBezTo>
                  <a:cubicBezTo>
                    <a:pt x="9" y="134"/>
                    <a:pt x="15" y="132"/>
                    <a:pt x="24" y="132"/>
                  </a:cubicBezTo>
                  <a:cubicBezTo>
                    <a:pt x="33" y="132"/>
                    <a:pt x="39" y="134"/>
                    <a:pt x="43" y="138"/>
                  </a:cubicBezTo>
                  <a:cubicBezTo>
                    <a:pt x="46" y="141"/>
                    <a:pt x="48" y="147"/>
                    <a:pt x="48" y="155"/>
                  </a:cubicBezTo>
                  <a:close/>
                  <a:moveTo>
                    <a:pt x="8" y="108"/>
                  </a:moveTo>
                  <a:cubicBezTo>
                    <a:pt x="7" y="103"/>
                    <a:pt x="6" y="96"/>
                    <a:pt x="6" y="90"/>
                  </a:cubicBezTo>
                  <a:cubicBezTo>
                    <a:pt x="5" y="83"/>
                    <a:pt x="4" y="77"/>
                    <a:pt x="4" y="70"/>
                  </a:cubicBezTo>
                  <a:cubicBezTo>
                    <a:pt x="3" y="64"/>
                    <a:pt x="3" y="58"/>
                    <a:pt x="3" y="52"/>
                  </a:cubicBezTo>
                  <a:cubicBezTo>
                    <a:pt x="2" y="46"/>
                    <a:pt x="2" y="41"/>
                    <a:pt x="2" y="37"/>
                  </a:cubicBezTo>
                  <a:cubicBezTo>
                    <a:pt x="2" y="0"/>
                    <a:pt x="2" y="0"/>
                    <a:pt x="2" y="0"/>
                  </a:cubicBezTo>
                  <a:cubicBezTo>
                    <a:pt x="36" y="0"/>
                    <a:pt x="36" y="0"/>
                    <a:pt x="36" y="0"/>
                  </a:cubicBezTo>
                  <a:cubicBezTo>
                    <a:pt x="42" y="0"/>
                    <a:pt x="46" y="3"/>
                    <a:pt x="46" y="9"/>
                  </a:cubicBezTo>
                  <a:cubicBezTo>
                    <a:pt x="46" y="36"/>
                    <a:pt x="46" y="36"/>
                    <a:pt x="46" y="36"/>
                  </a:cubicBezTo>
                  <a:cubicBezTo>
                    <a:pt x="46" y="40"/>
                    <a:pt x="45" y="46"/>
                    <a:pt x="45" y="53"/>
                  </a:cubicBezTo>
                  <a:cubicBezTo>
                    <a:pt x="45" y="60"/>
                    <a:pt x="44" y="68"/>
                    <a:pt x="43" y="75"/>
                  </a:cubicBezTo>
                  <a:cubicBezTo>
                    <a:pt x="43" y="83"/>
                    <a:pt x="42" y="91"/>
                    <a:pt x="41" y="98"/>
                  </a:cubicBezTo>
                  <a:cubicBezTo>
                    <a:pt x="40" y="106"/>
                    <a:pt x="39" y="112"/>
                    <a:pt x="39" y="118"/>
                  </a:cubicBezTo>
                  <a:cubicBezTo>
                    <a:pt x="17" y="118"/>
                    <a:pt x="17" y="118"/>
                    <a:pt x="17" y="118"/>
                  </a:cubicBezTo>
                  <a:cubicBezTo>
                    <a:pt x="14" y="118"/>
                    <a:pt x="12" y="117"/>
                    <a:pt x="11" y="115"/>
                  </a:cubicBezTo>
                  <a:cubicBezTo>
                    <a:pt x="9" y="114"/>
                    <a:pt x="8" y="112"/>
                    <a:pt x="8" y="108"/>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endParaRPr lang="en-US">
                <a:latin typeface="微软雅黑" pitchFamily="34" charset="-122"/>
                <a:ea typeface="微软雅黑" pitchFamily="34" charset="-122"/>
              </a:endParaRPr>
            </a:p>
          </p:txBody>
        </p:sp>
      </p:grpSp>
      <p:grpSp>
        <p:nvGrpSpPr>
          <p:cNvPr id="112" name="Group 111"/>
          <p:cNvGrpSpPr/>
          <p:nvPr/>
        </p:nvGrpSpPr>
        <p:grpSpPr>
          <a:xfrm>
            <a:off x="7477561" y="3718039"/>
            <a:ext cx="621455" cy="474655"/>
            <a:chOff x="0" y="0"/>
            <a:chExt cx="1484313" cy="1131888"/>
          </a:xfrm>
        </p:grpSpPr>
        <p:sp>
          <p:nvSpPr>
            <p:cNvPr id="113" name="Freeform 112"/>
            <p:cNvSpPr>
              <a:spLocks/>
            </p:cNvSpPr>
            <p:nvPr/>
          </p:nvSpPr>
          <p:spPr bwMode="auto">
            <a:xfrm>
              <a:off x="1150938" y="0"/>
              <a:ext cx="333375" cy="1131888"/>
            </a:xfrm>
            <a:custGeom>
              <a:avLst/>
              <a:gdLst>
                <a:gd name="T0" fmla="*/ 54 w 89"/>
                <a:gd name="T1" fmla="*/ 151 h 302"/>
                <a:gd name="T2" fmla="*/ 3 w 89"/>
                <a:gd name="T3" fmla="*/ 278 h 302"/>
                <a:gd name="T4" fmla="*/ 27 w 89"/>
                <a:gd name="T5" fmla="*/ 302 h 302"/>
                <a:gd name="T6" fmla="*/ 88 w 89"/>
                <a:gd name="T7" fmla="*/ 150 h 302"/>
                <a:gd name="T8" fmla="*/ 24 w 89"/>
                <a:gd name="T9" fmla="*/ 0 h 302"/>
                <a:gd name="T10" fmla="*/ 0 w 89"/>
                <a:gd name="T11" fmla="*/ 25 h 302"/>
                <a:gd name="T12" fmla="*/ 54 w 89"/>
                <a:gd name="T13" fmla="*/ 151 h 302"/>
              </a:gdLst>
              <a:ahLst/>
              <a:cxnLst>
                <a:cxn ang="0">
                  <a:pos x="T0" y="T1"/>
                </a:cxn>
                <a:cxn ang="0">
                  <a:pos x="T2" y="T3"/>
                </a:cxn>
                <a:cxn ang="0">
                  <a:pos x="T4" y="T5"/>
                </a:cxn>
                <a:cxn ang="0">
                  <a:pos x="T6" y="T7"/>
                </a:cxn>
                <a:cxn ang="0">
                  <a:pos x="T8" y="T9"/>
                </a:cxn>
                <a:cxn ang="0">
                  <a:pos x="T10" y="T11"/>
                </a:cxn>
                <a:cxn ang="0">
                  <a:pos x="T12" y="T13"/>
                </a:cxn>
              </a:cxnLst>
              <a:rect l="0" t="0" r="r" b="b"/>
              <a:pathLst>
                <a:path w="89" h="302">
                  <a:moveTo>
                    <a:pt x="54" y="151"/>
                  </a:moveTo>
                  <a:cubicBezTo>
                    <a:pt x="54" y="198"/>
                    <a:pt x="36" y="244"/>
                    <a:pt x="3" y="278"/>
                  </a:cubicBezTo>
                  <a:cubicBezTo>
                    <a:pt x="27" y="302"/>
                    <a:pt x="27" y="302"/>
                    <a:pt x="27" y="302"/>
                  </a:cubicBezTo>
                  <a:cubicBezTo>
                    <a:pt x="67" y="261"/>
                    <a:pt x="89" y="207"/>
                    <a:pt x="88" y="150"/>
                  </a:cubicBezTo>
                  <a:cubicBezTo>
                    <a:pt x="88" y="93"/>
                    <a:pt x="65" y="40"/>
                    <a:pt x="24" y="0"/>
                  </a:cubicBezTo>
                  <a:cubicBezTo>
                    <a:pt x="0" y="25"/>
                    <a:pt x="0" y="25"/>
                    <a:pt x="0" y="25"/>
                  </a:cubicBezTo>
                  <a:cubicBezTo>
                    <a:pt x="34" y="58"/>
                    <a:pt x="53" y="103"/>
                    <a:pt x="54" y="151"/>
                  </a:cubicBezTo>
                  <a:close/>
                </a:path>
              </a:pathLst>
            </a:custGeom>
            <a:solidFill>
              <a:srgbClr val="00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114" name="Freeform 113"/>
            <p:cNvSpPr>
              <a:spLocks/>
            </p:cNvSpPr>
            <p:nvPr/>
          </p:nvSpPr>
          <p:spPr bwMode="auto">
            <a:xfrm>
              <a:off x="971550" y="182563"/>
              <a:ext cx="306387" cy="769938"/>
            </a:xfrm>
            <a:custGeom>
              <a:avLst/>
              <a:gdLst>
                <a:gd name="T0" fmla="*/ 27 w 82"/>
                <a:gd name="T1" fmla="*/ 205 h 205"/>
                <a:gd name="T2" fmla="*/ 24 w 82"/>
                <a:gd name="T3" fmla="*/ 0 h 205"/>
                <a:gd name="T4" fmla="*/ 0 w 82"/>
                <a:gd name="T5" fmla="*/ 25 h 205"/>
                <a:gd name="T6" fmla="*/ 2 w 82"/>
                <a:gd name="T7" fmla="*/ 181 h 205"/>
                <a:gd name="T8" fmla="*/ 27 w 82"/>
                <a:gd name="T9" fmla="*/ 205 h 205"/>
              </a:gdLst>
              <a:ahLst/>
              <a:cxnLst>
                <a:cxn ang="0">
                  <a:pos x="T0" y="T1"/>
                </a:cxn>
                <a:cxn ang="0">
                  <a:pos x="T2" y="T3"/>
                </a:cxn>
                <a:cxn ang="0">
                  <a:pos x="T4" y="T5"/>
                </a:cxn>
                <a:cxn ang="0">
                  <a:pos x="T6" y="T7"/>
                </a:cxn>
                <a:cxn ang="0">
                  <a:pos x="T8" y="T9"/>
                </a:cxn>
              </a:cxnLst>
              <a:rect l="0" t="0" r="r" b="b"/>
              <a:pathLst>
                <a:path w="82" h="205">
                  <a:moveTo>
                    <a:pt x="27" y="205"/>
                  </a:moveTo>
                  <a:cubicBezTo>
                    <a:pt x="82" y="148"/>
                    <a:pt x="81" y="56"/>
                    <a:pt x="24" y="0"/>
                  </a:cubicBezTo>
                  <a:cubicBezTo>
                    <a:pt x="0" y="25"/>
                    <a:pt x="0" y="25"/>
                    <a:pt x="0" y="25"/>
                  </a:cubicBezTo>
                  <a:cubicBezTo>
                    <a:pt x="44" y="67"/>
                    <a:pt x="45" y="137"/>
                    <a:pt x="2" y="181"/>
                  </a:cubicBezTo>
                  <a:lnTo>
                    <a:pt x="27" y="205"/>
                  </a:lnTo>
                  <a:close/>
                </a:path>
              </a:pathLst>
            </a:custGeom>
            <a:solidFill>
              <a:srgbClr val="00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115" name="Freeform 114"/>
            <p:cNvSpPr>
              <a:spLocks/>
            </p:cNvSpPr>
            <p:nvPr/>
          </p:nvSpPr>
          <p:spPr bwMode="auto">
            <a:xfrm>
              <a:off x="0" y="52388"/>
              <a:ext cx="823912" cy="1027113"/>
            </a:xfrm>
            <a:custGeom>
              <a:avLst/>
              <a:gdLst>
                <a:gd name="T0" fmla="*/ 180 w 220"/>
                <a:gd name="T1" fmla="*/ 12 h 274"/>
                <a:gd name="T2" fmla="*/ 97 w 220"/>
                <a:gd name="T3" fmla="*/ 80 h 274"/>
                <a:gd name="T4" fmla="*/ 97 w 220"/>
                <a:gd name="T5" fmla="*/ 80 h 274"/>
                <a:gd name="T6" fmla="*/ 96 w 220"/>
                <a:gd name="T7" fmla="*/ 80 h 274"/>
                <a:gd name="T8" fmla="*/ 0 w 220"/>
                <a:gd name="T9" fmla="*/ 80 h 274"/>
                <a:gd name="T10" fmla="*/ 0 w 220"/>
                <a:gd name="T11" fmla="*/ 194 h 274"/>
                <a:gd name="T12" fmla="*/ 98 w 220"/>
                <a:gd name="T13" fmla="*/ 194 h 274"/>
                <a:gd name="T14" fmla="*/ 180 w 220"/>
                <a:gd name="T15" fmla="*/ 262 h 274"/>
                <a:gd name="T16" fmla="*/ 220 w 220"/>
                <a:gd name="T17" fmla="*/ 235 h 274"/>
                <a:gd name="T18" fmla="*/ 220 w 220"/>
                <a:gd name="T19" fmla="*/ 197 h 274"/>
                <a:gd name="T20" fmla="*/ 220 w 220"/>
                <a:gd name="T21" fmla="*/ 77 h 274"/>
                <a:gd name="T22" fmla="*/ 220 w 220"/>
                <a:gd name="T23" fmla="*/ 39 h 274"/>
                <a:gd name="T24" fmla="*/ 180 w 220"/>
                <a:gd name="T25" fmla="*/ 12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0" h="274">
                  <a:moveTo>
                    <a:pt x="180" y="12"/>
                  </a:moveTo>
                  <a:cubicBezTo>
                    <a:pt x="97" y="80"/>
                    <a:pt x="97" y="80"/>
                    <a:pt x="97" y="80"/>
                  </a:cubicBezTo>
                  <a:cubicBezTo>
                    <a:pt x="97" y="80"/>
                    <a:pt x="97" y="80"/>
                    <a:pt x="97" y="80"/>
                  </a:cubicBezTo>
                  <a:cubicBezTo>
                    <a:pt x="97" y="80"/>
                    <a:pt x="96" y="80"/>
                    <a:pt x="96" y="80"/>
                  </a:cubicBezTo>
                  <a:cubicBezTo>
                    <a:pt x="0" y="80"/>
                    <a:pt x="0" y="80"/>
                    <a:pt x="0" y="80"/>
                  </a:cubicBezTo>
                  <a:cubicBezTo>
                    <a:pt x="0" y="194"/>
                    <a:pt x="0" y="194"/>
                    <a:pt x="0" y="194"/>
                  </a:cubicBezTo>
                  <a:cubicBezTo>
                    <a:pt x="98" y="194"/>
                    <a:pt x="98" y="194"/>
                    <a:pt x="98" y="194"/>
                  </a:cubicBezTo>
                  <a:cubicBezTo>
                    <a:pt x="180" y="262"/>
                    <a:pt x="180" y="262"/>
                    <a:pt x="180" y="262"/>
                  </a:cubicBezTo>
                  <a:cubicBezTo>
                    <a:pt x="202" y="274"/>
                    <a:pt x="220" y="262"/>
                    <a:pt x="220" y="235"/>
                  </a:cubicBezTo>
                  <a:cubicBezTo>
                    <a:pt x="220" y="197"/>
                    <a:pt x="220" y="197"/>
                    <a:pt x="220" y="197"/>
                  </a:cubicBezTo>
                  <a:cubicBezTo>
                    <a:pt x="220" y="77"/>
                    <a:pt x="220" y="77"/>
                    <a:pt x="220" y="77"/>
                  </a:cubicBezTo>
                  <a:cubicBezTo>
                    <a:pt x="220" y="39"/>
                    <a:pt x="220" y="39"/>
                    <a:pt x="220" y="39"/>
                  </a:cubicBezTo>
                  <a:cubicBezTo>
                    <a:pt x="220" y="12"/>
                    <a:pt x="202" y="0"/>
                    <a:pt x="180" y="12"/>
                  </a:cubicBezTo>
                  <a:close/>
                </a:path>
              </a:pathLst>
            </a:custGeom>
            <a:solidFill>
              <a:srgbClr val="00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grpSp>
      <p:grpSp>
        <p:nvGrpSpPr>
          <p:cNvPr id="116" name="Group 115"/>
          <p:cNvGrpSpPr/>
          <p:nvPr/>
        </p:nvGrpSpPr>
        <p:grpSpPr>
          <a:xfrm>
            <a:off x="6247728" y="3026032"/>
            <a:ext cx="467752" cy="457233"/>
            <a:chOff x="3478625" y="3552619"/>
            <a:chExt cx="329411" cy="321492"/>
          </a:xfrm>
        </p:grpSpPr>
        <p:sp>
          <p:nvSpPr>
            <p:cNvPr id="117" name="Oval 116"/>
            <p:cNvSpPr/>
            <p:nvPr/>
          </p:nvSpPr>
          <p:spPr>
            <a:xfrm>
              <a:off x="3503981" y="3584448"/>
              <a:ext cx="182880" cy="182880"/>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微软雅黑" pitchFamily="34" charset="-122"/>
                <a:ea typeface="微软雅黑" pitchFamily="34" charset="-122"/>
              </a:endParaRPr>
            </a:p>
          </p:txBody>
        </p:sp>
        <p:sp>
          <p:nvSpPr>
            <p:cNvPr id="118" name="Freeform 117"/>
            <p:cNvSpPr>
              <a:spLocks noEditPoints="1"/>
            </p:cNvSpPr>
            <p:nvPr/>
          </p:nvSpPr>
          <p:spPr bwMode="auto">
            <a:xfrm>
              <a:off x="3478625" y="3552619"/>
              <a:ext cx="329411" cy="321492"/>
            </a:xfrm>
            <a:custGeom>
              <a:avLst/>
              <a:gdLst>
                <a:gd name="T0" fmla="*/ 65 w 176"/>
                <a:gd name="T1" fmla="*/ 108 h 172"/>
                <a:gd name="T2" fmla="*/ 22 w 176"/>
                <a:gd name="T3" fmla="*/ 65 h 172"/>
                <a:gd name="T4" fmla="*/ 65 w 176"/>
                <a:gd name="T5" fmla="*/ 22 h 172"/>
                <a:gd name="T6" fmla="*/ 109 w 176"/>
                <a:gd name="T7" fmla="*/ 65 h 172"/>
                <a:gd name="T8" fmla="*/ 105 w 176"/>
                <a:gd name="T9" fmla="*/ 82 h 172"/>
                <a:gd name="T10" fmla="*/ 82 w 176"/>
                <a:gd name="T11" fmla="*/ 105 h 172"/>
                <a:gd name="T12" fmla="*/ 65 w 176"/>
                <a:gd name="T13" fmla="*/ 108 h 172"/>
                <a:gd name="T14" fmla="*/ 65 w 176"/>
                <a:gd name="T15" fmla="*/ 0 h 172"/>
                <a:gd name="T16" fmla="*/ 0 w 176"/>
                <a:gd name="T17" fmla="*/ 65 h 172"/>
                <a:gd name="T18" fmla="*/ 65 w 176"/>
                <a:gd name="T19" fmla="*/ 130 h 172"/>
                <a:gd name="T20" fmla="*/ 98 w 176"/>
                <a:gd name="T21" fmla="*/ 121 h 172"/>
                <a:gd name="T22" fmla="*/ 145 w 176"/>
                <a:gd name="T23" fmla="*/ 167 h 172"/>
                <a:gd name="T24" fmla="*/ 162 w 176"/>
                <a:gd name="T25" fmla="*/ 167 h 172"/>
                <a:gd name="T26" fmla="*/ 176 w 176"/>
                <a:gd name="T27" fmla="*/ 153 h 172"/>
                <a:gd name="T28" fmla="*/ 164 w 176"/>
                <a:gd name="T29" fmla="*/ 140 h 172"/>
                <a:gd name="T30" fmla="*/ 164 w 176"/>
                <a:gd name="T31" fmla="*/ 140 h 172"/>
                <a:gd name="T32" fmla="*/ 121 w 176"/>
                <a:gd name="T33" fmla="*/ 98 h 172"/>
                <a:gd name="T34" fmla="*/ 130 w 176"/>
                <a:gd name="T35" fmla="*/ 65 h 172"/>
                <a:gd name="T36" fmla="*/ 65 w 176"/>
                <a:gd name="T37"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6" h="172">
                  <a:moveTo>
                    <a:pt x="65" y="108"/>
                  </a:moveTo>
                  <a:cubicBezTo>
                    <a:pt x="42" y="108"/>
                    <a:pt x="22" y="89"/>
                    <a:pt x="22" y="65"/>
                  </a:cubicBezTo>
                  <a:cubicBezTo>
                    <a:pt x="22" y="41"/>
                    <a:pt x="42" y="22"/>
                    <a:pt x="65" y="22"/>
                  </a:cubicBezTo>
                  <a:cubicBezTo>
                    <a:pt x="89" y="22"/>
                    <a:pt x="109" y="41"/>
                    <a:pt x="109" y="65"/>
                  </a:cubicBezTo>
                  <a:cubicBezTo>
                    <a:pt x="109" y="71"/>
                    <a:pt x="107" y="77"/>
                    <a:pt x="105" y="82"/>
                  </a:cubicBezTo>
                  <a:cubicBezTo>
                    <a:pt x="101" y="92"/>
                    <a:pt x="92" y="100"/>
                    <a:pt x="82" y="105"/>
                  </a:cubicBezTo>
                  <a:cubicBezTo>
                    <a:pt x="77" y="107"/>
                    <a:pt x="71" y="108"/>
                    <a:pt x="65" y="108"/>
                  </a:cubicBezTo>
                  <a:moveTo>
                    <a:pt x="65" y="0"/>
                  </a:moveTo>
                  <a:cubicBezTo>
                    <a:pt x="30" y="0"/>
                    <a:pt x="0" y="29"/>
                    <a:pt x="0" y="65"/>
                  </a:cubicBezTo>
                  <a:cubicBezTo>
                    <a:pt x="0" y="101"/>
                    <a:pt x="30" y="130"/>
                    <a:pt x="65" y="130"/>
                  </a:cubicBezTo>
                  <a:cubicBezTo>
                    <a:pt x="77" y="130"/>
                    <a:pt x="89" y="127"/>
                    <a:pt x="98" y="121"/>
                  </a:cubicBezTo>
                  <a:cubicBezTo>
                    <a:pt x="145" y="167"/>
                    <a:pt x="145" y="167"/>
                    <a:pt x="145" y="167"/>
                  </a:cubicBezTo>
                  <a:cubicBezTo>
                    <a:pt x="149" y="172"/>
                    <a:pt x="157" y="172"/>
                    <a:pt x="162" y="167"/>
                  </a:cubicBezTo>
                  <a:cubicBezTo>
                    <a:pt x="176" y="153"/>
                    <a:pt x="176" y="153"/>
                    <a:pt x="176" y="153"/>
                  </a:cubicBezTo>
                  <a:cubicBezTo>
                    <a:pt x="164" y="140"/>
                    <a:pt x="164" y="140"/>
                    <a:pt x="164" y="140"/>
                  </a:cubicBezTo>
                  <a:cubicBezTo>
                    <a:pt x="164" y="140"/>
                    <a:pt x="164" y="140"/>
                    <a:pt x="164" y="140"/>
                  </a:cubicBezTo>
                  <a:cubicBezTo>
                    <a:pt x="121" y="98"/>
                    <a:pt x="121" y="98"/>
                    <a:pt x="121" y="98"/>
                  </a:cubicBezTo>
                  <a:cubicBezTo>
                    <a:pt x="127" y="88"/>
                    <a:pt x="130" y="77"/>
                    <a:pt x="130" y="65"/>
                  </a:cubicBezTo>
                  <a:cubicBezTo>
                    <a:pt x="130" y="29"/>
                    <a:pt x="101" y="0"/>
                    <a:pt x="65" y="0"/>
                  </a:cubicBezTo>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latin typeface="微软雅黑" pitchFamily="34" charset="-122"/>
                <a:ea typeface="微软雅黑" pitchFamily="34" charset="-122"/>
              </a:endParaRPr>
            </a:p>
          </p:txBody>
        </p:sp>
        <p:sp>
          <p:nvSpPr>
            <p:cNvPr id="119" name="Freeform 118"/>
            <p:cNvSpPr>
              <a:spLocks noChangeAspect="1" noEditPoints="1"/>
            </p:cNvSpPr>
            <p:nvPr/>
          </p:nvSpPr>
          <p:spPr bwMode="auto">
            <a:xfrm>
              <a:off x="3582982" y="3630168"/>
              <a:ext cx="24879" cy="91440"/>
            </a:xfrm>
            <a:custGeom>
              <a:avLst/>
              <a:gdLst>
                <a:gd name="T0" fmla="*/ 48 w 48"/>
                <a:gd name="T1" fmla="*/ 155 h 177"/>
                <a:gd name="T2" fmla="*/ 43 w 48"/>
                <a:gd name="T3" fmla="*/ 172 h 177"/>
                <a:gd name="T4" fmla="*/ 24 w 48"/>
                <a:gd name="T5" fmla="*/ 177 h 177"/>
                <a:gd name="T6" fmla="*/ 5 w 48"/>
                <a:gd name="T7" fmla="*/ 172 h 177"/>
                <a:gd name="T8" fmla="*/ 0 w 48"/>
                <a:gd name="T9" fmla="*/ 155 h 177"/>
                <a:gd name="T10" fmla="*/ 5 w 48"/>
                <a:gd name="T11" fmla="*/ 138 h 177"/>
                <a:gd name="T12" fmla="*/ 24 w 48"/>
                <a:gd name="T13" fmla="*/ 132 h 177"/>
                <a:gd name="T14" fmla="*/ 43 w 48"/>
                <a:gd name="T15" fmla="*/ 138 h 177"/>
                <a:gd name="T16" fmla="*/ 48 w 48"/>
                <a:gd name="T17" fmla="*/ 155 h 177"/>
                <a:gd name="T18" fmla="*/ 8 w 48"/>
                <a:gd name="T19" fmla="*/ 108 h 177"/>
                <a:gd name="T20" fmla="*/ 6 w 48"/>
                <a:gd name="T21" fmla="*/ 90 h 177"/>
                <a:gd name="T22" fmla="*/ 4 w 48"/>
                <a:gd name="T23" fmla="*/ 70 h 177"/>
                <a:gd name="T24" fmla="*/ 3 w 48"/>
                <a:gd name="T25" fmla="*/ 52 h 177"/>
                <a:gd name="T26" fmla="*/ 2 w 48"/>
                <a:gd name="T27" fmla="*/ 37 h 177"/>
                <a:gd name="T28" fmla="*/ 2 w 48"/>
                <a:gd name="T29" fmla="*/ 0 h 177"/>
                <a:gd name="T30" fmla="*/ 36 w 48"/>
                <a:gd name="T31" fmla="*/ 0 h 177"/>
                <a:gd name="T32" fmla="*/ 46 w 48"/>
                <a:gd name="T33" fmla="*/ 9 h 177"/>
                <a:gd name="T34" fmla="*/ 46 w 48"/>
                <a:gd name="T35" fmla="*/ 36 h 177"/>
                <a:gd name="T36" fmla="*/ 45 w 48"/>
                <a:gd name="T37" fmla="*/ 53 h 177"/>
                <a:gd name="T38" fmla="*/ 43 w 48"/>
                <a:gd name="T39" fmla="*/ 75 h 177"/>
                <a:gd name="T40" fmla="*/ 41 w 48"/>
                <a:gd name="T41" fmla="*/ 98 h 177"/>
                <a:gd name="T42" fmla="*/ 39 w 48"/>
                <a:gd name="T43" fmla="*/ 118 h 177"/>
                <a:gd name="T44" fmla="*/ 17 w 48"/>
                <a:gd name="T45" fmla="*/ 118 h 177"/>
                <a:gd name="T46" fmla="*/ 11 w 48"/>
                <a:gd name="T47" fmla="*/ 115 h 177"/>
                <a:gd name="T48" fmla="*/ 8 w 48"/>
                <a:gd name="T49" fmla="*/ 10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 h="177">
                  <a:moveTo>
                    <a:pt x="48" y="155"/>
                  </a:moveTo>
                  <a:cubicBezTo>
                    <a:pt x="48" y="163"/>
                    <a:pt x="46" y="168"/>
                    <a:pt x="43" y="172"/>
                  </a:cubicBezTo>
                  <a:cubicBezTo>
                    <a:pt x="39" y="176"/>
                    <a:pt x="33" y="177"/>
                    <a:pt x="24" y="177"/>
                  </a:cubicBezTo>
                  <a:cubicBezTo>
                    <a:pt x="15" y="177"/>
                    <a:pt x="9" y="176"/>
                    <a:pt x="5" y="172"/>
                  </a:cubicBezTo>
                  <a:cubicBezTo>
                    <a:pt x="1" y="168"/>
                    <a:pt x="0" y="163"/>
                    <a:pt x="0" y="155"/>
                  </a:cubicBezTo>
                  <a:cubicBezTo>
                    <a:pt x="0" y="147"/>
                    <a:pt x="1" y="141"/>
                    <a:pt x="5" y="138"/>
                  </a:cubicBezTo>
                  <a:cubicBezTo>
                    <a:pt x="9" y="134"/>
                    <a:pt x="15" y="132"/>
                    <a:pt x="24" y="132"/>
                  </a:cubicBezTo>
                  <a:cubicBezTo>
                    <a:pt x="33" y="132"/>
                    <a:pt x="39" y="134"/>
                    <a:pt x="43" y="138"/>
                  </a:cubicBezTo>
                  <a:cubicBezTo>
                    <a:pt x="46" y="141"/>
                    <a:pt x="48" y="147"/>
                    <a:pt x="48" y="155"/>
                  </a:cubicBezTo>
                  <a:close/>
                  <a:moveTo>
                    <a:pt x="8" y="108"/>
                  </a:moveTo>
                  <a:cubicBezTo>
                    <a:pt x="7" y="103"/>
                    <a:pt x="6" y="96"/>
                    <a:pt x="6" y="90"/>
                  </a:cubicBezTo>
                  <a:cubicBezTo>
                    <a:pt x="5" y="83"/>
                    <a:pt x="4" y="77"/>
                    <a:pt x="4" y="70"/>
                  </a:cubicBezTo>
                  <a:cubicBezTo>
                    <a:pt x="3" y="64"/>
                    <a:pt x="3" y="58"/>
                    <a:pt x="3" y="52"/>
                  </a:cubicBezTo>
                  <a:cubicBezTo>
                    <a:pt x="2" y="46"/>
                    <a:pt x="2" y="41"/>
                    <a:pt x="2" y="37"/>
                  </a:cubicBezTo>
                  <a:cubicBezTo>
                    <a:pt x="2" y="0"/>
                    <a:pt x="2" y="0"/>
                    <a:pt x="2" y="0"/>
                  </a:cubicBezTo>
                  <a:cubicBezTo>
                    <a:pt x="36" y="0"/>
                    <a:pt x="36" y="0"/>
                    <a:pt x="36" y="0"/>
                  </a:cubicBezTo>
                  <a:cubicBezTo>
                    <a:pt x="42" y="0"/>
                    <a:pt x="46" y="3"/>
                    <a:pt x="46" y="9"/>
                  </a:cubicBezTo>
                  <a:cubicBezTo>
                    <a:pt x="46" y="36"/>
                    <a:pt x="46" y="36"/>
                    <a:pt x="46" y="36"/>
                  </a:cubicBezTo>
                  <a:cubicBezTo>
                    <a:pt x="46" y="40"/>
                    <a:pt x="45" y="46"/>
                    <a:pt x="45" y="53"/>
                  </a:cubicBezTo>
                  <a:cubicBezTo>
                    <a:pt x="45" y="60"/>
                    <a:pt x="44" y="68"/>
                    <a:pt x="43" y="75"/>
                  </a:cubicBezTo>
                  <a:cubicBezTo>
                    <a:pt x="43" y="83"/>
                    <a:pt x="42" y="91"/>
                    <a:pt x="41" y="98"/>
                  </a:cubicBezTo>
                  <a:cubicBezTo>
                    <a:pt x="40" y="106"/>
                    <a:pt x="39" y="112"/>
                    <a:pt x="39" y="118"/>
                  </a:cubicBezTo>
                  <a:cubicBezTo>
                    <a:pt x="17" y="118"/>
                    <a:pt x="17" y="118"/>
                    <a:pt x="17" y="118"/>
                  </a:cubicBezTo>
                  <a:cubicBezTo>
                    <a:pt x="14" y="118"/>
                    <a:pt x="12" y="117"/>
                    <a:pt x="11" y="115"/>
                  </a:cubicBezTo>
                  <a:cubicBezTo>
                    <a:pt x="9" y="114"/>
                    <a:pt x="8" y="112"/>
                    <a:pt x="8" y="108"/>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endParaRPr lang="en-US">
                <a:latin typeface="微软雅黑" pitchFamily="34" charset="-122"/>
                <a:ea typeface="微软雅黑" pitchFamily="34" charset="-122"/>
              </a:endParaRPr>
            </a:p>
          </p:txBody>
        </p:sp>
      </p:grpSp>
      <p:sp>
        <p:nvSpPr>
          <p:cNvPr id="120" name="Freeform 119"/>
          <p:cNvSpPr/>
          <p:nvPr/>
        </p:nvSpPr>
        <p:spPr>
          <a:xfrm>
            <a:off x="6431238" y="3346686"/>
            <a:ext cx="4239081" cy="2093959"/>
          </a:xfrm>
          <a:custGeom>
            <a:avLst/>
            <a:gdLst>
              <a:gd name="connsiteX0" fmla="*/ 3798277 w 3798277"/>
              <a:gd name="connsiteY0" fmla="*/ 269631 h 269631"/>
              <a:gd name="connsiteX1" fmla="*/ 3798277 w 3798277"/>
              <a:gd name="connsiteY1" fmla="*/ 0 h 269631"/>
              <a:gd name="connsiteX2" fmla="*/ 0 w 3798277"/>
              <a:gd name="connsiteY2" fmla="*/ 0 h 269631"/>
              <a:gd name="connsiteX0" fmla="*/ 4068454 w 4068454"/>
              <a:gd name="connsiteY0" fmla="*/ 281439 h 281439"/>
              <a:gd name="connsiteX1" fmla="*/ 4068454 w 4068454"/>
              <a:gd name="connsiteY1" fmla="*/ 11808 h 281439"/>
              <a:gd name="connsiteX2" fmla="*/ 270177 w 4068454"/>
              <a:gd name="connsiteY2" fmla="*/ 11808 h 281439"/>
              <a:gd name="connsiteX3" fmla="*/ 310013 w 4068454"/>
              <a:gd name="connsiteY3" fmla="*/ 0 h 281439"/>
              <a:gd name="connsiteX0" fmla="*/ 4074898 w 4074898"/>
              <a:gd name="connsiteY0" fmla="*/ 617993 h 617993"/>
              <a:gd name="connsiteX1" fmla="*/ 4074898 w 4074898"/>
              <a:gd name="connsiteY1" fmla="*/ 348362 h 617993"/>
              <a:gd name="connsiteX2" fmla="*/ 276621 w 4074898"/>
              <a:gd name="connsiteY2" fmla="*/ 348362 h 617993"/>
              <a:gd name="connsiteX3" fmla="*/ 356296 w 4074898"/>
              <a:gd name="connsiteY3" fmla="*/ 8 h 617993"/>
              <a:gd name="connsiteX4" fmla="*/ 316457 w 4074898"/>
              <a:gd name="connsiteY4" fmla="*/ 336554 h 617993"/>
              <a:gd name="connsiteX0" fmla="*/ 4074898 w 4074898"/>
              <a:gd name="connsiteY0" fmla="*/ 617985 h 617985"/>
              <a:gd name="connsiteX1" fmla="*/ 4074898 w 4074898"/>
              <a:gd name="connsiteY1" fmla="*/ 348354 h 617985"/>
              <a:gd name="connsiteX2" fmla="*/ 276621 w 4074898"/>
              <a:gd name="connsiteY2" fmla="*/ 348354 h 617985"/>
              <a:gd name="connsiteX3" fmla="*/ 356296 w 4074898"/>
              <a:gd name="connsiteY3" fmla="*/ 0 h 617985"/>
              <a:gd name="connsiteX0" fmla="*/ 3798566 w 3798566"/>
              <a:gd name="connsiteY0" fmla="*/ 617985 h 617985"/>
              <a:gd name="connsiteX1" fmla="*/ 3798566 w 3798566"/>
              <a:gd name="connsiteY1" fmla="*/ 348354 h 617985"/>
              <a:gd name="connsiteX2" fmla="*/ 289 w 3798566"/>
              <a:gd name="connsiteY2" fmla="*/ 348354 h 617985"/>
              <a:gd name="connsiteX3" fmla="*/ 79964 w 3798566"/>
              <a:gd name="connsiteY3" fmla="*/ 0 h 617985"/>
              <a:gd name="connsiteX0" fmla="*/ 3798564 w 3798564"/>
              <a:gd name="connsiteY0" fmla="*/ 617985 h 617985"/>
              <a:gd name="connsiteX1" fmla="*/ 3798564 w 3798564"/>
              <a:gd name="connsiteY1" fmla="*/ 348354 h 617985"/>
              <a:gd name="connsiteX2" fmla="*/ 287 w 3798564"/>
              <a:gd name="connsiteY2" fmla="*/ 348354 h 617985"/>
              <a:gd name="connsiteX3" fmla="*/ 79962 w 3798564"/>
              <a:gd name="connsiteY3" fmla="*/ 0 h 617985"/>
              <a:gd name="connsiteX0" fmla="*/ 3758996 w 3758996"/>
              <a:gd name="connsiteY0" fmla="*/ 617985 h 617985"/>
              <a:gd name="connsiteX1" fmla="*/ 3758996 w 3758996"/>
              <a:gd name="connsiteY1" fmla="*/ 348354 h 617985"/>
              <a:gd name="connsiteX2" fmla="*/ 556 w 3758996"/>
              <a:gd name="connsiteY2" fmla="*/ 342449 h 617985"/>
              <a:gd name="connsiteX3" fmla="*/ 40394 w 3758996"/>
              <a:gd name="connsiteY3" fmla="*/ 0 h 617985"/>
              <a:gd name="connsiteX0" fmla="*/ 3719888 w 3719888"/>
              <a:gd name="connsiteY0" fmla="*/ 617985 h 617985"/>
              <a:gd name="connsiteX1" fmla="*/ 3719888 w 3719888"/>
              <a:gd name="connsiteY1" fmla="*/ 348354 h 617985"/>
              <a:gd name="connsiteX2" fmla="*/ 21202 w 3719888"/>
              <a:gd name="connsiteY2" fmla="*/ 348353 h 617985"/>
              <a:gd name="connsiteX3" fmla="*/ 1286 w 3719888"/>
              <a:gd name="connsiteY3" fmla="*/ 0 h 617985"/>
            </a:gdLst>
            <a:ahLst/>
            <a:cxnLst>
              <a:cxn ang="0">
                <a:pos x="connsiteX0" y="connsiteY0"/>
              </a:cxn>
              <a:cxn ang="0">
                <a:pos x="connsiteX1" y="connsiteY1"/>
              </a:cxn>
              <a:cxn ang="0">
                <a:pos x="connsiteX2" y="connsiteY2"/>
              </a:cxn>
              <a:cxn ang="0">
                <a:pos x="connsiteX3" y="connsiteY3"/>
              </a:cxn>
            </a:cxnLst>
            <a:rect l="l" t="t" r="r" b="b"/>
            <a:pathLst>
              <a:path w="3719888" h="617985">
                <a:moveTo>
                  <a:pt x="3719888" y="617985"/>
                </a:moveTo>
                <a:lnTo>
                  <a:pt x="3719888" y="348354"/>
                </a:lnTo>
                <a:lnTo>
                  <a:pt x="21202" y="348353"/>
                </a:lnTo>
                <a:cubicBezTo>
                  <a:pt x="15577" y="345401"/>
                  <a:pt x="-5353" y="1968"/>
                  <a:pt x="1286" y="0"/>
                </a:cubicBezTo>
              </a:path>
            </a:pathLst>
          </a:custGeom>
          <a:noFill/>
          <a:ln w="28575">
            <a:solidFill>
              <a:schemeClr val="accent2"/>
            </a:solidFill>
            <a:prstDash val="sysDot"/>
          </a:ln>
          <a:effectLst/>
        </p:spPr>
        <p:style>
          <a:lnRef idx="1">
            <a:schemeClr val="accent1"/>
          </a:lnRef>
          <a:fillRef idx="3">
            <a:schemeClr val="accent1"/>
          </a:fillRef>
          <a:effectRef idx="2">
            <a:schemeClr val="accent1"/>
          </a:effectRef>
          <a:fontRef idx="minor">
            <a:schemeClr val="lt1"/>
          </a:fontRef>
        </p:style>
        <p:txBody>
          <a:bodyPr lIns="129909" tIns="64954" rIns="129909" bIns="64954" rtlCol="0" anchor="ctr"/>
          <a:lstStyle/>
          <a:p>
            <a:pPr algn="ctr"/>
            <a:endParaRPr lang="en-US">
              <a:latin typeface="微软雅黑" pitchFamily="34" charset="-122"/>
              <a:ea typeface="微软雅黑" pitchFamily="34" charset="-122"/>
            </a:endParaRPr>
          </a:p>
        </p:txBody>
      </p:sp>
    </p:spTree>
    <p:extLst>
      <p:ext uri="{BB962C8B-B14F-4D97-AF65-F5344CB8AC3E}">
        <p14:creationId xmlns:p14="http://schemas.microsoft.com/office/powerpoint/2010/main" val="297404728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7" name="Freeform 575"/>
          <p:cNvSpPr>
            <a:spLocks noEditPoints="1"/>
          </p:cNvSpPr>
          <p:nvPr/>
        </p:nvSpPr>
        <p:spPr bwMode="auto">
          <a:xfrm>
            <a:off x="5707947" y="1382790"/>
            <a:ext cx="2573849" cy="5204176"/>
          </a:xfrm>
          <a:custGeom>
            <a:avLst/>
            <a:gdLst>
              <a:gd name="T0" fmla="*/ 156 w 180"/>
              <a:gd name="T1" fmla="*/ 0 h 364"/>
              <a:gd name="T2" fmla="*/ 0 w 180"/>
              <a:gd name="T3" fmla="*/ 0 h 364"/>
              <a:gd name="T4" fmla="*/ 0 w 180"/>
              <a:gd name="T5" fmla="*/ 340 h 364"/>
              <a:gd name="T6" fmla="*/ 24 w 180"/>
              <a:gd name="T7" fmla="*/ 364 h 364"/>
              <a:gd name="T8" fmla="*/ 180 w 180"/>
              <a:gd name="T9" fmla="*/ 364 h 364"/>
              <a:gd name="T10" fmla="*/ 180 w 180"/>
              <a:gd name="T11" fmla="*/ 24 h 364"/>
              <a:gd name="T12" fmla="*/ 156 w 180"/>
              <a:gd name="T13" fmla="*/ 0 h 364"/>
              <a:gd name="T14" fmla="*/ 76 w 180"/>
              <a:gd name="T15" fmla="*/ 292 h 364"/>
              <a:gd name="T16" fmla="*/ 28 w 180"/>
              <a:gd name="T17" fmla="*/ 292 h 364"/>
              <a:gd name="T18" fmla="*/ 28 w 180"/>
              <a:gd name="T19" fmla="*/ 244 h 364"/>
              <a:gd name="T20" fmla="*/ 76 w 180"/>
              <a:gd name="T21" fmla="*/ 244 h 364"/>
              <a:gd name="T22" fmla="*/ 76 w 180"/>
              <a:gd name="T23" fmla="*/ 292 h 364"/>
              <a:gd name="T24" fmla="*/ 76 w 180"/>
              <a:gd name="T25" fmla="*/ 220 h 364"/>
              <a:gd name="T26" fmla="*/ 28 w 180"/>
              <a:gd name="T27" fmla="*/ 220 h 364"/>
              <a:gd name="T28" fmla="*/ 28 w 180"/>
              <a:gd name="T29" fmla="*/ 172 h 364"/>
              <a:gd name="T30" fmla="*/ 76 w 180"/>
              <a:gd name="T31" fmla="*/ 172 h 364"/>
              <a:gd name="T32" fmla="*/ 76 w 180"/>
              <a:gd name="T33" fmla="*/ 220 h 364"/>
              <a:gd name="T34" fmla="*/ 76 w 180"/>
              <a:gd name="T35" fmla="*/ 148 h 364"/>
              <a:gd name="T36" fmla="*/ 28 w 180"/>
              <a:gd name="T37" fmla="*/ 148 h 364"/>
              <a:gd name="T38" fmla="*/ 28 w 180"/>
              <a:gd name="T39" fmla="*/ 100 h 364"/>
              <a:gd name="T40" fmla="*/ 76 w 180"/>
              <a:gd name="T41" fmla="*/ 100 h 364"/>
              <a:gd name="T42" fmla="*/ 76 w 180"/>
              <a:gd name="T43" fmla="*/ 148 h 364"/>
              <a:gd name="T44" fmla="*/ 76 w 180"/>
              <a:gd name="T45" fmla="*/ 76 h 364"/>
              <a:gd name="T46" fmla="*/ 28 w 180"/>
              <a:gd name="T47" fmla="*/ 76 h 364"/>
              <a:gd name="T48" fmla="*/ 28 w 180"/>
              <a:gd name="T49" fmla="*/ 28 h 364"/>
              <a:gd name="T50" fmla="*/ 76 w 180"/>
              <a:gd name="T51" fmla="*/ 28 h 364"/>
              <a:gd name="T52" fmla="*/ 76 w 180"/>
              <a:gd name="T53" fmla="*/ 76 h 364"/>
              <a:gd name="T54" fmla="*/ 152 w 180"/>
              <a:gd name="T55" fmla="*/ 220 h 364"/>
              <a:gd name="T56" fmla="*/ 104 w 180"/>
              <a:gd name="T57" fmla="*/ 220 h 364"/>
              <a:gd name="T58" fmla="*/ 104 w 180"/>
              <a:gd name="T59" fmla="*/ 172 h 364"/>
              <a:gd name="T60" fmla="*/ 152 w 180"/>
              <a:gd name="T61" fmla="*/ 172 h 364"/>
              <a:gd name="T62" fmla="*/ 152 w 180"/>
              <a:gd name="T63" fmla="*/ 220 h 364"/>
              <a:gd name="T64" fmla="*/ 152 w 180"/>
              <a:gd name="T65" fmla="*/ 148 h 364"/>
              <a:gd name="T66" fmla="*/ 104 w 180"/>
              <a:gd name="T67" fmla="*/ 148 h 364"/>
              <a:gd name="T68" fmla="*/ 104 w 180"/>
              <a:gd name="T69" fmla="*/ 100 h 364"/>
              <a:gd name="T70" fmla="*/ 152 w 180"/>
              <a:gd name="T71" fmla="*/ 100 h 364"/>
              <a:gd name="T72" fmla="*/ 152 w 180"/>
              <a:gd name="T73" fmla="*/ 148 h 364"/>
              <a:gd name="T74" fmla="*/ 152 w 180"/>
              <a:gd name="T75" fmla="*/ 76 h 364"/>
              <a:gd name="T76" fmla="*/ 104 w 180"/>
              <a:gd name="T77" fmla="*/ 76 h 364"/>
              <a:gd name="T78" fmla="*/ 104 w 180"/>
              <a:gd name="T79" fmla="*/ 28 h 364"/>
              <a:gd name="T80" fmla="*/ 152 w 180"/>
              <a:gd name="T81" fmla="*/ 28 h 364"/>
              <a:gd name="T82" fmla="*/ 152 w 180"/>
              <a:gd name="T83" fmla="*/ 76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0" h="364">
                <a:moveTo>
                  <a:pt x="156" y="0"/>
                </a:moveTo>
                <a:cubicBezTo>
                  <a:pt x="0" y="0"/>
                  <a:pt x="0" y="0"/>
                  <a:pt x="0" y="0"/>
                </a:cubicBezTo>
                <a:cubicBezTo>
                  <a:pt x="0" y="340"/>
                  <a:pt x="0" y="340"/>
                  <a:pt x="0" y="340"/>
                </a:cubicBezTo>
                <a:cubicBezTo>
                  <a:pt x="0" y="353"/>
                  <a:pt x="10" y="364"/>
                  <a:pt x="24" y="364"/>
                </a:cubicBezTo>
                <a:cubicBezTo>
                  <a:pt x="180" y="364"/>
                  <a:pt x="180" y="364"/>
                  <a:pt x="180" y="364"/>
                </a:cubicBezTo>
                <a:cubicBezTo>
                  <a:pt x="180" y="24"/>
                  <a:pt x="180" y="24"/>
                  <a:pt x="180" y="24"/>
                </a:cubicBezTo>
                <a:cubicBezTo>
                  <a:pt x="180" y="11"/>
                  <a:pt x="169" y="0"/>
                  <a:pt x="156" y="0"/>
                </a:cubicBezTo>
                <a:moveTo>
                  <a:pt x="76" y="292"/>
                </a:moveTo>
                <a:cubicBezTo>
                  <a:pt x="28" y="292"/>
                  <a:pt x="28" y="292"/>
                  <a:pt x="28" y="292"/>
                </a:cubicBezTo>
                <a:cubicBezTo>
                  <a:pt x="28" y="244"/>
                  <a:pt x="28" y="244"/>
                  <a:pt x="28" y="244"/>
                </a:cubicBezTo>
                <a:cubicBezTo>
                  <a:pt x="76" y="244"/>
                  <a:pt x="76" y="244"/>
                  <a:pt x="76" y="244"/>
                </a:cubicBezTo>
                <a:lnTo>
                  <a:pt x="76" y="292"/>
                </a:lnTo>
                <a:close/>
                <a:moveTo>
                  <a:pt x="76" y="220"/>
                </a:moveTo>
                <a:cubicBezTo>
                  <a:pt x="28" y="220"/>
                  <a:pt x="28" y="220"/>
                  <a:pt x="28" y="220"/>
                </a:cubicBezTo>
                <a:cubicBezTo>
                  <a:pt x="28" y="172"/>
                  <a:pt x="28" y="172"/>
                  <a:pt x="28" y="172"/>
                </a:cubicBezTo>
                <a:cubicBezTo>
                  <a:pt x="76" y="172"/>
                  <a:pt x="76" y="172"/>
                  <a:pt x="76" y="172"/>
                </a:cubicBezTo>
                <a:lnTo>
                  <a:pt x="76" y="220"/>
                </a:lnTo>
                <a:close/>
                <a:moveTo>
                  <a:pt x="76" y="148"/>
                </a:moveTo>
                <a:cubicBezTo>
                  <a:pt x="28" y="148"/>
                  <a:pt x="28" y="148"/>
                  <a:pt x="28" y="148"/>
                </a:cubicBezTo>
                <a:cubicBezTo>
                  <a:pt x="28" y="100"/>
                  <a:pt x="28" y="100"/>
                  <a:pt x="28" y="100"/>
                </a:cubicBezTo>
                <a:cubicBezTo>
                  <a:pt x="76" y="100"/>
                  <a:pt x="76" y="100"/>
                  <a:pt x="76" y="100"/>
                </a:cubicBezTo>
                <a:lnTo>
                  <a:pt x="76" y="148"/>
                </a:lnTo>
                <a:close/>
                <a:moveTo>
                  <a:pt x="76" y="76"/>
                </a:moveTo>
                <a:cubicBezTo>
                  <a:pt x="28" y="76"/>
                  <a:pt x="28" y="76"/>
                  <a:pt x="28" y="76"/>
                </a:cubicBezTo>
                <a:cubicBezTo>
                  <a:pt x="28" y="28"/>
                  <a:pt x="28" y="28"/>
                  <a:pt x="28" y="28"/>
                </a:cubicBezTo>
                <a:cubicBezTo>
                  <a:pt x="76" y="28"/>
                  <a:pt x="76" y="28"/>
                  <a:pt x="76" y="28"/>
                </a:cubicBezTo>
                <a:lnTo>
                  <a:pt x="76" y="76"/>
                </a:lnTo>
                <a:close/>
                <a:moveTo>
                  <a:pt x="152" y="220"/>
                </a:moveTo>
                <a:cubicBezTo>
                  <a:pt x="104" y="220"/>
                  <a:pt x="104" y="220"/>
                  <a:pt x="104" y="220"/>
                </a:cubicBezTo>
                <a:cubicBezTo>
                  <a:pt x="104" y="172"/>
                  <a:pt x="104" y="172"/>
                  <a:pt x="104" y="172"/>
                </a:cubicBezTo>
                <a:cubicBezTo>
                  <a:pt x="152" y="172"/>
                  <a:pt x="152" y="172"/>
                  <a:pt x="152" y="172"/>
                </a:cubicBezTo>
                <a:lnTo>
                  <a:pt x="152" y="220"/>
                </a:lnTo>
                <a:close/>
                <a:moveTo>
                  <a:pt x="152" y="148"/>
                </a:moveTo>
                <a:cubicBezTo>
                  <a:pt x="104" y="148"/>
                  <a:pt x="104" y="148"/>
                  <a:pt x="104" y="148"/>
                </a:cubicBezTo>
                <a:cubicBezTo>
                  <a:pt x="104" y="100"/>
                  <a:pt x="104" y="100"/>
                  <a:pt x="104" y="100"/>
                </a:cubicBezTo>
                <a:cubicBezTo>
                  <a:pt x="152" y="100"/>
                  <a:pt x="152" y="100"/>
                  <a:pt x="152" y="100"/>
                </a:cubicBezTo>
                <a:lnTo>
                  <a:pt x="152" y="148"/>
                </a:lnTo>
                <a:close/>
                <a:moveTo>
                  <a:pt x="152" y="76"/>
                </a:moveTo>
                <a:cubicBezTo>
                  <a:pt x="104" y="76"/>
                  <a:pt x="104" y="76"/>
                  <a:pt x="104" y="76"/>
                </a:cubicBezTo>
                <a:cubicBezTo>
                  <a:pt x="104" y="28"/>
                  <a:pt x="104" y="28"/>
                  <a:pt x="104" y="28"/>
                </a:cubicBezTo>
                <a:cubicBezTo>
                  <a:pt x="152" y="28"/>
                  <a:pt x="152" y="28"/>
                  <a:pt x="152" y="28"/>
                </a:cubicBezTo>
                <a:lnTo>
                  <a:pt x="152" y="76"/>
                </a:lnTo>
                <a:close/>
              </a:path>
            </a:pathLst>
          </a:custGeom>
          <a:solidFill>
            <a:schemeClr val="accent4">
              <a:lumMod val="40000"/>
              <a:lumOff val="60000"/>
            </a:schemeClr>
          </a:solidFill>
          <a:ln>
            <a:noFill/>
          </a:ln>
        </p:spPr>
        <p:txBody>
          <a:bodyPr vert="horz" wrap="square" lIns="129909" tIns="64954" rIns="129909" bIns="64954" numCol="1" anchor="t" anchorCtr="0" compatLnSpc="1">
            <a:prstTxWarp prst="textNoShape">
              <a:avLst/>
            </a:prstTxWarp>
          </a:bodyPr>
          <a:lstStyle/>
          <a:p>
            <a:endParaRPr lang="en-US">
              <a:latin typeface="微软雅黑" pitchFamily="34" charset="-122"/>
              <a:ea typeface="微软雅黑" pitchFamily="34" charset="-122"/>
            </a:endParaRPr>
          </a:p>
        </p:txBody>
      </p:sp>
      <p:grpSp>
        <p:nvGrpSpPr>
          <p:cNvPr id="8" name="Group 7"/>
          <p:cNvGrpSpPr/>
          <p:nvPr/>
        </p:nvGrpSpPr>
        <p:grpSpPr>
          <a:xfrm>
            <a:off x="6521830" y="2476623"/>
            <a:ext cx="1481740" cy="2674644"/>
            <a:chOff x="4592950" y="1741375"/>
            <a:chExt cx="1043504" cy="1880609"/>
          </a:xfrm>
        </p:grpSpPr>
        <p:grpSp>
          <p:nvGrpSpPr>
            <p:cNvPr id="297" name="Group 322"/>
            <p:cNvGrpSpPr/>
            <p:nvPr/>
          </p:nvGrpSpPr>
          <p:grpSpPr>
            <a:xfrm>
              <a:off x="4756914" y="2780883"/>
              <a:ext cx="738382" cy="841101"/>
              <a:chOff x="2344975" y="3326629"/>
              <a:chExt cx="809388" cy="921985"/>
            </a:xfrm>
            <a:solidFill>
              <a:srgbClr val="000000"/>
            </a:solidFill>
          </p:grpSpPr>
          <p:sp>
            <p:nvSpPr>
              <p:cNvPr id="298" name="Freeform 158"/>
              <p:cNvSpPr>
                <a:spLocks/>
              </p:cNvSpPr>
              <p:nvPr/>
            </p:nvSpPr>
            <p:spPr bwMode="auto">
              <a:xfrm>
                <a:off x="2354350" y="3326629"/>
                <a:ext cx="32813" cy="89224"/>
              </a:xfrm>
              <a:custGeom>
                <a:avLst/>
                <a:gdLst/>
                <a:ahLst/>
                <a:cxnLst>
                  <a:cxn ang="0">
                    <a:pos x="21" y="57"/>
                  </a:cxn>
                  <a:cxn ang="0">
                    <a:pos x="11" y="57"/>
                  </a:cxn>
                  <a:cxn ang="0">
                    <a:pos x="11" y="10"/>
                  </a:cxn>
                  <a:cxn ang="0">
                    <a:pos x="0" y="10"/>
                  </a:cxn>
                  <a:cxn ang="0">
                    <a:pos x="4" y="0"/>
                  </a:cxn>
                  <a:cxn ang="0">
                    <a:pos x="21" y="0"/>
                  </a:cxn>
                  <a:cxn ang="0">
                    <a:pos x="21" y="57"/>
                  </a:cxn>
                </a:cxnLst>
                <a:rect l="0" t="0" r="r" b="b"/>
                <a:pathLst>
                  <a:path w="21" h="57">
                    <a:moveTo>
                      <a:pt x="21" y="57"/>
                    </a:moveTo>
                    <a:lnTo>
                      <a:pt x="11" y="57"/>
                    </a:lnTo>
                    <a:lnTo>
                      <a:pt x="11" y="10"/>
                    </a:lnTo>
                    <a:lnTo>
                      <a:pt x="0" y="10"/>
                    </a:lnTo>
                    <a:lnTo>
                      <a:pt x="4" y="0"/>
                    </a:lnTo>
                    <a:lnTo>
                      <a:pt x="21" y="0"/>
                    </a:lnTo>
                    <a:lnTo>
                      <a:pt x="21"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299" name="Freeform 159"/>
              <p:cNvSpPr>
                <a:spLocks noEditPoints="1"/>
              </p:cNvSpPr>
              <p:nvPr/>
            </p:nvSpPr>
            <p:spPr bwMode="auto">
              <a:xfrm>
                <a:off x="2402789" y="3326629"/>
                <a:ext cx="60938" cy="89224"/>
              </a:xfrm>
              <a:custGeom>
                <a:avLst/>
                <a:gdLst/>
                <a:ahLst/>
                <a:cxnLst>
                  <a:cxn ang="0">
                    <a:pos x="51" y="37"/>
                  </a:cxn>
                  <a:cxn ang="0">
                    <a:pos x="44" y="65"/>
                  </a:cxn>
                  <a:cxn ang="0">
                    <a:pos x="25" y="75"/>
                  </a:cxn>
                  <a:cxn ang="0">
                    <a:pos x="7" y="65"/>
                  </a:cxn>
                  <a:cxn ang="0">
                    <a:pos x="0" y="37"/>
                  </a:cxn>
                  <a:cxn ang="0">
                    <a:pos x="7" y="10"/>
                  </a:cxn>
                  <a:cxn ang="0">
                    <a:pos x="25" y="0"/>
                  </a:cxn>
                  <a:cxn ang="0">
                    <a:pos x="44" y="10"/>
                  </a:cxn>
                  <a:cxn ang="0">
                    <a:pos x="51" y="37"/>
                  </a:cxn>
                  <a:cxn ang="0">
                    <a:pos x="37" y="37"/>
                  </a:cxn>
                  <a:cxn ang="0">
                    <a:pos x="34" y="19"/>
                  </a:cxn>
                  <a:cxn ang="0">
                    <a:pos x="25" y="12"/>
                  </a:cxn>
                  <a:cxn ang="0">
                    <a:pos x="17" y="19"/>
                  </a:cxn>
                  <a:cxn ang="0">
                    <a:pos x="13" y="37"/>
                  </a:cxn>
                  <a:cxn ang="0">
                    <a:pos x="17" y="56"/>
                  </a:cxn>
                  <a:cxn ang="0">
                    <a:pos x="25" y="63"/>
                  </a:cxn>
                  <a:cxn ang="0">
                    <a:pos x="34" y="56"/>
                  </a:cxn>
                  <a:cxn ang="0">
                    <a:pos x="37" y="37"/>
                  </a:cxn>
                </a:cxnLst>
                <a:rect l="0" t="0" r="r" b="b"/>
                <a:pathLst>
                  <a:path w="51" h="75">
                    <a:moveTo>
                      <a:pt x="51" y="37"/>
                    </a:moveTo>
                    <a:cubicBezTo>
                      <a:pt x="51" y="49"/>
                      <a:pt x="49" y="58"/>
                      <a:pt x="44" y="65"/>
                    </a:cubicBezTo>
                    <a:cubicBezTo>
                      <a:pt x="39" y="72"/>
                      <a:pt x="33" y="75"/>
                      <a:pt x="25" y="75"/>
                    </a:cubicBezTo>
                    <a:cubicBezTo>
                      <a:pt x="18" y="75"/>
                      <a:pt x="11" y="72"/>
                      <a:pt x="7" y="65"/>
                    </a:cubicBezTo>
                    <a:cubicBezTo>
                      <a:pt x="2" y="58"/>
                      <a:pt x="0" y="49"/>
                      <a:pt x="0" y="37"/>
                    </a:cubicBezTo>
                    <a:cubicBezTo>
                      <a:pt x="0" y="26"/>
                      <a:pt x="2" y="17"/>
                      <a:pt x="7" y="10"/>
                    </a:cubicBezTo>
                    <a:cubicBezTo>
                      <a:pt x="11" y="3"/>
                      <a:pt x="18" y="0"/>
                      <a:pt x="25" y="0"/>
                    </a:cubicBezTo>
                    <a:cubicBezTo>
                      <a:pt x="33" y="0"/>
                      <a:pt x="40" y="3"/>
                      <a:pt x="44" y="10"/>
                    </a:cubicBezTo>
                    <a:cubicBezTo>
                      <a:pt x="49" y="17"/>
                      <a:pt x="51" y="26"/>
                      <a:pt x="51" y="37"/>
                    </a:cubicBezTo>
                    <a:close/>
                    <a:moveTo>
                      <a:pt x="37" y="37"/>
                    </a:moveTo>
                    <a:cubicBezTo>
                      <a:pt x="37" y="30"/>
                      <a:pt x="36" y="24"/>
                      <a:pt x="34" y="19"/>
                    </a:cubicBezTo>
                    <a:cubicBezTo>
                      <a:pt x="32" y="14"/>
                      <a:pt x="29" y="12"/>
                      <a:pt x="25" y="12"/>
                    </a:cubicBezTo>
                    <a:cubicBezTo>
                      <a:pt x="22" y="12"/>
                      <a:pt x="19" y="14"/>
                      <a:pt x="17" y="19"/>
                    </a:cubicBezTo>
                    <a:cubicBezTo>
                      <a:pt x="15" y="24"/>
                      <a:pt x="13" y="30"/>
                      <a:pt x="13" y="37"/>
                    </a:cubicBezTo>
                    <a:cubicBezTo>
                      <a:pt x="13" y="45"/>
                      <a:pt x="15" y="51"/>
                      <a:pt x="17" y="56"/>
                    </a:cubicBezTo>
                    <a:cubicBezTo>
                      <a:pt x="19" y="60"/>
                      <a:pt x="22" y="63"/>
                      <a:pt x="25" y="63"/>
                    </a:cubicBezTo>
                    <a:cubicBezTo>
                      <a:pt x="29" y="63"/>
                      <a:pt x="32" y="61"/>
                      <a:pt x="34" y="56"/>
                    </a:cubicBezTo>
                    <a:cubicBezTo>
                      <a:pt x="36" y="51"/>
                      <a:pt x="37" y="45"/>
                      <a:pt x="37"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0" name="Freeform 160"/>
              <p:cNvSpPr>
                <a:spLocks/>
              </p:cNvSpPr>
              <p:nvPr/>
            </p:nvSpPr>
            <p:spPr bwMode="auto">
              <a:xfrm>
                <a:off x="2465290" y="3326629"/>
                <a:ext cx="32813" cy="89224"/>
              </a:xfrm>
              <a:custGeom>
                <a:avLst/>
                <a:gdLst/>
                <a:ahLst/>
                <a:cxnLst>
                  <a:cxn ang="0">
                    <a:pos x="21" y="57"/>
                  </a:cxn>
                  <a:cxn ang="0">
                    <a:pos x="10" y="57"/>
                  </a:cxn>
                  <a:cxn ang="0">
                    <a:pos x="10" y="10"/>
                  </a:cxn>
                  <a:cxn ang="0">
                    <a:pos x="0" y="10"/>
                  </a:cxn>
                  <a:cxn ang="0">
                    <a:pos x="4" y="0"/>
                  </a:cxn>
                  <a:cxn ang="0">
                    <a:pos x="21" y="0"/>
                  </a:cxn>
                  <a:cxn ang="0">
                    <a:pos x="21" y="57"/>
                  </a:cxn>
                </a:cxnLst>
                <a:rect l="0" t="0" r="r" b="b"/>
                <a:pathLst>
                  <a:path w="21" h="57">
                    <a:moveTo>
                      <a:pt x="21" y="57"/>
                    </a:moveTo>
                    <a:lnTo>
                      <a:pt x="10" y="57"/>
                    </a:lnTo>
                    <a:lnTo>
                      <a:pt x="10" y="10"/>
                    </a:lnTo>
                    <a:lnTo>
                      <a:pt x="0" y="10"/>
                    </a:lnTo>
                    <a:lnTo>
                      <a:pt x="4" y="0"/>
                    </a:lnTo>
                    <a:lnTo>
                      <a:pt x="21" y="0"/>
                    </a:lnTo>
                    <a:lnTo>
                      <a:pt x="21"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1" name="Freeform 161"/>
              <p:cNvSpPr>
                <a:spLocks/>
              </p:cNvSpPr>
              <p:nvPr/>
            </p:nvSpPr>
            <p:spPr bwMode="auto">
              <a:xfrm>
                <a:off x="2505915" y="3326629"/>
                <a:ext cx="32813" cy="89224"/>
              </a:xfrm>
              <a:custGeom>
                <a:avLst/>
                <a:gdLst/>
                <a:ahLst/>
                <a:cxnLst>
                  <a:cxn ang="0">
                    <a:pos x="21" y="57"/>
                  </a:cxn>
                  <a:cxn ang="0">
                    <a:pos x="11" y="57"/>
                  </a:cxn>
                  <a:cxn ang="0">
                    <a:pos x="11" y="10"/>
                  </a:cxn>
                  <a:cxn ang="0">
                    <a:pos x="0" y="10"/>
                  </a:cxn>
                  <a:cxn ang="0">
                    <a:pos x="4" y="0"/>
                  </a:cxn>
                  <a:cxn ang="0">
                    <a:pos x="21" y="0"/>
                  </a:cxn>
                  <a:cxn ang="0">
                    <a:pos x="21" y="57"/>
                  </a:cxn>
                </a:cxnLst>
                <a:rect l="0" t="0" r="r" b="b"/>
                <a:pathLst>
                  <a:path w="21" h="57">
                    <a:moveTo>
                      <a:pt x="21" y="57"/>
                    </a:moveTo>
                    <a:lnTo>
                      <a:pt x="11" y="57"/>
                    </a:lnTo>
                    <a:lnTo>
                      <a:pt x="11" y="10"/>
                    </a:lnTo>
                    <a:lnTo>
                      <a:pt x="0" y="10"/>
                    </a:lnTo>
                    <a:lnTo>
                      <a:pt x="4" y="0"/>
                    </a:lnTo>
                    <a:lnTo>
                      <a:pt x="21" y="0"/>
                    </a:lnTo>
                    <a:lnTo>
                      <a:pt x="21"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2" name="Freeform 162"/>
              <p:cNvSpPr>
                <a:spLocks/>
              </p:cNvSpPr>
              <p:nvPr/>
            </p:nvSpPr>
            <p:spPr bwMode="auto">
              <a:xfrm>
                <a:off x="2546541" y="3326629"/>
                <a:ext cx="32813" cy="89224"/>
              </a:xfrm>
              <a:custGeom>
                <a:avLst/>
                <a:gdLst/>
                <a:ahLst/>
                <a:cxnLst>
                  <a:cxn ang="0">
                    <a:pos x="21" y="57"/>
                  </a:cxn>
                  <a:cxn ang="0">
                    <a:pos x="11" y="57"/>
                  </a:cxn>
                  <a:cxn ang="0">
                    <a:pos x="11" y="10"/>
                  </a:cxn>
                  <a:cxn ang="0">
                    <a:pos x="0" y="10"/>
                  </a:cxn>
                  <a:cxn ang="0">
                    <a:pos x="5" y="0"/>
                  </a:cxn>
                  <a:cxn ang="0">
                    <a:pos x="21" y="0"/>
                  </a:cxn>
                  <a:cxn ang="0">
                    <a:pos x="21" y="57"/>
                  </a:cxn>
                </a:cxnLst>
                <a:rect l="0" t="0" r="r" b="b"/>
                <a:pathLst>
                  <a:path w="21" h="57">
                    <a:moveTo>
                      <a:pt x="21" y="57"/>
                    </a:moveTo>
                    <a:lnTo>
                      <a:pt x="11" y="57"/>
                    </a:lnTo>
                    <a:lnTo>
                      <a:pt x="11" y="10"/>
                    </a:lnTo>
                    <a:lnTo>
                      <a:pt x="0" y="10"/>
                    </a:lnTo>
                    <a:lnTo>
                      <a:pt x="5" y="0"/>
                    </a:lnTo>
                    <a:lnTo>
                      <a:pt x="21" y="0"/>
                    </a:lnTo>
                    <a:lnTo>
                      <a:pt x="21"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3" name="Freeform 163"/>
              <p:cNvSpPr>
                <a:spLocks/>
              </p:cNvSpPr>
              <p:nvPr/>
            </p:nvSpPr>
            <p:spPr bwMode="auto">
              <a:xfrm>
                <a:off x="2587167" y="3326629"/>
                <a:ext cx="34376" cy="89224"/>
              </a:xfrm>
              <a:custGeom>
                <a:avLst/>
                <a:gdLst/>
                <a:ahLst/>
                <a:cxnLst>
                  <a:cxn ang="0">
                    <a:pos x="22" y="57"/>
                  </a:cxn>
                  <a:cxn ang="0">
                    <a:pos x="11" y="57"/>
                  </a:cxn>
                  <a:cxn ang="0">
                    <a:pos x="11" y="10"/>
                  </a:cxn>
                  <a:cxn ang="0">
                    <a:pos x="0" y="10"/>
                  </a:cxn>
                  <a:cxn ang="0">
                    <a:pos x="5" y="0"/>
                  </a:cxn>
                  <a:cxn ang="0">
                    <a:pos x="22" y="0"/>
                  </a:cxn>
                  <a:cxn ang="0">
                    <a:pos x="22" y="57"/>
                  </a:cxn>
                </a:cxnLst>
                <a:rect l="0" t="0" r="r" b="b"/>
                <a:pathLst>
                  <a:path w="22" h="57">
                    <a:moveTo>
                      <a:pt x="22" y="57"/>
                    </a:moveTo>
                    <a:lnTo>
                      <a:pt x="11" y="57"/>
                    </a:lnTo>
                    <a:lnTo>
                      <a:pt x="11" y="10"/>
                    </a:lnTo>
                    <a:lnTo>
                      <a:pt x="0" y="10"/>
                    </a:lnTo>
                    <a:lnTo>
                      <a:pt x="5" y="0"/>
                    </a:lnTo>
                    <a:lnTo>
                      <a:pt x="22" y="0"/>
                    </a:lnTo>
                    <a:lnTo>
                      <a:pt x="22"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4" name="Freeform 164"/>
              <p:cNvSpPr>
                <a:spLocks noEditPoints="1"/>
              </p:cNvSpPr>
              <p:nvPr/>
            </p:nvSpPr>
            <p:spPr bwMode="auto">
              <a:xfrm>
                <a:off x="2635605" y="3326629"/>
                <a:ext cx="60938" cy="89224"/>
              </a:xfrm>
              <a:custGeom>
                <a:avLst/>
                <a:gdLst/>
                <a:ahLst/>
                <a:cxnLst>
                  <a:cxn ang="0">
                    <a:pos x="51" y="37"/>
                  </a:cxn>
                  <a:cxn ang="0">
                    <a:pos x="44" y="65"/>
                  </a:cxn>
                  <a:cxn ang="0">
                    <a:pos x="25" y="75"/>
                  </a:cxn>
                  <a:cxn ang="0">
                    <a:pos x="7" y="65"/>
                  </a:cxn>
                  <a:cxn ang="0">
                    <a:pos x="0" y="37"/>
                  </a:cxn>
                  <a:cxn ang="0">
                    <a:pos x="7" y="10"/>
                  </a:cxn>
                  <a:cxn ang="0">
                    <a:pos x="25" y="0"/>
                  </a:cxn>
                  <a:cxn ang="0">
                    <a:pos x="44" y="10"/>
                  </a:cxn>
                  <a:cxn ang="0">
                    <a:pos x="51" y="37"/>
                  </a:cxn>
                  <a:cxn ang="0">
                    <a:pos x="37" y="37"/>
                  </a:cxn>
                  <a:cxn ang="0">
                    <a:pos x="34" y="19"/>
                  </a:cxn>
                  <a:cxn ang="0">
                    <a:pos x="25" y="12"/>
                  </a:cxn>
                  <a:cxn ang="0">
                    <a:pos x="17" y="19"/>
                  </a:cxn>
                  <a:cxn ang="0">
                    <a:pos x="13" y="37"/>
                  </a:cxn>
                  <a:cxn ang="0">
                    <a:pos x="17" y="56"/>
                  </a:cxn>
                  <a:cxn ang="0">
                    <a:pos x="25" y="63"/>
                  </a:cxn>
                  <a:cxn ang="0">
                    <a:pos x="34" y="56"/>
                  </a:cxn>
                  <a:cxn ang="0">
                    <a:pos x="37" y="37"/>
                  </a:cxn>
                </a:cxnLst>
                <a:rect l="0" t="0" r="r" b="b"/>
                <a:pathLst>
                  <a:path w="51" h="75">
                    <a:moveTo>
                      <a:pt x="51" y="37"/>
                    </a:moveTo>
                    <a:cubicBezTo>
                      <a:pt x="51" y="49"/>
                      <a:pt x="49" y="58"/>
                      <a:pt x="44" y="65"/>
                    </a:cubicBezTo>
                    <a:cubicBezTo>
                      <a:pt x="39" y="72"/>
                      <a:pt x="33" y="75"/>
                      <a:pt x="25" y="75"/>
                    </a:cubicBezTo>
                    <a:cubicBezTo>
                      <a:pt x="17" y="75"/>
                      <a:pt x="11" y="72"/>
                      <a:pt x="7" y="65"/>
                    </a:cubicBezTo>
                    <a:cubicBezTo>
                      <a:pt x="2" y="58"/>
                      <a:pt x="0" y="49"/>
                      <a:pt x="0" y="37"/>
                    </a:cubicBezTo>
                    <a:cubicBezTo>
                      <a:pt x="0" y="26"/>
                      <a:pt x="2" y="17"/>
                      <a:pt x="7" y="10"/>
                    </a:cubicBezTo>
                    <a:cubicBezTo>
                      <a:pt x="11" y="3"/>
                      <a:pt x="18" y="0"/>
                      <a:pt x="25" y="0"/>
                    </a:cubicBezTo>
                    <a:cubicBezTo>
                      <a:pt x="33" y="0"/>
                      <a:pt x="39" y="3"/>
                      <a:pt x="44" y="10"/>
                    </a:cubicBezTo>
                    <a:cubicBezTo>
                      <a:pt x="49" y="17"/>
                      <a:pt x="51" y="26"/>
                      <a:pt x="51" y="37"/>
                    </a:cubicBezTo>
                    <a:close/>
                    <a:moveTo>
                      <a:pt x="37" y="37"/>
                    </a:moveTo>
                    <a:cubicBezTo>
                      <a:pt x="37" y="30"/>
                      <a:pt x="36" y="24"/>
                      <a:pt x="34" y="19"/>
                    </a:cubicBezTo>
                    <a:cubicBezTo>
                      <a:pt x="32" y="14"/>
                      <a:pt x="29" y="12"/>
                      <a:pt x="25" y="12"/>
                    </a:cubicBezTo>
                    <a:cubicBezTo>
                      <a:pt x="22" y="12"/>
                      <a:pt x="19" y="14"/>
                      <a:pt x="17" y="19"/>
                    </a:cubicBezTo>
                    <a:cubicBezTo>
                      <a:pt x="15" y="24"/>
                      <a:pt x="13" y="30"/>
                      <a:pt x="13" y="37"/>
                    </a:cubicBezTo>
                    <a:cubicBezTo>
                      <a:pt x="13" y="45"/>
                      <a:pt x="15" y="51"/>
                      <a:pt x="17" y="56"/>
                    </a:cubicBezTo>
                    <a:cubicBezTo>
                      <a:pt x="19" y="60"/>
                      <a:pt x="22" y="63"/>
                      <a:pt x="25" y="63"/>
                    </a:cubicBezTo>
                    <a:cubicBezTo>
                      <a:pt x="29" y="63"/>
                      <a:pt x="32" y="61"/>
                      <a:pt x="34" y="56"/>
                    </a:cubicBezTo>
                    <a:cubicBezTo>
                      <a:pt x="36" y="51"/>
                      <a:pt x="37" y="45"/>
                      <a:pt x="37"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5" name="Freeform 165"/>
              <p:cNvSpPr>
                <a:spLocks noEditPoints="1"/>
              </p:cNvSpPr>
              <p:nvPr/>
            </p:nvSpPr>
            <p:spPr bwMode="auto">
              <a:xfrm>
                <a:off x="2701231" y="3326629"/>
                <a:ext cx="62501" cy="89224"/>
              </a:xfrm>
              <a:custGeom>
                <a:avLst/>
                <a:gdLst/>
                <a:ahLst/>
                <a:cxnLst>
                  <a:cxn ang="0">
                    <a:pos x="52" y="37"/>
                  </a:cxn>
                  <a:cxn ang="0">
                    <a:pos x="45" y="65"/>
                  </a:cxn>
                  <a:cxn ang="0">
                    <a:pos x="26" y="75"/>
                  </a:cxn>
                  <a:cxn ang="0">
                    <a:pos x="7" y="65"/>
                  </a:cxn>
                  <a:cxn ang="0">
                    <a:pos x="0" y="37"/>
                  </a:cxn>
                  <a:cxn ang="0">
                    <a:pos x="7" y="10"/>
                  </a:cxn>
                  <a:cxn ang="0">
                    <a:pos x="26" y="0"/>
                  </a:cxn>
                  <a:cxn ang="0">
                    <a:pos x="45" y="10"/>
                  </a:cxn>
                  <a:cxn ang="0">
                    <a:pos x="52" y="37"/>
                  </a:cxn>
                  <a:cxn ang="0">
                    <a:pos x="38" y="37"/>
                  </a:cxn>
                  <a:cxn ang="0">
                    <a:pos x="35" y="19"/>
                  </a:cxn>
                  <a:cxn ang="0">
                    <a:pos x="26" y="12"/>
                  </a:cxn>
                  <a:cxn ang="0">
                    <a:pos x="17" y="19"/>
                  </a:cxn>
                  <a:cxn ang="0">
                    <a:pos x="14" y="37"/>
                  </a:cxn>
                  <a:cxn ang="0">
                    <a:pos x="17" y="56"/>
                  </a:cxn>
                  <a:cxn ang="0">
                    <a:pos x="26" y="63"/>
                  </a:cxn>
                  <a:cxn ang="0">
                    <a:pos x="35" y="56"/>
                  </a:cxn>
                  <a:cxn ang="0">
                    <a:pos x="38" y="37"/>
                  </a:cxn>
                </a:cxnLst>
                <a:rect l="0" t="0" r="r" b="b"/>
                <a:pathLst>
                  <a:path w="52" h="75">
                    <a:moveTo>
                      <a:pt x="52" y="37"/>
                    </a:moveTo>
                    <a:cubicBezTo>
                      <a:pt x="52" y="49"/>
                      <a:pt x="49" y="58"/>
                      <a:pt x="45" y="65"/>
                    </a:cubicBezTo>
                    <a:cubicBezTo>
                      <a:pt x="40" y="72"/>
                      <a:pt x="34" y="75"/>
                      <a:pt x="26" y="75"/>
                    </a:cubicBezTo>
                    <a:cubicBezTo>
                      <a:pt x="18" y="75"/>
                      <a:pt x="12" y="72"/>
                      <a:pt x="7" y="65"/>
                    </a:cubicBezTo>
                    <a:cubicBezTo>
                      <a:pt x="2" y="58"/>
                      <a:pt x="0" y="49"/>
                      <a:pt x="0" y="37"/>
                    </a:cubicBezTo>
                    <a:cubicBezTo>
                      <a:pt x="0" y="26"/>
                      <a:pt x="2" y="17"/>
                      <a:pt x="7" y="10"/>
                    </a:cubicBezTo>
                    <a:cubicBezTo>
                      <a:pt x="12" y="3"/>
                      <a:pt x="18" y="0"/>
                      <a:pt x="26" y="0"/>
                    </a:cubicBezTo>
                    <a:cubicBezTo>
                      <a:pt x="34" y="0"/>
                      <a:pt x="40" y="3"/>
                      <a:pt x="45" y="10"/>
                    </a:cubicBezTo>
                    <a:cubicBezTo>
                      <a:pt x="49" y="17"/>
                      <a:pt x="52" y="26"/>
                      <a:pt x="52" y="37"/>
                    </a:cubicBezTo>
                    <a:close/>
                    <a:moveTo>
                      <a:pt x="38" y="37"/>
                    </a:moveTo>
                    <a:cubicBezTo>
                      <a:pt x="38" y="30"/>
                      <a:pt x="37" y="24"/>
                      <a:pt x="35" y="19"/>
                    </a:cubicBezTo>
                    <a:cubicBezTo>
                      <a:pt x="32" y="14"/>
                      <a:pt x="29" y="12"/>
                      <a:pt x="26" y="12"/>
                    </a:cubicBezTo>
                    <a:cubicBezTo>
                      <a:pt x="22" y="12"/>
                      <a:pt x="19" y="14"/>
                      <a:pt x="17" y="19"/>
                    </a:cubicBezTo>
                    <a:cubicBezTo>
                      <a:pt x="15" y="24"/>
                      <a:pt x="14" y="30"/>
                      <a:pt x="14" y="37"/>
                    </a:cubicBezTo>
                    <a:cubicBezTo>
                      <a:pt x="14" y="45"/>
                      <a:pt x="15" y="51"/>
                      <a:pt x="17" y="56"/>
                    </a:cubicBezTo>
                    <a:cubicBezTo>
                      <a:pt x="19" y="60"/>
                      <a:pt x="22" y="63"/>
                      <a:pt x="26" y="63"/>
                    </a:cubicBezTo>
                    <a:cubicBezTo>
                      <a:pt x="29" y="63"/>
                      <a:pt x="32" y="61"/>
                      <a:pt x="35"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6" name="Freeform 166"/>
              <p:cNvSpPr>
                <a:spLocks/>
              </p:cNvSpPr>
              <p:nvPr/>
            </p:nvSpPr>
            <p:spPr bwMode="auto">
              <a:xfrm>
                <a:off x="2765294" y="3326629"/>
                <a:ext cx="32813" cy="89224"/>
              </a:xfrm>
              <a:custGeom>
                <a:avLst/>
                <a:gdLst/>
                <a:ahLst/>
                <a:cxnLst>
                  <a:cxn ang="0">
                    <a:pos x="21" y="57"/>
                  </a:cxn>
                  <a:cxn ang="0">
                    <a:pos x="11" y="57"/>
                  </a:cxn>
                  <a:cxn ang="0">
                    <a:pos x="11" y="10"/>
                  </a:cxn>
                  <a:cxn ang="0">
                    <a:pos x="0" y="10"/>
                  </a:cxn>
                  <a:cxn ang="0">
                    <a:pos x="5" y="0"/>
                  </a:cxn>
                  <a:cxn ang="0">
                    <a:pos x="21" y="0"/>
                  </a:cxn>
                  <a:cxn ang="0">
                    <a:pos x="21" y="57"/>
                  </a:cxn>
                </a:cxnLst>
                <a:rect l="0" t="0" r="r" b="b"/>
                <a:pathLst>
                  <a:path w="21" h="57">
                    <a:moveTo>
                      <a:pt x="21" y="57"/>
                    </a:moveTo>
                    <a:lnTo>
                      <a:pt x="11" y="57"/>
                    </a:lnTo>
                    <a:lnTo>
                      <a:pt x="11" y="10"/>
                    </a:lnTo>
                    <a:lnTo>
                      <a:pt x="0" y="10"/>
                    </a:lnTo>
                    <a:lnTo>
                      <a:pt x="5" y="0"/>
                    </a:lnTo>
                    <a:lnTo>
                      <a:pt x="21" y="0"/>
                    </a:lnTo>
                    <a:lnTo>
                      <a:pt x="21"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7" name="Freeform 167"/>
              <p:cNvSpPr>
                <a:spLocks/>
              </p:cNvSpPr>
              <p:nvPr/>
            </p:nvSpPr>
            <p:spPr bwMode="auto">
              <a:xfrm>
                <a:off x="2805920" y="3326629"/>
                <a:ext cx="32813" cy="89224"/>
              </a:xfrm>
              <a:custGeom>
                <a:avLst/>
                <a:gdLst/>
                <a:ahLst/>
                <a:cxnLst>
                  <a:cxn ang="0">
                    <a:pos x="21" y="57"/>
                  </a:cxn>
                  <a:cxn ang="0">
                    <a:pos x="10" y="57"/>
                  </a:cxn>
                  <a:cxn ang="0">
                    <a:pos x="10" y="10"/>
                  </a:cxn>
                  <a:cxn ang="0">
                    <a:pos x="0" y="10"/>
                  </a:cxn>
                  <a:cxn ang="0">
                    <a:pos x="5" y="0"/>
                  </a:cxn>
                  <a:cxn ang="0">
                    <a:pos x="21" y="0"/>
                  </a:cxn>
                  <a:cxn ang="0">
                    <a:pos x="21" y="57"/>
                  </a:cxn>
                </a:cxnLst>
                <a:rect l="0" t="0" r="r" b="b"/>
                <a:pathLst>
                  <a:path w="21" h="57">
                    <a:moveTo>
                      <a:pt x="21" y="57"/>
                    </a:moveTo>
                    <a:lnTo>
                      <a:pt x="10" y="57"/>
                    </a:lnTo>
                    <a:lnTo>
                      <a:pt x="10" y="10"/>
                    </a:lnTo>
                    <a:lnTo>
                      <a:pt x="0" y="10"/>
                    </a:lnTo>
                    <a:lnTo>
                      <a:pt x="5" y="0"/>
                    </a:lnTo>
                    <a:lnTo>
                      <a:pt x="21" y="0"/>
                    </a:lnTo>
                    <a:lnTo>
                      <a:pt x="21"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8" name="Freeform 168"/>
              <p:cNvSpPr>
                <a:spLocks noEditPoints="1"/>
              </p:cNvSpPr>
              <p:nvPr/>
            </p:nvSpPr>
            <p:spPr bwMode="auto">
              <a:xfrm>
                <a:off x="2852796" y="3326629"/>
                <a:ext cx="62501" cy="89224"/>
              </a:xfrm>
              <a:custGeom>
                <a:avLst/>
                <a:gdLst/>
                <a:ahLst/>
                <a:cxnLst>
                  <a:cxn ang="0">
                    <a:pos x="52" y="37"/>
                  </a:cxn>
                  <a:cxn ang="0">
                    <a:pos x="45" y="65"/>
                  </a:cxn>
                  <a:cxn ang="0">
                    <a:pos x="26" y="75"/>
                  </a:cxn>
                  <a:cxn ang="0">
                    <a:pos x="7" y="65"/>
                  </a:cxn>
                  <a:cxn ang="0">
                    <a:pos x="0" y="37"/>
                  </a:cxn>
                  <a:cxn ang="0">
                    <a:pos x="7" y="10"/>
                  </a:cxn>
                  <a:cxn ang="0">
                    <a:pos x="26" y="0"/>
                  </a:cxn>
                  <a:cxn ang="0">
                    <a:pos x="45" y="10"/>
                  </a:cxn>
                  <a:cxn ang="0">
                    <a:pos x="52" y="37"/>
                  </a:cxn>
                  <a:cxn ang="0">
                    <a:pos x="38" y="37"/>
                  </a:cxn>
                  <a:cxn ang="0">
                    <a:pos x="35" y="19"/>
                  </a:cxn>
                  <a:cxn ang="0">
                    <a:pos x="26" y="12"/>
                  </a:cxn>
                  <a:cxn ang="0">
                    <a:pos x="17" y="19"/>
                  </a:cxn>
                  <a:cxn ang="0">
                    <a:pos x="14" y="37"/>
                  </a:cxn>
                  <a:cxn ang="0">
                    <a:pos x="17" y="56"/>
                  </a:cxn>
                  <a:cxn ang="0">
                    <a:pos x="26" y="63"/>
                  </a:cxn>
                  <a:cxn ang="0">
                    <a:pos x="35" y="56"/>
                  </a:cxn>
                  <a:cxn ang="0">
                    <a:pos x="38" y="37"/>
                  </a:cxn>
                </a:cxnLst>
                <a:rect l="0" t="0" r="r" b="b"/>
                <a:pathLst>
                  <a:path w="52" h="75">
                    <a:moveTo>
                      <a:pt x="52" y="37"/>
                    </a:moveTo>
                    <a:cubicBezTo>
                      <a:pt x="52" y="49"/>
                      <a:pt x="50" y="58"/>
                      <a:pt x="45" y="65"/>
                    </a:cubicBezTo>
                    <a:cubicBezTo>
                      <a:pt x="40" y="72"/>
                      <a:pt x="34" y="75"/>
                      <a:pt x="26" y="75"/>
                    </a:cubicBezTo>
                    <a:cubicBezTo>
                      <a:pt x="18" y="75"/>
                      <a:pt x="12" y="72"/>
                      <a:pt x="7" y="65"/>
                    </a:cubicBezTo>
                    <a:cubicBezTo>
                      <a:pt x="3" y="58"/>
                      <a:pt x="0" y="49"/>
                      <a:pt x="0" y="37"/>
                    </a:cubicBezTo>
                    <a:cubicBezTo>
                      <a:pt x="0" y="26"/>
                      <a:pt x="3" y="17"/>
                      <a:pt x="7" y="10"/>
                    </a:cubicBezTo>
                    <a:cubicBezTo>
                      <a:pt x="12" y="3"/>
                      <a:pt x="18" y="0"/>
                      <a:pt x="26" y="0"/>
                    </a:cubicBezTo>
                    <a:cubicBezTo>
                      <a:pt x="34" y="0"/>
                      <a:pt x="40" y="3"/>
                      <a:pt x="45" y="10"/>
                    </a:cubicBezTo>
                    <a:cubicBezTo>
                      <a:pt x="50" y="17"/>
                      <a:pt x="52" y="26"/>
                      <a:pt x="52" y="37"/>
                    </a:cubicBezTo>
                    <a:close/>
                    <a:moveTo>
                      <a:pt x="38" y="37"/>
                    </a:moveTo>
                    <a:cubicBezTo>
                      <a:pt x="38" y="30"/>
                      <a:pt x="37" y="24"/>
                      <a:pt x="35" y="19"/>
                    </a:cubicBezTo>
                    <a:cubicBezTo>
                      <a:pt x="32" y="14"/>
                      <a:pt x="30" y="12"/>
                      <a:pt x="26" y="12"/>
                    </a:cubicBezTo>
                    <a:cubicBezTo>
                      <a:pt x="22" y="12"/>
                      <a:pt x="20" y="14"/>
                      <a:pt x="17" y="19"/>
                    </a:cubicBezTo>
                    <a:cubicBezTo>
                      <a:pt x="15" y="24"/>
                      <a:pt x="14" y="30"/>
                      <a:pt x="14" y="37"/>
                    </a:cubicBezTo>
                    <a:cubicBezTo>
                      <a:pt x="14" y="45"/>
                      <a:pt x="15" y="51"/>
                      <a:pt x="17" y="56"/>
                    </a:cubicBezTo>
                    <a:cubicBezTo>
                      <a:pt x="20" y="60"/>
                      <a:pt x="22" y="63"/>
                      <a:pt x="26" y="63"/>
                    </a:cubicBezTo>
                    <a:cubicBezTo>
                      <a:pt x="30" y="63"/>
                      <a:pt x="33" y="61"/>
                      <a:pt x="35"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09" name="Freeform 169"/>
              <p:cNvSpPr>
                <a:spLocks/>
              </p:cNvSpPr>
              <p:nvPr/>
            </p:nvSpPr>
            <p:spPr bwMode="auto">
              <a:xfrm>
                <a:off x="2916859" y="3326629"/>
                <a:ext cx="32813" cy="89224"/>
              </a:xfrm>
              <a:custGeom>
                <a:avLst/>
                <a:gdLst/>
                <a:ahLst/>
                <a:cxnLst>
                  <a:cxn ang="0">
                    <a:pos x="21" y="57"/>
                  </a:cxn>
                  <a:cxn ang="0">
                    <a:pos x="11" y="57"/>
                  </a:cxn>
                  <a:cxn ang="0">
                    <a:pos x="11" y="10"/>
                  </a:cxn>
                  <a:cxn ang="0">
                    <a:pos x="0" y="10"/>
                  </a:cxn>
                  <a:cxn ang="0">
                    <a:pos x="4" y="0"/>
                  </a:cxn>
                  <a:cxn ang="0">
                    <a:pos x="21" y="0"/>
                  </a:cxn>
                  <a:cxn ang="0">
                    <a:pos x="21" y="57"/>
                  </a:cxn>
                </a:cxnLst>
                <a:rect l="0" t="0" r="r" b="b"/>
                <a:pathLst>
                  <a:path w="21" h="57">
                    <a:moveTo>
                      <a:pt x="21" y="57"/>
                    </a:moveTo>
                    <a:lnTo>
                      <a:pt x="11" y="57"/>
                    </a:lnTo>
                    <a:lnTo>
                      <a:pt x="11" y="10"/>
                    </a:lnTo>
                    <a:lnTo>
                      <a:pt x="0" y="10"/>
                    </a:lnTo>
                    <a:lnTo>
                      <a:pt x="4" y="0"/>
                    </a:lnTo>
                    <a:lnTo>
                      <a:pt x="21" y="0"/>
                    </a:lnTo>
                    <a:lnTo>
                      <a:pt x="21"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0" name="Freeform 170"/>
              <p:cNvSpPr>
                <a:spLocks noEditPoints="1"/>
              </p:cNvSpPr>
              <p:nvPr/>
            </p:nvSpPr>
            <p:spPr bwMode="auto">
              <a:xfrm>
                <a:off x="2963735" y="3326629"/>
                <a:ext cx="62501" cy="89224"/>
              </a:xfrm>
              <a:custGeom>
                <a:avLst/>
                <a:gdLst/>
                <a:ahLst/>
                <a:cxnLst>
                  <a:cxn ang="0">
                    <a:pos x="52" y="37"/>
                  </a:cxn>
                  <a:cxn ang="0">
                    <a:pos x="45" y="65"/>
                  </a:cxn>
                  <a:cxn ang="0">
                    <a:pos x="26" y="75"/>
                  </a:cxn>
                  <a:cxn ang="0">
                    <a:pos x="7" y="65"/>
                  </a:cxn>
                  <a:cxn ang="0">
                    <a:pos x="0" y="37"/>
                  </a:cxn>
                  <a:cxn ang="0">
                    <a:pos x="7" y="10"/>
                  </a:cxn>
                  <a:cxn ang="0">
                    <a:pos x="26" y="0"/>
                  </a:cxn>
                  <a:cxn ang="0">
                    <a:pos x="45" y="10"/>
                  </a:cxn>
                  <a:cxn ang="0">
                    <a:pos x="52" y="37"/>
                  </a:cxn>
                  <a:cxn ang="0">
                    <a:pos x="38" y="37"/>
                  </a:cxn>
                  <a:cxn ang="0">
                    <a:pos x="35" y="19"/>
                  </a:cxn>
                  <a:cxn ang="0">
                    <a:pos x="26" y="12"/>
                  </a:cxn>
                  <a:cxn ang="0">
                    <a:pos x="18" y="19"/>
                  </a:cxn>
                  <a:cxn ang="0">
                    <a:pos x="14" y="37"/>
                  </a:cxn>
                  <a:cxn ang="0">
                    <a:pos x="18" y="56"/>
                  </a:cxn>
                  <a:cxn ang="0">
                    <a:pos x="26" y="63"/>
                  </a:cxn>
                  <a:cxn ang="0">
                    <a:pos x="35" y="56"/>
                  </a:cxn>
                  <a:cxn ang="0">
                    <a:pos x="38" y="37"/>
                  </a:cxn>
                </a:cxnLst>
                <a:rect l="0" t="0" r="r" b="b"/>
                <a:pathLst>
                  <a:path w="52" h="75">
                    <a:moveTo>
                      <a:pt x="52" y="37"/>
                    </a:moveTo>
                    <a:cubicBezTo>
                      <a:pt x="52" y="49"/>
                      <a:pt x="50" y="58"/>
                      <a:pt x="45" y="65"/>
                    </a:cubicBezTo>
                    <a:cubicBezTo>
                      <a:pt x="40" y="72"/>
                      <a:pt x="34" y="75"/>
                      <a:pt x="26" y="75"/>
                    </a:cubicBezTo>
                    <a:cubicBezTo>
                      <a:pt x="18" y="75"/>
                      <a:pt x="12" y="72"/>
                      <a:pt x="7" y="65"/>
                    </a:cubicBezTo>
                    <a:cubicBezTo>
                      <a:pt x="3" y="58"/>
                      <a:pt x="0" y="49"/>
                      <a:pt x="0" y="37"/>
                    </a:cubicBezTo>
                    <a:cubicBezTo>
                      <a:pt x="0" y="26"/>
                      <a:pt x="3" y="17"/>
                      <a:pt x="7" y="10"/>
                    </a:cubicBezTo>
                    <a:cubicBezTo>
                      <a:pt x="12" y="3"/>
                      <a:pt x="18" y="0"/>
                      <a:pt x="26" y="0"/>
                    </a:cubicBezTo>
                    <a:cubicBezTo>
                      <a:pt x="34" y="0"/>
                      <a:pt x="40" y="3"/>
                      <a:pt x="45" y="10"/>
                    </a:cubicBezTo>
                    <a:cubicBezTo>
                      <a:pt x="50" y="17"/>
                      <a:pt x="52" y="26"/>
                      <a:pt x="52" y="37"/>
                    </a:cubicBezTo>
                    <a:close/>
                    <a:moveTo>
                      <a:pt x="38" y="37"/>
                    </a:moveTo>
                    <a:cubicBezTo>
                      <a:pt x="38" y="30"/>
                      <a:pt x="37" y="24"/>
                      <a:pt x="35" y="19"/>
                    </a:cubicBezTo>
                    <a:cubicBezTo>
                      <a:pt x="33" y="14"/>
                      <a:pt x="30" y="12"/>
                      <a:pt x="26" y="12"/>
                    </a:cubicBezTo>
                    <a:cubicBezTo>
                      <a:pt x="23" y="12"/>
                      <a:pt x="20" y="14"/>
                      <a:pt x="18" y="19"/>
                    </a:cubicBezTo>
                    <a:cubicBezTo>
                      <a:pt x="15" y="24"/>
                      <a:pt x="14" y="30"/>
                      <a:pt x="14" y="37"/>
                    </a:cubicBezTo>
                    <a:cubicBezTo>
                      <a:pt x="14" y="45"/>
                      <a:pt x="15" y="51"/>
                      <a:pt x="18" y="56"/>
                    </a:cubicBezTo>
                    <a:cubicBezTo>
                      <a:pt x="20" y="60"/>
                      <a:pt x="23" y="63"/>
                      <a:pt x="26" y="63"/>
                    </a:cubicBezTo>
                    <a:cubicBezTo>
                      <a:pt x="30" y="63"/>
                      <a:pt x="33" y="61"/>
                      <a:pt x="35"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1" name="Freeform 171"/>
              <p:cNvSpPr>
                <a:spLocks/>
              </p:cNvSpPr>
              <p:nvPr/>
            </p:nvSpPr>
            <p:spPr bwMode="auto">
              <a:xfrm>
                <a:off x="3027799" y="3326629"/>
                <a:ext cx="32813" cy="89224"/>
              </a:xfrm>
              <a:custGeom>
                <a:avLst/>
                <a:gdLst/>
                <a:ahLst/>
                <a:cxnLst>
                  <a:cxn ang="0">
                    <a:pos x="21" y="57"/>
                  </a:cxn>
                  <a:cxn ang="0">
                    <a:pos x="10" y="57"/>
                  </a:cxn>
                  <a:cxn ang="0">
                    <a:pos x="10" y="10"/>
                  </a:cxn>
                  <a:cxn ang="0">
                    <a:pos x="0" y="10"/>
                  </a:cxn>
                  <a:cxn ang="0">
                    <a:pos x="4" y="0"/>
                  </a:cxn>
                  <a:cxn ang="0">
                    <a:pos x="21" y="0"/>
                  </a:cxn>
                  <a:cxn ang="0">
                    <a:pos x="21" y="57"/>
                  </a:cxn>
                </a:cxnLst>
                <a:rect l="0" t="0" r="r" b="b"/>
                <a:pathLst>
                  <a:path w="21" h="57">
                    <a:moveTo>
                      <a:pt x="21" y="57"/>
                    </a:moveTo>
                    <a:lnTo>
                      <a:pt x="10" y="57"/>
                    </a:lnTo>
                    <a:lnTo>
                      <a:pt x="10" y="10"/>
                    </a:lnTo>
                    <a:lnTo>
                      <a:pt x="0" y="10"/>
                    </a:lnTo>
                    <a:lnTo>
                      <a:pt x="4" y="0"/>
                    </a:lnTo>
                    <a:lnTo>
                      <a:pt x="21" y="0"/>
                    </a:lnTo>
                    <a:lnTo>
                      <a:pt x="21" y="57"/>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2" name="Freeform 172"/>
              <p:cNvSpPr>
                <a:spLocks noEditPoints="1"/>
              </p:cNvSpPr>
              <p:nvPr/>
            </p:nvSpPr>
            <p:spPr bwMode="auto">
              <a:xfrm>
                <a:off x="3074674" y="3326629"/>
                <a:ext cx="62501" cy="89224"/>
              </a:xfrm>
              <a:custGeom>
                <a:avLst/>
                <a:gdLst/>
                <a:ahLst/>
                <a:cxnLst>
                  <a:cxn ang="0">
                    <a:pos x="51" y="37"/>
                  </a:cxn>
                  <a:cxn ang="0">
                    <a:pos x="44" y="65"/>
                  </a:cxn>
                  <a:cxn ang="0">
                    <a:pos x="25" y="75"/>
                  </a:cxn>
                  <a:cxn ang="0">
                    <a:pos x="7" y="65"/>
                  </a:cxn>
                  <a:cxn ang="0">
                    <a:pos x="0" y="37"/>
                  </a:cxn>
                  <a:cxn ang="0">
                    <a:pos x="7" y="10"/>
                  </a:cxn>
                  <a:cxn ang="0">
                    <a:pos x="25" y="0"/>
                  </a:cxn>
                  <a:cxn ang="0">
                    <a:pos x="44" y="10"/>
                  </a:cxn>
                  <a:cxn ang="0">
                    <a:pos x="51" y="37"/>
                  </a:cxn>
                  <a:cxn ang="0">
                    <a:pos x="38" y="37"/>
                  </a:cxn>
                  <a:cxn ang="0">
                    <a:pos x="34" y="19"/>
                  </a:cxn>
                  <a:cxn ang="0">
                    <a:pos x="25" y="12"/>
                  </a:cxn>
                  <a:cxn ang="0">
                    <a:pos x="17" y="19"/>
                  </a:cxn>
                  <a:cxn ang="0">
                    <a:pos x="14" y="37"/>
                  </a:cxn>
                  <a:cxn ang="0">
                    <a:pos x="17" y="56"/>
                  </a:cxn>
                  <a:cxn ang="0">
                    <a:pos x="25" y="63"/>
                  </a:cxn>
                  <a:cxn ang="0">
                    <a:pos x="34" y="56"/>
                  </a:cxn>
                  <a:cxn ang="0">
                    <a:pos x="38" y="37"/>
                  </a:cxn>
                </a:cxnLst>
                <a:rect l="0" t="0" r="r" b="b"/>
                <a:pathLst>
                  <a:path w="51" h="75">
                    <a:moveTo>
                      <a:pt x="51" y="37"/>
                    </a:moveTo>
                    <a:cubicBezTo>
                      <a:pt x="51" y="49"/>
                      <a:pt x="49" y="58"/>
                      <a:pt x="44" y="65"/>
                    </a:cubicBezTo>
                    <a:cubicBezTo>
                      <a:pt x="40" y="72"/>
                      <a:pt x="33" y="75"/>
                      <a:pt x="25" y="75"/>
                    </a:cubicBezTo>
                    <a:cubicBezTo>
                      <a:pt x="18" y="75"/>
                      <a:pt x="11" y="72"/>
                      <a:pt x="7" y="65"/>
                    </a:cubicBezTo>
                    <a:cubicBezTo>
                      <a:pt x="2" y="58"/>
                      <a:pt x="0" y="49"/>
                      <a:pt x="0" y="37"/>
                    </a:cubicBezTo>
                    <a:cubicBezTo>
                      <a:pt x="0" y="26"/>
                      <a:pt x="2" y="17"/>
                      <a:pt x="7" y="10"/>
                    </a:cubicBezTo>
                    <a:cubicBezTo>
                      <a:pt x="11" y="3"/>
                      <a:pt x="18" y="0"/>
                      <a:pt x="25" y="0"/>
                    </a:cubicBezTo>
                    <a:cubicBezTo>
                      <a:pt x="33" y="0"/>
                      <a:pt x="40" y="3"/>
                      <a:pt x="44" y="10"/>
                    </a:cubicBezTo>
                    <a:cubicBezTo>
                      <a:pt x="49" y="17"/>
                      <a:pt x="51" y="26"/>
                      <a:pt x="51" y="37"/>
                    </a:cubicBezTo>
                    <a:close/>
                    <a:moveTo>
                      <a:pt x="38" y="37"/>
                    </a:moveTo>
                    <a:cubicBezTo>
                      <a:pt x="38" y="30"/>
                      <a:pt x="36" y="24"/>
                      <a:pt x="34" y="19"/>
                    </a:cubicBezTo>
                    <a:cubicBezTo>
                      <a:pt x="32" y="14"/>
                      <a:pt x="29" y="12"/>
                      <a:pt x="25" y="12"/>
                    </a:cubicBezTo>
                    <a:cubicBezTo>
                      <a:pt x="22" y="12"/>
                      <a:pt x="19" y="14"/>
                      <a:pt x="17" y="19"/>
                    </a:cubicBezTo>
                    <a:cubicBezTo>
                      <a:pt x="15" y="24"/>
                      <a:pt x="14" y="30"/>
                      <a:pt x="14" y="37"/>
                    </a:cubicBezTo>
                    <a:cubicBezTo>
                      <a:pt x="14" y="45"/>
                      <a:pt x="15" y="51"/>
                      <a:pt x="17" y="56"/>
                    </a:cubicBezTo>
                    <a:cubicBezTo>
                      <a:pt x="19" y="60"/>
                      <a:pt x="22" y="63"/>
                      <a:pt x="25" y="63"/>
                    </a:cubicBezTo>
                    <a:cubicBezTo>
                      <a:pt x="29" y="63"/>
                      <a:pt x="32" y="61"/>
                      <a:pt x="34" y="56"/>
                    </a:cubicBezTo>
                    <a:cubicBezTo>
                      <a:pt x="36"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3" name="Freeform 183"/>
              <p:cNvSpPr>
                <a:spLocks/>
              </p:cNvSpPr>
              <p:nvPr/>
            </p:nvSpPr>
            <p:spPr bwMode="auto">
              <a:xfrm>
                <a:off x="2354350" y="3465945"/>
                <a:ext cx="32813" cy="87659"/>
              </a:xfrm>
              <a:custGeom>
                <a:avLst/>
                <a:gdLst/>
                <a:ahLst/>
                <a:cxnLst>
                  <a:cxn ang="0">
                    <a:pos x="21" y="56"/>
                  </a:cxn>
                  <a:cxn ang="0">
                    <a:pos x="11" y="56"/>
                  </a:cxn>
                  <a:cxn ang="0">
                    <a:pos x="11" y="10"/>
                  </a:cxn>
                  <a:cxn ang="0">
                    <a:pos x="0" y="10"/>
                  </a:cxn>
                  <a:cxn ang="0">
                    <a:pos x="4" y="0"/>
                  </a:cxn>
                  <a:cxn ang="0">
                    <a:pos x="21" y="0"/>
                  </a:cxn>
                  <a:cxn ang="0">
                    <a:pos x="21" y="56"/>
                  </a:cxn>
                </a:cxnLst>
                <a:rect l="0" t="0" r="r" b="b"/>
                <a:pathLst>
                  <a:path w="21" h="56">
                    <a:moveTo>
                      <a:pt x="21" y="56"/>
                    </a:moveTo>
                    <a:lnTo>
                      <a:pt x="11" y="56"/>
                    </a:lnTo>
                    <a:lnTo>
                      <a:pt x="11"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4" name="Freeform 184"/>
              <p:cNvSpPr>
                <a:spLocks/>
              </p:cNvSpPr>
              <p:nvPr/>
            </p:nvSpPr>
            <p:spPr bwMode="auto">
              <a:xfrm>
                <a:off x="2394976" y="3465945"/>
                <a:ext cx="34376" cy="87659"/>
              </a:xfrm>
              <a:custGeom>
                <a:avLst/>
                <a:gdLst/>
                <a:ahLst/>
                <a:cxnLst>
                  <a:cxn ang="0">
                    <a:pos x="22" y="56"/>
                  </a:cxn>
                  <a:cxn ang="0">
                    <a:pos x="11" y="56"/>
                  </a:cxn>
                  <a:cxn ang="0">
                    <a:pos x="11" y="10"/>
                  </a:cxn>
                  <a:cxn ang="0">
                    <a:pos x="0" y="10"/>
                  </a:cxn>
                  <a:cxn ang="0">
                    <a:pos x="5" y="0"/>
                  </a:cxn>
                  <a:cxn ang="0">
                    <a:pos x="22" y="0"/>
                  </a:cxn>
                  <a:cxn ang="0">
                    <a:pos x="22" y="56"/>
                  </a:cxn>
                </a:cxnLst>
                <a:rect l="0" t="0" r="r" b="b"/>
                <a:pathLst>
                  <a:path w="22" h="56">
                    <a:moveTo>
                      <a:pt x="22" y="56"/>
                    </a:moveTo>
                    <a:lnTo>
                      <a:pt x="11" y="56"/>
                    </a:lnTo>
                    <a:lnTo>
                      <a:pt x="11" y="10"/>
                    </a:lnTo>
                    <a:lnTo>
                      <a:pt x="0" y="10"/>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5" name="Freeform 185"/>
              <p:cNvSpPr>
                <a:spLocks noEditPoints="1"/>
              </p:cNvSpPr>
              <p:nvPr/>
            </p:nvSpPr>
            <p:spPr bwMode="auto">
              <a:xfrm>
                <a:off x="2443414" y="3464379"/>
                <a:ext cx="60938" cy="90790"/>
              </a:xfrm>
              <a:custGeom>
                <a:avLst/>
                <a:gdLst/>
                <a:ahLst/>
                <a:cxnLst>
                  <a:cxn ang="0">
                    <a:pos x="51" y="38"/>
                  </a:cxn>
                  <a:cxn ang="0">
                    <a:pos x="44" y="65"/>
                  </a:cxn>
                  <a:cxn ang="0">
                    <a:pos x="25" y="75"/>
                  </a:cxn>
                  <a:cxn ang="0">
                    <a:pos x="7" y="65"/>
                  </a:cxn>
                  <a:cxn ang="0">
                    <a:pos x="0" y="38"/>
                  </a:cxn>
                  <a:cxn ang="0">
                    <a:pos x="7" y="10"/>
                  </a:cxn>
                  <a:cxn ang="0">
                    <a:pos x="25" y="0"/>
                  </a:cxn>
                  <a:cxn ang="0">
                    <a:pos x="44" y="10"/>
                  </a:cxn>
                  <a:cxn ang="0">
                    <a:pos x="51" y="38"/>
                  </a:cxn>
                  <a:cxn ang="0">
                    <a:pos x="37" y="37"/>
                  </a:cxn>
                  <a:cxn ang="0">
                    <a:pos x="34" y="19"/>
                  </a:cxn>
                  <a:cxn ang="0">
                    <a:pos x="25" y="12"/>
                  </a:cxn>
                  <a:cxn ang="0">
                    <a:pos x="17" y="19"/>
                  </a:cxn>
                  <a:cxn ang="0">
                    <a:pos x="13" y="38"/>
                  </a:cxn>
                  <a:cxn ang="0">
                    <a:pos x="17" y="56"/>
                  </a:cxn>
                  <a:cxn ang="0">
                    <a:pos x="25" y="63"/>
                  </a:cxn>
                  <a:cxn ang="0">
                    <a:pos x="34" y="56"/>
                  </a:cxn>
                  <a:cxn ang="0">
                    <a:pos x="37" y="37"/>
                  </a:cxn>
                </a:cxnLst>
                <a:rect l="0" t="0" r="r" b="b"/>
                <a:pathLst>
                  <a:path w="51" h="75">
                    <a:moveTo>
                      <a:pt x="51" y="38"/>
                    </a:moveTo>
                    <a:cubicBezTo>
                      <a:pt x="51" y="49"/>
                      <a:pt x="49" y="58"/>
                      <a:pt x="44" y="65"/>
                    </a:cubicBezTo>
                    <a:cubicBezTo>
                      <a:pt x="39" y="72"/>
                      <a:pt x="33" y="75"/>
                      <a:pt x="25" y="75"/>
                    </a:cubicBezTo>
                    <a:cubicBezTo>
                      <a:pt x="17" y="75"/>
                      <a:pt x="11" y="72"/>
                      <a:pt x="7" y="65"/>
                    </a:cubicBezTo>
                    <a:cubicBezTo>
                      <a:pt x="2" y="58"/>
                      <a:pt x="0" y="49"/>
                      <a:pt x="0" y="38"/>
                    </a:cubicBezTo>
                    <a:cubicBezTo>
                      <a:pt x="0" y="26"/>
                      <a:pt x="2" y="17"/>
                      <a:pt x="7" y="10"/>
                    </a:cubicBezTo>
                    <a:cubicBezTo>
                      <a:pt x="11" y="3"/>
                      <a:pt x="17" y="0"/>
                      <a:pt x="25" y="0"/>
                    </a:cubicBezTo>
                    <a:cubicBezTo>
                      <a:pt x="33" y="0"/>
                      <a:pt x="39" y="3"/>
                      <a:pt x="44" y="10"/>
                    </a:cubicBezTo>
                    <a:cubicBezTo>
                      <a:pt x="49" y="17"/>
                      <a:pt x="51" y="26"/>
                      <a:pt x="51" y="38"/>
                    </a:cubicBezTo>
                    <a:close/>
                    <a:moveTo>
                      <a:pt x="37" y="37"/>
                    </a:moveTo>
                    <a:cubicBezTo>
                      <a:pt x="37" y="30"/>
                      <a:pt x="36" y="24"/>
                      <a:pt x="34" y="19"/>
                    </a:cubicBezTo>
                    <a:cubicBezTo>
                      <a:pt x="32" y="14"/>
                      <a:pt x="29" y="12"/>
                      <a:pt x="25" y="12"/>
                    </a:cubicBezTo>
                    <a:cubicBezTo>
                      <a:pt x="22" y="12"/>
                      <a:pt x="19" y="15"/>
                      <a:pt x="17" y="19"/>
                    </a:cubicBezTo>
                    <a:cubicBezTo>
                      <a:pt x="14" y="24"/>
                      <a:pt x="13" y="30"/>
                      <a:pt x="13" y="38"/>
                    </a:cubicBezTo>
                    <a:cubicBezTo>
                      <a:pt x="13" y="45"/>
                      <a:pt x="14" y="51"/>
                      <a:pt x="17" y="56"/>
                    </a:cubicBezTo>
                    <a:cubicBezTo>
                      <a:pt x="19" y="61"/>
                      <a:pt x="22" y="63"/>
                      <a:pt x="25" y="63"/>
                    </a:cubicBezTo>
                    <a:cubicBezTo>
                      <a:pt x="29" y="63"/>
                      <a:pt x="32" y="61"/>
                      <a:pt x="34" y="56"/>
                    </a:cubicBezTo>
                    <a:cubicBezTo>
                      <a:pt x="36" y="51"/>
                      <a:pt x="37" y="45"/>
                      <a:pt x="37"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6" name="Freeform 186"/>
              <p:cNvSpPr>
                <a:spLocks noEditPoints="1"/>
              </p:cNvSpPr>
              <p:nvPr/>
            </p:nvSpPr>
            <p:spPr bwMode="auto">
              <a:xfrm>
                <a:off x="2509040" y="3464379"/>
                <a:ext cx="62501" cy="90790"/>
              </a:xfrm>
              <a:custGeom>
                <a:avLst/>
                <a:gdLst/>
                <a:ahLst/>
                <a:cxnLst>
                  <a:cxn ang="0">
                    <a:pos x="52" y="38"/>
                  </a:cxn>
                  <a:cxn ang="0">
                    <a:pos x="45" y="65"/>
                  </a:cxn>
                  <a:cxn ang="0">
                    <a:pos x="26" y="75"/>
                  </a:cxn>
                  <a:cxn ang="0">
                    <a:pos x="7" y="65"/>
                  </a:cxn>
                  <a:cxn ang="0">
                    <a:pos x="0" y="38"/>
                  </a:cxn>
                  <a:cxn ang="0">
                    <a:pos x="7" y="10"/>
                  </a:cxn>
                  <a:cxn ang="0">
                    <a:pos x="26" y="0"/>
                  </a:cxn>
                  <a:cxn ang="0">
                    <a:pos x="45" y="10"/>
                  </a:cxn>
                  <a:cxn ang="0">
                    <a:pos x="52" y="38"/>
                  </a:cxn>
                  <a:cxn ang="0">
                    <a:pos x="38" y="37"/>
                  </a:cxn>
                  <a:cxn ang="0">
                    <a:pos x="35" y="19"/>
                  </a:cxn>
                  <a:cxn ang="0">
                    <a:pos x="26" y="12"/>
                  </a:cxn>
                  <a:cxn ang="0">
                    <a:pos x="17" y="19"/>
                  </a:cxn>
                  <a:cxn ang="0">
                    <a:pos x="14" y="38"/>
                  </a:cxn>
                  <a:cxn ang="0">
                    <a:pos x="17" y="56"/>
                  </a:cxn>
                  <a:cxn ang="0">
                    <a:pos x="26" y="63"/>
                  </a:cxn>
                  <a:cxn ang="0">
                    <a:pos x="35" y="56"/>
                  </a:cxn>
                  <a:cxn ang="0">
                    <a:pos x="38" y="37"/>
                  </a:cxn>
                </a:cxnLst>
                <a:rect l="0" t="0" r="r" b="b"/>
                <a:pathLst>
                  <a:path w="52" h="75">
                    <a:moveTo>
                      <a:pt x="52" y="38"/>
                    </a:moveTo>
                    <a:cubicBezTo>
                      <a:pt x="52" y="49"/>
                      <a:pt x="49" y="58"/>
                      <a:pt x="45" y="65"/>
                    </a:cubicBezTo>
                    <a:cubicBezTo>
                      <a:pt x="40" y="72"/>
                      <a:pt x="34" y="75"/>
                      <a:pt x="26" y="75"/>
                    </a:cubicBezTo>
                    <a:cubicBezTo>
                      <a:pt x="18" y="75"/>
                      <a:pt x="12" y="72"/>
                      <a:pt x="7" y="65"/>
                    </a:cubicBezTo>
                    <a:cubicBezTo>
                      <a:pt x="2" y="58"/>
                      <a:pt x="0" y="49"/>
                      <a:pt x="0" y="38"/>
                    </a:cubicBezTo>
                    <a:cubicBezTo>
                      <a:pt x="0" y="26"/>
                      <a:pt x="2" y="17"/>
                      <a:pt x="7" y="10"/>
                    </a:cubicBezTo>
                    <a:cubicBezTo>
                      <a:pt x="12" y="3"/>
                      <a:pt x="18" y="0"/>
                      <a:pt x="26" y="0"/>
                    </a:cubicBezTo>
                    <a:cubicBezTo>
                      <a:pt x="34" y="0"/>
                      <a:pt x="40" y="3"/>
                      <a:pt x="45" y="10"/>
                    </a:cubicBezTo>
                    <a:cubicBezTo>
                      <a:pt x="49" y="17"/>
                      <a:pt x="52" y="26"/>
                      <a:pt x="52" y="38"/>
                    </a:cubicBezTo>
                    <a:close/>
                    <a:moveTo>
                      <a:pt x="38" y="37"/>
                    </a:moveTo>
                    <a:cubicBezTo>
                      <a:pt x="38" y="30"/>
                      <a:pt x="37" y="24"/>
                      <a:pt x="35" y="19"/>
                    </a:cubicBezTo>
                    <a:cubicBezTo>
                      <a:pt x="32" y="14"/>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5"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7" name="Freeform 187"/>
              <p:cNvSpPr>
                <a:spLocks/>
              </p:cNvSpPr>
              <p:nvPr/>
            </p:nvSpPr>
            <p:spPr bwMode="auto">
              <a:xfrm>
                <a:off x="2573104" y="3465945"/>
                <a:ext cx="32813" cy="87659"/>
              </a:xfrm>
              <a:custGeom>
                <a:avLst/>
                <a:gdLst/>
                <a:ahLst/>
                <a:cxnLst>
                  <a:cxn ang="0">
                    <a:pos x="21" y="56"/>
                  </a:cxn>
                  <a:cxn ang="0">
                    <a:pos x="11" y="56"/>
                  </a:cxn>
                  <a:cxn ang="0">
                    <a:pos x="11" y="10"/>
                  </a:cxn>
                  <a:cxn ang="0">
                    <a:pos x="0" y="10"/>
                  </a:cxn>
                  <a:cxn ang="0">
                    <a:pos x="4" y="0"/>
                  </a:cxn>
                  <a:cxn ang="0">
                    <a:pos x="21" y="0"/>
                  </a:cxn>
                  <a:cxn ang="0">
                    <a:pos x="21" y="56"/>
                  </a:cxn>
                </a:cxnLst>
                <a:rect l="0" t="0" r="r" b="b"/>
                <a:pathLst>
                  <a:path w="21" h="56">
                    <a:moveTo>
                      <a:pt x="21" y="56"/>
                    </a:moveTo>
                    <a:lnTo>
                      <a:pt x="11" y="56"/>
                    </a:lnTo>
                    <a:lnTo>
                      <a:pt x="11"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8" name="Freeform 188"/>
              <p:cNvSpPr>
                <a:spLocks/>
              </p:cNvSpPr>
              <p:nvPr/>
            </p:nvSpPr>
            <p:spPr bwMode="auto">
              <a:xfrm>
                <a:off x="2613729" y="3465945"/>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19" name="Freeform 189"/>
              <p:cNvSpPr>
                <a:spLocks/>
              </p:cNvSpPr>
              <p:nvPr/>
            </p:nvSpPr>
            <p:spPr bwMode="auto">
              <a:xfrm>
                <a:off x="2654355" y="3465945"/>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0" name="Freeform 190"/>
              <p:cNvSpPr>
                <a:spLocks noEditPoints="1"/>
              </p:cNvSpPr>
              <p:nvPr/>
            </p:nvSpPr>
            <p:spPr bwMode="auto">
              <a:xfrm>
                <a:off x="2701231" y="3464379"/>
                <a:ext cx="62501" cy="90790"/>
              </a:xfrm>
              <a:custGeom>
                <a:avLst/>
                <a:gdLst/>
                <a:ahLst/>
                <a:cxnLst>
                  <a:cxn ang="0">
                    <a:pos x="52" y="38"/>
                  </a:cxn>
                  <a:cxn ang="0">
                    <a:pos x="45" y="65"/>
                  </a:cxn>
                  <a:cxn ang="0">
                    <a:pos x="26" y="75"/>
                  </a:cxn>
                  <a:cxn ang="0">
                    <a:pos x="7" y="65"/>
                  </a:cxn>
                  <a:cxn ang="0">
                    <a:pos x="0" y="38"/>
                  </a:cxn>
                  <a:cxn ang="0">
                    <a:pos x="7" y="10"/>
                  </a:cxn>
                  <a:cxn ang="0">
                    <a:pos x="26" y="0"/>
                  </a:cxn>
                  <a:cxn ang="0">
                    <a:pos x="45" y="10"/>
                  </a:cxn>
                  <a:cxn ang="0">
                    <a:pos x="52" y="38"/>
                  </a:cxn>
                  <a:cxn ang="0">
                    <a:pos x="38" y="37"/>
                  </a:cxn>
                  <a:cxn ang="0">
                    <a:pos x="35" y="19"/>
                  </a:cxn>
                  <a:cxn ang="0">
                    <a:pos x="26" y="12"/>
                  </a:cxn>
                  <a:cxn ang="0">
                    <a:pos x="17" y="19"/>
                  </a:cxn>
                  <a:cxn ang="0">
                    <a:pos x="14" y="38"/>
                  </a:cxn>
                  <a:cxn ang="0">
                    <a:pos x="17" y="56"/>
                  </a:cxn>
                  <a:cxn ang="0">
                    <a:pos x="26" y="63"/>
                  </a:cxn>
                  <a:cxn ang="0">
                    <a:pos x="35" y="56"/>
                  </a:cxn>
                  <a:cxn ang="0">
                    <a:pos x="38" y="37"/>
                  </a:cxn>
                </a:cxnLst>
                <a:rect l="0" t="0" r="r" b="b"/>
                <a:pathLst>
                  <a:path w="52" h="75">
                    <a:moveTo>
                      <a:pt x="52" y="38"/>
                    </a:moveTo>
                    <a:cubicBezTo>
                      <a:pt x="52" y="49"/>
                      <a:pt x="49" y="58"/>
                      <a:pt x="45" y="65"/>
                    </a:cubicBezTo>
                    <a:cubicBezTo>
                      <a:pt x="40" y="72"/>
                      <a:pt x="34" y="75"/>
                      <a:pt x="26" y="75"/>
                    </a:cubicBezTo>
                    <a:cubicBezTo>
                      <a:pt x="18" y="75"/>
                      <a:pt x="12" y="72"/>
                      <a:pt x="7" y="65"/>
                    </a:cubicBezTo>
                    <a:cubicBezTo>
                      <a:pt x="2" y="58"/>
                      <a:pt x="0" y="49"/>
                      <a:pt x="0" y="38"/>
                    </a:cubicBezTo>
                    <a:cubicBezTo>
                      <a:pt x="0" y="26"/>
                      <a:pt x="2" y="17"/>
                      <a:pt x="7" y="10"/>
                    </a:cubicBezTo>
                    <a:cubicBezTo>
                      <a:pt x="12" y="3"/>
                      <a:pt x="18" y="0"/>
                      <a:pt x="26" y="0"/>
                    </a:cubicBezTo>
                    <a:cubicBezTo>
                      <a:pt x="34" y="0"/>
                      <a:pt x="40" y="3"/>
                      <a:pt x="45" y="10"/>
                    </a:cubicBezTo>
                    <a:cubicBezTo>
                      <a:pt x="49" y="17"/>
                      <a:pt x="52" y="26"/>
                      <a:pt x="52" y="38"/>
                    </a:cubicBezTo>
                    <a:close/>
                    <a:moveTo>
                      <a:pt x="38" y="37"/>
                    </a:moveTo>
                    <a:cubicBezTo>
                      <a:pt x="38" y="30"/>
                      <a:pt x="37" y="24"/>
                      <a:pt x="35" y="19"/>
                    </a:cubicBezTo>
                    <a:cubicBezTo>
                      <a:pt x="32" y="14"/>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5"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1" name="Freeform 191"/>
              <p:cNvSpPr>
                <a:spLocks noEditPoints="1"/>
              </p:cNvSpPr>
              <p:nvPr/>
            </p:nvSpPr>
            <p:spPr bwMode="auto">
              <a:xfrm>
                <a:off x="2768419" y="3464379"/>
                <a:ext cx="60938" cy="90790"/>
              </a:xfrm>
              <a:custGeom>
                <a:avLst/>
                <a:gdLst/>
                <a:ahLst/>
                <a:cxnLst>
                  <a:cxn ang="0">
                    <a:pos x="51" y="38"/>
                  </a:cxn>
                  <a:cxn ang="0">
                    <a:pos x="44" y="65"/>
                  </a:cxn>
                  <a:cxn ang="0">
                    <a:pos x="25" y="75"/>
                  </a:cxn>
                  <a:cxn ang="0">
                    <a:pos x="7" y="65"/>
                  </a:cxn>
                  <a:cxn ang="0">
                    <a:pos x="0" y="38"/>
                  </a:cxn>
                  <a:cxn ang="0">
                    <a:pos x="7" y="10"/>
                  </a:cxn>
                  <a:cxn ang="0">
                    <a:pos x="25" y="0"/>
                  </a:cxn>
                  <a:cxn ang="0">
                    <a:pos x="44" y="10"/>
                  </a:cxn>
                  <a:cxn ang="0">
                    <a:pos x="51" y="38"/>
                  </a:cxn>
                  <a:cxn ang="0">
                    <a:pos x="37" y="37"/>
                  </a:cxn>
                  <a:cxn ang="0">
                    <a:pos x="34" y="19"/>
                  </a:cxn>
                  <a:cxn ang="0">
                    <a:pos x="25" y="12"/>
                  </a:cxn>
                  <a:cxn ang="0">
                    <a:pos x="17" y="19"/>
                  </a:cxn>
                  <a:cxn ang="0">
                    <a:pos x="13" y="38"/>
                  </a:cxn>
                  <a:cxn ang="0">
                    <a:pos x="17" y="56"/>
                  </a:cxn>
                  <a:cxn ang="0">
                    <a:pos x="25" y="63"/>
                  </a:cxn>
                  <a:cxn ang="0">
                    <a:pos x="34" y="56"/>
                  </a:cxn>
                  <a:cxn ang="0">
                    <a:pos x="37" y="37"/>
                  </a:cxn>
                </a:cxnLst>
                <a:rect l="0" t="0" r="r" b="b"/>
                <a:pathLst>
                  <a:path w="51" h="75">
                    <a:moveTo>
                      <a:pt x="51" y="38"/>
                    </a:moveTo>
                    <a:cubicBezTo>
                      <a:pt x="51" y="49"/>
                      <a:pt x="49" y="58"/>
                      <a:pt x="44" y="65"/>
                    </a:cubicBezTo>
                    <a:cubicBezTo>
                      <a:pt x="39" y="72"/>
                      <a:pt x="33" y="75"/>
                      <a:pt x="25" y="75"/>
                    </a:cubicBezTo>
                    <a:cubicBezTo>
                      <a:pt x="17" y="75"/>
                      <a:pt x="11" y="72"/>
                      <a:pt x="7" y="65"/>
                    </a:cubicBezTo>
                    <a:cubicBezTo>
                      <a:pt x="2" y="58"/>
                      <a:pt x="0" y="49"/>
                      <a:pt x="0" y="38"/>
                    </a:cubicBezTo>
                    <a:cubicBezTo>
                      <a:pt x="0" y="26"/>
                      <a:pt x="2" y="17"/>
                      <a:pt x="7" y="10"/>
                    </a:cubicBezTo>
                    <a:cubicBezTo>
                      <a:pt x="11" y="3"/>
                      <a:pt x="18" y="0"/>
                      <a:pt x="25" y="0"/>
                    </a:cubicBezTo>
                    <a:cubicBezTo>
                      <a:pt x="33" y="0"/>
                      <a:pt x="39" y="3"/>
                      <a:pt x="44" y="10"/>
                    </a:cubicBezTo>
                    <a:cubicBezTo>
                      <a:pt x="49" y="17"/>
                      <a:pt x="51" y="26"/>
                      <a:pt x="51" y="38"/>
                    </a:cubicBezTo>
                    <a:close/>
                    <a:moveTo>
                      <a:pt x="37" y="37"/>
                    </a:moveTo>
                    <a:cubicBezTo>
                      <a:pt x="37" y="30"/>
                      <a:pt x="36" y="24"/>
                      <a:pt x="34" y="19"/>
                    </a:cubicBezTo>
                    <a:cubicBezTo>
                      <a:pt x="32" y="14"/>
                      <a:pt x="29" y="12"/>
                      <a:pt x="25" y="12"/>
                    </a:cubicBezTo>
                    <a:cubicBezTo>
                      <a:pt x="22" y="12"/>
                      <a:pt x="19" y="15"/>
                      <a:pt x="17" y="19"/>
                    </a:cubicBezTo>
                    <a:cubicBezTo>
                      <a:pt x="15" y="24"/>
                      <a:pt x="13" y="30"/>
                      <a:pt x="13" y="38"/>
                    </a:cubicBezTo>
                    <a:cubicBezTo>
                      <a:pt x="13" y="45"/>
                      <a:pt x="15" y="51"/>
                      <a:pt x="17" y="56"/>
                    </a:cubicBezTo>
                    <a:cubicBezTo>
                      <a:pt x="19" y="61"/>
                      <a:pt x="22" y="63"/>
                      <a:pt x="25" y="63"/>
                    </a:cubicBezTo>
                    <a:cubicBezTo>
                      <a:pt x="29" y="63"/>
                      <a:pt x="32" y="61"/>
                      <a:pt x="34" y="56"/>
                    </a:cubicBezTo>
                    <a:cubicBezTo>
                      <a:pt x="36" y="51"/>
                      <a:pt x="37" y="45"/>
                      <a:pt x="37"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2" name="Freeform 192"/>
              <p:cNvSpPr>
                <a:spLocks/>
              </p:cNvSpPr>
              <p:nvPr/>
            </p:nvSpPr>
            <p:spPr bwMode="auto">
              <a:xfrm>
                <a:off x="2830920" y="3465945"/>
                <a:ext cx="34376" cy="87659"/>
              </a:xfrm>
              <a:custGeom>
                <a:avLst/>
                <a:gdLst/>
                <a:ahLst/>
                <a:cxnLst>
                  <a:cxn ang="0">
                    <a:pos x="22" y="56"/>
                  </a:cxn>
                  <a:cxn ang="0">
                    <a:pos x="11" y="56"/>
                  </a:cxn>
                  <a:cxn ang="0">
                    <a:pos x="11" y="10"/>
                  </a:cxn>
                  <a:cxn ang="0">
                    <a:pos x="0" y="10"/>
                  </a:cxn>
                  <a:cxn ang="0">
                    <a:pos x="5" y="0"/>
                  </a:cxn>
                  <a:cxn ang="0">
                    <a:pos x="22" y="0"/>
                  </a:cxn>
                  <a:cxn ang="0">
                    <a:pos x="22" y="56"/>
                  </a:cxn>
                </a:cxnLst>
                <a:rect l="0" t="0" r="r" b="b"/>
                <a:pathLst>
                  <a:path w="22" h="56">
                    <a:moveTo>
                      <a:pt x="22" y="56"/>
                    </a:moveTo>
                    <a:lnTo>
                      <a:pt x="11" y="56"/>
                    </a:lnTo>
                    <a:lnTo>
                      <a:pt x="11" y="10"/>
                    </a:lnTo>
                    <a:lnTo>
                      <a:pt x="0" y="10"/>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3" name="Freeform 193"/>
              <p:cNvSpPr>
                <a:spLocks/>
              </p:cNvSpPr>
              <p:nvPr/>
            </p:nvSpPr>
            <p:spPr bwMode="auto">
              <a:xfrm>
                <a:off x="2871546" y="3465945"/>
                <a:ext cx="34376" cy="87659"/>
              </a:xfrm>
              <a:custGeom>
                <a:avLst/>
                <a:gdLst/>
                <a:ahLst/>
                <a:cxnLst>
                  <a:cxn ang="0">
                    <a:pos x="22" y="56"/>
                  </a:cxn>
                  <a:cxn ang="0">
                    <a:pos x="11" y="56"/>
                  </a:cxn>
                  <a:cxn ang="0">
                    <a:pos x="11" y="10"/>
                  </a:cxn>
                  <a:cxn ang="0">
                    <a:pos x="0" y="10"/>
                  </a:cxn>
                  <a:cxn ang="0">
                    <a:pos x="5" y="0"/>
                  </a:cxn>
                  <a:cxn ang="0">
                    <a:pos x="22" y="0"/>
                  </a:cxn>
                  <a:cxn ang="0">
                    <a:pos x="22" y="56"/>
                  </a:cxn>
                </a:cxnLst>
                <a:rect l="0" t="0" r="r" b="b"/>
                <a:pathLst>
                  <a:path w="22" h="56">
                    <a:moveTo>
                      <a:pt x="22" y="56"/>
                    </a:moveTo>
                    <a:lnTo>
                      <a:pt x="11" y="56"/>
                    </a:lnTo>
                    <a:lnTo>
                      <a:pt x="11" y="10"/>
                    </a:lnTo>
                    <a:lnTo>
                      <a:pt x="0" y="10"/>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4" name="Freeform 194"/>
              <p:cNvSpPr>
                <a:spLocks noEditPoints="1"/>
              </p:cNvSpPr>
              <p:nvPr/>
            </p:nvSpPr>
            <p:spPr bwMode="auto">
              <a:xfrm>
                <a:off x="2919984" y="3464379"/>
                <a:ext cx="60938" cy="90790"/>
              </a:xfrm>
              <a:custGeom>
                <a:avLst/>
                <a:gdLst/>
                <a:ahLst/>
                <a:cxnLst>
                  <a:cxn ang="0">
                    <a:pos x="51" y="38"/>
                  </a:cxn>
                  <a:cxn ang="0">
                    <a:pos x="44" y="65"/>
                  </a:cxn>
                  <a:cxn ang="0">
                    <a:pos x="25" y="75"/>
                  </a:cxn>
                  <a:cxn ang="0">
                    <a:pos x="7" y="65"/>
                  </a:cxn>
                  <a:cxn ang="0">
                    <a:pos x="0" y="38"/>
                  </a:cxn>
                  <a:cxn ang="0">
                    <a:pos x="7" y="10"/>
                  </a:cxn>
                  <a:cxn ang="0">
                    <a:pos x="25" y="0"/>
                  </a:cxn>
                  <a:cxn ang="0">
                    <a:pos x="44" y="10"/>
                  </a:cxn>
                  <a:cxn ang="0">
                    <a:pos x="51" y="38"/>
                  </a:cxn>
                  <a:cxn ang="0">
                    <a:pos x="38" y="37"/>
                  </a:cxn>
                  <a:cxn ang="0">
                    <a:pos x="34" y="19"/>
                  </a:cxn>
                  <a:cxn ang="0">
                    <a:pos x="25" y="12"/>
                  </a:cxn>
                  <a:cxn ang="0">
                    <a:pos x="17" y="19"/>
                  </a:cxn>
                  <a:cxn ang="0">
                    <a:pos x="14" y="38"/>
                  </a:cxn>
                  <a:cxn ang="0">
                    <a:pos x="17" y="56"/>
                  </a:cxn>
                  <a:cxn ang="0">
                    <a:pos x="25" y="63"/>
                  </a:cxn>
                  <a:cxn ang="0">
                    <a:pos x="34" y="56"/>
                  </a:cxn>
                  <a:cxn ang="0">
                    <a:pos x="38" y="37"/>
                  </a:cxn>
                </a:cxnLst>
                <a:rect l="0" t="0" r="r" b="b"/>
                <a:pathLst>
                  <a:path w="51" h="75">
                    <a:moveTo>
                      <a:pt x="51" y="38"/>
                    </a:moveTo>
                    <a:cubicBezTo>
                      <a:pt x="51" y="49"/>
                      <a:pt x="49" y="58"/>
                      <a:pt x="44" y="65"/>
                    </a:cubicBezTo>
                    <a:cubicBezTo>
                      <a:pt x="40" y="72"/>
                      <a:pt x="33" y="75"/>
                      <a:pt x="25" y="75"/>
                    </a:cubicBezTo>
                    <a:cubicBezTo>
                      <a:pt x="18" y="75"/>
                      <a:pt x="11" y="72"/>
                      <a:pt x="7" y="65"/>
                    </a:cubicBezTo>
                    <a:cubicBezTo>
                      <a:pt x="2" y="58"/>
                      <a:pt x="0" y="49"/>
                      <a:pt x="0" y="38"/>
                    </a:cubicBezTo>
                    <a:cubicBezTo>
                      <a:pt x="0" y="26"/>
                      <a:pt x="2" y="17"/>
                      <a:pt x="7" y="10"/>
                    </a:cubicBezTo>
                    <a:cubicBezTo>
                      <a:pt x="11" y="3"/>
                      <a:pt x="18" y="0"/>
                      <a:pt x="25" y="0"/>
                    </a:cubicBezTo>
                    <a:cubicBezTo>
                      <a:pt x="33" y="0"/>
                      <a:pt x="40" y="3"/>
                      <a:pt x="44" y="10"/>
                    </a:cubicBezTo>
                    <a:cubicBezTo>
                      <a:pt x="49" y="17"/>
                      <a:pt x="51" y="26"/>
                      <a:pt x="51" y="38"/>
                    </a:cubicBezTo>
                    <a:close/>
                    <a:moveTo>
                      <a:pt x="38" y="37"/>
                    </a:moveTo>
                    <a:cubicBezTo>
                      <a:pt x="38" y="30"/>
                      <a:pt x="36" y="24"/>
                      <a:pt x="34" y="19"/>
                    </a:cubicBezTo>
                    <a:cubicBezTo>
                      <a:pt x="32" y="14"/>
                      <a:pt x="29" y="12"/>
                      <a:pt x="25" y="12"/>
                    </a:cubicBezTo>
                    <a:cubicBezTo>
                      <a:pt x="22" y="12"/>
                      <a:pt x="19" y="15"/>
                      <a:pt x="17" y="19"/>
                    </a:cubicBezTo>
                    <a:cubicBezTo>
                      <a:pt x="15" y="24"/>
                      <a:pt x="14" y="30"/>
                      <a:pt x="14" y="38"/>
                    </a:cubicBezTo>
                    <a:cubicBezTo>
                      <a:pt x="14" y="45"/>
                      <a:pt x="15" y="51"/>
                      <a:pt x="17" y="56"/>
                    </a:cubicBezTo>
                    <a:cubicBezTo>
                      <a:pt x="19" y="61"/>
                      <a:pt x="22" y="63"/>
                      <a:pt x="25" y="63"/>
                    </a:cubicBezTo>
                    <a:cubicBezTo>
                      <a:pt x="29" y="63"/>
                      <a:pt x="32" y="61"/>
                      <a:pt x="34" y="56"/>
                    </a:cubicBezTo>
                    <a:cubicBezTo>
                      <a:pt x="36"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5" name="Freeform 195"/>
              <p:cNvSpPr>
                <a:spLocks/>
              </p:cNvSpPr>
              <p:nvPr/>
            </p:nvSpPr>
            <p:spPr bwMode="auto">
              <a:xfrm>
                <a:off x="2984048" y="3465945"/>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6" name="Freeform 196"/>
              <p:cNvSpPr>
                <a:spLocks noEditPoints="1"/>
              </p:cNvSpPr>
              <p:nvPr/>
            </p:nvSpPr>
            <p:spPr bwMode="auto">
              <a:xfrm>
                <a:off x="3030924" y="3464379"/>
                <a:ext cx="62501" cy="90790"/>
              </a:xfrm>
              <a:custGeom>
                <a:avLst/>
                <a:gdLst/>
                <a:ahLst/>
                <a:cxnLst>
                  <a:cxn ang="0">
                    <a:pos x="52" y="38"/>
                  </a:cxn>
                  <a:cxn ang="0">
                    <a:pos x="45" y="65"/>
                  </a:cxn>
                  <a:cxn ang="0">
                    <a:pos x="26" y="75"/>
                  </a:cxn>
                  <a:cxn ang="0">
                    <a:pos x="7" y="65"/>
                  </a:cxn>
                  <a:cxn ang="0">
                    <a:pos x="0" y="38"/>
                  </a:cxn>
                  <a:cxn ang="0">
                    <a:pos x="7" y="10"/>
                  </a:cxn>
                  <a:cxn ang="0">
                    <a:pos x="26" y="0"/>
                  </a:cxn>
                  <a:cxn ang="0">
                    <a:pos x="45" y="10"/>
                  </a:cxn>
                  <a:cxn ang="0">
                    <a:pos x="52" y="38"/>
                  </a:cxn>
                  <a:cxn ang="0">
                    <a:pos x="38" y="37"/>
                  </a:cxn>
                  <a:cxn ang="0">
                    <a:pos x="34" y="19"/>
                  </a:cxn>
                  <a:cxn ang="0">
                    <a:pos x="26" y="12"/>
                  </a:cxn>
                  <a:cxn ang="0">
                    <a:pos x="17" y="19"/>
                  </a:cxn>
                  <a:cxn ang="0">
                    <a:pos x="14" y="38"/>
                  </a:cxn>
                  <a:cxn ang="0">
                    <a:pos x="17" y="56"/>
                  </a:cxn>
                  <a:cxn ang="0">
                    <a:pos x="26" y="63"/>
                  </a:cxn>
                  <a:cxn ang="0">
                    <a:pos x="34" y="56"/>
                  </a:cxn>
                  <a:cxn ang="0">
                    <a:pos x="38" y="37"/>
                  </a:cxn>
                </a:cxnLst>
                <a:rect l="0" t="0" r="r" b="b"/>
                <a:pathLst>
                  <a:path w="52" h="75">
                    <a:moveTo>
                      <a:pt x="52" y="38"/>
                    </a:moveTo>
                    <a:cubicBezTo>
                      <a:pt x="52" y="49"/>
                      <a:pt x="49" y="58"/>
                      <a:pt x="45" y="65"/>
                    </a:cubicBezTo>
                    <a:cubicBezTo>
                      <a:pt x="40" y="72"/>
                      <a:pt x="34" y="75"/>
                      <a:pt x="26" y="75"/>
                    </a:cubicBezTo>
                    <a:cubicBezTo>
                      <a:pt x="18" y="75"/>
                      <a:pt x="12" y="72"/>
                      <a:pt x="7" y="65"/>
                    </a:cubicBezTo>
                    <a:cubicBezTo>
                      <a:pt x="2" y="58"/>
                      <a:pt x="0" y="49"/>
                      <a:pt x="0" y="38"/>
                    </a:cubicBezTo>
                    <a:cubicBezTo>
                      <a:pt x="0" y="26"/>
                      <a:pt x="2" y="17"/>
                      <a:pt x="7" y="10"/>
                    </a:cubicBezTo>
                    <a:cubicBezTo>
                      <a:pt x="12" y="3"/>
                      <a:pt x="18" y="0"/>
                      <a:pt x="26" y="0"/>
                    </a:cubicBezTo>
                    <a:cubicBezTo>
                      <a:pt x="34" y="0"/>
                      <a:pt x="40" y="3"/>
                      <a:pt x="45" y="10"/>
                    </a:cubicBezTo>
                    <a:cubicBezTo>
                      <a:pt x="49" y="17"/>
                      <a:pt x="52" y="26"/>
                      <a:pt x="52" y="38"/>
                    </a:cubicBezTo>
                    <a:close/>
                    <a:moveTo>
                      <a:pt x="38" y="37"/>
                    </a:moveTo>
                    <a:cubicBezTo>
                      <a:pt x="38" y="30"/>
                      <a:pt x="37" y="24"/>
                      <a:pt x="34" y="19"/>
                    </a:cubicBezTo>
                    <a:cubicBezTo>
                      <a:pt x="32" y="14"/>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4"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7" name="Freeform 197"/>
              <p:cNvSpPr>
                <a:spLocks/>
              </p:cNvSpPr>
              <p:nvPr/>
            </p:nvSpPr>
            <p:spPr bwMode="auto">
              <a:xfrm>
                <a:off x="3094987" y="3465945"/>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8" name="Freeform 208"/>
              <p:cNvSpPr>
                <a:spLocks noEditPoints="1"/>
              </p:cNvSpPr>
              <p:nvPr/>
            </p:nvSpPr>
            <p:spPr bwMode="auto">
              <a:xfrm>
                <a:off x="2344975" y="3603694"/>
                <a:ext cx="62501" cy="90790"/>
              </a:xfrm>
              <a:custGeom>
                <a:avLst/>
                <a:gdLst/>
                <a:ahLst/>
                <a:cxnLst>
                  <a:cxn ang="0">
                    <a:pos x="52" y="38"/>
                  </a:cxn>
                  <a:cxn ang="0">
                    <a:pos x="44" y="65"/>
                  </a:cxn>
                  <a:cxn ang="0">
                    <a:pos x="26" y="76"/>
                  </a:cxn>
                  <a:cxn ang="0">
                    <a:pos x="7" y="65"/>
                  </a:cxn>
                  <a:cxn ang="0">
                    <a:pos x="0" y="38"/>
                  </a:cxn>
                  <a:cxn ang="0">
                    <a:pos x="7" y="10"/>
                  </a:cxn>
                  <a:cxn ang="0">
                    <a:pos x="26" y="0"/>
                  </a:cxn>
                  <a:cxn ang="0">
                    <a:pos x="44" y="10"/>
                  </a:cxn>
                  <a:cxn ang="0">
                    <a:pos x="52" y="38"/>
                  </a:cxn>
                  <a:cxn ang="0">
                    <a:pos x="38" y="38"/>
                  </a:cxn>
                  <a:cxn ang="0">
                    <a:pos x="34" y="19"/>
                  </a:cxn>
                  <a:cxn ang="0">
                    <a:pos x="26" y="12"/>
                  </a:cxn>
                  <a:cxn ang="0">
                    <a:pos x="17" y="19"/>
                  </a:cxn>
                  <a:cxn ang="0">
                    <a:pos x="14" y="38"/>
                  </a:cxn>
                  <a:cxn ang="0">
                    <a:pos x="17" y="56"/>
                  </a:cxn>
                  <a:cxn ang="0">
                    <a:pos x="26" y="63"/>
                  </a:cxn>
                  <a:cxn ang="0">
                    <a:pos x="34" y="56"/>
                  </a:cxn>
                  <a:cxn ang="0">
                    <a:pos x="38" y="38"/>
                  </a:cxn>
                </a:cxnLst>
                <a:rect l="0" t="0" r="r" b="b"/>
                <a:pathLst>
                  <a:path w="52" h="76">
                    <a:moveTo>
                      <a:pt x="52" y="38"/>
                    </a:moveTo>
                    <a:cubicBezTo>
                      <a:pt x="52" y="49"/>
                      <a:pt x="49" y="58"/>
                      <a:pt x="44" y="65"/>
                    </a:cubicBezTo>
                    <a:cubicBezTo>
                      <a:pt x="40" y="72"/>
                      <a:pt x="33" y="76"/>
                      <a:pt x="26" y="76"/>
                    </a:cubicBezTo>
                    <a:cubicBezTo>
                      <a:pt x="18" y="76"/>
                      <a:pt x="11" y="72"/>
                      <a:pt x="7" y="65"/>
                    </a:cubicBezTo>
                    <a:cubicBezTo>
                      <a:pt x="2" y="58"/>
                      <a:pt x="0" y="49"/>
                      <a:pt x="0" y="38"/>
                    </a:cubicBezTo>
                    <a:cubicBezTo>
                      <a:pt x="0" y="26"/>
                      <a:pt x="2" y="17"/>
                      <a:pt x="7" y="10"/>
                    </a:cubicBezTo>
                    <a:cubicBezTo>
                      <a:pt x="12" y="4"/>
                      <a:pt x="18" y="0"/>
                      <a:pt x="26" y="0"/>
                    </a:cubicBezTo>
                    <a:cubicBezTo>
                      <a:pt x="33" y="0"/>
                      <a:pt x="40" y="3"/>
                      <a:pt x="44" y="10"/>
                    </a:cubicBezTo>
                    <a:cubicBezTo>
                      <a:pt x="49" y="17"/>
                      <a:pt x="52" y="26"/>
                      <a:pt x="52" y="38"/>
                    </a:cubicBezTo>
                    <a:close/>
                    <a:moveTo>
                      <a:pt x="38" y="38"/>
                    </a:moveTo>
                    <a:cubicBezTo>
                      <a:pt x="38" y="30"/>
                      <a:pt x="37" y="24"/>
                      <a:pt x="34" y="19"/>
                    </a:cubicBezTo>
                    <a:cubicBezTo>
                      <a:pt x="32" y="15"/>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4" y="56"/>
                    </a:cubicBezTo>
                    <a:cubicBezTo>
                      <a:pt x="37" y="51"/>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29" name="Freeform 209"/>
              <p:cNvSpPr>
                <a:spLocks/>
              </p:cNvSpPr>
              <p:nvPr/>
            </p:nvSpPr>
            <p:spPr bwMode="auto">
              <a:xfrm>
                <a:off x="2407476" y="3605260"/>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0" name="Freeform 210"/>
              <p:cNvSpPr>
                <a:spLocks/>
              </p:cNvSpPr>
              <p:nvPr/>
            </p:nvSpPr>
            <p:spPr bwMode="auto">
              <a:xfrm>
                <a:off x="2449664" y="3605260"/>
                <a:ext cx="31250" cy="87659"/>
              </a:xfrm>
              <a:custGeom>
                <a:avLst/>
                <a:gdLst/>
                <a:ahLst/>
                <a:cxnLst>
                  <a:cxn ang="0">
                    <a:pos x="20" y="56"/>
                  </a:cxn>
                  <a:cxn ang="0">
                    <a:pos x="10" y="56"/>
                  </a:cxn>
                  <a:cxn ang="0">
                    <a:pos x="10" y="9"/>
                  </a:cxn>
                  <a:cxn ang="0">
                    <a:pos x="0" y="9"/>
                  </a:cxn>
                  <a:cxn ang="0">
                    <a:pos x="3" y="0"/>
                  </a:cxn>
                  <a:cxn ang="0">
                    <a:pos x="20" y="0"/>
                  </a:cxn>
                  <a:cxn ang="0">
                    <a:pos x="20" y="56"/>
                  </a:cxn>
                </a:cxnLst>
                <a:rect l="0" t="0" r="r" b="b"/>
                <a:pathLst>
                  <a:path w="20" h="56">
                    <a:moveTo>
                      <a:pt x="20" y="56"/>
                    </a:moveTo>
                    <a:lnTo>
                      <a:pt x="10" y="56"/>
                    </a:lnTo>
                    <a:lnTo>
                      <a:pt x="10" y="9"/>
                    </a:lnTo>
                    <a:lnTo>
                      <a:pt x="0" y="9"/>
                    </a:lnTo>
                    <a:lnTo>
                      <a:pt x="3" y="0"/>
                    </a:lnTo>
                    <a:lnTo>
                      <a:pt x="20" y="0"/>
                    </a:lnTo>
                    <a:lnTo>
                      <a:pt x="20"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1" name="Freeform 211"/>
              <p:cNvSpPr>
                <a:spLocks/>
              </p:cNvSpPr>
              <p:nvPr/>
            </p:nvSpPr>
            <p:spPr bwMode="auto">
              <a:xfrm>
                <a:off x="2488727" y="3605260"/>
                <a:ext cx="34376" cy="87659"/>
              </a:xfrm>
              <a:custGeom>
                <a:avLst/>
                <a:gdLst/>
                <a:ahLst/>
                <a:cxnLst>
                  <a:cxn ang="0">
                    <a:pos x="22" y="56"/>
                  </a:cxn>
                  <a:cxn ang="0">
                    <a:pos x="11" y="56"/>
                  </a:cxn>
                  <a:cxn ang="0">
                    <a:pos x="11" y="9"/>
                  </a:cxn>
                  <a:cxn ang="0">
                    <a:pos x="0" y="9"/>
                  </a:cxn>
                  <a:cxn ang="0">
                    <a:pos x="5" y="0"/>
                  </a:cxn>
                  <a:cxn ang="0">
                    <a:pos x="22" y="0"/>
                  </a:cxn>
                  <a:cxn ang="0">
                    <a:pos x="22" y="56"/>
                  </a:cxn>
                </a:cxnLst>
                <a:rect l="0" t="0" r="r" b="b"/>
                <a:pathLst>
                  <a:path w="22" h="56">
                    <a:moveTo>
                      <a:pt x="22" y="56"/>
                    </a:moveTo>
                    <a:lnTo>
                      <a:pt x="11" y="56"/>
                    </a:lnTo>
                    <a:lnTo>
                      <a:pt x="11" y="9"/>
                    </a:lnTo>
                    <a:lnTo>
                      <a:pt x="0" y="9"/>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2" name="Freeform 212"/>
              <p:cNvSpPr>
                <a:spLocks noEditPoints="1"/>
              </p:cNvSpPr>
              <p:nvPr/>
            </p:nvSpPr>
            <p:spPr bwMode="auto">
              <a:xfrm>
                <a:off x="2537166" y="3603694"/>
                <a:ext cx="62501" cy="90790"/>
              </a:xfrm>
              <a:custGeom>
                <a:avLst/>
                <a:gdLst/>
                <a:ahLst/>
                <a:cxnLst>
                  <a:cxn ang="0">
                    <a:pos x="52" y="38"/>
                  </a:cxn>
                  <a:cxn ang="0">
                    <a:pos x="44" y="65"/>
                  </a:cxn>
                  <a:cxn ang="0">
                    <a:pos x="26" y="76"/>
                  </a:cxn>
                  <a:cxn ang="0">
                    <a:pos x="7" y="65"/>
                  </a:cxn>
                  <a:cxn ang="0">
                    <a:pos x="0" y="38"/>
                  </a:cxn>
                  <a:cxn ang="0">
                    <a:pos x="7" y="10"/>
                  </a:cxn>
                  <a:cxn ang="0">
                    <a:pos x="26" y="0"/>
                  </a:cxn>
                  <a:cxn ang="0">
                    <a:pos x="44" y="10"/>
                  </a:cxn>
                  <a:cxn ang="0">
                    <a:pos x="52" y="38"/>
                  </a:cxn>
                  <a:cxn ang="0">
                    <a:pos x="38" y="38"/>
                  </a:cxn>
                  <a:cxn ang="0">
                    <a:pos x="34" y="19"/>
                  </a:cxn>
                  <a:cxn ang="0">
                    <a:pos x="26" y="12"/>
                  </a:cxn>
                  <a:cxn ang="0">
                    <a:pos x="17" y="19"/>
                  </a:cxn>
                  <a:cxn ang="0">
                    <a:pos x="14" y="38"/>
                  </a:cxn>
                  <a:cxn ang="0">
                    <a:pos x="17" y="56"/>
                  </a:cxn>
                  <a:cxn ang="0">
                    <a:pos x="26" y="63"/>
                  </a:cxn>
                  <a:cxn ang="0">
                    <a:pos x="34" y="56"/>
                  </a:cxn>
                  <a:cxn ang="0">
                    <a:pos x="38" y="38"/>
                  </a:cxn>
                </a:cxnLst>
                <a:rect l="0" t="0" r="r" b="b"/>
                <a:pathLst>
                  <a:path w="52" h="76">
                    <a:moveTo>
                      <a:pt x="52" y="38"/>
                    </a:moveTo>
                    <a:cubicBezTo>
                      <a:pt x="52" y="49"/>
                      <a:pt x="49" y="58"/>
                      <a:pt x="44" y="65"/>
                    </a:cubicBezTo>
                    <a:cubicBezTo>
                      <a:pt x="40" y="72"/>
                      <a:pt x="33" y="76"/>
                      <a:pt x="26" y="76"/>
                    </a:cubicBezTo>
                    <a:cubicBezTo>
                      <a:pt x="18" y="76"/>
                      <a:pt x="12" y="72"/>
                      <a:pt x="7" y="65"/>
                    </a:cubicBezTo>
                    <a:cubicBezTo>
                      <a:pt x="2" y="58"/>
                      <a:pt x="0" y="49"/>
                      <a:pt x="0" y="38"/>
                    </a:cubicBezTo>
                    <a:cubicBezTo>
                      <a:pt x="0" y="26"/>
                      <a:pt x="2" y="17"/>
                      <a:pt x="7" y="10"/>
                    </a:cubicBezTo>
                    <a:cubicBezTo>
                      <a:pt x="12" y="4"/>
                      <a:pt x="18" y="0"/>
                      <a:pt x="26" y="0"/>
                    </a:cubicBezTo>
                    <a:cubicBezTo>
                      <a:pt x="33" y="0"/>
                      <a:pt x="40" y="3"/>
                      <a:pt x="44" y="10"/>
                    </a:cubicBezTo>
                    <a:cubicBezTo>
                      <a:pt x="49" y="17"/>
                      <a:pt x="52" y="26"/>
                      <a:pt x="52" y="38"/>
                    </a:cubicBezTo>
                    <a:close/>
                    <a:moveTo>
                      <a:pt x="38" y="38"/>
                    </a:moveTo>
                    <a:cubicBezTo>
                      <a:pt x="38" y="30"/>
                      <a:pt x="37" y="24"/>
                      <a:pt x="34" y="19"/>
                    </a:cubicBezTo>
                    <a:cubicBezTo>
                      <a:pt x="32" y="15"/>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4" y="56"/>
                    </a:cubicBezTo>
                    <a:cubicBezTo>
                      <a:pt x="37" y="51"/>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3" name="Freeform 213"/>
              <p:cNvSpPr>
                <a:spLocks noEditPoints="1"/>
              </p:cNvSpPr>
              <p:nvPr/>
            </p:nvSpPr>
            <p:spPr bwMode="auto">
              <a:xfrm>
                <a:off x="2602792" y="3603694"/>
                <a:ext cx="62501" cy="90790"/>
              </a:xfrm>
              <a:custGeom>
                <a:avLst/>
                <a:gdLst/>
                <a:ahLst/>
                <a:cxnLst>
                  <a:cxn ang="0">
                    <a:pos x="52" y="38"/>
                  </a:cxn>
                  <a:cxn ang="0">
                    <a:pos x="45" y="65"/>
                  </a:cxn>
                  <a:cxn ang="0">
                    <a:pos x="26" y="76"/>
                  </a:cxn>
                  <a:cxn ang="0">
                    <a:pos x="7" y="65"/>
                  </a:cxn>
                  <a:cxn ang="0">
                    <a:pos x="0" y="38"/>
                  </a:cxn>
                  <a:cxn ang="0">
                    <a:pos x="7" y="10"/>
                  </a:cxn>
                  <a:cxn ang="0">
                    <a:pos x="26" y="0"/>
                  </a:cxn>
                  <a:cxn ang="0">
                    <a:pos x="45" y="10"/>
                  </a:cxn>
                  <a:cxn ang="0">
                    <a:pos x="52" y="38"/>
                  </a:cxn>
                  <a:cxn ang="0">
                    <a:pos x="38" y="38"/>
                  </a:cxn>
                  <a:cxn ang="0">
                    <a:pos x="35" y="19"/>
                  </a:cxn>
                  <a:cxn ang="0">
                    <a:pos x="26" y="12"/>
                  </a:cxn>
                  <a:cxn ang="0">
                    <a:pos x="17" y="19"/>
                  </a:cxn>
                  <a:cxn ang="0">
                    <a:pos x="14" y="38"/>
                  </a:cxn>
                  <a:cxn ang="0">
                    <a:pos x="18" y="56"/>
                  </a:cxn>
                  <a:cxn ang="0">
                    <a:pos x="26" y="63"/>
                  </a:cxn>
                  <a:cxn ang="0">
                    <a:pos x="35" y="56"/>
                  </a:cxn>
                  <a:cxn ang="0">
                    <a:pos x="38" y="38"/>
                  </a:cxn>
                </a:cxnLst>
                <a:rect l="0" t="0" r="r" b="b"/>
                <a:pathLst>
                  <a:path w="52" h="76">
                    <a:moveTo>
                      <a:pt x="52" y="38"/>
                    </a:moveTo>
                    <a:cubicBezTo>
                      <a:pt x="52" y="49"/>
                      <a:pt x="50" y="58"/>
                      <a:pt x="45" y="65"/>
                    </a:cubicBezTo>
                    <a:cubicBezTo>
                      <a:pt x="40" y="72"/>
                      <a:pt x="34" y="76"/>
                      <a:pt x="26" y="76"/>
                    </a:cubicBezTo>
                    <a:cubicBezTo>
                      <a:pt x="18" y="76"/>
                      <a:pt x="12" y="72"/>
                      <a:pt x="7" y="65"/>
                    </a:cubicBezTo>
                    <a:cubicBezTo>
                      <a:pt x="3" y="58"/>
                      <a:pt x="0" y="49"/>
                      <a:pt x="0" y="38"/>
                    </a:cubicBezTo>
                    <a:cubicBezTo>
                      <a:pt x="0" y="26"/>
                      <a:pt x="3" y="17"/>
                      <a:pt x="7" y="10"/>
                    </a:cubicBezTo>
                    <a:cubicBezTo>
                      <a:pt x="12" y="4"/>
                      <a:pt x="18" y="0"/>
                      <a:pt x="26" y="0"/>
                    </a:cubicBezTo>
                    <a:cubicBezTo>
                      <a:pt x="34" y="0"/>
                      <a:pt x="40" y="3"/>
                      <a:pt x="45" y="10"/>
                    </a:cubicBezTo>
                    <a:cubicBezTo>
                      <a:pt x="50" y="17"/>
                      <a:pt x="52" y="26"/>
                      <a:pt x="52" y="38"/>
                    </a:cubicBezTo>
                    <a:close/>
                    <a:moveTo>
                      <a:pt x="38" y="38"/>
                    </a:moveTo>
                    <a:cubicBezTo>
                      <a:pt x="38" y="30"/>
                      <a:pt x="37" y="24"/>
                      <a:pt x="35" y="19"/>
                    </a:cubicBezTo>
                    <a:cubicBezTo>
                      <a:pt x="33" y="15"/>
                      <a:pt x="30" y="12"/>
                      <a:pt x="26" y="12"/>
                    </a:cubicBezTo>
                    <a:cubicBezTo>
                      <a:pt x="23" y="12"/>
                      <a:pt x="20" y="15"/>
                      <a:pt x="17" y="19"/>
                    </a:cubicBezTo>
                    <a:cubicBezTo>
                      <a:pt x="15" y="24"/>
                      <a:pt x="14" y="30"/>
                      <a:pt x="14" y="38"/>
                    </a:cubicBezTo>
                    <a:cubicBezTo>
                      <a:pt x="14" y="45"/>
                      <a:pt x="15" y="51"/>
                      <a:pt x="18" y="56"/>
                    </a:cubicBezTo>
                    <a:cubicBezTo>
                      <a:pt x="20" y="61"/>
                      <a:pt x="23" y="63"/>
                      <a:pt x="26" y="63"/>
                    </a:cubicBezTo>
                    <a:cubicBezTo>
                      <a:pt x="30" y="63"/>
                      <a:pt x="33" y="61"/>
                      <a:pt x="35" y="56"/>
                    </a:cubicBezTo>
                    <a:cubicBezTo>
                      <a:pt x="37" y="51"/>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4" name="Freeform 214"/>
              <p:cNvSpPr>
                <a:spLocks/>
              </p:cNvSpPr>
              <p:nvPr/>
            </p:nvSpPr>
            <p:spPr bwMode="auto">
              <a:xfrm>
                <a:off x="2666855" y="3605260"/>
                <a:ext cx="32813" cy="87659"/>
              </a:xfrm>
              <a:custGeom>
                <a:avLst/>
                <a:gdLst/>
                <a:ahLst/>
                <a:cxnLst>
                  <a:cxn ang="0">
                    <a:pos x="21" y="56"/>
                  </a:cxn>
                  <a:cxn ang="0">
                    <a:pos x="11" y="56"/>
                  </a:cxn>
                  <a:cxn ang="0">
                    <a:pos x="11" y="9"/>
                  </a:cxn>
                  <a:cxn ang="0">
                    <a:pos x="0" y="9"/>
                  </a:cxn>
                  <a:cxn ang="0">
                    <a:pos x="4" y="0"/>
                  </a:cxn>
                  <a:cxn ang="0">
                    <a:pos x="21" y="0"/>
                  </a:cxn>
                  <a:cxn ang="0">
                    <a:pos x="21" y="56"/>
                  </a:cxn>
                </a:cxnLst>
                <a:rect l="0" t="0" r="r" b="b"/>
                <a:pathLst>
                  <a:path w="21" h="56">
                    <a:moveTo>
                      <a:pt x="21" y="56"/>
                    </a:moveTo>
                    <a:lnTo>
                      <a:pt x="11" y="56"/>
                    </a:lnTo>
                    <a:lnTo>
                      <a:pt x="11"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5" name="Freeform 215"/>
              <p:cNvSpPr>
                <a:spLocks/>
              </p:cNvSpPr>
              <p:nvPr/>
            </p:nvSpPr>
            <p:spPr bwMode="auto">
              <a:xfrm>
                <a:off x="2707481" y="3605260"/>
                <a:ext cx="34376" cy="87659"/>
              </a:xfrm>
              <a:custGeom>
                <a:avLst/>
                <a:gdLst/>
                <a:ahLst/>
                <a:cxnLst>
                  <a:cxn ang="0">
                    <a:pos x="22" y="56"/>
                  </a:cxn>
                  <a:cxn ang="0">
                    <a:pos x="11" y="56"/>
                  </a:cxn>
                  <a:cxn ang="0">
                    <a:pos x="11" y="9"/>
                  </a:cxn>
                  <a:cxn ang="0">
                    <a:pos x="0" y="9"/>
                  </a:cxn>
                  <a:cxn ang="0">
                    <a:pos x="5" y="0"/>
                  </a:cxn>
                  <a:cxn ang="0">
                    <a:pos x="22" y="0"/>
                  </a:cxn>
                  <a:cxn ang="0">
                    <a:pos x="22" y="56"/>
                  </a:cxn>
                </a:cxnLst>
                <a:rect l="0" t="0" r="r" b="b"/>
                <a:pathLst>
                  <a:path w="22" h="56">
                    <a:moveTo>
                      <a:pt x="22" y="56"/>
                    </a:moveTo>
                    <a:lnTo>
                      <a:pt x="11" y="56"/>
                    </a:lnTo>
                    <a:lnTo>
                      <a:pt x="11" y="9"/>
                    </a:lnTo>
                    <a:lnTo>
                      <a:pt x="0" y="9"/>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6" name="Freeform 216"/>
              <p:cNvSpPr>
                <a:spLocks noEditPoints="1"/>
              </p:cNvSpPr>
              <p:nvPr/>
            </p:nvSpPr>
            <p:spPr bwMode="auto">
              <a:xfrm>
                <a:off x="2755919" y="3603694"/>
                <a:ext cx="60938" cy="90790"/>
              </a:xfrm>
              <a:custGeom>
                <a:avLst/>
                <a:gdLst/>
                <a:ahLst/>
                <a:cxnLst>
                  <a:cxn ang="0">
                    <a:pos x="51" y="38"/>
                  </a:cxn>
                  <a:cxn ang="0">
                    <a:pos x="44" y="65"/>
                  </a:cxn>
                  <a:cxn ang="0">
                    <a:pos x="25" y="76"/>
                  </a:cxn>
                  <a:cxn ang="0">
                    <a:pos x="7" y="65"/>
                  </a:cxn>
                  <a:cxn ang="0">
                    <a:pos x="0" y="38"/>
                  </a:cxn>
                  <a:cxn ang="0">
                    <a:pos x="7" y="10"/>
                  </a:cxn>
                  <a:cxn ang="0">
                    <a:pos x="25" y="0"/>
                  </a:cxn>
                  <a:cxn ang="0">
                    <a:pos x="44" y="10"/>
                  </a:cxn>
                  <a:cxn ang="0">
                    <a:pos x="51" y="38"/>
                  </a:cxn>
                  <a:cxn ang="0">
                    <a:pos x="37" y="38"/>
                  </a:cxn>
                  <a:cxn ang="0">
                    <a:pos x="34" y="19"/>
                  </a:cxn>
                  <a:cxn ang="0">
                    <a:pos x="25" y="12"/>
                  </a:cxn>
                  <a:cxn ang="0">
                    <a:pos x="17" y="19"/>
                  </a:cxn>
                  <a:cxn ang="0">
                    <a:pos x="13" y="38"/>
                  </a:cxn>
                  <a:cxn ang="0">
                    <a:pos x="17" y="56"/>
                  </a:cxn>
                  <a:cxn ang="0">
                    <a:pos x="25" y="63"/>
                  </a:cxn>
                  <a:cxn ang="0">
                    <a:pos x="34" y="56"/>
                  </a:cxn>
                  <a:cxn ang="0">
                    <a:pos x="37" y="38"/>
                  </a:cxn>
                </a:cxnLst>
                <a:rect l="0" t="0" r="r" b="b"/>
                <a:pathLst>
                  <a:path w="51" h="76">
                    <a:moveTo>
                      <a:pt x="51" y="38"/>
                    </a:moveTo>
                    <a:cubicBezTo>
                      <a:pt x="51" y="49"/>
                      <a:pt x="49" y="58"/>
                      <a:pt x="44" y="65"/>
                    </a:cubicBezTo>
                    <a:cubicBezTo>
                      <a:pt x="39" y="72"/>
                      <a:pt x="33" y="76"/>
                      <a:pt x="25" y="76"/>
                    </a:cubicBezTo>
                    <a:cubicBezTo>
                      <a:pt x="17" y="76"/>
                      <a:pt x="11" y="72"/>
                      <a:pt x="7" y="65"/>
                    </a:cubicBezTo>
                    <a:cubicBezTo>
                      <a:pt x="2" y="58"/>
                      <a:pt x="0" y="49"/>
                      <a:pt x="0" y="38"/>
                    </a:cubicBezTo>
                    <a:cubicBezTo>
                      <a:pt x="0" y="26"/>
                      <a:pt x="2" y="17"/>
                      <a:pt x="7" y="10"/>
                    </a:cubicBezTo>
                    <a:cubicBezTo>
                      <a:pt x="11" y="4"/>
                      <a:pt x="17" y="0"/>
                      <a:pt x="25" y="0"/>
                    </a:cubicBezTo>
                    <a:cubicBezTo>
                      <a:pt x="33" y="0"/>
                      <a:pt x="39" y="3"/>
                      <a:pt x="44" y="10"/>
                    </a:cubicBezTo>
                    <a:cubicBezTo>
                      <a:pt x="49" y="17"/>
                      <a:pt x="51" y="26"/>
                      <a:pt x="51" y="38"/>
                    </a:cubicBezTo>
                    <a:close/>
                    <a:moveTo>
                      <a:pt x="37" y="38"/>
                    </a:moveTo>
                    <a:cubicBezTo>
                      <a:pt x="37" y="30"/>
                      <a:pt x="36" y="24"/>
                      <a:pt x="34" y="19"/>
                    </a:cubicBezTo>
                    <a:cubicBezTo>
                      <a:pt x="32" y="15"/>
                      <a:pt x="29" y="12"/>
                      <a:pt x="25" y="12"/>
                    </a:cubicBezTo>
                    <a:cubicBezTo>
                      <a:pt x="22" y="12"/>
                      <a:pt x="19" y="15"/>
                      <a:pt x="17" y="19"/>
                    </a:cubicBezTo>
                    <a:cubicBezTo>
                      <a:pt x="14" y="24"/>
                      <a:pt x="13" y="30"/>
                      <a:pt x="13" y="38"/>
                    </a:cubicBezTo>
                    <a:cubicBezTo>
                      <a:pt x="13" y="45"/>
                      <a:pt x="14" y="51"/>
                      <a:pt x="17" y="56"/>
                    </a:cubicBezTo>
                    <a:cubicBezTo>
                      <a:pt x="19" y="61"/>
                      <a:pt x="22" y="63"/>
                      <a:pt x="25" y="63"/>
                    </a:cubicBezTo>
                    <a:cubicBezTo>
                      <a:pt x="29" y="63"/>
                      <a:pt x="32" y="61"/>
                      <a:pt x="34" y="56"/>
                    </a:cubicBezTo>
                    <a:cubicBezTo>
                      <a:pt x="36" y="51"/>
                      <a:pt x="37" y="45"/>
                      <a:pt x="37"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7" name="Freeform 217"/>
              <p:cNvSpPr>
                <a:spLocks/>
              </p:cNvSpPr>
              <p:nvPr/>
            </p:nvSpPr>
            <p:spPr bwMode="auto">
              <a:xfrm>
                <a:off x="2818420" y="3605260"/>
                <a:ext cx="32813" cy="87659"/>
              </a:xfrm>
              <a:custGeom>
                <a:avLst/>
                <a:gdLst/>
                <a:ahLst/>
                <a:cxnLst>
                  <a:cxn ang="0">
                    <a:pos x="21" y="56"/>
                  </a:cxn>
                  <a:cxn ang="0">
                    <a:pos x="11" y="56"/>
                  </a:cxn>
                  <a:cxn ang="0">
                    <a:pos x="11" y="9"/>
                  </a:cxn>
                  <a:cxn ang="0">
                    <a:pos x="0" y="9"/>
                  </a:cxn>
                  <a:cxn ang="0">
                    <a:pos x="4" y="0"/>
                  </a:cxn>
                  <a:cxn ang="0">
                    <a:pos x="21" y="0"/>
                  </a:cxn>
                  <a:cxn ang="0">
                    <a:pos x="21" y="56"/>
                  </a:cxn>
                </a:cxnLst>
                <a:rect l="0" t="0" r="r" b="b"/>
                <a:pathLst>
                  <a:path w="21" h="56">
                    <a:moveTo>
                      <a:pt x="21" y="56"/>
                    </a:moveTo>
                    <a:lnTo>
                      <a:pt x="11" y="56"/>
                    </a:lnTo>
                    <a:lnTo>
                      <a:pt x="11"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8" name="Freeform 218"/>
              <p:cNvSpPr>
                <a:spLocks noEditPoints="1"/>
              </p:cNvSpPr>
              <p:nvPr/>
            </p:nvSpPr>
            <p:spPr bwMode="auto">
              <a:xfrm>
                <a:off x="2866858" y="3603694"/>
                <a:ext cx="60938" cy="90790"/>
              </a:xfrm>
              <a:custGeom>
                <a:avLst/>
                <a:gdLst/>
                <a:ahLst/>
                <a:cxnLst>
                  <a:cxn ang="0">
                    <a:pos x="51" y="38"/>
                  </a:cxn>
                  <a:cxn ang="0">
                    <a:pos x="44" y="65"/>
                  </a:cxn>
                  <a:cxn ang="0">
                    <a:pos x="26" y="76"/>
                  </a:cxn>
                  <a:cxn ang="0">
                    <a:pos x="7" y="65"/>
                  </a:cxn>
                  <a:cxn ang="0">
                    <a:pos x="0" y="38"/>
                  </a:cxn>
                  <a:cxn ang="0">
                    <a:pos x="7" y="10"/>
                  </a:cxn>
                  <a:cxn ang="0">
                    <a:pos x="26" y="0"/>
                  </a:cxn>
                  <a:cxn ang="0">
                    <a:pos x="44" y="10"/>
                  </a:cxn>
                  <a:cxn ang="0">
                    <a:pos x="51" y="38"/>
                  </a:cxn>
                  <a:cxn ang="0">
                    <a:pos x="38" y="38"/>
                  </a:cxn>
                  <a:cxn ang="0">
                    <a:pos x="34" y="19"/>
                  </a:cxn>
                  <a:cxn ang="0">
                    <a:pos x="26" y="12"/>
                  </a:cxn>
                  <a:cxn ang="0">
                    <a:pos x="17" y="19"/>
                  </a:cxn>
                  <a:cxn ang="0">
                    <a:pos x="14" y="38"/>
                  </a:cxn>
                  <a:cxn ang="0">
                    <a:pos x="17" y="56"/>
                  </a:cxn>
                  <a:cxn ang="0">
                    <a:pos x="26" y="63"/>
                  </a:cxn>
                  <a:cxn ang="0">
                    <a:pos x="34" y="56"/>
                  </a:cxn>
                  <a:cxn ang="0">
                    <a:pos x="38" y="38"/>
                  </a:cxn>
                </a:cxnLst>
                <a:rect l="0" t="0" r="r" b="b"/>
                <a:pathLst>
                  <a:path w="51" h="76">
                    <a:moveTo>
                      <a:pt x="51" y="38"/>
                    </a:moveTo>
                    <a:cubicBezTo>
                      <a:pt x="51" y="49"/>
                      <a:pt x="49" y="58"/>
                      <a:pt x="44" y="65"/>
                    </a:cubicBezTo>
                    <a:cubicBezTo>
                      <a:pt x="40" y="72"/>
                      <a:pt x="33" y="76"/>
                      <a:pt x="26" y="76"/>
                    </a:cubicBezTo>
                    <a:cubicBezTo>
                      <a:pt x="18" y="76"/>
                      <a:pt x="11" y="72"/>
                      <a:pt x="7" y="65"/>
                    </a:cubicBezTo>
                    <a:cubicBezTo>
                      <a:pt x="2" y="58"/>
                      <a:pt x="0" y="49"/>
                      <a:pt x="0" y="38"/>
                    </a:cubicBezTo>
                    <a:cubicBezTo>
                      <a:pt x="0" y="26"/>
                      <a:pt x="2" y="17"/>
                      <a:pt x="7" y="10"/>
                    </a:cubicBezTo>
                    <a:cubicBezTo>
                      <a:pt x="11" y="4"/>
                      <a:pt x="18" y="0"/>
                      <a:pt x="26" y="0"/>
                    </a:cubicBezTo>
                    <a:cubicBezTo>
                      <a:pt x="33" y="0"/>
                      <a:pt x="40" y="3"/>
                      <a:pt x="44" y="10"/>
                    </a:cubicBezTo>
                    <a:cubicBezTo>
                      <a:pt x="49" y="17"/>
                      <a:pt x="51" y="26"/>
                      <a:pt x="51" y="38"/>
                    </a:cubicBezTo>
                    <a:close/>
                    <a:moveTo>
                      <a:pt x="38" y="38"/>
                    </a:moveTo>
                    <a:cubicBezTo>
                      <a:pt x="38" y="30"/>
                      <a:pt x="36" y="24"/>
                      <a:pt x="34" y="19"/>
                    </a:cubicBezTo>
                    <a:cubicBezTo>
                      <a:pt x="32" y="15"/>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4" y="56"/>
                    </a:cubicBezTo>
                    <a:cubicBezTo>
                      <a:pt x="36" y="51"/>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39" name="Freeform 219"/>
              <p:cNvSpPr>
                <a:spLocks/>
              </p:cNvSpPr>
              <p:nvPr/>
            </p:nvSpPr>
            <p:spPr bwMode="auto">
              <a:xfrm>
                <a:off x="2929359" y="3605260"/>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0" name="Freeform 220"/>
              <p:cNvSpPr>
                <a:spLocks noEditPoints="1"/>
              </p:cNvSpPr>
              <p:nvPr/>
            </p:nvSpPr>
            <p:spPr bwMode="auto">
              <a:xfrm>
                <a:off x="2976235" y="3603694"/>
                <a:ext cx="62501" cy="90790"/>
              </a:xfrm>
              <a:custGeom>
                <a:avLst/>
                <a:gdLst/>
                <a:ahLst/>
                <a:cxnLst>
                  <a:cxn ang="0">
                    <a:pos x="52" y="38"/>
                  </a:cxn>
                  <a:cxn ang="0">
                    <a:pos x="45" y="65"/>
                  </a:cxn>
                  <a:cxn ang="0">
                    <a:pos x="26" y="76"/>
                  </a:cxn>
                  <a:cxn ang="0">
                    <a:pos x="7" y="65"/>
                  </a:cxn>
                  <a:cxn ang="0">
                    <a:pos x="0" y="38"/>
                  </a:cxn>
                  <a:cxn ang="0">
                    <a:pos x="7" y="10"/>
                  </a:cxn>
                  <a:cxn ang="0">
                    <a:pos x="26" y="0"/>
                  </a:cxn>
                  <a:cxn ang="0">
                    <a:pos x="45" y="10"/>
                  </a:cxn>
                  <a:cxn ang="0">
                    <a:pos x="52" y="38"/>
                  </a:cxn>
                  <a:cxn ang="0">
                    <a:pos x="38" y="38"/>
                  </a:cxn>
                  <a:cxn ang="0">
                    <a:pos x="34" y="19"/>
                  </a:cxn>
                  <a:cxn ang="0">
                    <a:pos x="26" y="12"/>
                  </a:cxn>
                  <a:cxn ang="0">
                    <a:pos x="17" y="19"/>
                  </a:cxn>
                  <a:cxn ang="0">
                    <a:pos x="14" y="38"/>
                  </a:cxn>
                  <a:cxn ang="0">
                    <a:pos x="17" y="56"/>
                  </a:cxn>
                  <a:cxn ang="0">
                    <a:pos x="26" y="63"/>
                  </a:cxn>
                  <a:cxn ang="0">
                    <a:pos x="35" y="56"/>
                  </a:cxn>
                  <a:cxn ang="0">
                    <a:pos x="38" y="38"/>
                  </a:cxn>
                </a:cxnLst>
                <a:rect l="0" t="0" r="r" b="b"/>
                <a:pathLst>
                  <a:path w="52" h="76">
                    <a:moveTo>
                      <a:pt x="52" y="38"/>
                    </a:moveTo>
                    <a:cubicBezTo>
                      <a:pt x="52" y="49"/>
                      <a:pt x="49" y="58"/>
                      <a:pt x="45" y="65"/>
                    </a:cubicBezTo>
                    <a:cubicBezTo>
                      <a:pt x="40" y="72"/>
                      <a:pt x="34" y="76"/>
                      <a:pt x="26" y="76"/>
                    </a:cubicBezTo>
                    <a:cubicBezTo>
                      <a:pt x="18" y="76"/>
                      <a:pt x="12" y="72"/>
                      <a:pt x="7" y="65"/>
                    </a:cubicBezTo>
                    <a:cubicBezTo>
                      <a:pt x="2" y="58"/>
                      <a:pt x="0" y="49"/>
                      <a:pt x="0" y="38"/>
                    </a:cubicBezTo>
                    <a:cubicBezTo>
                      <a:pt x="0" y="26"/>
                      <a:pt x="2" y="17"/>
                      <a:pt x="7" y="10"/>
                    </a:cubicBezTo>
                    <a:cubicBezTo>
                      <a:pt x="12" y="4"/>
                      <a:pt x="18" y="0"/>
                      <a:pt x="26" y="0"/>
                    </a:cubicBezTo>
                    <a:cubicBezTo>
                      <a:pt x="34" y="0"/>
                      <a:pt x="40" y="3"/>
                      <a:pt x="45" y="10"/>
                    </a:cubicBezTo>
                    <a:cubicBezTo>
                      <a:pt x="49" y="17"/>
                      <a:pt x="52" y="26"/>
                      <a:pt x="52" y="38"/>
                    </a:cubicBezTo>
                    <a:close/>
                    <a:moveTo>
                      <a:pt x="38" y="38"/>
                    </a:moveTo>
                    <a:cubicBezTo>
                      <a:pt x="38" y="30"/>
                      <a:pt x="37" y="24"/>
                      <a:pt x="34" y="19"/>
                    </a:cubicBezTo>
                    <a:cubicBezTo>
                      <a:pt x="32" y="15"/>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5" y="56"/>
                    </a:cubicBezTo>
                    <a:cubicBezTo>
                      <a:pt x="37" y="51"/>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1" name="Freeform 221"/>
              <p:cNvSpPr>
                <a:spLocks/>
              </p:cNvSpPr>
              <p:nvPr/>
            </p:nvSpPr>
            <p:spPr bwMode="auto">
              <a:xfrm>
                <a:off x="3040299" y="3605260"/>
                <a:ext cx="32813" cy="87659"/>
              </a:xfrm>
              <a:custGeom>
                <a:avLst/>
                <a:gdLst/>
                <a:ahLst/>
                <a:cxnLst>
                  <a:cxn ang="0">
                    <a:pos x="21" y="56"/>
                  </a:cxn>
                  <a:cxn ang="0">
                    <a:pos x="11" y="56"/>
                  </a:cxn>
                  <a:cxn ang="0">
                    <a:pos x="11" y="9"/>
                  </a:cxn>
                  <a:cxn ang="0">
                    <a:pos x="0" y="9"/>
                  </a:cxn>
                  <a:cxn ang="0">
                    <a:pos x="5" y="0"/>
                  </a:cxn>
                  <a:cxn ang="0">
                    <a:pos x="21" y="0"/>
                  </a:cxn>
                  <a:cxn ang="0">
                    <a:pos x="21" y="56"/>
                  </a:cxn>
                </a:cxnLst>
                <a:rect l="0" t="0" r="r" b="b"/>
                <a:pathLst>
                  <a:path w="21" h="56">
                    <a:moveTo>
                      <a:pt x="21" y="56"/>
                    </a:moveTo>
                    <a:lnTo>
                      <a:pt x="11" y="56"/>
                    </a:lnTo>
                    <a:lnTo>
                      <a:pt x="11" y="9"/>
                    </a:lnTo>
                    <a:lnTo>
                      <a:pt x="0" y="9"/>
                    </a:lnTo>
                    <a:lnTo>
                      <a:pt x="5"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2" name="Freeform 222"/>
              <p:cNvSpPr>
                <a:spLocks/>
              </p:cNvSpPr>
              <p:nvPr/>
            </p:nvSpPr>
            <p:spPr bwMode="auto">
              <a:xfrm>
                <a:off x="3080924" y="3605260"/>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3" name="Freeform 223"/>
              <p:cNvSpPr>
                <a:spLocks/>
              </p:cNvSpPr>
              <p:nvPr/>
            </p:nvSpPr>
            <p:spPr bwMode="auto">
              <a:xfrm>
                <a:off x="3121550" y="3605260"/>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4" name="Freeform 234"/>
              <p:cNvSpPr>
                <a:spLocks noEditPoints="1"/>
              </p:cNvSpPr>
              <p:nvPr/>
            </p:nvSpPr>
            <p:spPr bwMode="auto">
              <a:xfrm>
                <a:off x="2360600" y="3741444"/>
                <a:ext cx="62501" cy="92355"/>
              </a:xfrm>
              <a:custGeom>
                <a:avLst/>
                <a:gdLst/>
                <a:ahLst/>
                <a:cxnLst>
                  <a:cxn ang="0">
                    <a:pos x="51" y="38"/>
                  </a:cxn>
                  <a:cxn ang="0">
                    <a:pos x="44" y="65"/>
                  </a:cxn>
                  <a:cxn ang="0">
                    <a:pos x="26" y="76"/>
                  </a:cxn>
                  <a:cxn ang="0">
                    <a:pos x="7" y="65"/>
                  </a:cxn>
                  <a:cxn ang="0">
                    <a:pos x="0" y="38"/>
                  </a:cxn>
                  <a:cxn ang="0">
                    <a:pos x="7" y="11"/>
                  </a:cxn>
                  <a:cxn ang="0">
                    <a:pos x="26" y="0"/>
                  </a:cxn>
                  <a:cxn ang="0">
                    <a:pos x="44" y="10"/>
                  </a:cxn>
                  <a:cxn ang="0">
                    <a:pos x="51" y="38"/>
                  </a:cxn>
                  <a:cxn ang="0">
                    <a:pos x="38" y="38"/>
                  </a:cxn>
                  <a:cxn ang="0">
                    <a:pos x="34" y="20"/>
                  </a:cxn>
                  <a:cxn ang="0">
                    <a:pos x="26" y="13"/>
                  </a:cxn>
                  <a:cxn ang="0">
                    <a:pos x="17" y="20"/>
                  </a:cxn>
                  <a:cxn ang="0">
                    <a:pos x="14" y="38"/>
                  </a:cxn>
                  <a:cxn ang="0">
                    <a:pos x="17" y="56"/>
                  </a:cxn>
                  <a:cxn ang="0">
                    <a:pos x="26" y="63"/>
                  </a:cxn>
                  <a:cxn ang="0">
                    <a:pos x="34" y="56"/>
                  </a:cxn>
                  <a:cxn ang="0">
                    <a:pos x="38" y="38"/>
                  </a:cxn>
                </a:cxnLst>
                <a:rect l="0" t="0" r="r" b="b"/>
                <a:pathLst>
                  <a:path w="51" h="76">
                    <a:moveTo>
                      <a:pt x="51" y="38"/>
                    </a:moveTo>
                    <a:cubicBezTo>
                      <a:pt x="51" y="49"/>
                      <a:pt x="49" y="58"/>
                      <a:pt x="44" y="65"/>
                    </a:cubicBezTo>
                    <a:cubicBezTo>
                      <a:pt x="40" y="72"/>
                      <a:pt x="33" y="76"/>
                      <a:pt x="26" y="76"/>
                    </a:cubicBezTo>
                    <a:cubicBezTo>
                      <a:pt x="18" y="76"/>
                      <a:pt x="11" y="72"/>
                      <a:pt x="7" y="65"/>
                    </a:cubicBezTo>
                    <a:cubicBezTo>
                      <a:pt x="2" y="59"/>
                      <a:pt x="0" y="49"/>
                      <a:pt x="0" y="38"/>
                    </a:cubicBezTo>
                    <a:cubicBezTo>
                      <a:pt x="0" y="27"/>
                      <a:pt x="2" y="17"/>
                      <a:pt x="7" y="11"/>
                    </a:cubicBezTo>
                    <a:cubicBezTo>
                      <a:pt x="11" y="4"/>
                      <a:pt x="18" y="0"/>
                      <a:pt x="26" y="0"/>
                    </a:cubicBezTo>
                    <a:cubicBezTo>
                      <a:pt x="33" y="0"/>
                      <a:pt x="40" y="4"/>
                      <a:pt x="44" y="10"/>
                    </a:cubicBezTo>
                    <a:cubicBezTo>
                      <a:pt x="49" y="17"/>
                      <a:pt x="51" y="26"/>
                      <a:pt x="51" y="38"/>
                    </a:cubicBezTo>
                    <a:close/>
                    <a:moveTo>
                      <a:pt x="38" y="38"/>
                    </a:moveTo>
                    <a:cubicBezTo>
                      <a:pt x="38" y="30"/>
                      <a:pt x="36" y="24"/>
                      <a:pt x="34" y="20"/>
                    </a:cubicBezTo>
                    <a:cubicBezTo>
                      <a:pt x="32" y="15"/>
                      <a:pt x="29" y="13"/>
                      <a:pt x="26" y="13"/>
                    </a:cubicBezTo>
                    <a:cubicBezTo>
                      <a:pt x="22" y="13"/>
                      <a:pt x="19" y="15"/>
                      <a:pt x="17" y="20"/>
                    </a:cubicBezTo>
                    <a:cubicBezTo>
                      <a:pt x="15" y="24"/>
                      <a:pt x="14" y="30"/>
                      <a:pt x="14" y="38"/>
                    </a:cubicBezTo>
                    <a:cubicBezTo>
                      <a:pt x="14" y="45"/>
                      <a:pt x="15" y="52"/>
                      <a:pt x="17" y="56"/>
                    </a:cubicBezTo>
                    <a:cubicBezTo>
                      <a:pt x="19" y="61"/>
                      <a:pt x="22" y="63"/>
                      <a:pt x="26" y="63"/>
                    </a:cubicBezTo>
                    <a:cubicBezTo>
                      <a:pt x="29" y="63"/>
                      <a:pt x="32" y="61"/>
                      <a:pt x="34" y="56"/>
                    </a:cubicBezTo>
                    <a:cubicBezTo>
                      <a:pt x="36" y="52"/>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5" name="Freeform 235"/>
              <p:cNvSpPr>
                <a:spLocks/>
              </p:cNvSpPr>
              <p:nvPr/>
            </p:nvSpPr>
            <p:spPr bwMode="auto">
              <a:xfrm>
                <a:off x="2424664" y="3744575"/>
                <a:ext cx="32813" cy="86094"/>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6" name="Freeform 236"/>
              <p:cNvSpPr>
                <a:spLocks noEditPoints="1"/>
              </p:cNvSpPr>
              <p:nvPr/>
            </p:nvSpPr>
            <p:spPr bwMode="auto">
              <a:xfrm>
                <a:off x="2471540" y="3741444"/>
                <a:ext cx="62501" cy="92355"/>
              </a:xfrm>
              <a:custGeom>
                <a:avLst/>
                <a:gdLst/>
                <a:ahLst/>
                <a:cxnLst>
                  <a:cxn ang="0">
                    <a:pos x="52" y="38"/>
                  </a:cxn>
                  <a:cxn ang="0">
                    <a:pos x="45" y="65"/>
                  </a:cxn>
                  <a:cxn ang="0">
                    <a:pos x="26" y="76"/>
                  </a:cxn>
                  <a:cxn ang="0">
                    <a:pos x="7" y="65"/>
                  </a:cxn>
                  <a:cxn ang="0">
                    <a:pos x="0" y="38"/>
                  </a:cxn>
                  <a:cxn ang="0">
                    <a:pos x="7" y="11"/>
                  </a:cxn>
                  <a:cxn ang="0">
                    <a:pos x="26" y="0"/>
                  </a:cxn>
                  <a:cxn ang="0">
                    <a:pos x="45" y="10"/>
                  </a:cxn>
                  <a:cxn ang="0">
                    <a:pos x="52" y="38"/>
                  </a:cxn>
                  <a:cxn ang="0">
                    <a:pos x="38" y="38"/>
                  </a:cxn>
                  <a:cxn ang="0">
                    <a:pos x="34" y="20"/>
                  </a:cxn>
                  <a:cxn ang="0">
                    <a:pos x="26" y="13"/>
                  </a:cxn>
                  <a:cxn ang="0">
                    <a:pos x="17" y="20"/>
                  </a:cxn>
                  <a:cxn ang="0">
                    <a:pos x="14" y="38"/>
                  </a:cxn>
                  <a:cxn ang="0">
                    <a:pos x="17" y="56"/>
                  </a:cxn>
                  <a:cxn ang="0">
                    <a:pos x="26" y="63"/>
                  </a:cxn>
                  <a:cxn ang="0">
                    <a:pos x="35" y="56"/>
                  </a:cxn>
                  <a:cxn ang="0">
                    <a:pos x="38" y="38"/>
                  </a:cxn>
                </a:cxnLst>
                <a:rect l="0" t="0" r="r" b="b"/>
                <a:pathLst>
                  <a:path w="52" h="76">
                    <a:moveTo>
                      <a:pt x="52" y="38"/>
                    </a:moveTo>
                    <a:cubicBezTo>
                      <a:pt x="52" y="49"/>
                      <a:pt x="49" y="58"/>
                      <a:pt x="45" y="65"/>
                    </a:cubicBezTo>
                    <a:cubicBezTo>
                      <a:pt x="40" y="72"/>
                      <a:pt x="34" y="76"/>
                      <a:pt x="26" y="76"/>
                    </a:cubicBezTo>
                    <a:cubicBezTo>
                      <a:pt x="18" y="76"/>
                      <a:pt x="12" y="72"/>
                      <a:pt x="7" y="65"/>
                    </a:cubicBezTo>
                    <a:cubicBezTo>
                      <a:pt x="2" y="59"/>
                      <a:pt x="0" y="49"/>
                      <a:pt x="0" y="38"/>
                    </a:cubicBezTo>
                    <a:cubicBezTo>
                      <a:pt x="0" y="27"/>
                      <a:pt x="2" y="17"/>
                      <a:pt x="7" y="11"/>
                    </a:cubicBezTo>
                    <a:cubicBezTo>
                      <a:pt x="12" y="4"/>
                      <a:pt x="18" y="0"/>
                      <a:pt x="26" y="0"/>
                    </a:cubicBezTo>
                    <a:cubicBezTo>
                      <a:pt x="34" y="0"/>
                      <a:pt x="40" y="4"/>
                      <a:pt x="45" y="10"/>
                    </a:cubicBezTo>
                    <a:cubicBezTo>
                      <a:pt x="49" y="17"/>
                      <a:pt x="52" y="26"/>
                      <a:pt x="52" y="38"/>
                    </a:cubicBezTo>
                    <a:close/>
                    <a:moveTo>
                      <a:pt x="38" y="38"/>
                    </a:moveTo>
                    <a:cubicBezTo>
                      <a:pt x="38" y="30"/>
                      <a:pt x="37" y="24"/>
                      <a:pt x="34" y="20"/>
                    </a:cubicBezTo>
                    <a:cubicBezTo>
                      <a:pt x="32" y="15"/>
                      <a:pt x="29" y="13"/>
                      <a:pt x="26" y="13"/>
                    </a:cubicBezTo>
                    <a:cubicBezTo>
                      <a:pt x="22" y="13"/>
                      <a:pt x="19" y="15"/>
                      <a:pt x="17" y="20"/>
                    </a:cubicBezTo>
                    <a:cubicBezTo>
                      <a:pt x="15" y="24"/>
                      <a:pt x="14" y="30"/>
                      <a:pt x="14" y="38"/>
                    </a:cubicBezTo>
                    <a:cubicBezTo>
                      <a:pt x="14" y="45"/>
                      <a:pt x="15" y="52"/>
                      <a:pt x="17" y="56"/>
                    </a:cubicBezTo>
                    <a:cubicBezTo>
                      <a:pt x="19" y="61"/>
                      <a:pt x="22" y="63"/>
                      <a:pt x="26" y="63"/>
                    </a:cubicBezTo>
                    <a:cubicBezTo>
                      <a:pt x="29" y="63"/>
                      <a:pt x="32" y="61"/>
                      <a:pt x="35" y="56"/>
                    </a:cubicBezTo>
                    <a:cubicBezTo>
                      <a:pt x="37" y="52"/>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7" name="Freeform 237"/>
              <p:cNvSpPr>
                <a:spLocks/>
              </p:cNvSpPr>
              <p:nvPr/>
            </p:nvSpPr>
            <p:spPr bwMode="auto">
              <a:xfrm>
                <a:off x="2535603" y="3744575"/>
                <a:ext cx="32813" cy="86094"/>
              </a:xfrm>
              <a:custGeom>
                <a:avLst/>
                <a:gdLst/>
                <a:ahLst/>
                <a:cxnLst>
                  <a:cxn ang="0">
                    <a:pos x="21" y="55"/>
                  </a:cxn>
                  <a:cxn ang="0">
                    <a:pos x="11" y="55"/>
                  </a:cxn>
                  <a:cxn ang="0">
                    <a:pos x="11" y="9"/>
                  </a:cxn>
                  <a:cxn ang="0">
                    <a:pos x="0" y="9"/>
                  </a:cxn>
                  <a:cxn ang="0">
                    <a:pos x="5" y="0"/>
                  </a:cxn>
                  <a:cxn ang="0">
                    <a:pos x="21" y="0"/>
                  </a:cxn>
                  <a:cxn ang="0">
                    <a:pos x="21" y="55"/>
                  </a:cxn>
                </a:cxnLst>
                <a:rect l="0" t="0" r="r" b="b"/>
                <a:pathLst>
                  <a:path w="21" h="55">
                    <a:moveTo>
                      <a:pt x="21" y="55"/>
                    </a:moveTo>
                    <a:lnTo>
                      <a:pt x="11" y="55"/>
                    </a:lnTo>
                    <a:lnTo>
                      <a:pt x="11" y="9"/>
                    </a:lnTo>
                    <a:lnTo>
                      <a:pt x="0" y="9"/>
                    </a:lnTo>
                    <a:lnTo>
                      <a:pt x="5" y="0"/>
                    </a:lnTo>
                    <a:lnTo>
                      <a:pt x="21" y="0"/>
                    </a:lnTo>
                    <a:lnTo>
                      <a:pt x="21"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8" name="Freeform 238"/>
              <p:cNvSpPr>
                <a:spLocks/>
              </p:cNvSpPr>
              <p:nvPr/>
            </p:nvSpPr>
            <p:spPr bwMode="auto">
              <a:xfrm>
                <a:off x="2576229" y="3744575"/>
                <a:ext cx="32813" cy="86094"/>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49" name="Freeform 239"/>
              <p:cNvSpPr>
                <a:spLocks/>
              </p:cNvSpPr>
              <p:nvPr/>
            </p:nvSpPr>
            <p:spPr bwMode="auto">
              <a:xfrm>
                <a:off x="2616855" y="3744575"/>
                <a:ext cx="32813" cy="86094"/>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0" name="Freeform 240"/>
              <p:cNvSpPr>
                <a:spLocks/>
              </p:cNvSpPr>
              <p:nvPr/>
            </p:nvSpPr>
            <p:spPr bwMode="auto">
              <a:xfrm>
                <a:off x="2657480" y="3744575"/>
                <a:ext cx="32813" cy="86094"/>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1" name="Freeform 241"/>
              <p:cNvSpPr>
                <a:spLocks noEditPoints="1"/>
              </p:cNvSpPr>
              <p:nvPr/>
            </p:nvSpPr>
            <p:spPr bwMode="auto">
              <a:xfrm>
                <a:off x="2704356" y="3741444"/>
                <a:ext cx="62501" cy="92355"/>
              </a:xfrm>
              <a:custGeom>
                <a:avLst/>
                <a:gdLst/>
                <a:ahLst/>
                <a:cxnLst>
                  <a:cxn ang="0">
                    <a:pos x="52" y="38"/>
                  </a:cxn>
                  <a:cxn ang="0">
                    <a:pos x="44" y="65"/>
                  </a:cxn>
                  <a:cxn ang="0">
                    <a:pos x="26" y="76"/>
                  </a:cxn>
                  <a:cxn ang="0">
                    <a:pos x="7" y="65"/>
                  </a:cxn>
                  <a:cxn ang="0">
                    <a:pos x="0" y="38"/>
                  </a:cxn>
                  <a:cxn ang="0">
                    <a:pos x="7" y="11"/>
                  </a:cxn>
                  <a:cxn ang="0">
                    <a:pos x="26" y="0"/>
                  </a:cxn>
                  <a:cxn ang="0">
                    <a:pos x="45" y="10"/>
                  </a:cxn>
                  <a:cxn ang="0">
                    <a:pos x="52" y="38"/>
                  </a:cxn>
                  <a:cxn ang="0">
                    <a:pos x="38" y="38"/>
                  </a:cxn>
                  <a:cxn ang="0">
                    <a:pos x="34" y="20"/>
                  </a:cxn>
                  <a:cxn ang="0">
                    <a:pos x="26" y="13"/>
                  </a:cxn>
                  <a:cxn ang="0">
                    <a:pos x="17" y="20"/>
                  </a:cxn>
                  <a:cxn ang="0">
                    <a:pos x="14" y="38"/>
                  </a:cxn>
                  <a:cxn ang="0">
                    <a:pos x="17" y="56"/>
                  </a:cxn>
                  <a:cxn ang="0">
                    <a:pos x="26" y="63"/>
                  </a:cxn>
                  <a:cxn ang="0">
                    <a:pos x="34" y="56"/>
                  </a:cxn>
                  <a:cxn ang="0">
                    <a:pos x="38" y="38"/>
                  </a:cxn>
                </a:cxnLst>
                <a:rect l="0" t="0" r="r" b="b"/>
                <a:pathLst>
                  <a:path w="52" h="76">
                    <a:moveTo>
                      <a:pt x="52" y="38"/>
                    </a:moveTo>
                    <a:cubicBezTo>
                      <a:pt x="52" y="49"/>
                      <a:pt x="49" y="58"/>
                      <a:pt x="44" y="65"/>
                    </a:cubicBezTo>
                    <a:cubicBezTo>
                      <a:pt x="40" y="72"/>
                      <a:pt x="33" y="76"/>
                      <a:pt x="26" y="76"/>
                    </a:cubicBezTo>
                    <a:cubicBezTo>
                      <a:pt x="18" y="76"/>
                      <a:pt x="12" y="72"/>
                      <a:pt x="7" y="65"/>
                    </a:cubicBezTo>
                    <a:cubicBezTo>
                      <a:pt x="2" y="59"/>
                      <a:pt x="0" y="49"/>
                      <a:pt x="0" y="38"/>
                    </a:cubicBezTo>
                    <a:cubicBezTo>
                      <a:pt x="0" y="27"/>
                      <a:pt x="2" y="17"/>
                      <a:pt x="7" y="11"/>
                    </a:cubicBezTo>
                    <a:cubicBezTo>
                      <a:pt x="12" y="4"/>
                      <a:pt x="18" y="0"/>
                      <a:pt x="26" y="0"/>
                    </a:cubicBezTo>
                    <a:cubicBezTo>
                      <a:pt x="34" y="0"/>
                      <a:pt x="40" y="4"/>
                      <a:pt x="45" y="10"/>
                    </a:cubicBezTo>
                    <a:cubicBezTo>
                      <a:pt x="49" y="17"/>
                      <a:pt x="52" y="26"/>
                      <a:pt x="52" y="38"/>
                    </a:cubicBezTo>
                    <a:close/>
                    <a:moveTo>
                      <a:pt x="38" y="38"/>
                    </a:moveTo>
                    <a:cubicBezTo>
                      <a:pt x="38" y="30"/>
                      <a:pt x="37" y="24"/>
                      <a:pt x="34" y="20"/>
                    </a:cubicBezTo>
                    <a:cubicBezTo>
                      <a:pt x="32" y="15"/>
                      <a:pt x="29" y="13"/>
                      <a:pt x="26" y="13"/>
                    </a:cubicBezTo>
                    <a:cubicBezTo>
                      <a:pt x="22" y="13"/>
                      <a:pt x="19" y="15"/>
                      <a:pt x="17" y="20"/>
                    </a:cubicBezTo>
                    <a:cubicBezTo>
                      <a:pt x="15" y="24"/>
                      <a:pt x="14" y="30"/>
                      <a:pt x="14" y="38"/>
                    </a:cubicBezTo>
                    <a:cubicBezTo>
                      <a:pt x="14" y="45"/>
                      <a:pt x="15" y="52"/>
                      <a:pt x="17" y="56"/>
                    </a:cubicBezTo>
                    <a:cubicBezTo>
                      <a:pt x="19" y="61"/>
                      <a:pt x="22" y="63"/>
                      <a:pt x="26" y="63"/>
                    </a:cubicBezTo>
                    <a:cubicBezTo>
                      <a:pt x="29" y="63"/>
                      <a:pt x="32" y="61"/>
                      <a:pt x="34" y="56"/>
                    </a:cubicBezTo>
                    <a:cubicBezTo>
                      <a:pt x="37" y="52"/>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2" name="Freeform 242"/>
              <p:cNvSpPr>
                <a:spLocks noEditPoints="1"/>
              </p:cNvSpPr>
              <p:nvPr/>
            </p:nvSpPr>
            <p:spPr bwMode="auto">
              <a:xfrm>
                <a:off x="2771544" y="3741444"/>
                <a:ext cx="62501" cy="92355"/>
              </a:xfrm>
              <a:custGeom>
                <a:avLst/>
                <a:gdLst/>
                <a:ahLst/>
                <a:cxnLst>
                  <a:cxn ang="0">
                    <a:pos x="52" y="38"/>
                  </a:cxn>
                  <a:cxn ang="0">
                    <a:pos x="45" y="65"/>
                  </a:cxn>
                  <a:cxn ang="0">
                    <a:pos x="26" y="76"/>
                  </a:cxn>
                  <a:cxn ang="0">
                    <a:pos x="7" y="65"/>
                  </a:cxn>
                  <a:cxn ang="0">
                    <a:pos x="0" y="38"/>
                  </a:cxn>
                  <a:cxn ang="0">
                    <a:pos x="7" y="11"/>
                  </a:cxn>
                  <a:cxn ang="0">
                    <a:pos x="26" y="0"/>
                  </a:cxn>
                  <a:cxn ang="0">
                    <a:pos x="45" y="10"/>
                  </a:cxn>
                  <a:cxn ang="0">
                    <a:pos x="52" y="38"/>
                  </a:cxn>
                  <a:cxn ang="0">
                    <a:pos x="38" y="38"/>
                  </a:cxn>
                  <a:cxn ang="0">
                    <a:pos x="35" y="20"/>
                  </a:cxn>
                  <a:cxn ang="0">
                    <a:pos x="26" y="13"/>
                  </a:cxn>
                  <a:cxn ang="0">
                    <a:pos x="18" y="20"/>
                  </a:cxn>
                  <a:cxn ang="0">
                    <a:pos x="14" y="38"/>
                  </a:cxn>
                  <a:cxn ang="0">
                    <a:pos x="18" y="56"/>
                  </a:cxn>
                  <a:cxn ang="0">
                    <a:pos x="26" y="63"/>
                  </a:cxn>
                  <a:cxn ang="0">
                    <a:pos x="35" y="56"/>
                  </a:cxn>
                  <a:cxn ang="0">
                    <a:pos x="38" y="38"/>
                  </a:cxn>
                </a:cxnLst>
                <a:rect l="0" t="0" r="r" b="b"/>
                <a:pathLst>
                  <a:path w="52" h="76">
                    <a:moveTo>
                      <a:pt x="52" y="38"/>
                    </a:moveTo>
                    <a:cubicBezTo>
                      <a:pt x="52" y="49"/>
                      <a:pt x="50" y="58"/>
                      <a:pt x="45" y="65"/>
                    </a:cubicBezTo>
                    <a:cubicBezTo>
                      <a:pt x="40" y="72"/>
                      <a:pt x="34" y="76"/>
                      <a:pt x="26" y="76"/>
                    </a:cubicBezTo>
                    <a:cubicBezTo>
                      <a:pt x="18" y="76"/>
                      <a:pt x="12" y="72"/>
                      <a:pt x="7" y="65"/>
                    </a:cubicBezTo>
                    <a:cubicBezTo>
                      <a:pt x="3" y="59"/>
                      <a:pt x="0" y="49"/>
                      <a:pt x="0" y="38"/>
                    </a:cubicBezTo>
                    <a:cubicBezTo>
                      <a:pt x="0" y="27"/>
                      <a:pt x="3" y="17"/>
                      <a:pt x="7" y="11"/>
                    </a:cubicBezTo>
                    <a:cubicBezTo>
                      <a:pt x="12" y="4"/>
                      <a:pt x="18" y="0"/>
                      <a:pt x="26" y="0"/>
                    </a:cubicBezTo>
                    <a:cubicBezTo>
                      <a:pt x="34" y="0"/>
                      <a:pt x="40" y="4"/>
                      <a:pt x="45" y="10"/>
                    </a:cubicBezTo>
                    <a:cubicBezTo>
                      <a:pt x="50" y="17"/>
                      <a:pt x="52" y="26"/>
                      <a:pt x="52" y="38"/>
                    </a:cubicBezTo>
                    <a:close/>
                    <a:moveTo>
                      <a:pt x="38" y="38"/>
                    </a:moveTo>
                    <a:cubicBezTo>
                      <a:pt x="38" y="30"/>
                      <a:pt x="37" y="24"/>
                      <a:pt x="35" y="20"/>
                    </a:cubicBezTo>
                    <a:cubicBezTo>
                      <a:pt x="33" y="15"/>
                      <a:pt x="30" y="13"/>
                      <a:pt x="26" y="13"/>
                    </a:cubicBezTo>
                    <a:cubicBezTo>
                      <a:pt x="23" y="13"/>
                      <a:pt x="20" y="15"/>
                      <a:pt x="18" y="20"/>
                    </a:cubicBezTo>
                    <a:cubicBezTo>
                      <a:pt x="15" y="24"/>
                      <a:pt x="14" y="30"/>
                      <a:pt x="14" y="38"/>
                    </a:cubicBezTo>
                    <a:cubicBezTo>
                      <a:pt x="14" y="45"/>
                      <a:pt x="15" y="52"/>
                      <a:pt x="18" y="56"/>
                    </a:cubicBezTo>
                    <a:cubicBezTo>
                      <a:pt x="20" y="61"/>
                      <a:pt x="23" y="63"/>
                      <a:pt x="26" y="63"/>
                    </a:cubicBezTo>
                    <a:cubicBezTo>
                      <a:pt x="30" y="63"/>
                      <a:pt x="33" y="61"/>
                      <a:pt x="35" y="56"/>
                    </a:cubicBezTo>
                    <a:cubicBezTo>
                      <a:pt x="37" y="52"/>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3" name="Freeform 243"/>
              <p:cNvSpPr>
                <a:spLocks/>
              </p:cNvSpPr>
              <p:nvPr/>
            </p:nvSpPr>
            <p:spPr bwMode="auto">
              <a:xfrm>
                <a:off x="2835608" y="3744575"/>
                <a:ext cx="32813" cy="86094"/>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4" name="Freeform 244"/>
              <p:cNvSpPr>
                <a:spLocks noEditPoints="1"/>
              </p:cNvSpPr>
              <p:nvPr/>
            </p:nvSpPr>
            <p:spPr bwMode="auto">
              <a:xfrm>
                <a:off x="2882484" y="3741444"/>
                <a:ext cx="62501" cy="92355"/>
              </a:xfrm>
              <a:custGeom>
                <a:avLst/>
                <a:gdLst/>
                <a:ahLst/>
                <a:cxnLst>
                  <a:cxn ang="0">
                    <a:pos x="51" y="38"/>
                  </a:cxn>
                  <a:cxn ang="0">
                    <a:pos x="44" y="65"/>
                  </a:cxn>
                  <a:cxn ang="0">
                    <a:pos x="25" y="76"/>
                  </a:cxn>
                  <a:cxn ang="0">
                    <a:pos x="7" y="65"/>
                  </a:cxn>
                  <a:cxn ang="0">
                    <a:pos x="0" y="38"/>
                  </a:cxn>
                  <a:cxn ang="0">
                    <a:pos x="7" y="11"/>
                  </a:cxn>
                  <a:cxn ang="0">
                    <a:pos x="25" y="0"/>
                  </a:cxn>
                  <a:cxn ang="0">
                    <a:pos x="44" y="10"/>
                  </a:cxn>
                  <a:cxn ang="0">
                    <a:pos x="51" y="38"/>
                  </a:cxn>
                  <a:cxn ang="0">
                    <a:pos x="38" y="38"/>
                  </a:cxn>
                  <a:cxn ang="0">
                    <a:pos x="34" y="20"/>
                  </a:cxn>
                  <a:cxn ang="0">
                    <a:pos x="25" y="13"/>
                  </a:cxn>
                  <a:cxn ang="0">
                    <a:pos x="17" y="20"/>
                  </a:cxn>
                  <a:cxn ang="0">
                    <a:pos x="14" y="38"/>
                  </a:cxn>
                  <a:cxn ang="0">
                    <a:pos x="17" y="56"/>
                  </a:cxn>
                  <a:cxn ang="0">
                    <a:pos x="25" y="63"/>
                  </a:cxn>
                  <a:cxn ang="0">
                    <a:pos x="34" y="56"/>
                  </a:cxn>
                  <a:cxn ang="0">
                    <a:pos x="38" y="38"/>
                  </a:cxn>
                </a:cxnLst>
                <a:rect l="0" t="0" r="r" b="b"/>
                <a:pathLst>
                  <a:path w="51" h="76">
                    <a:moveTo>
                      <a:pt x="51" y="38"/>
                    </a:moveTo>
                    <a:cubicBezTo>
                      <a:pt x="51" y="49"/>
                      <a:pt x="49" y="58"/>
                      <a:pt x="44" y="65"/>
                    </a:cubicBezTo>
                    <a:cubicBezTo>
                      <a:pt x="40" y="72"/>
                      <a:pt x="33" y="76"/>
                      <a:pt x="25" y="76"/>
                    </a:cubicBezTo>
                    <a:cubicBezTo>
                      <a:pt x="18" y="76"/>
                      <a:pt x="11" y="72"/>
                      <a:pt x="7" y="65"/>
                    </a:cubicBezTo>
                    <a:cubicBezTo>
                      <a:pt x="2" y="59"/>
                      <a:pt x="0" y="49"/>
                      <a:pt x="0" y="38"/>
                    </a:cubicBezTo>
                    <a:cubicBezTo>
                      <a:pt x="0" y="27"/>
                      <a:pt x="2" y="17"/>
                      <a:pt x="7" y="11"/>
                    </a:cubicBezTo>
                    <a:cubicBezTo>
                      <a:pt x="11" y="4"/>
                      <a:pt x="18" y="0"/>
                      <a:pt x="25" y="0"/>
                    </a:cubicBezTo>
                    <a:cubicBezTo>
                      <a:pt x="33" y="0"/>
                      <a:pt x="40" y="4"/>
                      <a:pt x="44" y="10"/>
                    </a:cubicBezTo>
                    <a:cubicBezTo>
                      <a:pt x="49" y="17"/>
                      <a:pt x="51" y="26"/>
                      <a:pt x="51" y="38"/>
                    </a:cubicBezTo>
                    <a:close/>
                    <a:moveTo>
                      <a:pt x="38" y="38"/>
                    </a:moveTo>
                    <a:cubicBezTo>
                      <a:pt x="38" y="30"/>
                      <a:pt x="36" y="24"/>
                      <a:pt x="34" y="20"/>
                    </a:cubicBezTo>
                    <a:cubicBezTo>
                      <a:pt x="32" y="15"/>
                      <a:pt x="29" y="13"/>
                      <a:pt x="25" y="13"/>
                    </a:cubicBezTo>
                    <a:cubicBezTo>
                      <a:pt x="22" y="13"/>
                      <a:pt x="19" y="15"/>
                      <a:pt x="17" y="20"/>
                    </a:cubicBezTo>
                    <a:cubicBezTo>
                      <a:pt x="15" y="24"/>
                      <a:pt x="14" y="30"/>
                      <a:pt x="14" y="38"/>
                    </a:cubicBezTo>
                    <a:cubicBezTo>
                      <a:pt x="14" y="45"/>
                      <a:pt x="15" y="52"/>
                      <a:pt x="17" y="56"/>
                    </a:cubicBezTo>
                    <a:cubicBezTo>
                      <a:pt x="19" y="61"/>
                      <a:pt x="22" y="63"/>
                      <a:pt x="25" y="63"/>
                    </a:cubicBezTo>
                    <a:cubicBezTo>
                      <a:pt x="29" y="63"/>
                      <a:pt x="32" y="61"/>
                      <a:pt x="34" y="56"/>
                    </a:cubicBezTo>
                    <a:cubicBezTo>
                      <a:pt x="36" y="52"/>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5" name="Freeform 245"/>
              <p:cNvSpPr>
                <a:spLocks/>
              </p:cNvSpPr>
              <p:nvPr/>
            </p:nvSpPr>
            <p:spPr bwMode="auto">
              <a:xfrm>
                <a:off x="2944985" y="3744575"/>
                <a:ext cx="34376" cy="86094"/>
              </a:xfrm>
              <a:custGeom>
                <a:avLst/>
                <a:gdLst/>
                <a:ahLst/>
                <a:cxnLst>
                  <a:cxn ang="0">
                    <a:pos x="22" y="55"/>
                  </a:cxn>
                  <a:cxn ang="0">
                    <a:pos x="11" y="55"/>
                  </a:cxn>
                  <a:cxn ang="0">
                    <a:pos x="11" y="9"/>
                  </a:cxn>
                  <a:cxn ang="0">
                    <a:pos x="0" y="9"/>
                  </a:cxn>
                  <a:cxn ang="0">
                    <a:pos x="5" y="0"/>
                  </a:cxn>
                  <a:cxn ang="0">
                    <a:pos x="22" y="0"/>
                  </a:cxn>
                  <a:cxn ang="0">
                    <a:pos x="22" y="55"/>
                  </a:cxn>
                </a:cxnLst>
                <a:rect l="0" t="0" r="r" b="b"/>
                <a:pathLst>
                  <a:path w="22" h="55">
                    <a:moveTo>
                      <a:pt x="22" y="55"/>
                    </a:moveTo>
                    <a:lnTo>
                      <a:pt x="11" y="55"/>
                    </a:lnTo>
                    <a:lnTo>
                      <a:pt x="11" y="9"/>
                    </a:lnTo>
                    <a:lnTo>
                      <a:pt x="0" y="9"/>
                    </a:lnTo>
                    <a:lnTo>
                      <a:pt x="5" y="0"/>
                    </a:lnTo>
                    <a:lnTo>
                      <a:pt x="22" y="0"/>
                    </a:lnTo>
                    <a:lnTo>
                      <a:pt x="22"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6" name="Freeform 246"/>
              <p:cNvSpPr>
                <a:spLocks noEditPoints="1"/>
              </p:cNvSpPr>
              <p:nvPr/>
            </p:nvSpPr>
            <p:spPr bwMode="auto">
              <a:xfrm>
                <a:off x="2993423" y="3741444"/>
                <a:ext cx="62501" cy="92355"/>
              </a:xfrm>
              <a:custGeom>
                <a:avLst/>
                <a:gdLst/>
                <a:ahLst/>
                <a:cxnLst>
                  <a:cxn ang="0">
                    <a:pos x="52" y="38"/>
                  </a:cxn>
                  <a:cxn ang="0">
                    <a:pos x="44" y="65"/>
                  </a:cxn>
                  <a:cxn ang="0">
                    <a:pos x="26" y="76"/>
                  </a:cxn>
                  <a:cxn ang="0">
                    <a:pos x="7" y="65"/>
                  </a:cxn>
                  <a:cxn ang="0">
                    <a:pos x="0" y="38"/>
                  </a:cxn>
                  <a:cxn ang="0">
                    <a:pos x="7" y="11"/>
                  </a:cxn>
                  <a:cxn ang="0">
                    <a:pos x="26" y="0"/>
                  </a:cxn>
                  <a:cxn ang="0">
                    <a:pos x="45" y="10"/>
                  </a:cxn>
                  <a:cxn ang="0">
                    <a:pos x="52" y="38"/>
                  </a:cxn>
                  <a:cxn ang="0">
                    <a:pos x="38" y="38"/>
                  </a:cxn>
                  <a:cxn ang="0">
                    <a:pos x="34" y="20"/>
                  </a:cxn>
                  <a:cxn ang="0">
                    <a:pos x="26" y="13"/>
                  </a:cxn>
                  <a:cxn ang="0">
                    <a:pos x="17" y="20"/>
                  </a:cxn>
                  <a:cxn ang="0">
                    <a:pos x="14" y="38"/>
                  </a:cxn>
                  <a:cxn ang="0">
                    <a:pos x="17" y="56"/>
                  </a:cxn>
                  <a:cxn ang="0">
                    <a:pos x="26" y="63"/>
                  </a:cxn>
                  <a:cxn ang="0">
                    <a:pos x="34" y="56"/>
                  </a:cxn>
                  <a:cxn ang="0">
                    <a:pos x="38" y="38"/>
                  </a:cxn>
                </a:cxnLst>
                <a:rect l="0" t="0" r="r" b="b"/>
                <a:pathLst>
                  <a:path w="52" h="76">
                    <a:moveTo>
                      <a:pt x="52" y="38"/>
                    </a:moveTo>
                    <a:cubicBezTo>
                      <a:pt x="52" y="49"/>
                      <a:pt x="49" y="58"/>
                      <a:pt x="44" y="65"/>
                    </a:cubicBezTo>
                    <a:cubicBezTo>
                      <a:pt x="40" y="72"/>
                      <a:pt x="33" y="76"/>
                      <a:pt x="26" y="76"/>
                    </a:cubicBezTo>
                    <a:cubicBezTo>
                      <a:pt x="18" y="76"/>
                      <a:pt x="12" y="72"/>
                      <a:pt x="7" y="65"/>
                    </a:cubicBezTo>
                    <a:cubicBezTo>
                      <a:pt x="2" y="59"/>
                      <a:pt x="0" y="49"/>
                      <a:pt x="0" y="38"/>
                    </a:cubicBezTo>
                    <a:cubicBezTo>
                      <a:pt x="0" y="27"/>
                      <a:pt x="2" y="17"/>
                      <a:pt x="7" y="11"/>
                    </a:cubicBezTo>
                    <a:cubicBezTo>
                      <a:pt x="12" y="4"/>
                      <a:pt x="18" y="0"/>
                      <a:pt x="26" y="0"/>
                    </a:cubicBezTo>
                    <a:cubicBezTo>
                      <a:pt x="34" y="0"/>
                      <a:pt x="40" y="4"/>
                      <a:pt x="45" y="10"/>
                    </a:cubicBezTo>
                    <a:cubicBezTo>
                      <a:pt x="49" y="17"/>
                      <a:pt x="52" y="26"/>
                      <a:pt x="52" y="38"/>
                    </a:cubicBezTo>
                    <a:close/>
                    <a:moveTo>
                      <a:pt x="38" y="38"/>
                    </a:moveTo>
                    <a:cubicBezTo>
                      <a:pt x="38" y="30"/>
                      <a:pt x="37" y="24"/>
                      <a:pt x="34" y="20"/>
                    </a:cubicBezTo>
                    <a:cubicBezTo>
                      <a:pt x="32" y="15"/>
                      <a:pt x="29" y="13"/>
                      <a:pt x="26" y="13"/>
                    </a:cubicBezTo>
                    <a:cubicBezTo>
                      <a:pt x="22" y="13"/>
                      <a:pt x="19" y="15"/>
                      <a:pt x="17" y="20"/>
                    </a:cubicBezTo>
                    <a:cubicBezTo>
                      <a:pt x="15" y="24"/>
                      <a:pt x="14" y="30"/>
                      <a:pt x="14" y="38"/>
                    </a:cubicBezTo>
                    <a:cubicBezTo>
                      <a:pt x="14" y="45"/>
                      <a:pt x="15" y="52"/>
                      <a:pt x="17" y="56"/>
                    </a:cubicBezTo>
                    <a:cubicBezTo>
                      <a:pt x="19" y="61"/>
                      <a:pt x="22" y="63"/>
                      <a:pt x="26" y="63"/>
                    </a:cubicBezTo>
                    <a:cubicBezTo>
                      <a:pt x="29" y="63"/>
                      <a:pt x="32" y="61"/>
                      <a:pt x="34" y="56"/>
                    </a:cubicBezTo>
                    <a:cubicBezTo>
                      <a:pt x="37" y="52"/>
                      <a:pt x="38" y="45"/>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7" name="Freeform 247"/>
              <p:cNvSpPr>
                <a:spLocks/>
              </p:cNvSpPr>
              <p:nvPr/>
            </p:nvSpPr>
            <p:spPr bwMode="auto">
              <a:xfrm>
                <a:off x="3057486" y="3744575"/>
                <a:ext cx="32813" cy="86094"/>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8" name="Freeform 248"/>
              <p:cNvSpPr>
                <a:spLocks/>
              </p:cNvSpPr>
              <p:nvPr/>
            </p:nvSpPr>
            <p:spPr bwMode="auto">
              <a:xfrm>
                <a:off x="3098112" y="3744575"/>
                <a:ext cx="32813" cy="86094"/>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59" name="Freeform 259"/>
              <p:cNvSpPr>
                <a:spLocks/>
              </p:cNvSpPr>
              <p:nvPr/>
            </p:nvSpPr>
            <p:spPr bwMode="auto">
              <a:xfrm>
                <a:off x="2366851" y="3882325"/>
                <a:ext cx="32813" cy="87659"/>
              </a:xfrm>
              <a:custGeom>
                <a:avLst/>
                <a:gdLst/>
                <a:ahLst/>
                <a:cxnLst>
                  <a:cxn ang="0">
                    <a:pos x="21" y="56"/>
                  </a:cxn>
                  <a:cxn ang="0">
                    <a:pos x="10" y="56"/>
                  </a:cxn>
                  <a:cxn ang="0">
                    <a:pos x="10" y="9"/>
                  </a:cxn>
                  <a:cxn ang="0">
                    <a:pos x="0" y="9"/>
                  </a:cxn>
                  <a:cxn ang="0">
                    <a:pos x="5" y="0"/>
                  </a:cxn>
                  <a:cxn ang="0">
                    <a:pos x="21" y="0"/>
                  </a:cxn>
                  <a:cxn ang="0">
                    <a:pos x="21" y="56"/>
                  </a:cxn>
                </a:cxnLst>
                <a:rect l="0" t="0" r="r" b="b"/>
                <a:pathLst>
                  <a:path w="21" h="56">
                    <a:moveTo>
                      <a:pt x="21" y="56"/>
                    </a:moveTo>
                    <a:lnTo>
                      <a:pt x="10" y="56"/>
                    </a:lnTo>
                    <a:lnTo>
                      <a:pt x="10" y="9"/>
                    </a:lnTo>
                    <a:lnTo>
                      <a:pt x="0" y="9"/>
                    </a:lnTo>
                    <a:lnTo>
                      <a:pt x="5"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0" name="Freeform 260"/>
              <p:cNvSpPr>
                <a:spLocks/>
              </p:cNvSpPr>
              <p:nvPr/>
            </p:nvSpPr>
            <p:spPr bwMode="auto">
              <a:xfrm>
                <a:off x="2407476" y="3882325"/>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1" name="Freeform 261"/>
              <p:cNvSpPr>
                <a:spLocks/>
              </p:cNvSpPr>
              <p:nvPr/>
            </p:nvSpPr>
            <p:spPr bwMode="auto">
              <a:xfrm>
                <a:off x="2449664" y="3882325"/>
                <a:ext cx="31250" cy="87659"/>
              </a:xfrm>
              <a:custGeom>
                <a:avLst/>
                <a:gdLst/>
                <a:ahLst/>
                <a:cxnLst>
                  <a:cxn ang="0">
                    <a:pos x="20" y="56"/>
                  </a:cxn>
                  <a:cxn ang="0">
                    <a:pos x="10" y="56"/>
                  </a:cxn>
                  <a:cxn ang="0">
                    <a:pos x="10" y="9"/>
                  </a:cxn>
                  <a:cxn ang="0">
                    <a:pos x="0" y="9"/>
                  </a:cxn>
                  <a:cxn ang="0">
                    <a:pos x="3" y="0"/>
                  </a:cxn>
                  <a:cxn ang="0">
                    <a:pos x="20" y="0"/>
                  </a:cxn>
                  <a:cxn ang="0">
                    <a:pos x="20" y="56"/>
                  </a:cxn>
                </a:cxnLst>
                <a:rect l="0" t="0" r="r" b="b"/>
                <a:pathLst>
                  <a:path w="20" h="56">
                    <a:moveTo>
                      <a:pt x="20" y="56"/>
                    </a:moveTo>
                    <a:lnTo>
                      <a:pt x="10" y="56"/>
                    </a:lnTo>
                    <a:lnTo>
                      <a:pt x="10" y="9"/>
                    </a:lnTo>
                    <a:lnTo>
                      <a:pt x="0" y="9"/>
                    </a:lnTo>
                    <a:lnTo>
                      <a:pt x="3" y="0"/>
                    </a:lnTo>
                    <a:lnTo>
                      <a:pt x="20" y="0"/>
                    </a:lnTo>
                    <a:lnTo>
                      <a:pt x="20"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2" name="Freeform 262"/>
              <p:cNvSpPr>
                <a:spLocks noEditPoints="1"/>
              </p:cNvSpPr>
              <p:nvPr/>
            </p:nvSpPr>
            <p:spPr bwMode="auto">
              <a:xfrm>
                <a:off x="2496540" y="3880759"/>
                <a:ext cx="62501" cy="90790"/>
              </a:xfrm>
              <a:custGeom>
                <a:avLst/>
                <a:gdLst/>
                <a:ahLst/>
                <a:cxnLst>
                  <a:cxn ang="0">
                    <a:pos x="52" y="38"/>
                  </a:cxn>
                  <a:cxn ang="0">
                    <a:pos x="45" y="66"/>
                  </a:cxn>
                  <a:cxn ang="0">
                    <a:pos x="26" y="76"/>
                  </a:cxn>
                  <a:cxn ang="0">
                    <a:pos x="7" y="66"/>
                  </a:cxn>
                  <a:cxn ang="0">
                    <a:pos x="0" y="38"/>
                  </a:cxn>
                  <a:cxn ang="0">
                    <a:pos x="7" y="11"/>
                  </a:cxn>
                  <a:cxn ang="0">
                    <a:pos x="26" y="0"/>
                  </a:cxn>
                  <a:cxn ang="0">
                    <a:pos x="45" y="11"/>
                  </a:cxn>
                  <a:cxn ang="0">
                    <a:pos x="52" y="38"/>
                  </a:cxn>
                  <a:cxn ang="0">
                    <a:pos x="38" y="38"/>
                  </a:cxn>
                  <a:cxn ang="0">
                    <a:pos x="34" y="20"/>
                  </a:cxn>
                  <a:cxn ang="0">
                    <a:pos x="26" y="13"/>
                  </a:cxn>
                  <a:cxn ang="0">
                    <a:pos x="17" y="20"/>
                  </a:cxn>
                  <a:cxn ang="0">
                    <a:pos x="14" y="38"/>
                  </a:cxn>
                  <a:cxn ang="0">
                    <a:pos x="17" y="57"/>
                  </a:cxn>
                  <a:cxn ang="0">
                    <a:pos x="26" y="64"/>
                  </a:cxn>
                  <a:cxn ang="0">
                    <a:pos x="34" y="57"/>
                  </a:cxn>
                  <a:cxn ang="0">
                    <a:pos x="38" y="38"/>
                  </a:cxn>
                </a:cxnLst>
                <a:rect l="0" t="0" r="r" b="b"/>
                <a:pathLst>
                  <a:path w="52" h="76">
                    <a:moveTo>
                      <a:pt x="52" y="38"/>
                    </a:moveTo>
                    <a:cubicBezTo>
                      <a:pt x="52" y="49"/>
                      <a:pt x="49" y="59"/>
                      <a:pt x="45" y="66"/>
                    </a:cubicBezTo>
                    <a:cubicBezTo>
                      <a:pt x="40" y="72"/>
                      <a:pt x="34" y="76"/>
                      <a:pt x="26" y="76"/>
                    </a:cubicBezTo>
                    <a:cubicBezTo>
                      <a:pt x="18" y="76"/>
                      <a:pt x="12" y="73"/>
                      <a:pt x="7" y="66"/>
                    </a:cubicBezTo>
                    <a:cubicBezTo>
                      <a:pt x="2" y="59"/>
                      <a:pt x="0" y="50"/>
                      <a:pt x="0" y="38"/>
                    </a:cubicBezTo>
                    <a:cubicBezTo>
                      <a:pt x="0" y="27"/>
                      <a:pt x="2" y="18"/>
                      <a:pt x="7" y="11"/>
                    </a:cubicBezTo>
                    <a:cubicBezTo>
                      <a:pt x="12" y="4"/>
                      <a:pt x="18" y="0"/>
                      <a:pt x="26" y="0"/>
                    </a:cubicBezTo>
                    <a:cubicBezTo>
                      <a:pt x="34" y="0"/>
                      <a:pt x="40" y="4"/>
                      <a:pt x="45" y="11"/>
                    </a:cubicBezTo>
                    <a:cubicBezTo>
                      <a:pt x="49" y="18"/>
                      <a:pt x="52" y="27"/>
                      <a:pt x="52" y="38"/>
                    </a:cubicBezTo>
                    <a:close/>
                    <a:moveTo>
                      <a:pt x="38" y="38"/>
                    </a:moveTo>
                    <a:cubicBezTo>
                      <a:pt x="38" y="31"/>
                      <a:pt x="37" y="24"/>
                      <a:pt x="34" y="20"/>
                    </a:cubicBezTo>
                    <a:cubicBezTo>
                      <a:pt x="32" y="15"/>
                      <a:pt x="29" y="13"/>
                      <a:pt x="26" y="13"/>
                    </a:cubicBezTo>
                    <a:cubicBezTo>
                      <a:pt x="22" y="13"/>
                      <a:pt x="19" y="15"/>
                      <a:pt x="17" y="20"/>
                    </a:cubicBezTo>
                    <a:cubicBezTo>
                      <a:pt x="15" y="25"/>
                      <a:pt x="14" y="31"/>
                      <a:pt x="14" y="38"/>
                    </a:cubicBezTo>
                    <a:cubicBezTo>
                      <a:pt x="14" y="46"/>
                      <a:pt x="15" y="52"/>
                      <a:pt x="17" y="57"/>
                    </a:cubicBezTo>
                    <a:cubicBezTo>
                      <a:pt x="19" y="61"/>
                      <a:pt x="22" y="64"/>
                      <a:pt x="26" y="64"/>
                    </a:cubicBezTo>
                    <a:cubicBezTo>
                      <a:pt x="29" y="64"/>
                      <a:pt x="32" y="61"/>
                      <a:pt x="34" y="57"/>
                    </a:cubicBezTo>
                    <a:cubicBezTo>
                      <a:pt x="37" y="52"/>
                      <a:pt x="38" y="46"/>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3" name="Freeform 263"/>
              <p:cNvSpPr>
                <a:spLocks noEditPoints="1"/>
              </p:cNvSpPr>
              <p:nvPr/>
            </p:nvSpPr>
            <p:spPr bwMode="auto">
              <a:xfrm>
                <a:off x="2562166" y="3880759"/>
                <a:ext cx="62501" cy="90790"/>
              </a:xfrm>
              <a:custGeom>
                <a:avLst/>
                <a:gdLst/>
                <a:ahLst/>
                <a:cxnLst>
                  <a:cxn ang="0">
                    <a:pos x="52" y="38"/>
                  </a:cxn>
                  <a:cxn ang="0">
                    <a:pos x="45" y="66"/>
                  </a:cxn>
                  <a:cxn ang="0">
                    <a:pos x="26" y="76"/>
                  </a:cxn>
                  <a:cxn ang="0">
                    <a:pos x="7" y="66"/>
                  </a:cxn>
                  <a:cxn ang="0">
                    <a:pos x="0" y="38"/>
                  </a:cxn>
                  <a:cxn ang="0">
                    <a:pos x="7" y="11"/>
                  </a:cxn>
                  <a:cxn ang="0">
                    <a:pos x="26" y="0"/>
                  </a:cxn>
                  <a:cxn ang="0">
                    <a:pos x="45" y="11"/>
                  </a:cxn>
                  <a:cxn ang="0">
                    <a:pos x="52" y="38"/>
                  </a:cxn>
                  <a:cxn ang="0">
                    <a:pos x="38" y="38"/>
                  </a:cxn>
                  <a:cxn ang="0">
                    <a:pos x="35" y="20"/>
                  </a:cxn>
                  <a:cxn ang="0">
                    <a:pos x="26" y="13"/>
                  </a:cxn>
                  <a:cxn ang="0">
                    <a:pos x="18" y="20"/>
                  </a:cxn>
                  <a:cxn ang="0">
                    <a:pos x="14" y="38"/>
                  </a:cxn>
                  <a:cxn ang="0">
                    <a:pos x="18" y="57"/>
                  </a:cxn>
                  <a:cxn ang="0">
                    <a:pos x="26" y="64"/>
                  </a:cxn>
                  <a:cxn ang="0">
                    <a:pos x="35" y="57"/>
                  </a:cxn>
                  <a:cxn ang="0">
                    <a:pos x="38" y="38"/>
                  </a:cxn>
                </a:cxnLst>
                <a:rect l="0" t="0" r="r" b="b"/>
                <a:pathLst>
                  <a:path w="52" h="76">
                    <a:moveTo>
                      <a:pt x="52" y="38"/>
                    </a:moveTo>
                    <a:cubicBezTo>
                      <a:pt x="52" y="49"/>
                      <a:pt x="50" y="59"/>
                      <a:pt x="45" y="66"/>
                    </a:cubicBezTo>
                    <a:cubicBezTo>
                      <a:pt x="40" y="72"/>
                      <a:pt x="34" y="76"/>
                      <a:pt x="26" y="76"/>
                    </a:cubicBezTo>
                    <a:cubicBezTo>
                      <a:pt x="18" y="76"/>
                      <a:pt x="12" y="73"/>
                      <a:pt x="7" y="66"/>
                    </a:cubicBezTo>
                    <a:cubicBezTo>
                      <a:pt x="3" y="59"/>
                      <a:pt x="0" y="50"/>
                      <a:pt x="0" y="38"/>
                    </a:cubicBezTo>
                    <a:cubicBezTo>
                      <a:pt x="0" y="27"/>
                      <a:pt x="3" y="18"/>
                      <a:pt x="7" y="11"/>
                    </a:cubicBezTo>
                    <a:cubicBezTo>
                      <a:pt x="12" y="4"/>
                      <a:pt x="18" y="0"/>
                      <a:pt x="26" y="0"/>
                    </a:cubicBezTo>
                    <a:cubicBezTo>
                      <a:pt x="34" y="0"/>
                      <a:pt x="40" y="4"/>
                      <a:pt x="45" y="11"/>
                    </a:cubicBezTo>
                    <a:cubicBezTo>
                      <a:pt x="50" y="18"/>
                      <a:pt x="52" y="27"/>
                      <a:pt x="52" y="38"/>
                    </a:cubicBezTo>
                    <a:close/>
                    <a:moveTo>
                      <a:pt x="38" y="38"/>
                    </a:moveTo>
                    <a:cubicBezTo>
                      <a:pt x="38" y="31"/>
                      <a:pt x="37" y="24"/>
                      <a:pt x="35" y="20"/>
                    </a:cubicBezTo>
                    <a:cubicBezTo>
                      <a:pt x="33" y="15"/>
                      <a:pt x="30" y="13"/>
                      <a:pt x="26" y="13"/>
                    </a:cubicBezTo>
                    <a:cubicBezTo>
                      <a:pt x="23" y="13"/>
                      <a:pt x="20" y="15"/>
                      <a:pt x="18" y="20"/>
                    </a:cubicBezTo>
                    <a:cubicBezTo>
                      <a:pt x="15" y="25"/>
                      <a:pt x="14" y="31"/>
                      <a:pt x="14" y="38"/>
                    </a:cubicBezTo>
                    <a:cubicBezTo>
                      <a:pt x="14" y="46"/>
                      <a:pt x="15" y="52"/>
                      <a:pt x="18" y="57"/>
                    </a:cubicBezTo>
                    <a:cubicBezTo>
                      <a:pt x="20" y="61"/>
                      <a:pt x="23" y="64"/>
                      <a:pt x="26" y="64"/>
                    </a:cubicBezTo>
                    <a:cubicBezTo>
                      <a:pt x="30" y="64"/>
                      <a:pt x="33" y="61"/>
                      <a:pt x="35" y="57"/>
                    </a:cubicBezTo>
                    <a:cubicBezTo>
                      <a:pt x="37" y="52"/>
                      <a:pt x="38" y="46"/>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4" name="Freeform 264"/>
              <p:cNvSpPr>
                <a:spLocks/>
              </p:cNvSpPr>
              <p:nvPr/>
            </p:nvSpPr>
            <p:spPr bwMode="auto">
              <a:xfrm>
                <a:off x="2626230" y="3882325"/>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5" name="Freeform 265"/>
              <p:cNvSpPr>
                <a:spLocks noEditPoints="1"/>
              </p:cNvSpPr>
              <p:nvPr/>
            </p:nvSpPr>
            <p:spPr bwMode="auto">
              <a:xfrm>
                <a:off x="2673105" y="3880759"/>
                <a:ext cx="62501" cy="90790"/>
              </a:xfrm>
              <a:custGeom>
                <a:avLst/>
                <a:gdLst/>
                <a:ahLst/>
                <a:cxnLst>
                  <a:cxn ang="0">
                    <a:pos x="51" y="38"/>
                  </a:cxn>
                  <a:cxn ang="0">
                    <a:pos x="44" y="66"/>
                  </a:cxn>
                  <a:cxn ang="0">
                    <a:pos x="25" y="76"/>
                  </a:cxn>
                  <a:cxn ang="0">
                    <a:pos x="7" y="66"/>
                  </a:cxn>
                  <a:cxn ang="0">
                    <a:pos x="0" y="38"/>
                  </a:cxn>
                  <a:cxn ang="0">
                    <a:pos x="7" y="11"/>
                  </a:cxn>
                  <a:cxn ang="0">
                    <a:pos x="25" y="0"/>
                  </a:cxn>
                  <a:cxn ang="0">
                    <a:pos x="44" y="11"/>
                  </a:cxn>
                  <a:cxn ang="0">
                    <a:pos x="51" y="38"/>
                  </a:cxn>
                  <a:cxn ang="0">
                    <a:pos x="38" y="38"/>
                  </a:cxn>
                  <a:cxn ang="0">
                    <a:pos x="34" y="20"/>
                  </a:cxn>
                  <a:cxn ang="0">
                    <a:pos x="25" y="13"/>
                  </a:cxn>
                  <a:cxn ang="0">
                    <a:pos x="17" y="20"/>
                  </a:cxn>
                  <a:cxn ang="0">
                    <a:pos x="14" y="38"/>
                  </a:cxn>
                  <a:cxn ang="0">
                    <a:pos x="17" y="57"/>
                  </a:cxn>
                  <a:cxn ang="0">
                    <a:pos x="25" y="64"/>
                  </a:cxn>
                  <a:cxn ang="0">
                    <a:pos x="34" y="57"/>
                  </a:cxn>
                  <a:cxn ang="0">
                    <a:pos x="38" y="38"/>
                  </a:cxn>
                </a:cxnLst>
                <a:rect l="0" t="0" r="r" b="b"/>
                <a:pathLst>
                  <a:path w="51" h="76">
                    <a:moveTo>
                      <a:pt x="51" y="38"/>
                    </a:moveTo>
                    <a:cubicBezTo>
                      <a:pt x="51" y="49"/>
                      <a:pt x="49" y="59"/>
                      <a:pt x="44" y="66"/>
                    </a:cubicBezTo>
                    <a:cubicBezTo>
                      <a:pt x="40" y="72"/>
                      <a:pt x="33" y="76"/>
                      <a:pt x="25" y="76"/>
                    </a:cubicBezTo>
                    <a:cubicBezTo>
                      <a:pt x="18" y="76"/>
                      <a:pt x="11" y="73"/>
                      <a:pt x="7" y="66"/>
                    </a:cubicBezTo>
                    <a:cubicBezTo>
                      <a:pt x="2" y="59"/>
                      <a:pt x="0" y="50"/>
                      <a:pt x="0" y="38"/>
                    </a:cubicBezTo>
                    <a:cubicBezTo>
                      <a:pt x="0" y="27"/>
                      <a:pt x="2" y="18"/>
                      <a:pt x="7" y="11"/>
                    </a:cubicBezTo>
                    <a:cubicBezTo>
                      <a:pt x="11" y="4"/>
                      <a:pt x="18" y="0"/>
                      <a:pt x="25" y="0"/>
                    </a:cubicBezTo>
                    <a:cubicBezTo>
                      <a:pt x="33" y="0"/>
                      <a:pt x="40" y="4"/>
                      <a:pt x="44" y="11"/>
                    </a:cubicBezTo>
                    <a:cubicBezTo>
                      <a:pt x="49" y="18"/>
                      <a:pt x="51" y="27"/>
                      <a:pt x="51" y="38"/>
                    </a:cubicBezTo>
                    <a:close/>
                    <a:moveTo>
                      <a:pt x="38" y="38"/>
                    </a:moveTo>
                    <a:cubicBezTo>
                      <a:pt x="38" y="31"/>
                      <a:pt x="36" y="24"/>
                      <a:pt x="34" y="20"/>
                    </a:cubicBezTo>
                    <a:cubicBezTo>
                      <a:pt x="32" y="15"/>
                      <a:pt x="29" y="13"/>
                      <a:pt x="25" y="13"/>
                    </a:cubicBezTo>
                    <a:cubicBezTo>
                      <a:pt x="22" y="13"/>
                      <a:pt x="19" y="15"/>
                      <a:pt x="17" y="20"/>
                    </a:cubicBezTo>
                    <a:cubicBezTo>
                      <a:pt x="15" y="25"/>
                      <a:pt x="14" y="31"/>
                      <a:pt x="14" y="38"/>
                    </a:cubicBezTo>
                    <a:cubicBezTo>
                      <a:pt x="14" y="46"/>
                      <a:pt x="15" y="52"/>
                      <a:pt x="17" y="57"/>
                    </a:cubicBezTo>
                    <a:cubicBezTo>
                      <a:pt x="19" y="61"/>
                      <a:pt x="22" y="64"/>
                      <a:pt x="25" y="64"/>
                    </a:cubicBezTo>
                    <a:cubicBezTo>
                      <a:pt x="29" y="64"/>
                      <a:pt x="32" y="61"/>
                      <a:pt x="34" y="57"/>
                    </a:cubicBezTo>
                    <a:cubicBezTo>
                      <a:pt x="36" y="52"/>
                      <a:pt x="38" y="46"/>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6" name="Freeform 266"/>
              <p:cNvSpPr>
                <a:spLocks/>
              </p:cNvSpPr>
              <p:nvPr/>
            </p:nvSpPr>
            <p:spPr bwMode="auto">
              <a:xfrm>
                <a:off x="2737169" y="3882325"/>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7" name="Freeform 267"/>
              <p:cNvSpPr>
                <a:spLocks noEditPoints="1"/>
              </p:cNvSpPr>
              <p:nvPr/>
            </p:nvSpPr>
            <p:spPr bwMode="auto">
              <a:xfrm>
                <a:off x="2784045" y="3880759"/>
                <a:ext cx="62501" cy="90790"/>
              </a:xfrm>
              <a:custGeom>
                <a:avLst/>
                <a:gdLst/>
                <a:ahLst/>
                <a:cxnLst>
                  <a:cxn ang="0">
                    <a:pos x="52" y="38"/>
                  </a:cxn>
                  <a:cxn ang="0">
                    <a:pos x="45" y="66"/>
                  </a:cxn>
                  <a:cxn ang="0">
                    <a:pos x="26" y="76"/>
                  </a:cxn>
                  <a:cxn ang="0">
                    <a:pos x="7" y="66"/>
                  </a:cxn>
                  <a:cxn ang="0">
                    <a:pos x="0" y="38"/>
                  </a:cxn>
                  <a:cxn ang="0">
                    <a:pos x="7" y="11"/>
                  </a:cxn>
                  <a:cxn ang="0">
                    <a:pos x="26" y="0"/>
                  </a:cxn>
                  <a:cxn ang="0">
                    <a:pos x="45" y="11"/>
                  </a:cxn>
                  <a:cxn ang="0">
                    <a:pos x="52" y="38"/>
                  </a:cxn>
                  <a:cxn ang="0">
                    <a:pos x="38" y="38"/>
                  </a:cxn>
                  <a:cxn ang="0">
                    <a:pos x="34" y="20"/>
                  </a:cxn>
                  <a:cxn ang="0">
                    <a:pos x="26" y="13"/>
                  </a:cxn>
                  <a:cxn ang="0">
                    <a:pos x="17" y="20"/>
                  </a:cxn>
                  <a:cxn ang="0">
                    <a:pos x="14" y="38"/>
                  </a:cxn>
                  <a:cxn ang="0">
                    <a:pos x="17" y="57"/>
                  </a:cxn>
                  <a:cxn ang="0">
                    <a:pos x="26" y="64"/>
                  </a:cxn>
                  <a:cxn ang="0">
                    <a:pos x="34" y="57"/>
                  </a:cxn>
                  <a:cxn ang="0">
                    <a:pos x="38" y="38"/>
                  </a:cxn>
                </a:cxnLst>
                <a:rect l="0" t="0" r="r" b="b"/>
                <a:pathLst>
                  <a:path w="52" h="76">
                    <a:moveTo>
                      <a:pt x="52" y="38"/>
                    </a:moveTo>
                    <a:cubicBezTo>
                      <a:pt x="52" y="49"/>
                      <a:pt x="49" y="59"/>
                      <a:pt x="45" y="66"/>
                    </a:cubicBezTo>
                    <a:cubicBezTo>
                      <a:pt x="40" y="72"/>
                      <a:pt x="34" y="76"/>
                      <a:pt x="26" y="76"/>
                    </a:cubicBezTo>
                    <a:cubicBezTo>
                      <a:pt x="18" y="76"/>
                      <a:pt x="12" y="73"/>
                      <a:pt x="7" y="66"/>
                    </a:cubicBezTo>
                    <a:cubicBezTo>
                      <a:pt x="2" y="59"/>
                      <a:pt x="0" y="50"/>
                      <a:pt x="0" y="38"/>
                    </a:cubicBezTo>
                    <a:cubicBezTo>
                      <a:pt x="0" y="27"/>
                      <a:pt x="2" y="18"/>
                      <a:pt x="7" y="11"/>
                    </a:cubicBezTo>
                    <a:cubicBezTo>
                      <a:pt x="12" y="4"/>
                      <a:pt x="18" y="0"/>
                      <a:pt x="26" y="0"/>
                    </a:cubicBezTo>
                    <a:cubicBezTo>
                      <a:pt x="34" y="0"/>
                      <a:pt x="40" y="4"/>
                      <a:pt x="45" y="11"/>
                    </a:cubicBezTo>
                    <a:cubicBezTo>
                      <a:pt x="49" y="18"/>
                      <a:pt x="52" y="27"/>
                      <a:pt x="52" y="38"/>
                    </a:cubicBezTo>
                    <a:close/>
                    <a:moveTo>
                      <a:pt x="38" y="38"/>
                    </a:moveTo>
                    <a:cubicBezTo>
                      <a:pt x="38" y="31"/>
                      <a:pt x="37" y="24"/>
                      <a:pt x="34" y="20"/>
                    </a:cubicBezTo>
                    <a:cubicBezTo>
                      <a:pt x="32" y="15"/>
                      <a:pt x="29" y="13"/>
                      <a:pt x="26" y="13"/>
                    </a:cubicBezTo>
                    <a:cubicBezTo>
                      <a:pt x="22" y="13"/>
                      <a:pt x="19" y="15"/>
                      <a:pt x="17" y="20"/>
                    </a:cubicBezTo>
                    <a:cubicBezTo>
                      <a:pt x="15" y="25"/>
                      <a:pt x="14" y="31"/>
                      <a:pt x="14" y="38"/>
                    </a:cubicBezTo>
                    <a:cubicBezTo>
                      <a:pt x="14" y="46"/>
                      <a:pt x="15" y="52"/>
                      <a:pt x="17" y="57"/>
                    </a:cubicBezTo>
                    <a:cubicBezTo>
                      <a:pt x="19" y="61"/>
                      <a:pt x="22" y="64"/>
                      <a:pt x="26" y="64"/>
                    </a:cubicBezTo>
                    <a:cubicBezTo>
                      <a:pt x="29" y="64"/>
                      <a:pt x="32" y="61"/>
                      <a:pt x="34" y="57"/>
                    </a:cubicBezTo>
                    <a:cubicBezTo>
                      <a:pt x="37" y="52"/>
                      <a:pt x="38" y="46"/>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8" name="Freeform 268"/>
              <p:cNvSpPr>
                <a:spLocks/>
              </p:cNvSpPr>
              <p:nvPr/>
            </p:nvSpPr>
            <p:spPr bwMode="auto">
              <a:xfrm>
                <a:off x="2848108" y="3882325"/>
                <a:ext cx="32813" cy="87659"/>
              </a:xfrm>
              <a:custGeom>
                <a:avLst/>
                <a:gdLst/>
                <a:ahLst/>
                <a:cxnLst>
                  <a:cxn ang="0">
                    <a:pos x="21" y="56"/>
                  </a:cxn>
                  <a:cxn ang="0">
                    <a:pos x="11" y="56"/>
                  </a:cxn>
                  <a:cxn ang="0">
                    <a:pos x="11" y="9"/>
                  </a:cxn>
                  <a:cxn ang="0">
                    <a:pos x="0" y="9"/>
                  </a:cxn>
                  <a:cxn ang="0">
                    <a:pos x="5" y="0"/>
                  </a:cxn>
                  <a:cxn ang="0">
                    <a:pos x="21" y="0"/>
                  </a:cxn>
                  <a:cxn ang="0">
                    <a:pos x="21" y="56"/>
                  </a:cxn>
                </a:cxnLst>
                <a:rect l="0" t="0" r="r" b="b"/>
                <a:pathLst>
                  <a:path w="21" h="56">
                    <a:moveTo>
                      <a:pt x="21" y="56"/>
                    </a:moveTo>
                    <a:lnTo>
                      <a:pt x="11" y="56"/>
                    </a:lnTo>
                    <a:lnTo>
                      <a:pt x="11" y="9"/>
                    </a:lnTo>
                    <a:lnTo>
                      <a:pt x="0" y="9"/>
                    </a:lnTo>
                    <a:lnTo>
                      <a:pt x="5"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69" name="Freeform 269"/>
              <p:cNvSpPr>
                <a:spLocks/>
              </p:cNvSpPr>
              <p:nvPr/>
            </p:nvSpPr>
            <p:spPr bwMode="auto">
              <a:xfrm>
                <a:off x="2888734" y="3882325"/>
                <a:ext cx="32813" cy="87659"/>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0" name="Freeform 270"/>
              <p:cNvSpPr>
                <a:spLocks noEditPoints="1"/>
              </p:cNvSpPr>
              <p:nvPr/>
            </p:nvSpPr>
            <p:spPr bwMode="auto">
              <a:xfrm>
                <a:off x="2935610" y="3880759"/>
                <a:ext cx="62501" cy="90790"/>
              </a:xfrm>
              <a:custGeom>
                <a:avLst/>
                <a:gdLst/>
                <a:ahLst/>
                <a:cxnLst>
                  <a:cxn ang="0">
                    <a:pos x="52" y="38"/>
                  </a:cxn>
                  <a:cxn ang="0">
                    <a:pos x="45" y="66"/>
                  </a:cxn>
                  <a:cxn ang="0">
                    <a:pos x="26" y="76"/>
                  </a:cxn>
                  <a:cxn ang="0">
                    <a:pos x="7" y="66"/>
                  </a:cxn>
                  <a:cxn ang="0">
                    <a:pos x="0" y="38"/>
                  </a:cxn>
                  <a:cxn ang="0">
                    <a:pos x="7" y="11"/>
                  </a:cxn>
                  <a:cxn ang="0">
                    <a:pos x="26" y="0"/>
                  </a:cxn>
                  <a:cxn ang="0">
                    <a:pos x="45" y="11"/>
                  </a:cxn>
                  <a:cxn ang="0">
                    <a:pos x="52" y="38"/>
                  </a:cxn>
                  <a:cxn ang="0">
                    <a:pos x="38" y="38"/>
                  </a:cxn>
                  <a:cxn ang="0">
                    <a:pos x="35" y="20"/>
                  </a:cxn>
                  <a:cxn ang="0">
                    <a:pos x="26" y="13"/>
                  </a:cxn>
                  <a:cxn ang="0">
                    <a:pos x="17" y="20"/>
                  </a:cxn>
                  <a:cxn ang="0">
                    <a:pos x="14" y="38"/>
                  </a:cxn>
                  <a:cxn ang="0">
                    <a:pos x="17" y="57"/>
                  </a:cxn>
                  <a:cxn ang="0">
                    <a:pos x="26" y="64"/>
                  </a:cxn>
                  <a:cxn ang="0">
                    <a:pos x="35" y="57"/>
                  </a:cxn>
                  <a:cxn ang="0">
                    <a:pos x="38" y="38"/>
                  </a:cxn>
                </a:cxnLst>
                <a:rect l="0" t="0" r="r" b="b"/>
                <a:pathLst>
                  <a:path w="52" h="76">
                    <a:moveTo>
                      <a:pt x="52" y="38"/>
                    </a:moveTo>
                    <a:cubicBezTo>
                      <a:pt x="52" y="49"/>
                      <a:pt x="49" y="59"/>
                      <a:pt x="45" y="66"/>
                    </a:cubicBezTo>
                    <a:cubicBezTo>
                      <a:pt x="40" y="72"/>
                      <a:pt x="34" y="76"/>
                      <a:pt x="26" y="76"/>
                    </a:cubicBezTo>
                    <a:cubicBezTo>
                      <a:pt x="18" y="76"/>
                      <a:pt x="12" y="73"/>
                      <a:pt x="7" y="66"/>
                    </a:cubicBezTo>
                    <a:cubicBezTo>
                      <a:pt x="2" y="59"/>
                      <a:pt x="0" y="50"/>
                      <a:pt x="0" y="38"/>
                    </a:cubicBezTo>
                    <a:cubicBezTo>
                      <a:pt x="0" y="27"/>
                      <a:pt x="2" y="18"/>
                      <a:pt x="7" y="11"/>
                    </a:cubicBezTo>
                    <a:cubicBezTo>
                      <a:pt x="12" y="4"/>
                      <a:pt x="18" y="0"/>
                      <a:pt x="26" y="0"/>
                    </a:cubicBezTo>
                    <a:cubicBezTo>
                      <a:pt x="34" y="0"/>
                      <a:pt x="40" y="4"/>
                      <a:pt x="45" y="11"/>
                    </a:cubicBezTo>
                    <a:cubicBezTo>
                      <a:pt x="49" y="18"/>
                      <a:pt x="52" y="27"/>
                      <a:pt x="52" y="38"/>
                    </a:cubicBezTo>
                    <a:close/>
                    <a:moveTo>
                      <a:pt x="38" y="38"/>
                    </a:moveTo>
                    <a:cubicBezTo>
                      <a:pt x="38" y="31"/>
                      <a:pt x="37" y="24"/>
                      <a:pt x="35" y="20"/>
                    </a:cubicBezTo>
                    <a:cubicBezTo>
                      <a:pt x="32" y="15"/>
                      <a:pt x="29" y="13"/>
                      <a:pt x="26" y="13"/>
                    </a:cubicBezTo>
                    <a:cubicBezTo>
                      <a:pt x="22" y="13"/>
                      <a:pt x="19" y="15"/>
                      <a:pt x="17" y="20"/>
                    </a:cubicBezTo>
                    <a:cubicBezTo>
                      <a:pt x="15" y="25"/>
                      <a:pt x="14" y="31"/>
                      <a:pt x="14" y="38"/>
                    </a:cubicBezTo>
                    <a:cubicBezTo>
                      <a:pt x="14" y="46"/>
                      <a:pt x="15" y="52"/>
                      <a:pt x="17" y="57"/>
                    </a:cubicBezTo>
                    <a:cubicBezTo>
                      <a:pt x="19" y="61"/>
                      <a:pt x="22" y="64"/>
                      <a:pt x="26" y="64"/>
                    </a:cubicBezTo>
                    <a:cubicBezTo>
                      <a:pt x="29" y="64"/>
                      <a:pt x="32" y="61"/>
                      <a:pt x="35" y="57"/>
                    </a:cubicBezTo>
                    <a:cubicBezTo>
                      <a:pt x="37" y="52"/>
                      <a:pt x="38" y="46"/>
                      <a:pt x="38"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1" name="Freeform 271"/>
              <p:cNvSpPr>
                <a:spLocks noEditPoints="1"/>
              </p:cNvSpPr>
              <p:nvPr/>
            </p:nvSpPr>
            <p:spPr bwMode="auto">
              <a:xfrm>
                <a:off x="3002798" y="3880759"/>
                <a:ext cx="62501" cy="90790"/>
              </a:xfrm>
              <a:custGeom>
                <a:avLst/>
                <a:gdLst/>
                <a:ahLst/>
                <a:cxnLst>
                  <a:cxn ang="0">
                    <a:pos x="51" y="38"/>
                  </a:cxn>
                  <a:cxn ang="0">
                    <a:pos x="44" y="66"/>
                  </a:cxn>
                  <a:cxn ang="0">
                    <a:pos x="25" y="76"/>
                  </a:cxn>
                  <a:cxn ang="0">
                    <a:pos x="7" y="66"/>
                  </a:cxn>
                  <a:cxn ang="0">
                    <a:pos x="0" y="38"/>
                  </a:cxn>
                  <a:cxn ang="0">
                    <a:pos x="7" y="11"/>
                  </a:cxn>
                  <a:cxn ang="0">
                    <a:pos x="25" y="0"/>
                  </a:cxn>
                  <a:cxn ang="0">
                    <a:pos x="44" y="11"/>
                  </a:cxn>
                  <a:cxn ang="0">
                    <a:pos x="51" y="38"/>
                  </a:cxn>
                  <a:cxn ang="0">
                    <a:pos x="37" y="38"/>
                  </a:cxn>
                  <a:cxn ang="0">
                    <a:pos x="34" y="20"/>
                  </a:cxn>
                  <a:cxn ang="0">
                    <a:pos x="25" y="13"/>
                  </a:cxn>
                  <a:cxn ang="0">
                    <a:pos x="17" y="20"/>
                  </a:cxn>
                  <a:cxn ang="0">
                    <a:pos x="13" y="38"/>
                  </a:cxn>
                  <a:cxn ang="0">
                    <a:pos x="17" y="57"/>
                  </a:cxn>
                  <a:cxn ang="0">
                    <a:pos x="25" y="64"/>
                  </a:cxn>
                  <a:cxn ang="0">
                    <a:pos x="34" y="57"/>
                  </a:cxn>
                  <a:cxn ang="0">
                    <a:pos x="37" y="38"/>
                  </a:cxn>
                </a:cxnLst>
                <a:rect l="0" t="0" r="r" b="b"/>
                <a:pathLst>
                  <a:path w="51" h="76">
                    <a:moveTo>
                      <a:pt x="51" y="38"/>
                    </a:moveTo>
                    <a:cubicBezTo>
                      <a:pt x="51" y="49"/>
                      <a:pt x="49" y="59"/>
                      <a:pt x="44" y="66"/>
                    </a:cubicBezTo>
                    <a:cubicBezTo>
                      <a:pt x="39" y="72"/>
                      <a:pt x="33" y="76"/>
                      <a:pt x="25" y="76"/>
                    </a:cubicBezTo>
                    <a:cubicBezTo>
                      <a:pt x="18" y="76"/>
                      <a:pt x="11" y="73"/>
                      <a:pt x="7" y="66"/>
                    </a:cubicBezTo>
                    <a:cubicBezTo>
                      <a:pt x="2" y="59"/>
                      <a:pt x="0" y="50"/>
                      <a:pt x="0" y="38"/>
                    </a:cubicBezTo>
                    <a:cubicBezTo>
                      <a:pt x="0" y="27"/>
                      <a:pt x="2" y="18"/>
                      <a:pt x="7" y="11"/>
                    </a:cubicBezTo>
                    <a:cubicBezTo>
                      <a:pt x="11" y="4"/>
                      <a:pt x="18" y="0"/>
                      <a:pt x="25" y="0"/>
                    </a:cubicBezTo>
                    <a:cubicBezTo>
                      <a:pt x="33" y="0"/>
                      <a:pt x="40" y="4"/>
                      <a:pt x="44" y="11"/>
                    </a:cubicBezTo>
                    <a:cubicBezTo>
                      <a:pt x="49" y="18"/>
                      <a:pt x="51" y="27"/>
                      <a:pt x="51" y="38"/>
                    </a:cubicBezTo>
                    <a:close/>
                    <a:moveTo>
                      <a:pt x="37" y="38"/>
                    </a:moveTo>
                    <a:cubicBezTo>
                      <a:pt x="37" y="31"/>
                      <a:pt x="36" y="24"/>
                      <a:pt x="34" y="20"/>
                    </a:cubicBezTo>
                    <a:cubicBezTo>
                      <a:pt x="32" y="15"/>
                      <a:pt x="29" y="13"/>
                      <a:pt x="25" y="13"/>
                    </a:cubicBezTo>
                    <a:cubicBezTo>
                      <a:pt x="22" y="13"/>
                      <a:pt x="19" y="15"/>
                      <a:pt x="17" y="20"/>
                    </a:cubicBezTo>
                    <a:cubicBezTo>
                      <a:pt x="15" y="25"/>
                      <a:pt x="13" y="31"/>
                      <a:pt x="13" y="38"/>
                    </a:cubicBezTo>
                    <a:cubicBezTo>
                      <a:pt x="13" y="46"/>
                      <a:pt x="15" y="52"/>
                      <a:pt x="17" y="57"/>
                    </a:cubicBezTo>
                    <a:cubicBezTo>
                      <a:pt x="19" y="61"/>
                      <a:pt x="22" y="64"/>
                      <a:pt x="25" y="64"/>
                    </a:cubicBezTo>
                    <a:cubicBezTo>
                      <a:pt x="29" y="64"/>
                      <a:pt x="32" y="61"/>
                      <a:pt x="34" y="57"/>
                    </a:cubicBezTo>
                    <a:cubicBezTo>
                      <a:pt x="36" y="52"/>
                      <a:pt x="37" y="46"/>
                      <a:pt x="37" y="38"/>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2" name="Freeform 272"/>
              <p:cNvSpPr>
                <a:spLocks/>
              </p:cNvSpPr>
              <p:nvPr/>
            </p:nvSpPr>
            <p:spPr bwMode="auto">
              <a:xfrm>
                <a:off x="3065299" y="3882325"/>
                <a:ext cx="34376" cy="87659"/>
              </a:xfrm>
              <a:custGeom>
                <a:avLst/>
                <a:gdLst/>
                <a:ahLst/>
                <a:cxnLst>
                  <a:cxn ang="0">
                    <a:pos x="22" y="56"/>
                  </a:cxn>
                  <a:cxn ang="0">
                    <a:pos x="11" y="56"/>
                  </a:cxn>
                  <a:cxn ang="0">
                    <a:pos x="11" y="9"/>
                  </a:cxn>
                  <a:cxn ang="0">
                    <a:pos x="0" y="9"/>
                  </a:cxn>
                  <a:cxn ang="0">
                    <a:pos x="5" y="0"/>
                  </a:cxn>
                  <a:cxn ang="0">
                    <a:pos x="22" y="0"/>
                  </a:cxn>
                  <a:cxn ang="0">
                    <a:pos x="22" y="56"/>
                  </a:cxn>
                </a:cxnLst>
                <a:rect l="0" t="0" r="r" b="b"/>
                <a:pathLst>
                  <a:path w="22" h="56">
                    <a:moveTo>
                      <a:pt x="22" y="56"/>
                    </a:moveTo>
                    <a:lnTo>
                      <a:pt x="11" y="56"/>
                    </a:lnTo>
                    <a:lnTo>
                      <a:pt x="11" y="9"/>
                    </a:lnTo>
                    <a:lnTo>
                      <a:pt x="0" y="9"/>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3" name="Freeform 273"/>
              <p:cNvSpPr>
                <a:spLocks/>
              </p:cNvSpPr>
              <p:nvPr/>
            </p:nvSpPr>
            <p:spPr bwMode="auto">
              <a:xfrm>
                <a:off x="3105925" y="3882325"/>
                <a:ext cx="34376" cy="87659"/>
              </a:xfrm>
              <a:custGeom>
                <a:avLst/>
                <a:gdLst/>
                <a:ahLst/>
                <a:cxnLst>
                  <a:cxn ang="0">
                    <a:pos x="22" y="56"/>
                  </a:cxn>
                  <a:cxn ang="0">
                    <a:pos x="11" y="56"/>
                  </a:cxn>
                  <a:cxn ang="0">
                    <a:pos x="11" y="9"/>
                  </a:cxn>
                  <a:cxn ang="0">
                    <a:pos x="0" y="9"/>
                  </a:cxn>
                  <a:cxn ang="0">
                    <a:pos x="5" y="0"/>
                  </a:cxn>
                  <a:cxn ang="0">
                    <a:pos x="22" y="0"/>
                  </a:cxn>
                  <a:cxn ang="0">
                    <a:pos x="22" y="56"/>
                  </a:cxn>
                </a:cxnLst>
                <a:rect l="0" t="0" r="r" b="b"/>
                <a:pathLst>
                  <a:path w="22" h="56">
                    <a:moveTo>
                      <a:pt x="22" y="56"/>
                    </a:moveTo>
                    <a:lnTo>
                      <a:pt x="11" y="56"/>
                    </a:lnTo>
                    <a:lnTo>
                      <a:pt x="11" y="9"/>
                    </a:lnTo>
                    <a:lnTo>
                      <a:pt x="0" y="9"/>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5" name="Freeform 284"/>
              <p:cNvSpPr>
                <a:spLocks/>
              </p:cNvSpPr>
              <p:nvPr/>
            </p:nvSpPr>
            <p:spPr bwMode="auto">
              <a:xfrm>
                <a:off x="2384038" y="402164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6" name="Freeform 285"/>
              <p:cNvSpPr>
                <a:spLocks/>
              </p:cNvSpPr>
              <p:nvPr/>
            </p:nvSpPr>
            <p:spPr bwMode="auto">
              <a:xfrm>
                <a:off x="2424664" y="402164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7" name="Freeform 286"/>
              <p:cNvSpPr>
                <a:spLocks/>
              </p:cNvSpPr>
              <p:nvPr/>
            </p:nvSpPr>
            <p:spPr bwMode="auto">
              <a:xfrm>
                <a:off x="2465290" y="402164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8" name="Freeform 287"/>
              <p:cNvSpPr>
                <a:spLocks/>
              </p:cNvSpPr>
              <p:nvPr/>
            </p:nvSpPr>
            <p:spPr bwMode="auto">
              <a:xfrm>
                <a:off x="2505915" y="4021640"/>
                <a:ext cx="32813" cy="87659"/>
              </a:xfrm>
              <a:custGeom>
                <a:avLst/>
                <a:gdLst/>
                <a:ahLst/>
                <a:cxnLst>
                  <a:cxn ang="0">
                    <a:pos x="21" y="56"/>
                  </a:cxn>
                  <a:cxn ang="0">
                    <a:pos x="11" y="56"/>
                  </a:cxn>
                  <a:cxn ang="0">
                    <a:pos x="11" y="10"/>
                  </a:cxn>
                  <a:cxn ang="0">
                    <a:pos x="0" y="10"/>
                  </a:cxn>
                  <a:cxn ang="0">
                    <a:pos x="4" y="0"/>
                  </a:cxn>
                  <a:cxn ang="0">
                    <a:pos x="21" y="0"/>
                  </a:cxn>
                  <a:cxn ang="0">
                    <a:pos x="21" y="56"/>
                  </a:cxn>
                </a:cxnLst>
                <a:rect l="0" t="0" r="r" b="b"/>
                <a:pathLst>
                  <a:path w="21" h="56">
                    <a:moveTo>
                      <a:pt x="21" y="56"/>
                    </a:moveTo>
                    <a:lnTo>
                      <a:pt x="11" y="56"/>
                    </a:lnTo>
                    <a:lnTo>
                      <a:pt x="11"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79" name="Freeform 288"/>
              <p:cNvSpPr>
                <a:spLocks noEditPoints="1"/>
              </p:cNvSpPr>
              <p:nvPr/>
            </p:nvSpPr>
            <p:spPr bwMode="auto">
              <a:xfrm>
                <a:off x="2554354" y="4020075"/>
                <a:ext cx="60938" cy="90790"/>
              </a:xfrm>
              <a:custGeom>
                <a:avLst/>
                <a:gdLst/>
                <a:ahLst/>
                <a:cxnLst>
                  <a:cxn ang="0">
                    <a:pos x="51" y="37"/>
                  </a:cxn>
                  <a:cxn ang="0">
                    <a:pos x="44" y="65"/>
                  </a:cxn>
                  <a:cxn ang="0">
                    <a:pos x="26" y="75"/>
                  </a:cxn>
                  <a:cxn ang="0">
                    <a:pos x="7" y="65"/>
                  </a:cxn>
                  <a:cxn ang="0">
                    <a:pos x="0" y="37"/>
                  </a:cxn>
                  <a:cxn ang="0">
                    <a:pos x="7" y="10"/>
                  </a:cxn>
                  <a:cxn ang="0">
                    <a:pos x="26" y="0"/>
                  </a:cxn>
                  <a:cxn ang="0">
                    <a:pos x="44" y="10"/>
                  </a:cxn>
                  <a:cxn ang="0">
                    <a:pos x="51" y="37"/>
                  </a:cxn>
                  <a:cxn ang="0">
                    <a:pos x="38" y="37"/>
                  </a:cxn>
                  <a:cxn ang="0">
                    <a:pos x="34" y="19"/>
                  </a:cxn>
                  <a:cxn ang="0">
                    <a:pos x="26" y="12"/>
                  </a:cxn>
                  <a:cxn ang="0">
                    <a:pos x="17" y="19"/>
                  </a:cxn>
                  <a:cxn ang="0">
                    <a:pos x="14" y="37"/>
                  </a:cxn>
                  <a:cxn ang="0">
                    <a:pos x="17" y="56"/>
                  </a:cxn>
                  <a:cxn ang="0">
                    <a:pos x="26" y="63"/>
                  </a:cxn>
                  <a:cxn ang="0">
                    <a:pos x="34" y="56"/>
                  </a:cxn>
                  <a:cxn ang="0">
                    <a:pos x="38" y="37"/>
                  </a:cxn>
                </a:cxnLst>
                <a:rect l="0" t="0" r="r" b="b"/>
                <a:pathLst>
                  <a:path w="51" h="75">
                    <a:moveTo>
                      <a:pt x="51" y="37"/>
                    </a:moveTo>
                    <a:cubicBezTo>
                      <a:pt x="51" y="49"/>
                      <a:pt x="49" y="58"/>
                      <a:pt x="44" y="65"/>
                    </a:cubicBezTo>
                    <a:cubicBezTo>
                      <a:pt x="40" y="72"/>
                      <a:pt x="33" y="75"/>
                      <a:pt x="26" y="75"/>
                    </a:cubicBezTo>
                    <a:cubicBezTo>
                      <a:pt x="18" y="75"/>
                      <a:pt x="11" y="72"/>
                      <a:pt x="7" y="65"/>
                    </a:cubicBezTo>
                    <a:cubicBezTo>
                      <a:pt x="2" y="58"/>
                      <a:pt x="0" y="49"/>
                      <a:pt x="0" y="37"/>
                    </a:cubicBezTo>
                    <a:cubicBezTo>
                      <a:pt x="0" y="26"/>
                      <a:pt x="2" y="17"/>
                      <a:pt x="7" y="10"/>
                    </a:cubicBezTo>
                    <a:cubicBezTo>
                      <a:pt x="11" y="3"/>
                      <a:pt x="18" y="0"/>
                      <a:pt x="26" y="0"/>
                    </a:cubicBezTo>
                    <a:cubicBezTo>
                      <a:pt x="33" y="0"/>
                      <a:pt x="40" y="3"/>
                      <a:pt x="44" y="10"/>
                    </a:cubicBezTo>
                    <a:cubicBezTo>
                      <a:pt x="49" y="17"/>
                      <a:pt x="51" y="26"/>
                      <a:pt x="51" y="37"/>
                    </a:cubicBezTo>
                    <a:close/>
                    <a:moveTo>
                      <a:pt x="38" y="37"/>
                    </a:moveTo>
                    <a:cubicBezTo>
                      <a:pt x="38" y="30"/>
                      <a:pt x="37" y="24"/>
                      <a:pt x="34" y="19"/>
                    </a:cubicBezTo>
                    <a:cubicBezTo>
                      <a:pt x="32" y="14"/>
                      <a:pt x="29" y="12"/>
                      <a:pt x="26" y="12"/>
                    </a:cubicBezTo>
                    <a:cubicBezTo>
                      <a:pt x="22" y="12"/>
                      <a:pt x="19" y="14"/>
                      <a:pt x="17" y="19"/>
                    </a:cubicBezTo>
                    <a:cubicBezTo>
                      <a:pt x="15" y="24"/>
                      <a:pt x="14" y="30"/>
                      <a:pt x="14" y="37"/>
                    </a:cubicBezTo>
                    <a:cubicBezTo>
                      <a:pt x="14" y="45"/>
                      <a:pt x="15" y="51"/>
                      <a:pt x="17" y="56"/>
                    </a:cubicBezTo>
                    <a:cubicBezTo>
                      <a:pt x="19" y="60"/>
                      <a:pt x="22" y="63"/>
                      <a:pt x="26" y="63"/>
                    </a:cubicBezTo>
                    <a:cubicBezTo>
                      <a:pt x="29" y="63"/>
                      <a:pt x="32" y="61"/>
                      <a:pt x="34"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0" name="Freeform 289"/>
              <p:cNvSpPr>
                <a:spLocks noEditPoints="1"/>
              </p:cNvSpPr>
              <p:nvPr/>
            </p:nvSpPr>
            <p:spPr bwMode="auto">
              <a:xfrm>
                <a:off x="2619980" y="4020075"/>
                <a:ext cx="62501" cy="90790"/>
              </a:xfrm>
              <a:custGeom>
                <a:avLst/>
                <a:gdLst/>
                <a:ahLst/>
                <a:cxnLst>
                  <a:cxn ang="0">
                    <a:pos x="52" y="37"/>
                  </a:cxn>
                  <a:cxn ang="0">
                    <a:pos x="45" y="65"/>
                  </a:cxn>
                  <a:cxn ang="0">
                    <a:pos x="26" y="75"/>
                  </a:cxn>
                  <a:cxn ang="0">
                    <a:pos x="7" y="65"/>
                  </a:cxn>
                  <a:cxn ang="0">
                    <a:pos x="0" y="37"/>
                  </a:cxn>
                  <a:cxn ang="0">
                    <a:pos x="7" y="10"/>
                  </a:cxn>
                  <a:cxn ang="0">
                    <a:pos x="26" y="0"/>
                  </a:cxn>
                  <a:cxn ang="0">
                    <a:pos x="45" y="10"/>
                  </a:cxn>
                  <a:cxn ang="0">
                    <a:pos x="52" y="37"/>
                  </a:cxn>
                  <a:cxn ang="0">
                    <a:pos x="38" y="37"/>
                  </a:cxn>
                  <a:cxn ang="0">
                    <a:pos x="35" y="19"/>
                  </a:cxn>
                  <a:cxn ang="0">
                    <a:pos x="26" y="12"/>
                  </a:cxn>
                  <a:cxn ang="0">
                    <a:pos x="17" y="19"/>
                  </a:cxn>
                  <a:cxn ang="0">
                    <a:pos x="14" y="37"/>
                  </a:cxn>
                  <a:cxn ang="0">
                    <a:pos x="17" y="56"/>
                  </a:cxn>
                  <a:cxn ang="0">
                    <a:pos x="26" y="63"/>
                  </a:cxn>
                  <a:cxn ang="0">
                    <a:pos x="35" y="56"/>
                  </a:cxn>
                  <a:cxn ang="0">
                    <a:pos x="38" y="37"/>
                  </a:cxn>
                </a:cxnLst>
                <a:rect l="0" t="0" r="r" b="b"/>
                <a:pathLst>
                  <a:path w="52" h="75">
                    <a:moveTo>
                      <a:pt x="52" y="37"/>
                    </a:moveTo>
                    <a:cubicBezTo>
                      <a:pt x="52" y="49"/>
                      <a:pt x="50" y="58"/>
                      <a:pt x="45" y="65"/>
                    </a:cubicBezTo>
                    <a:cubicBezTo>
                      <a:pt x="40" y="72"/>
                      <a:pt x="34" y="75"/>
                      <a:pt x="26" y="75"/>
                    </a:cubicBezTo>
                    <a:cubicBezTo>
                      <a:pt x="18" y="75"/>
                      <a:pt x="12" y="72"/>
                      <a:pt x="7" y="65"/>
                    </a:cubicBezTo>
                    <a:cubicBezTo>
                      <a:pt x="3" y="58"/>
                      <a:pt x="0" y="49"/>
                      <a:pt x="0" y="37"/>
                    </a:cubicBezTo>
                    <a:cubicBezTo>
                      <a:pt x="0" y="26"/>
                      <a:pt x="3" y="17"/>
                      <a:pt x="7" y="10"/>
                    </a:cubicBezTo>
                    <a:cubicBezTo>
                      <a:pt x="12" y="3"/>
                      <a:pt x="18" y="0"/>
                      <a:pt x="26" y="0"/>
                    </a:cubicBezTo>
                    <a:cubicBezTo>
                      <a:pt x="34" y="0"/>
                      <a:pt x="40" y="3"/>
                      <a:pt x="45" y="10"/>
                    </a:cubicBezTo>
                    <a:cubicBezTo>
                      <a:pt x="50" y="17"/>
                      <a:pt x="52" y="26"/>
                      <a:pt x="52" y="37"/>
                    </a:cubicBezTo>
                    <a:close/>
                    <a:moveTo>
                      <a:pt x="38" y="37"/>
                    </a:moveTo>
                    <a:cubicBezTo>
                      <a:pt x="38" y="30"/>
                      <a:pt x="37" y="24"/>
                      <a:pt x="35" y="19"/>
                    </a:cubicBezTo>
                    <a:cubicBezTo>
                      <a:pt x="33" y="14"/>
                      <a:pt x="30" y="12"/>
                      <a:pt x="26" y="12"/>
                    </a:cubicBezTo>
                    <a:cubicBezTo>
                      <a:pt x="22" y="12"/>
                      <a:pt x="20" y="14"/>
                      <a:pt x="17" y="19"/>
                    </a:cubicBezTo>
                    <a:cubicBezTo>
                      <a:pt x="15" y="24"/>
                      <a:pt x="14" y="30"/>
                      <a:pt x="14" y="37"/>
                    </a:cubicBezTo>
                    <a:cubicBezTo>
                      <a:pt x="14" y="45"/>
                      <a:pt x="15" y="51"/>
                      <a:pt x="17" y="56"/>
                    </a:cubicBezTo>
                    <a:cubicBezTo>
                      <a:pt x="20" y="60"/>
                      <a:pt x="23" y="63"/>
                      <a:pt x="26" y="63"/>
                    </a:cubicBezTo>
                    <a:cubicBezTo>
                      <a:pt x="30" y="63"/>
                      <a:pt x="33" y="61"/>
                      <a:pt x="35"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1" name="Freeform 290"/>
              <p:cNvSpPr>
                <a:spLocks/>
              </p:cNvSpPr>
              <p:nvPr/>
            </p:nvSpPr>
            <p:spPr bwMode="auto">
              <a:xfrm>
                <a:off x="2684043" y="402164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2" name="Freeform 291"/>
              <p:cNvSpPr>
                <a:spLocks noEditPoints="1"/>
              </p:cNvSpPr>
              <p:nvPr/>
            </p:nvSpPr>
            <p:spPr bwMode="auto">
              <a:xfrm>
                <a:off x="2730919" y="4020075"/>
                <a:ext cx="62501" cy="90790"/>
              </a:xfrm>
              <a:custGeom>
                <a:avLst/>
                <a:gdLst/>
                <a:ahLst/>
                <a:cxnLst>
                  <a:cxn ang="0">
                    <a:pos x="51" y="37"/>
                  </a:cxn>
                  <a:cxn ang="0">
                    <a:pos x="44" y="65"/>
                  </a:cxn>
                  <a:cxn ang="0">
                    <a:pos x="25" y="75"/>
                  </a:cxn>
                  <a:cxn ang="0">
                    <a:pos x="7" y="65"/>
                  </a:cxn>
                  <a:cxn ang="0">
                    <a:pos x="0" y="37"/>
                  </a:cxn>
                  <a:cxn ang="0">
                    <a:pos x="7" y="10"/>
                  </a:cxn>
                  <a:cxn ang="0">
                    <a:pos x="25" y="0"/>
                  </a:cxn>
                  <a:cxn ang="0">
                    <a:pos x="44" y="10"/>
                  </a:cxn>
                  <a:cxn ang="0">
                    <a:pos x="51" y="37"/>
                  </a:cxn>
                  <a:cxn ang="0">
                    <a:pos x="37" y="37"/>
                  </a:cxn>
                  <a:cxn ang="0">
                    <a:pos x="34" y="19"/>
                  </a:cxn>
                  <a:cxn ang="0">
                    <a:pos x="25" y="12"/>
                  </a:cxn>
                  <a:cxn ang="0">
                    <a:pos x="17" y="19"/>
                  </a:cxn>
                  <a:cxn ang="0">
                    <a:pos x="13" y="37"/>
                  </a:cxn>
                  <a:cxn ang="0">
                    <a:pos x="17" y="56"/>
                  </a:cxn>
                  <a:cxn ang="0">
                    <a:pos x="25" y="63"/>
                  </a:cxn>
                  <a:cxn ang="0">
                    <a:pos x="34" y="56"/>
                  </a:cxn>
                  <a:cxn ang="0">
                    <a:pos x="37" y="37"/>
                  </a:cxn>
                </a:cxnLst>
                <a:rect l="0" t="0" r="r" b="b"/>
                <a:pathLst>
                  <a:path w="51" h="75">
                    <a:moveTo>
                      <a:pt x="51" y="37"/>
                    </a:moveTo>
                    <a:cubicBezTo>
                      <a:pt x="51" y="49"/>
                      <a:pt x="49" y="58"/>
                      <a:pt x="44" y="65"/>
                    </a:cubicBezTo>
                    <a:cubicBezTo>
                      <a:pt x="39" y="72"/>
                      <a:pt x="33" y="75"/>
                      <a:pt x="25" y="75"/>
                    </a:cubicBezTo>
                    <a:cubicBezTo>
                      <a:pt x="17" y="75"/>
                      <a:pt x="11" y="72"/>
                      <a:pt x="7" y="65"/>
                    </a:cubicBezTo>
                    <a:cubicBezTo>
                      <a:pt x="2" y="58"/>
                      <a:pt x="0" y="49"/>
                      <a:pt x="0" y="37"/>
                    </a:cubicBezTo>
                    <a:cubicBezTo>
                      <a:pt x="0" y="26"/>
                      <a:pt x="2" y="17"/>
                      <a:pt x="7" y="10"/>
                    </a:cubicBezTo>
                    <a:cubicBezTo>
                      <a:pt x="11" y="3"/>
                      <a:pt x="17" y="0"/>
                      <a:pt x="25" y="0"/>
                    </a:cubicBezTo>
                    <a:cubicBezTo>
                      <a:pt x="33" y="0"/>
                      <a:pt x="39" y="3"/>
                      <a:pt x="44" y="10"/>
                    </a:cubicBezTo>
                    <a:cubicBezTo>
                      <a:pt x="49" y="17"/>
                      <a:pt x="51" y="26"/>
                      <a:pt x="51" y="37"/>
                    </a:cubicBezTo>
                    <a:close/>
                    <a:moveTo>
                      <a:pt x="37" y="37"/>
                    </a:moveTo>
                    <a:cubicBezTo>
                      <a:pt x="37" y="30"/>
                      <a:pt x="36" y="24"/>
                      <a:pt x="34" y="19"/>
                    </a:cubicBezTo>
                    <a:cubicBezTo>
                      <a:pt x="32" y="14"/>
                      <a:pt x="29" y="12"/>
                      <a:pt x="25" y="12"/>
                    </a:cubicBezTo>
                    <a:cubicBezTo>
                      <a:pt x="22" y="12"/>
                      <a:pt x="19" y="14"/>
                      <a:pt x="17" y="19"/>
                    </a:cubicBezTo>
                    <a:cubicBezTo>
                      <a:pt x="14" y="24"/>
                      <a:pt x="13" y="30"/>
                      <a:pt x="13" y="37"/>
                    </a:cubicBezTo>
                    <a:cubicBezTo>
                      <a:pt x="13" y="45"/>
                      <a:pt x="14" y="51"/>
                      <a:pt x="17" y="56"/>
                    </a:cubicBezTo>
                    <a:cubicBezTo>
                      <a:pt x="19" y="60"/>
                      <a:pt x="22" y="63"/>
                      <a:pt x="25" y="63"/>
                    </a:cubicBezTo>
                    <a:cubicBezTo>
                      <a:pt x="29" y="63"/>
                      <a:pt x="32" y="61"/>
                      <a:pt x="34" y="56"/>
                    </a:cubicBezTo>
                    <a:cubicBezTo>
                      <a:pt x="36" y="51"/>
                      <a:pt x="37" y="45"/>
                      <a:pt x="37"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3" name="Freeform 292"/>
              <p:cNvSpPr>
                <a:spLocks/>
              </p:cNvSpPr>
              <p:nvPr/>
            </p:nvSpPr>
            <p:spPr bwMode="auto">
              <a:xfrm>
                <a:off x="2793420" y="4021640"/>
                <a:ext cx="34376" cy="87659"/>
              </a:xfrm>
              <a:custGeom>
                <a:avLst/>
                <a:gdLst/>
                <a:ahLst/>
                <a:cxnLst>
                  <a:cxn ang="0">
                    <a:pos x="22" y="56"/>
                  </a:cxn>
                  <a:cxn ang="0">
                    <a:pos x="11" y="56"/>
                  </a:cxn>
                  <a:cxn ang="0">
                    <a:pos x="11" y="10"/>
                  </a:cxn>
                  <a:cxn ang="0">
                    <a:pos x="0" y="10"/>
                  </a:cxn>
                  <a:cxn ang="0">
                    <a:pos x="5" y="0"/>
                  </a:cxn>
                  <a:cxn ang="0">
                    <a:pos x="22" y="0"/>
                  </a:cxn>
                  <a:cxn ang="0">
                    <a:pos x="22" y="56"/>
                  </a:cxn>
                </a:cxnLst>
                <a:rect l="0" t="0" r="r" b="b"/>
                <a:pathLst>
                  <a:path w="22" h="56">
                    <a:moveTo>
                      <a:pt x="22" y="56"/>
                    </a:moveTo>
                    <a:lnTo>
                      <a:pt x="11" y="56"/>
                    </a:lnTo>
                    <a:lnTo>
                      <a:pt x="11" y="10"/>
                    </a:lnTo>
                    <a:lnTo>
                      <a:pt x="0" y="10"/>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4" name="Freeform 293"/>
              <p:cNvSpPr>
                <a:spLocks/>
              </p:cNvSpPr>
              <p:nvPr/>
            </p:nvSpPr>
            <p:spPr bwMode="auto">
              <a:xfrm>
                <a:off x="2835608" y="402164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5" name="Freeform 294"/>
              <p:cNvSpPr>
                <a:spLocks noEditPoints="1"/>
              </p:cNvSpPr>
              <p:nvPr/>
            </p:nvSpPr>
            <p:spPr bwMode="auto">
              <a:xfrm>
                <a:off x="2882484" y="4020075"/>
                <a:ext cx="62501" cy="90790"/>
              </a:xfrm>
              <a:custGeom>
                <a:avLst/>
                <a:gdLst/>
                <a:ahLst/>
                <a:cxnLst>
                  <a:cxn ang="0">
                    <a:pos x="51" y="37"/>
                  </a:cxn>
                  <a:cxn ang="0">
                    <a:pos x="44" y="65"/>
                  </a:cxn>
                  <a:cxn ang="0">
                    <a:pos x="25" y="75"/>
                  </a:cxn>
                  <a:cxn ang="0">
                    <a:pos x="7" y="65"/>
                  </a:cxn>
                  <a:cxn ang="0">
                    <a:pos x="0" y="37"/>
                  </a:cxn>
                  <a:cxn ang="0">
                    <a:pos x="7" y="10"/>
                  </a:cxn>
                  <a:cxn ang="0">
                    <a:pos x="25" y="0"/>
                  </a:cxn>
                  <a:cxn ang="0">
                    <a:pos x="44" y="10"/>
                  </a:cxn>
                  <a:cxn ang="0">
                    <a:pos x="51" y="37"/>
                  </a:cxn>
                  <a:cxn ang="0">
                    <a:pos x="38" y="37"/>
                  </a:cxn>
                  <a:cxn ang="0">
                    <a:pos x="34" y="19"/>
                  </a:cxn>
                  <a:cxn ang="0">
                    <a:pos x="25" y="12"/>
                  </a:cxn>
                  <a:cxn ang="0">
                    <a:pos x="17" y="19"/>
                  </a:cxn>
                  <a:cxn ang="0">
                    <a:pos x="14" y="37"/>
                  </a:cxn>
                  <a:cxn ang="0">
                    <a:pos x="17" y="56"/>
                  </a:cxn>
                  <a:cxn ang="0">
                    <a:pos x="25" y="63"/>
                  </a:cxn>
                  <a:cxn ang="0">
                    <a:pos x="34" y="56"/>
                  </a:cxn>
                  <a:cxn ang="0">
                    <a:pos x="38" y="37"/>
                  </a:cxn>
                </a:cxnLst>
                <a:rect l="0" t="0" r="r" b="b"/>
                <a:pathLst>
                  <a:path w="51" h="75">
                    <a:moveTo>
                      <a:pt x="51" y="37"/>
                    </a:moveTo>
                    <a:cubicBezTo>
                      <a:pt x="51" y="49"/>
                      <a:pt x="49" y="58"/>
                      <a:pt x="44" y="65"/>
                    </a:cubicBezTo>
                    <a:cubicBezTo>
                      <a:pt x="40" y="72"/>
                      <a:pt x="33" y="75"/>
                      <a:pt x="25" y="75"/>
                    </a:cubicBezTo>
                    <a:cubicBezTo>
                      <a:pt x="18" y="75"/>
                      <a:pt x="11" y="72"/>
                      <a:pt x="7" y="65"/>
                    </a:cubicBezTo>
                    <a:cubicBezTo>
                      <a:pt x="2" y="58"/>
                      <a:pt x="0" y="49"/>
                      <a:pt x="0" y="37"/>
                    </a:cubicBezTo>
                    <a:cubicBezTo>
                      <a:pt x="0" y="26"/>
                      <a:pt x="2" y="17"/>
                      <a:pt x="7" y="10"/>
                    </a:cubicBezTo>
                    <a:cubicBezTo>
                      <a:pt x="11" y="3"/>
                      <a:pt x="18" y="0"/>
                      <a:pt x="25" y="0"/>
                    </a:cubicBezTo>
                    <a:cubicBezTo>
                      <a:pt x="33" y="0"/>
                      <a:pt x="40" y="3"/>
                      <a:pt x="44" y="10"/>
                    </a:cubicBezTo>
                    <a:cubicBezTo>
                      <a:pt x="49" y="17"/>
                      <a:pt x="51" y="26"/>
                      <a:pt x="51" y="37"/>
                    </a:cubicBezTo>
                    <a:close/>
                    <a:moveTo>
                      <a:pt x="38" y="37"/>
                    </a:moveTo>
                    <a:cubicBezTo>
                      <a:pt x="38" y="30"/>
                      <a:pt x="36" y="24"/>
                      <a:pt x="34" y="19"/>
                    </a:cubicBezTo>
                    <a:cubicBezTo>
                      <a:pt x="32" y="14"/>
                      <a:pt x="29" y="12"/>
                      <a:pt x="25" y="12"/>
                    </a:cubicBezTo>
                    <a:cubicBezTo>
                      <a:pt x="22" y="12"/>
                      <a:pt x="19" y="14"/>
                      <a:pt x="17" y="19"/>
                    </a:cubicBezTo>
                    <a:cubicBezTo>
                      <a:pt x="15" y="24"/>
                      <a:pt x="14" y="30"/>
                      <a:pt x="14" y="37"/>
                    </a:cubicBezTo>
                    <a:cubicBezTo>
                      <a:pt x="14" y="45"/>
                      <a:pt x="15" y="51"/>
                      <a:pt x="17" y="56"/>
                    </a:cubicBezTo>
                    <a:cubicBezTo>
                      <a:pt x="19" y="60"/>
                      <a:pt x="22" y="63"/>
                      <a:pt x="25" y="63"/>
                    </a:cubicBezTo>
                    <a:cubicBezTo>
                      <a:pt x="29" y="63"/>
                      <a:pt x="32" y="61"/>
                      <a:pt x="34" y="56"/>
                    </a:cubicBezTo>
                    <a:cubicBezTo>
                      <a:pt x="36"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6" name="Freeform 295"/>
              <p:cNvSpPr>
                <a:spLocks/>
              </p:cNvSpPr>
              <p:nvPr/>
            </p:nvSpPr>
            <p:spPr bwMode="auto">
              <a:xfrm>
                <a:off x="2944985" y="4021640"/>
                <a:ext cx="34376" cy="87659"/>
              </a:xfrm>
              <a:custGeom>
                <a:avLst/>
                <a:gdLst/>
                <a:ahLst/>
                <a:cxnLst>
                  <a:cxn ang="0">
                    <a:pos x="22" y="56"/>
                  </a:cxn>
                  <a:cxn ang="0">
                    <a:pos x="11" y="56"/>
                  </a:cxn>
                  <a:cxn ang="0">
                    <a:pos x="11" y="10"/>
                  </a:cxn>
                  <a:cxn ang="0">
                    <a:pos x="0" y="10"/>
                  </a:cxn>
                  <a:cxn ang="0">
                    <a:pos x="5" y="0"/>
                  </a:cxn>
                  <a:cxn ang="0">
                    <a:pos x="22" y="0"/>
                  </a:cxn>
                  <a:cxn ang="0">
                    <a:pos x="22" y="56"/>
                  </a:cxn>
                </a:cxnLst>
                <a:rect l="0" t="0" r="r" b="b"/>
                <a:pathLst>
                  <a:path w="22" h="56">
                    <a:moveTo>
                      <a:pt x="22" y="56"/>
                    </a:moveTo>
                    <a:lnTo>
                      <a:pt x="11" y="56"/>
                    </a:lnTo>
                    <a:lnTo>
                      <a:pt x="11" y="10"/>
                    </a:lnTo>
                    <a:lnTo>
                      <a:pt x="0" y="10"/>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7" name="Freeform 296"/>
              <p:cNvSpPr>
                <a:spLocks noEditPoints="1"/>
              </p:cNvSpPr>
              <p:nvPr/>
            </p:nvSpPr>
            <p:spPr bwMode="auto">
              <a:xfrm>
                <a:off x="2993423" y="4020075"/>
                <a:ext cx="62501" cy="90790"/>
              </a:xfrm>
              <a:custGeom>
                <a:avLst/>
                <a:gdLst/>
                <a:ahLst/>
                <a:cxnLst>
                  <a:cxn ang="0">
                    <a:pos x="52" y="37"/>
                  </a:cxn>
                  <a:cxn ang="0">
                    <a:pos x="44" y="65"/>
                  </a:cxn>
                  <a:cxn ang="0">
                    <a:pos x="26" y="75"/>
                  </a:cxn>
                  <a:cxn ang="0">
                    <a:pos x="7" y="65"/>
                  </a:cxn>
                  <a:cxn ang="0">
                    <a:pos x="0" y="37"/>
                  </a:cxn>
                  <a:cxn ang="0">
                    <a:pos x="7" y="10"/>
                  </a:cxn>
                  <a:cxn ang="0">
                    <a:pos x="26" y="0"/>
                  </a:cxn>
                  <a:cxn ang="0">
                    <a:pos x="45" y="10"/>
                  </a:cxn>
                  <a:cxn ang="0">
                    <a:pos x="52" y="37"/>
                  </a:cxn>
                  <a:cxn ang="0">
                    <a:pos x="38" y="37"/>
                  </a:cxn>
                  <a:cxn ang="0">
                    <a:pos x="34" y="19"/>
                  </a:cxn>
                  <a:cxn ang="0">
                    <a:pos x="26" y="12"/>
                  </a:cxn>
                  <a:cxn ang="0">
                    <a:pos x="17" y="19"/>
                  </a:cxn>
                  <a:cxn ang="0">
                    <a:pos x="14" y="37"/>
                  </a:cxn>
                  <a:cxn ang="0">
                    <a:pos x="17" y="56"/>
                  </a:cxn>
                  <a:cxn ang="0">
                    <a:pos x="26" y="63"/>
                  </a:cxn>
                  <a:cxn ang="0">
                    <a:pos x="34" y="56"/>
                  </a:cxn>
                  <a:cxn ang="0">
                    <a:pos x="38" y="37"/>
                  </a:cxn>
                </a:cxnLst>
                <a:rect l="0" t="0" r="r" b="b"/>
                <a:pathLst>
                  <a:path w="52" h="75">
                    <a:moveTo>
                      <a:pt x="52" y="37"/>
                    </a:moveTo>
                    <a:cubicBezTo>
                      <a:pt x="52" y="49"/>
                      <a:pt x="49" y="58"/>
                      <a:pt x="44" y="65"/>
                    </a:cubicBezTo>
                    <a:cubicBezTo>
                      <a:pt x="40" y="72"/>
                      <a:pt x="33" y="75"/>
                      <a:pt x="26" y="75"/>
                    </a:cubicBezTo>
                    <a:cubicBezTo>
                      <a:pt x="18" y="75"/>
                      <a:pt x="12" y="72"/>
                      <a:pt x="7" y="65"/>
                    </a:cubicBezTo>
                    <a:cubicBezTo>
                      <a:pt x="2" y="58"/>
                      <a:pt x="0" y="49"/>
                      <a:pt x="0" y="37"/>
                    </a:cubicBezTo>
                    <a:cubicBezTo>
                      <a:pt x="0" y="26"/>
                      <a:pt x="2" y="17"/>
                      <a:pt x="7" y="10"/>
                    </a:cubicBezTo>
                    <a:cubicBezTo>
                      <a:pt x="12" y="3"/>
                      <a:pt x="18" y="0"/>
                      <a:pt x="26" y="0"/>
                    </a:cubicBezTo>
                    <a:cubicBezTo>
                      <a:pt x="34" y="0"/>
                      <a:pt x="40" y="3"/>
                      <a:pt x="45" y="10"/>
                    </a:cubicBezTo>
                    <a:cubicBezTo>
                      <a:pt x="49" y="17"/>
                      <a:pt x="52" y="26"/>
                      <a:pt x="52" y="37"/>
                    </a:cubicBezTo>
                    <a:close/>
                    <a:moveTo>
                      <a:pt x="38" y="37"/>
                    </a:moveTo>
                    <a:cubicBezTo>
                      <a:pt x="38" y="30"/>
                      <a:pt x="37" y="24"/>
                      <a:pt x="34" y="19"/>
                    </a:cubicBezTo>
                    <a:cubicBezTo>
                      <a:pt x="32" y="14"/>
                      <a:pt x="29" y="12"/>
                      <a:pt x="26" y="12"/>
                    </a:cubicBezTo>
                    <a:cubicBezTo>
                      <a:pt x="22" y="12"/>
                      <a:pt x="19" y="14"/>
                      <a:pt x="17" y="19"/>
                    </a:cubicBezTo>
                    <a:cubicBezTo>
                      <a:pt x="15" y="24"/>
                      <a:pt x="14" y="30"/>
                      <a:pt x="14" y="37"/>
                    </a:cubicBezTo>
                    <a:cubicBezTo>
                      <a:pt x="14" y="45"/>
                      <a:pt x="15" y="51"/>
                      <a:pt x="17" y="56"/>
                    </a:cubicBezTo>
                    <a:cubicBezTo>
                      <a:pt x="19" y="60"/>
                      <a:pt x="22" y="63"/>
                      <a:pt x="26" y="63"/>
                    </a:cubicBezTo>
                    <a:cubicBezTo>
                      <a:pt x="29" y="63"/>
                      <a:pt x="32" y="61"/>
                      <a:pt x="34"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8" name="Freeform 297"/>
              <p:cNvSpPr>
                <a:spLocks/>
              </p:cNvSpPr>
              <p:nvPr/>
            </p:nvSpPr>
            <p:spPr bwMode="auto">
              <a:xfrm>
                <a:off x="3057486" y="402164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89" name="Freeform 298"/>
              <p:cNvSpPr>
                <a:spLocks/>
              </p:cNvSpPr>
              <p:nvPr/>
            </p:nvSpPr>
            <p:spPr bwMode="auto">
              <a:xfrm>
                <a:off x="3098112" y="402164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1" name="Freeform 310"/>
              <p:cNvSpPr>
                <a:spLocks/>
              </p:cNvSpPr>
              <p:nvPr/>
            </p:nvSpPr>
            <p:spPr bwMode="auto">
              <a:xfrm>
                <a:off x="2424664" y="415939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2" name="Freeform 311"/>
              <p:cNvSpPr>
                <a:spLocks noEditPoints="1"/>
              </p:cNvSpPr>
              <p:nvPr/>
            </p:nvSpPr>
            <p:spPr bwMode="auto">
              <a:xfrm>
                <a:off x="2471540" y="4159390"/>
                <a:ext cx="62501" cy="89224"/>
              </a:xfrm>
              <a:custGeom>
                <a:avLst/>
                <a:gdLst/>
                <a:ahLst/>
                <a:cxnLst>
                  <a:cxn ang="0">
                    <a:pos x="52" y="38"/>
                  </a:cxn>
                  <a:cxn ang="0">
                    <a:pos x="45" y="65"/>
                  </a:cxn>
                  <a:cxn ang="0">
                    <a:pos x="26" y="75"/>
                  </a:cxn>
                  <a:cxn ang="0">
                    <a:pos x="7" y="65"/>
                  </a:cxn>
                  <a:cxn ang="0">
                    <a:pos x="0" y="38"/>
                  </a:cxn>
                  <a:cxn ang="0">
                    <a:pos x="7" y="10"/>
                  </a:cxn>
                  <a:cxn ang="0">
                    <a:pos x="26" y="0"/>
                  </a:cxn>
                  <a:cxn ang="0">
                    <a:pos x="45" y="10"/>
                  </a:cxn>
                  <a:cxn ang="0">
                    <a:pos x="52" y="38"/>
                  </a:cxn>
                  <a:cxn ang="0">
                    <a:pos x="38" y="37"/>
                  </a:cxn>
                  <a:cxn ang="0">
                    <a:pos x="34" y="19"/>
                  </a:cxn>
                  <a:cxn ang="0">
                    <a:pos x="26" y="12"/>
                  </a:cxn>
                  <a:cxn ang="0">
                    <a:pos x="17" y="19"/>
                  </a:cxn>
                  <a:cxn ang="0">
                    <a:pos x="14" y="38"/>
                  </a:cxn>
                  <a:cxn ang="0">
                    <a:pos x="17" y="56"/>
                  </a:cxn>
                  <a:cxn ang="0">
                    <a:pos x="26" y="63"/>
                  </a:cxn>
                  <a:cxn ang="0">
                    <a:pos x="35" y="56"/>
                  </a:cxn>
                  <a:cxn ang="0">
                    <a:pos x="38" y="37"/>
                  </a:cxn>
                </a:cxnLst>
                <a:rect l="0" t="0" r="r" b="b"/>
                <a:pathLst>
                  <a:path w="52" h="75">
                    <a:moveTo>
                      <a:pt x="52" y="38"/>
                    </a:moveTo>
                    <a:cubicBezTo>
                      <a:pt x="52" y="49"/>
                      <a:pt x="49" y="58"/>
                      <a:pt x="45" y="65"/>
                    </a:cubicBezTo>
                    <a:cubicBezTo>
                      <a:pt x="40" y="72"/>
                      <a:pt x="34" y="75"/>
                      <a:pt x="26" y="75"/>
                    </a:cubicBezTo>
                    <a:cubicBezTo>
                      <a:pt x="18" y="75"/>
                      <a:pt x="12" y="72"/>
                      <a:pt x="7" y="65"/>
                    </a:cubicBezTo>
                    <a:cubicBezTo>
                      <a:pt x="2" y="58"/>
                      <a:pt x="0" y="49"/>
                      <a:pt x="0" y="38"/>
                    </a:cubicBezTo>
                    <a:cubicBezTo>
                      <a:pt x="0" y="26"/>
                      <a:pt x="2" y="17"/>
                      <a:pt x="7" y="10"/>
                    </a:cubicBezTo>
                    <a:cubicBezTo>
                      <a:pt x="12" y="3"/>
                      <a:pt x="18" y="0"/>
                      <a:pt x="26" y="0"/>
                    </a:cubicBezTo>
                    <a:cubicBezTo>
                      <a:pt x="34" y="0"/>
                      <a:pt x="40" y="3"/>
                      <a:pt x="45" y="10"/>
                    </a:cubicBezTo>
                    <a:cubicBezTo>
                      <a:pt x="49" y="17"/>
                      <a:pt x="52" y="26"/>
                      <a:pt x="52" y="38"/>
                    </a:cubicBezTo>
                    <a:close/>
                    <a:moveTo>
                      <a:pt x="38" y="37"/>
                    </a:moveTo>
                    <a:cubicBezTo>
                      <a:pt x="38" y="30"/>
                      <a:pt x="37" y="24"/>
                      <a:pt x="34" y="19"/>
                    </a:cubicBezTo>
                    <a:cubicBezTo>
                      <a:pt x="32" y="14"/>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5"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3" name="Freeform 312"/>
              <p:cNvSpPr>
                <a:spLocks/>
              </p:cNvSpPr>
              <p:nvPr/>
            </p:nvSpPr>
            <p:spPr bwMode="auto">
              <a:xfrm>
                <a:off x="2535603" y="4159390"/>
                <a:ext cx="32813" cy="87659"/>
              </a:xfrm>
              <a:custGeom>
                <a:avLst/>
                <a:gdLst/>
                <a:ahLst/>
                <a:cxnLst>
                  <a:cxn ang="0">
                    <a:pos x="21" y="56"/>
                  </a:cxn>
                  <a:cxn ang="0">
                    <a:pos x="11" y="56"/>
                  </a:cxn>
                  <a:cxn ang="0">
                    <a:pos x="11" y="10"/>
                  </a:cxn>
                  <a:cxn ang="0">
                    <a:pos x="0" y="10"/>
                  </a:cxn>
                  <a:cxn ang="0">
                    <a:pos x="5" y="0"/>
                  </a:cxn>
                  <a:cxn ang="0">
                    <a:pos x="21" y="0"/>
                  </a:cxn>
                  <a:cxn ang="0">
                    <a:pos x="21" y="56"/>
                  </a:cxn>
                </a:cxnLst>
                <a:rect l="0" t="0" r="r" b="b"/>
                <a:pathLst>
                  <a:path w="21" h="56">
                    <a:moveTo>
                      <a:pt x="21" y="56"/>
                    </a:moveTo>
                    <a:lnTo>
                      <a:pt x="11" y="56"/>
                    </a:lnTo>
                    <a:lnTo>
                      <a:pt x="11" y="10"/>
                    </a:lnTo>
                    <a:lnTo>
                      <a:pt x="0" y="10"/>
                    </a:lnTo>
                    <a:lnTo>
                      <a:pt x="5"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4" name="Freeform 313"/>
              <p:cNvSpPr>
                <a:spLocks/>
              </p:cNvSpPr>
              <p:nvPr/>
            </p:nvSpPr>
            <p:spPr bwMode="auto">
              <a:xfrm>
                <a:off x="2576229" y="415939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5" name="Freeform 314"/>
              <p:cNvSpPr>
                <a:spLocks/>
              </p:cNvSpPr>
              <p:nvPr/>
            </p:nvSpPr>
            <p:spPr bwMode="auto">
              <a:xfrm>
                <a:off x="2616855" y="415939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6" name="Freeform 315"/>
              <p:cNvSpPr>
                <a:spLocks/>
              </p:cNvSpPr>
              <p:nvPr/>
            </p:nvSpPr>
            <p:spPr bwMode="auto">
              <a:xfrm>
                <a:off x="2657480" y="415939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7" name="Freeform 316"/>
              <p:cNvSpPr>
                <a:spLocks noEditPoints="1"/>
              </p:cNvSpPr>
              <p:nvPr/>
            </p:nvSpPr>
            <p:spPr bwMode="auto">
              <a:xfrm>
                <a:off x="2704356" y="4159390"/>
                <a:ext cx="62501" cy="89224"/>
              </a:xfrm>
              <a:custGeom>
                <a:avLst/>
                <a:gdLst/>
                <a:ahLst/>
                <a:cxnLst>
                  <a:cxn ang="0">
                    <a:pos x="52" y="38"/>
                  </a:cxn>
                  <a:cxn ang="0">
                    <a:pos x="44" y="65"/>
                  </a:cxn>
                  <a:cxn ang="0">
                    <a:pos x="26" y="75"/>
                  </a:cxn>
                  <a:cxn ang="0">
                    <a:pos x="7" y="65"/>
                  </a:cxn>
                  <a:cxn ang="0">
                    <a:pos x="0" y="38"/>
                  </a:cxn>
                  <a:cxn ang="0">
                    <a:pos x="7" y="10"/>
                  </a:cxn>
                  <a:cxn ang="0">
                    <a:pos x="26" y="0"/>
                  </a:cxn>
                  <a:cxn ang="0">
                    <a:pos x="45" y="10"/>
                  </a:cxn>
                  <a:cxn ang="0">
                    <a:pos x="52" y="38"/>
                  </a:cxn>
                  <a:cxn ang="0">
                    <a:pos x="38" y="37"/>
                  </a:cxn>
                  <a:cxn ang="0">
                    <a:pos x="34" y="19"/>
                  </a:cxn>
                  <a:cxn ang="0">
                    <a:pos x="26" y="12"/>
                  </a:cxn>
                  <a:cxn ang="0">
                    <a:pos x="17" y="19"/>
                  </a:cxn>
                  <a:cxn ang="0">
                    <a:pos x="14" y="38"/>
                  </a:cxn>
                  <a:cxn ang="0">
                    <a:pos x="17" y="56"/>
                  </a:cxn>
                  <a:cxn ang="0">
                    <a:pos x="26" y="63"/>
                  </a:cxn>
                  <a:cxn ang="0">
                    <a:pos x="34" y="56"/>
                  </a:cxn>
                  <a:cxn ang="0">
                    <a:pos x="38" y="37"/>
                  </a:cxn>
                </a:cxnLst>
                <a:rect l="0" t="0" r="r" b="b"/>
                <a:pathLst>
                  <a:path w="52" h="75">
                    <a:moveTo>
                      <a:pt x="52" y="38"/>
                    </a:moveTo>
                    <a:cubicBezTo>
                      <a:pt x="52" y="49"/>
                      <a:pt x="49" y="58"/>
                      <a:pt x="44" y="65"/>
                    </a:cubicBezTo>
                    <a:cubicBezTo>
                      <a:pt x="40" y="72"/>
                      <a:pt x="33" y="75"/>
                      <a:pt x="26" y="75"/>
                    </a:cubicBezTo>
                    <a:cubicBezTo>
                      <a:pt x="18" y="75"/>
                      <a:pt x="12" y="72"/>
                      <a:pt x="7" y="65"/>
                    </a:cubicBezTo>
                    <a:cubicBezTo>
                      <a:pt x="2" y="58"/>
                      <a:pt x="0" y="49"/>
                      <a:pt x="0" y="38"/>
                    </a:cubicBezTo>
                    <a:cubicBezTo>
                      <a:pt x="0" y="26"/>
                      <a:pt x="2" y="17"/>
                      <a:pt x="7" y="10"/>
                    </a:cubicBezTo>
                    <a:cubicBezTo>
                      <a:pt x="12" y="3"/>
                      <a:pt x="18" y="0"/>
                      <a:pt x="26" y="0"/>
                    </a:cubicBezTo>
                    <a:cubicBezTo>
                      <a:pt x="34" y="0"/>
                      <a:pt x="40" y="3"/>
                      <a:pt x="45" y="10"/>
                    </a:cubicBezTo>
                    <a:cubicBezTo>
                      <a:pt x="49" y="17"/>
                      <a:pt x="52" y="26"/>
                      <a:pt x="52" y="38"/>
                    </a:cubicBezTo>
                    <a:close/>
                    <a:moveTo>
                      <a:pt x="38" y="37"/>
                    </a:moveTo>
                    <a:cubicBezTo>
                      <a:pt x="38" y="30"/>
                      <a:pt x="37" y="24"/>
                      <a:pt x="34" y="19"/>
                    </a:cubicBezTo>
                    <a:cubicBezTo>
                      <a:pt x="32" y="14"/>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4"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8" name="Freeform 317"/>
              <p:cNvSpPr>
                <a:spLocks noEditPoints="1"/>
              </p:cNvSpPr>
              <p:nvPr/>
            </p:nvSpPr>
            <p:spPr bwMode="auto">
              <a:xfrm>
                <a:off x="2771544" y="4159390"/>
                <a:ext cx="62501" cy="89224"/>
              </a:xfrm>
              <a:custGeom>
                <a:avLst/>
                <a:gdLst/>
                <a:ahLst/>
                <a:cxnLst>
                  <a:cxn ang="0">
                    <a:pos x="52" y="38"/>
                  </a:cxn>
                  <a:cxn ang="0">
                    <a:pos x="45" y="65"/>
                  </a:cxn>
                  <a:cxn ang="0">
                    <a:pos x="26" y="75"/>
                  </a:cxn>
                  <a:cxn ang="0">
                    <a:pos x="7" y="65"/>
                  </a:cxn>
                  <a:cxn ang="0">
                    <a:pos x="0" y="38"/>
                  </a:cxn>
                  <a:cxn ang="0">
                    <a:pos x="7" y="10"/>
                  </a:cxn>
                  <a:cxn ang="0">
                    <a:pos x="26" y="0"/>
                  </a:cxn>
                  <a:cxn ang="0">
                    <a:pos x="45" y="10"/>
                  </a:cxn>
                  <a:cxn ang="0">
                    <a:pos x="52" y="38"/>
                  </a:cxn>
                  <a:cxn ang="0">
                    <a:pos x="38" y="37"/>
                  </a:cxn>
                  <a:cxn ang="0">
                    <a:pos x="35" y="19"/>
                  </a:cxn>
                  <a:cxn ang="0">
                    <a:pos x="26" y="12"/>
                  </a:cxn>
                  <a:cxn ang="0">
                    <a:pos x="18" y="19"/>
                  </a:cxn>
                  <a:cxn ang="0">
                    <a:pos x="14" y="38"/>
                  </a:cxn>
                  <a:cxn ang="0">
                    <a:pos x="18" y="56"/>
                  </a:cxn>
                  <a:cxn ang="0">
                    <a:pos x="26" y="63"/>
                  </a:cxn>
                  <a:cxn ang="0">
                    <a:pos x="35" y="56"/>
                  </a:cxn>
                  <a:cxn ang="0">
                    <a:pos x="38" y="37"/>
                  </a:cxn>
                </a:cxnLst>
                <a:rect l="0" t="0" r="r" b="b"/>
                <a:pathLst>
                  <a:path w="52" h="75">
                    <a:moveTo>
                      <a:pt x="52" y="38"/>
                    </a:moveTo>
                    <a:cubicBezTo>
                      <a:pt x="52" y="49"/>
                      <a:pt x="50" y="58"/>
                      <a:pt x="45" y="65"/>
                    </a:cubicBezTo>
                    <a:cubicBezTo>
                      <a:pt x="40" y="72"/>
                      <a:pt x="34" y="75"/>
                      <a:pt x="26" y="75"/>
                    </a:cubicBezTo>
                    <a:cubicBezTo>
                      <a:pt x="18" y="75"/>
                      <a:pt x="12" y="72"/>
                      <a:pt x="7" y="65"/>
                    </a:cubicBezTo>
                    <a:cubicBezTo>
                      <a:pt x="3" y="58"/>
                      <a:pt x="0" y="49"/>
                      <a:pt x="0" y="38"/>
                    </a:cubicBezTo>
                    <a:cubicBezTo>
                      <a:pt x="0" y="26"/>
                      <a:pt x="3" y="17"/>
                      <a:pt x="7" y="10"/>
                    </a:cubicBezTo>
                    <a:cubicBezTo>
                      <a:pt x="12" y="3"/>
                      <a:pt x="18" y="0"/>
                      <a:pt x="26" y="0"/>
                    </a:cubicBezTo>
                    <a:cubicBezTo>
                      <a:pt x="34" y="0"/>
                      <a:pt x="40" y="3"/>
                      <a:pt x="45" y="10"/>
                    </a:cubicBezTo>
                    <a:cubicBezTo>
                      <a:pt x="50" y="17"/>
                      <a:pt x="52" y="26"/>
                      <a:pt x="52" y="38"/>
                    </a:cubicBezTo>
                    <a:close/>
                    <a:moveTo>
                      <a:pt x="38" y="37"/>
                    </a:moveTo>
                    <a:cubicBezTo>
                      <a:pt x="38" y="30"/>
                      <a:pt x="37" y="24"/>
                      <a:pt x="35" y="19"/>
                    </a:cubicBezTo>
                    <a:cubicBezTo>
                      <a:pt x="33" y="14"/>
                      <a:pt x="30" y="12"/>
                      <a:pt x="26" y="12"/>
                    </a:cubicBezTo>
                    <a:cubicBezTo>
                      <a:pt x="23" y="12"/>
                      <a:pt x="20" y="15"/>
                      <a:pt x="18" y="19"/>
                    </a:cubicBezTo>
                    <a:cubicBezTo>
                      <a:pt x="15" y="24"/>
                      <a:pt x="14" y="30"/>
                      <a:pt x="14" y="38"/>
                    </a:cubicBezTo>
                    <a:cubicBezTo>
                      <a:pt x="14" y="45"/>
                      <a:pt x="15" y="51"/>
                      <a:pt x="18" y="56"/>
                    </a:cubicBezTo>
                    <a:cubicBezTo>
                      <a:pt x="20" y="61"/>
                      <a:pt x="23" y="63"/>
                      <a:pt x="26" y="63"/>
                    </a:cubicBezTo>
                    <a:cubicBezTo>
                      <a:pt x="30" y="63"/>
                      <a:pt x="33" y="61"/>
                      <a:pt x="35"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399" name="Freeform 318"/>
              <p:cNvSpPr>
                <a:spLocks/>
              </p:cNvSpPr>
              <p:nvPr/>
            </p:nvSpPr>
            <p:spPr bwMode="auto">
              <a:xfrm>
                <a:off x="2835608" y="415939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400" name="Freeform 319"/>
              <p:cNvSpPr>
                <a:spLocks noEditPoints="1"/>
              </p:cNvSpPr>
              <p:nvPr/>
            </p:nvSpPr>
            <p:spPr bwMode="auto">
              <a:xfrm>
                <a:off x="2882484" y="4159390"/>
                <a:ext cx="62501" cy="89224"/>
              </a:xfrm>
              <a:custGeom>
                <a:avLst/>
                <a:gdLst/>
                <a:ahLst/>
                <a:cxnLst>
                  <a:cxn ang="0">
                    <a:pos x="51" y="38"/>
                  </a:cxn>
                  <a:cxn ang="0">
                    <a:pos x="44" y="65"/>
                  </a:cxn>
                  <a:cxn ang="0">
                    <a:pos x="25" y="75"/>
                  </a:cxn>
                  <a:cxn ang="0">
                    <a:pos x="7" y="65"/>
                  </a:cxn>
                  <a:cxn ang="0">
                    <a:pos x="0" y="38"/>
                  </a:cxn>
                  <a:cxn ang="0">
                    <a:pos x="7" y="10"/>
                  </a:cxn>
                  <a:cxn ang="0">
                    <a:pos x="25" y="0"/>
                  </a:cxn>
                  <a:cxn ang="0">
                    <a:pos x="44" y="10"/>
                  </a:cxn>
                  <a:cxn ang="0">
                    <a:pos x="51" y="38"/>
                  </a:cxn>
                  <a:cxn ang="0">
                    <a:pos x="38" y="37"/>
                  </a:cxn>
                  <a:cxn ang="0">
                    <a:pos x="34" y="19"/>
                  </a:cxn>
                  <a:cxn ang="0">
                    <a:pos x="25" y="12"/>
                  </a:cxn>
                  <a:cxn ang="0">
                    <a:pos x="17" y="19"/>
                  </a:cxn>
                  <a:cxn ang="0">
                    <a:pos x="14" y="38"/>
                  </a:cxn>
                  <a:cxn ang="0">
                    <a:pos x="17" y="56"/>
                  </a:cxn>
                  <a:cxn ang="0">
                    <a:pos x="25" y="63"/>
                  </a:cxn>
                  <a:cxn ang="0">
                    <a:pos x="34" y="56"/>
                  </a:cxn>
                  <a:cxn ang="0">
                    <a:pos x="38" y="37"/>
                  </a:cxn>
                </a:cxnLst>
                <a:rect l="0" t="0" r="r" b="b"/>
                <a:pathLst>
                  <a:path w="51" h="75">
                    <a:moveTo>
                      <a:pt x="51" y="38"/>
                    </a:moveTo>
                    <a:cubicBezTo>
                      <a:pt x="51" y="49"/>
                      <a:pt x="49" y="58"/>
                      <a:pt x="44" y="65"/>
                    </a:cubicBezTo>
                    <a:cubicBezTo>
                      <a:pt x="40" y="72"/>
                      <a:pt x="33" y="75"/>
                      <a:pt x="25" y="75"/>
                    </a:cubicBezTo>
                    <a:cubicBezTo>
                      <a:pt x="18" y="75"/>
                      <a:pt x="11" y="72"/>
                      <a:pt x="7" y="65"/>
                    </a:cubicBezTo>
                    <a:cubicBezTo>
                      <a:pt x="2" y="58"/>
                      <a:pt x="0" y="49"/>
                      <a:pt x="0" y="38"/>
                    </a:cubicBezTo>
                    <a:cubicBezTo>
                      <a:pt x="0" y="26"/>
                      <a:pt x="2" y="17"/>
                      <a:pt x="7" y="10"/>
                    </a:cubicBezTo>
                    <a:cubicBezTo>
                      <a:pt x="11" y="3"/>
                      <a:pt x="18" y="0"/>
                      <a:pt x="25" y="0"/>
                    </a:cubicBezTo>
                    <a:cubicBezTo>
                      <a:pt x="33" y="0"/>
                      <a:pt x="40" y="3"/>
                      <a:pt x="44" y="10"/>
                    </a:cubicBezTo>
                    <a:cubicBezTo>
                      <a:pt x="49" y="17"/>
                      <a:pt x="51" y="26"/>
                      <a:pt x="51" y="38"/>
                    </a:cubicBezTo>
                    <a:close/>
                    <a:moveTo>
                      <a:pt x="38" y="37"/>
                    </a:moveTo>
                    <a:cubicBezTo>
                      <a:pt x="38" y="30"/>
                      <a:pt x="36" y="24"/>
                      <a:pt x="34" y="19"/>
                    </a:cubicBezTo>
                    <a:cubicBezTo>
                      <a:pt x="32" y="14"/>
                      <a:pt x="29" y="12"/>
                      <a:pt x="25" y="12"/>
                    </a:cubicBezTo>
                    <a:cubicBezTo>
                      <a:pt x="22" y="12"/>
                      <a:pt x="19" y="15"/>
                      <a:pt x="17" y="19"/>
                    </a:cubicBezTo>
                    <a:cubicBezTo>
                      <a:pt x="15" y="24"/>
                      <a:pt x="14" y="30"/>
                      <a:pt x="14" y="38"/>
                    </a:cubicBezTo>
                    <a:cubicBezTo>
                      <a:pt x="14" y="45"/>
                      <a:pt x="15" y="51"/>
                      <a:pt x="17" y="56"/>
                    </a:cubicBezTo>
                    <a:cubicBezTo>
                      <a:pt x="19" y="61"/>
                      <a:pt x="22" y="63"/>
                      <a:pt x="25" y="63"/>
                    </a:cubicBezTo>
                    <a:cubicBezTo>
                      <a:pt x="29" y="63"/>
                      <a:pt x="32" y="61"/>
                      <a:pt x="34" y="56"/>
                    </a:cubicBezTo>
                    <a:cubicBezTo>
                      <a:pt x="36"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401" name="Freeform 320"/>
              <p:cNvSpPr>
                <a:spLocks/>
              </p:cNvSpPr>
              <p:nvPr/>
            </p:nvSpPr>
            <p:spPr bwMode="auto">
              <a:xfrm>
                <a:off x="2944985" y="4159390"/>
                <a:ext cx="34376" cy="87659"/>
              </a:xfrm>
              <a:custGeom>
                <a:avLst/>
                <a:gdLst/>
                <a:ahLst/>
                <a:cxnLst>
                  <a:cxn ang="0">
                    <a:pos x="22" y="56"/>
                  </a:cxn>
                  <a:cxn ang="0">
                    <a:pos x="11" y="56"/>
                  </a:cxn>
                  <a:cxn ang="0">
                    <a:pos x="11" y="10"/>
                  </a:cxn>
                  <a:cxn ang="0">
                    <a:pos x="0" y="10"/>
                  </a:cxn>
                  <a:cxn ang="0">
                    <a:pos x="5" y="0"/>
                  </a:cxn>
                  <a:cxn ang="0">
                    <a:pos x="22" y="0"/>
                  </a:cxn>
                  <a:cxn ang="0">
                    <a:pos x="22" y="56"/>
                  </a:cxn>
                </a:cxnLst>
                <a:rect l="0" t="0" r="r" b="b"/>
                <a:pathLst>
                  <a:path w="22" h="56">
                    <a:moveTo>
                      <a:pt x="22" y="56"/>
                    </a:moveTo>
                    <a:lnTo>
                      <a:pt x="11" y="56"/>
                    </a:lnTo>
                    <a:lnTo>
                      <a:pt x="11" y="10"/>
                    </a:lnTo>
                    <a:lnTo>
                      <a:pt x="0" y="10"/>
                    </a:lnTo>
                    <a:lnTo>
                      <a:pt x="5" y="0"/>
                    </a:lnTo>
                    <a:lnTo>
                      <a:pt x="22" y="0"/>
                    </a:lnTo>
                    <a:lnTo>
                      <a:pt x="22"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402" name="Freeform 321"/>
              <p:cNvSpPr>
                <a:spLocks noEditPoints="1"/>
              </p:cNvSpPr>
              <p:nvPr/>
            </p:nvSpPr>
            <p:spPr bwMode="auto">
              <a:xfrm>
                <a:off x="2993423" y="4159390"/>
                <a:ext cx="62501" cy="89224"/>
              </a:xfrm>
              <a:custGeom>
                <a:avLst/>
                <a:gdLst/>
                <a:ahLst/>
                <a:cxnLst>
                  <a:cxn ang="0">
                    <a:pos x="52" y="38"/>
                  </a:cxn>
                  <a:cxn ang="0">
                    <a:pos x="44" y="65"/>
                  </a:cxn>
                  <a:cxn ang="0">
                    <a:pos x="26" y="75"/>
                  </a:cxn>
                  <a:cxn ang="0">
                    <a:pos x="7" y="65"/>
                  </a:cxn>
                  <a:cxn ang="0">
                    <a:pos x="0" y="38"/>
                  </a:cxn>
                  <a:cxn ang="0">
                    <a:pos x="7" y="10"/>
                  </a:cxn>
                  <a:cxn ang="0">
                    <a:pos x="26" y="0"/>
                  </a:cxn>
                  <a:cxn ang="0">
                    <a:pos x="45" y="10"/>
                  </a:cxn>
                  <a:cxn ang="0">
                    <a:pos x="52" y="38"/>
                  </a:cxn>
                  <a:cxn ang="0">
                    <a:pos x="38" y="37"/>
                  </a:cxn>
                  <a:cxn ang="0">
                    <a:pos x="34" y="19"/>
                  </a:cxn>
                  <a:cxn ang="0">
                    <a:pos x="26" y="12"/>
                  </a:cxn>
                  <a:cxn ang="0">
                    <a:pos x="17" y="19"/>
                  </a:cxn>
                  <a:cxn ang="0">
                    <a:pos x="14" y="38"/>
                  </a:cxn>
                  <a:cxn ang="0">
                    <a:pos x="17" y="56"/>
                  </a:cxn>
                  <a:cxn ang="0">
                    <a:pos x="26" y="63"/>
                  </a:cxn>
                  <a:cxn ang="0">
                    <a:pos x="34" y="56"/>
                  </a:cxn>
                  <a:cxn ang="0">
                    <a:pos x="38" y="37"/>
                  </a:cxn>
                </a:cxnLst>
                <a:rect l="0" t="0" r="r" b="b"/>
                <a:pathLst>
                  <a:path w="52" h="75">
                    <a:moveTo>
                      <a:pt x="52" y="38"/>
                    </a:moveTo>
                    <a:cubicBezTo>
                      <a:pt x="52" y="49"/>
                      <a:pt x="49" y="58"/>
                      <a:pt x="44" y="65"/>
                    </a:cubicBezTo>
                    <a:cubicBezTo>
                      <a:pt x="40" y="72"/>
                      <a:pt x="33" y="75"/>
                      <a:pt x="26" y="75"/>
                    </a:cubicBezTo>
                    <a:cubicBezTo>
                      <a:pt x="18" y="75"/>
                      <a:pt x="12" y="72"/>
                      <a:pt x="7" y="65"/>
                    </a:cubicBezTo>
                    <a:cubicBezTo>
                      <a:pt x="2" y="58"/>
                      <a:pt x="0" y="49"/>
                      <a:pt x="0" y="38"/>
                    </a:cubicBezTo>
                    <a:cubicBezTo>
                      <a:pt x="0" y="26"/>
                      <a:pt x="2" y="17"/>
                      <a:pt x="7" y="10"/>
                    </a:cubicBezTo>
                    <a:cubicBezTo>
                      <a:pt x="12" y="3"/>
                      <a:pt x="18" y="0"/>
                      <a:pt x="26" y="0"/>
                    </a:cubicBezTo>
                    <a:cubicBezTo>
                      <a:pt x="34" y="0"/>
                      <a:pt x="40" y="3"/>
                      <a:pt x="45" y="10"/>
                    </a:cubicBezTo>
                    <a:cubicBezTo>
                      <a:pt x="49" y="17"/>
                      <a:pt x="52" y="26"/>
                      <a:pt x="52" y="38"/>
                    </a:cubicBezTo>
                    <a:close/>
                    <a:moveTo>
                      <a:pt x="38" y="37"/>
                    </a:moveTo>
                    <a:cubicBezTo>
                      <a:pt x="38" y="30"/>
                      <a:pt x="37" y="24"/>
                      <a:pt x="34" y="19"/>
                    </a:cubicBezTo>
                    <a:cubicBezTo>
                      <a:pt x="32" y="14"/>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4" y="56"/>
                    </a:cubicBezTo>
                    <a:cubicBezTo>
                      <a:pt x="37" y="51"/>
                      <a:pt x="38" y="45"/>
                      <a:pt x="38" y="37"/>
                    </a:cubicBez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403" name="Freeform 322"/>
              <p:cNvSpPr>
                <a:spLocks/>
              </p:cNvSpPr>
              <p:nvPr/>
            </p:nvSpPr>
            <p:spPr bwMode="auto">
              <a:xfrm>
                <a:off x="3057486" y="415939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sp>
            <p:nvSpPr>
              <p:cNvPr id="404" name="Freeform 323"/>
              <p:cNvSpPr>
                <a:spLocks/>
              </p:cNvSpPr>
              <p:nvPr/>
            </p:nvSpPr>
            <p:spPr bwMode="auto">
              <a:xfrm>
                <a:off x="3098112" y="4159390"/>
                <a:ext cx="32813" cy="87659"/>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grpFill/>
              <a:ln w="9525">
                <a:noFill/>
                <a:round/>
                <a:headEnd/>
                <a:tailEnd/>
              </a:ln>
            </p:spPr>
            <p:txBody>
              <a:bodyPr/>
              <a:lstStyle/>
              <a:p>
                <a:endParaRPr lang="en-US" sz="2000" dirty="0">
                  <a:latin typeface="微软雅黑" pitchFamily="34" charset="-122"/>
                  <a:ea typeface="微软雅黑" pitchFamily="34" charset="-122"/>
                </a:endParaRPr>
              </a:p>
            </p:txBody>
          </p:sp>
        </p:grpSp>
        <p:sp>
          <p:nvSpPr>
            <p:cNvPr id="431" name="Right Arrow 430"/>
            <p:cNvSpPr/>
            <p:nvPr/>
          </p:nvSpPr>
          <p:spPr>
            <a:xfrm rot="5400000">
              <a:off x="4596424" y="2103395"/>
              <a:ext cx="1036557" cy="312517"/>
            </a:xfrm>
            <a:prstGeom prst="rightArrow">
              <a:avLst>
                <a:gd name="adj1" fmla="val 42593"/>
                <a:gd name="adj2" fmla="val 87037"/>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微软雅黑" pitchFamily="34" charset="-122"/>
                <a:ea typeface="微软雅黑" pitchFamily="34" charset="-122"/>
              </a:endParaRPr>
            </a:p>
          </p:txBody>
        </p:sp>
        <p:grpSp>
          <p:nvGrpSpPr>
            <p:cNvPr id="265" name="Group 264"/>
            <p:cNvGrpSpPr/>
            <p:nvPr/>
          </p:nvGrpSpPr>
          <p:grpSpPr>
            <a:xfrm>
              <a:off x="4592950" y="1949920"/>
              <a:ext cx="1043504" cy="321946"/>
              <a:chOff x="161386" y="1052961"/>
              <a:chExt cx="314542" cy="387627"/>
            </a:xfrm>
          </p:grpSpPr>
          <p:sp>
            <p:nvSpPr>
              <p:cNvPr id="266" name="Round Diagonal Corner Rectangle 265"/>
              <p:cNvSpPr/>
              <p:nvPr/>
            </p:nvSpPr>
            <p:spPr>
              <a:xfrm flipV="1">
                <a:off x="171035" y="1052961"/>
                <a:ext cx="291924" cy="387627"/>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00" dirty="0">
                  <a:latin typeface="微软雅黑" pitchFamily="34" charset="-122"/>
                  <a:ea typeface="微软雅黑" pitchFamily="34" charset="-122"/>
                </a:endParaRPr>
              </a:p>
            </p:txBody>
          </p:sp>
          <p:sp>
            <p:nvSpPr>
              <p:cNvPr id="267" name="Round Diagonal Corner Rectangle 266"/>
              <p:cNvSpPr/>
              <p:nvPr/>
            </p:nvSpPr>
            <p:spPr>
              <a:xfrm>
                <a:off x="161386" y="1052962"/>
                <a:ext cx="314542" cy="387626"/>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2300" dirty="0">
                    <a:latin typeface="微软雅黑" pitchFamily="34" charset="-122"/>
                    <a:ea typeface="微软雅黑" pitchFamily="34" charset="-122"/>
                  </a:rPr>
                  <a:t>发现</a:t>
                </a:r>
                <a:endParaRPr lang="en-US" sz="2300" dirty="0">
                  <a:latin typeface="微软雅黑" pitchFamily="34" charset="-122"/>
                  <a:ea typeface="微软雅黑" pitchFamily="34" charset="-122"/>
                </a:endParaRPr>
              </a:p>
            </p:txBody>
          </p:sp>
        </p:grpSp>
      </p:grpSp>
      <p:sp>
        <p:nvSpPr>
          <p:cNvPr id="3" name="Title 2"/>
          <p:cNvSpPr>
            <a:spLocks noGrp="1"/>
          </p:cNvSpPr>
          <p:nvPr>
            <p:ph type="title"/>
          </p:nvPr>
        </p:nvSpPr>
        <p:spPr>
          <a:xfrm>
            <a:off x="497909" y="351028"/>
            <a:ext cx="12513487" cy="612817"/>
          </a:xfrm>
        </p:spPr>
        <p:txBody>
          <a:bodyPr/>
          <a:lstStyle/>
          <a:p>
            <a:r>
              <a:rPr lang="zh-CN" altLang="en-US" dirty="0" smtClean="0">
                <a:solidFill>
                  <a:srgbClr val="C00000"/>
                </a:solidFill>
                <a:latin typeface="微软雅黑" pitchFamily="34" charset="-122"/>
                <a:ea typeface="微软雅黑" pitchFamily="34" charset="-122"/>
              </a:rPr>
              <a:t>如何应对新型的信息安全攻击</a:t>
            </a:r>
            <a:endParaRPr lang="en-US" b="0" dirty="0">
              <a:solidFill>
                <a:srgbClr val="C00000"/>
              </a:solidFill>
              <a:latin typeface="微软雅黑" pitchFamily="34" charset="-122"/>
              <a:ea typeface="微软雅黑" pitchFamily="34" charset="-122"/>
            </a:endParaRPr>
          </a:p>
        </p:txBody>
      </p:sp>
      <p:grpSp>
        <p:nvGrpSpPr>
          <p:cNvPr id="239" name="Group 105"/>
          <p:cNvGrpSpPr>
            <a:grpSpLocks/>
          </p:cNvGrpSpPr>
          <p:nvPr/>
        </p:nvGrpSpPr>
        <p:grpSpPr bwMode="auto">
          <a:xfrm>
            <a:off x="5470361" y="7480640"/>
            <a:ext cx="725602" cy="997507"/>
            <a:chOff x="7162800" y="1447800"/>
            <a:chExt cx="877888" cy="1328738"/>
          </a:xfrm>
          <a:solidFill>
            <a:schemeClr val="accent5"/>
          </a:solidFill>
        </p:grpSpPr>
        <p:sp>
          <p:nvSpPr>
            <p:cNvPr id="243" name="Freeform 191"/>
            <p:cNvSpPr>
              <a:spLocks/>
            </p:cNvSpPr>
            <p:nvPr/>
          </p:nvSpPr>
          <p:spPr bwMode="auto">
            <a:xfrm>
              <a:off x="7208838" y="1981200"/>
              <a:ext cx="488950" cy="500062"/>
            </a:xfrm>
            <a:custGeom>
              <a:avLst/>
              <a:gdLst>
                <a:gd name="T0" fmla="*/ 22742 w 43"/>
                <a:gd name="T1" fmla="*/ 465967 h 44"/>
                <a:gd name="T2" fmla="*/ 22742 w 43"/>
                <a:gd name="T3" fmla="*/ 431872 h 44"/>
                <a:gd name="T4" fmla="*/ 22742 w 43"/>
                <a:gd name="T5" fmla="*/ 431872 h 44"/>
                <a:gd name="T6" fmla="*/ 45484 w 43"/>
                <a:gd name="T7" fmla="*/ 431872 h 44"/>
                <a:gd name="T8" fmla="*/ 45484 w 43"/>
                <a:gd name="T9" fmla="*/ 431872 h 44"/>
                <a:gd name="T10" fmla="*/ 159193 w 43"/>
                <a:gd name="T11" fmla="*/ 454602 h 44"/>
                <a:gd name="T12" fmla="*/ 159193 w 43"/>
                <a:gd name="T13" fmla="*/ 454602 h 44"/>
                <a:gd name="T14" fmla="*/ 261531 w 43"/>
                <a:gd name="T15" fmla="*/ 443237 h 44"/>
                <a:gd name="T16" fmla="*/ 261531 w 43"/>
                <a:gd name="T17" fmla="*/ 443237 h 44"/>
                <a:gd name="T18" fmla="*/ 386612 w 43"/>
                <a:gd name="T19" fmla="*/ 329586 h 44"/>
                <a:gd name="T20" fmla="*/ 386612 w 43"/>
                <a:gd name="T21" fmla="*/ 329586 h 44"/>
                <a:gd name="T22" fmla="*/ 443466 w 43"/>
                <a:gd name="T23" fmla="*/ 204571 h 44"/>
                <a:gd name="T24" fmla="*/ 443466 w 43"/>
                <a:gd name="T25" fmla="*/ 204571 h 44"/>
                <a:gd name="T26" fmla="*/ 443466 w 43"/>
                <a:gd name="T27" fmla="*/ 181841 h 44"/>
                <a:gd name="T28" fmla="*/ 443466 w 43"/>
                <a:gd name="T29" fmla="*/ 181841 h 44"/>
                <a:gd name="T30" fmla="*/ 420724 w 43"/>
                <a:gd name="T31" fmla="*/ 90920 h 44"/>
                <a:gd name="T32" fmla="*/ 420724 w 43"/>
                <a:gd name="T33" fmla="*/ 90920 h 44"/>
                <a:gd name="T34" fmla="*/ 363870 w 43"/>
                <a:gd name="T35" fmla="*/ 45460 h 44"/>
                <a:gd name="T36" fmla="*/ 363870 w 43"/>
                <a:gd name="T37" fmla="*/ 45460 h 44"/>
                <a:gd name="T38" fmla="*/ 341128 w 43"/>
                <a:gd name="T39" fmla="*/ 56825 h 44"/>
                <a:gd name="T40" fmla="*/ 341128 w 43"/>
                <a:gd name="T41" fmla="*/ 56825 h 44"/>
                <a:gd name="T42" fmla="*/ 159193 w 43"/>
                <a:gd name="T43" fmla="*/ 215936 h 44"/>
                <a:gd name="T44" fmla="*/ 159193 w 43"/>
                <a:gd name="T45" fmla="*/ 215936 h 44"/>
                <a:gd name="T46" fmla="*/ 45484 w 43"/>
                <a:gd name="T47" fmla="*/ 397777 h 44"/>
                <a:gd name="T48" fmla="*/ 45484 w 43"/>
                <a:gd name="T49" fmla="*/ 397777 h 44"/>
                <a:gd name="T50" fmla="*/ 45484 w 43"/>
                <a:gd name="T51" fmla="*/ 397777 h 44"/>
                <a:gd name="T52" fmla="*/ 11371 w 43"/>
                <a:gd name="T53" fmla="*/ 397777 h 44"/>
                <a:gd name="T54" fmla="*/ 11371 w 43"/>
                <a:gd name="T55" fmla="*/ 397777 h 44"/>
                <a:gd name="T56" fmla="*/ 11371 w 43"/>
                <a:gd name="T57" fmla="*/ 363682 h 44"/>
                <a:gd name="T58" fmla="*/ 11371 w 43"/>
                <a:gd name="T59" fmla="*/ 363682 h 44"/>
                <a:gd name="T60" fmla="*/ 125080 w 43"/>
                <a:gd name="T61" fmla="*/ 193206 h 44"/>
                <a:gd name="T62" fmla="*/ 125080 w 43"/>
                <a:gd name="T63" fmla="*/ 193206 h 44"/>
                <a:gd name="T64" fmla="*/ 318386 w 43"/>
                <a:gd name="T65" fmla="*/ 11365 h 44"/>
                <a:gd name="T66" fmla="*/ 318386 w 43"/>
                <a:gd name="T67" fmla="*/ 11365 h 44"/>
                <a:gd name="T68" fmla="*/ 363870 w 43"/>
                <a:gd name="T69" fmla="*/ 0 h 44"/>
                <a:gd name="T70" fmla="*/ 363870 w 43"/>
                <a:gd name="T71" fmla="*/ 0 h 44"/>
                <a:gd name="T72" fmla="*/ 466208 w 43"/>
                <a:gd name="T73" fmla="*/ 68190 h 44"/>
                <a:gd name="T74" fmla="*/ 466208 w 43"/>
                <a:gd name="T75" fmla="*/ 68190 h 44"/>
                <a:gd name="T76" fmla="*/ 488950 w 43"/>
                <a:gd name="T77" fmla="*/ 181841 h 44"/>
                <a:gd name="T78" fmla="*/ 488950 w 43"/>
                <a:gd name="T79" fmla="*/ 181841 h 44"/>
                <a:gd name="T80" fmla="*/ 488950 w 43"/>
                <a:gd name="T81" fmla="*/ 204571 h 44"/>
                <a:gd name="T82" fmla="*/ 488950 w 43"/>
                <a:gd name="T83" fmla="*/ 204571 h 44"/>
                <a:gd name="T84" fmla="*/ 420724 w 43"/>
                <a:gd name="T85" fmla="*/ 363682 h 44"/>
                <a:gd name="T86" fmla="*/ 420724 w 43"/>
                <a:gd name="T87" fmla="*/ 363682 h 44"/>
                <a:gd name="T88" fmla="*/ 284273 w 43"/>
                <a:gd name="T89" fmla="*/ 477332 h 44"/>
                <a:gd name="T90" fmla="*/ 284273 w 43"/>
                <a:gd name="T91" fmla="*/ 477332 h 44"/>
                <a:gd name="T92" fmla="*/ 159193 w 43"/>
                <a:gd name="T93" fmla="*/ 500062 h 44"/>
                <a:gd name="T94" fmla="*/ 159193 w 43"/>
                <a:gd name="T95" fmla="*/ 500062 h 44"/>
                <a:gd name="T96" fmla="*/ 22742 w 43"/>
                <a:gd name="T97" fmla="*/ 465967 h 4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44"/>
                <a:gd name="T149" fmla="*/ 43 w 43"/>
                <a:gd name="T150" fmla="*/ 44 h 4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44">
                  <a:moveTo>
                    <a:pt x="2" y="41"/>
                  </a:moveTo>
                  <a:cubicBezTo>
                    <a:pt x="1" y="40"/>
                    <a:pt x="1" y="39"/>
                    <a:pt x="2" y="38"/>
                  </a:cubicBezTo>
                  <a:cubicBezTo>
                    <a:pt x="2" y="38"/>
                    <a:pt x="2" y="38"/>
                    <a:pt x="2" y="38"/>
                  </a:cubicBezTo>
                  <a:cubicBezTo>
                    <a:pt x="2" y="37"/>
                    <a:pt x="4" y="37"/>
                    <a:pt x="4" y="38"/>
                  </a:cubicBezTo>
                  <a:cubicBezTo>
                    <a:pt x="4" y="38"/>
                    <a:pt x="4" y="38"/>
                    <a:pt x="4" y="38"/>
                  </a:cubicBezTo>
                  <a:cubicBezTo>
                    <a:pt x="6" y="39"/>
                    <a:pt x="10" y="40"/>
                    <a:pt x="14" y="40"/>
                  </a:cubicBezTo>
                  <a:cubicBezTo>
                    <a:pt x="14" y="40"/>
                    <a:pt x="14" y="40"/>
                    <a:pt x="14" y="40"/>
                  </a:cubicBezTo>
                  <a:cubicBezTo>
                    <a:pt x="17" y="40"/>
                    <a:pt x="21" y="39"/>
                    <a:pt x="23" y="39"/>
                  </a:cubicBezTo>
                  <a:cubicBezTo>
                    <a:pt x="23" y="39"/>
                    <a:pt x="23" y="39"/>
                    <a:pt x="23" y="39"/>
                  </a:cubicBezTo>
                  <a:cubicBezTo>
                    <a:pt x="27" y="37"/>
                    <a:pt x="31" y="34"/>
                    <a:pt x="34" y="29"/>
                  </a:cubicBezTo>
                  <a:cubicBezTo>
                    <a:pt x="34" y="29"/>
                    <a:pt x="34" y="29"/>
                    <a:pt x="34" y="29"/>
                  </a:cubicBezTo>
                  <a:cubicBezTo>
                    <a:pt x="37" y="25"/>
                    <a:pt x="39" y="21"/>
                    <a:pt x="39" y="18"/>
                  </a:cubicBezTo>
                  <a:cubicBezTo>
                    <a:pt x="39" y="18"/>
                    <a:pt x="39" y="18"/>
                    <a:pt x="39" y="18"/>
                  </a:cubicBezTo>
                  <a:cubicBezTo>
                    <a:pt x="39" y="17"/>
                    <a:pt x="39" y="17"/>
                    <a:pt x="39" y="16"/>
                  </a:cubicBezTo>
                  <a:cubicBezTo>
                    <a:pt x="39" y="16"/>
                    <a:pt x="39" y="16"/>
                    <a:pt x="39" y="16"/>
                  </a:cubicBezTo>
                  <a:cubicBezTo>
                    <a:pt x="39" y="14"/>
                    <a:pt x="39" y="10"/>
                    <a:pt x="37" y="8"/>
                  </a:cubicBezTo>
                  <a:cubicBezTo>
                    <a:pt x="37" y="8"/>
                    <a:pt x="37" y="8"/>
                    <a:pt x="37" y="8"/>
                  </a:cubicBezTo>
                  <a:cubicBezTo>
                    <a:pt x="36" y="6"/>
                    <a:pt x="35" y="4"/>
                    <a:pt x="32" y="4"/>
                  </a:cubicBezTo>
                  <a:cubicBezTo>
                    <a:pt x="32" y="4"/>
                    <a:pt x="32" y="4"/>
                    <a:pt x="32" y="4"/>
                  </a:cubicBezTo>
                  <a:cubicBezTo>
                    <a:pt x="31" y="4"/>
                    <a:pt x="31" y="4"/>
                    <a:pt x="30" y="5"/>
                  </a:cubicBezTo>
                  <a:cubicBezTo>
                    <a:pt x="30" y="5"/>
                    <a:pt x="30" y="5"/>
                    <a:pt x="30" y="5"/>
                  </a:cubicBezTo>
                  <a:cubicBezTo>
                    <a:pt x="25" y="6"/>
                    <a:pt x="19" y="13"/>
                    <a:pt x="14" y="19"/>
                  </a:cubicBezTo>
                  <a:cubicBezTo>
                    <a:pt x="14" y="19"/>
                    <a:pt x="14" y="19"/>
                    <a:pt x="14" y="19"/>
                  </a:cubicBezTo>
                  <a:cubicBezTo>
                    <a:pt x="9" y="26"/>
                    <a:pt x="5" y="33"/>
                    <a:pt x="4" y="35"/>
                  </a:cubicBezTo>
                  <a:cubicBezTo>
                    <a:pt x="4" y="35"/>
                    <a:pt x="4" y="35"/>
                    <a:pt x="4" y="35"/>
                  </a:cubicBezTo>
                  <a:cubicBezTo>
                    <a:pt x="4" y="35"/>
                    <a:pt x="4" y="35"/>
                    <a:pt x="4" y="35"/>
                  </a:cubicBezTo>
                  <a:cubicBezTo>
                    <a:pt x="3" y="36"/>
                    <a:pt x="2" y="36"/>
                    <a:pt x="1" y="35"/>
                  </a:cubicBezTo>
                  <a:cubicBezTo>
                    <a:pt x="1" y="35"/>
                    <a:pt x="1" y="35"/>
                    <a:pt x="1" y="35"/>
                  </a:cubicBezTo>
                  <a:cubicBezTo>
                    <a:pt x="0" y="34"/>
                    <a:pt x="0" y="33"/>
                    <a:pt x="1" y="32"/>
                  </a:cubicBezTo>
                  <a:cubicBezTo>
                    <a:pt x="1" y="32"/>
                    <a:pt x="1" y="32"/>
                    <a:pt x="1" y="32"/>
                  </a:cubicBezTo>
                  <a:cubicBezTo>
                    <a:pt x="2" y="31"/>
                    <a:pt x="6" y="24"/>
                    <a:pt x="11" y="17"/>
                  </a:cubicBezTo>
                  <a:cubicBezTo>
                    <a:pt x="11" y="17"/>
                    <a:pt x="11" y="17"/>
                    <a:pt x="11" y="17"/>
                  </a:cubicBezTo>
                  <a:cubicBezTo>
                    <a:pt x="16" y="10"/>
                    <a:pt x="22" y="3"/>
                    <a:pt x="28" y="1"/>
                  </a:cubicBezTo>
                  <a:cubicBezTo>
                    <a:pt x="28" y="1"/>
                    <a:pt x="28" y="1"/>
                    <a:pt x="28" y="1"/>
                  </a:cubicBezTo>
                  <a:cubicBezTo>
                    <a:pt x="30" y="1"/>
                    <a:pt x="31" y="0"/>
                    <a:pt x="32" y="0"/>
                  </a:cubicBezTo>
                  <a:cubicBezTo>
                    <a:pt x="32" y="0"/>
                    <a:pt x="32" y="0"/>
                    <a:pt x="32" y="0"/>
                  </a:cubicBezTo>
                  <a:cubicBezTo>
                    <a:pt x="36" y="0"/>
                    <a:pt x="39" y="3"/>
                    <a:pt x="41" y="6"/>
                  </a:cubicBezTo>
                  <a:cubicBezTo>
                    <a:pt x="41" y="6"/>
                    <a:pt x="41" y="6"/>
                    <a:pt x="41" y="6"/>
                  </a:cubicBezTo>
                  <a:cubicBezTo>
                    <a:pt x="43" y="9"/>
                    <a:pt x="43" y="13"/>
                    <a:pt x="43" y="16"/>
                  </a:cubicBezTo>
                  <a:cubicBezTo>
                    <a:pt x="43" y="16"/>
                    <a:pt x="43" y="16"/>
                    <a:pt x="43" y="16"/>
                  </a:cubicBezTo>
                  <a:cubicBezTo>
                    <a:pt x="43" y="17"/>
                    <a:pt x="43" y="18"/>
                    <a:pt x="43" y="18"/>
                  </a:cubicBezTo>
                  <a:cubicBezTo>
                    <a:pt x="43" y="18"/>
                    <a:pt x="43" y="18"/>
                    <a:pt x="43" y="18"/>
                  </a:cubicBezTo>
                  <a:cubicBezTo>
                    <a:pt x="43" y="22"/>
                    <a:pt x="41" y="27"/>
                    <a:pt x="37" y="32"/>
                  </a:cubicBezTo>
                  <a:cubicBezTo>
                    <a:pt x="37" y="32"/>
                    <a:pt x="37" y="32"/>
                    <a:pt x="37" y="32"/>
                  </a:cubicBezTo>
                  <a:cubicBezTo>
                    <a:pt x="34" y="36"/>
                    <a:pt x="29" y="40"/>
                    <a:pt x="25" y="42"/>
                  </a:cubicBezTo>
                  <a:cubicBezTo>
                    <a:pt x="25" y="42"/>
                    <a:pt x="25" y="42"/>
                    <a:pt x="25" y="42"/>
                  </a:cubicBezTo>
                  <a:cubicBezTo>
                    <a:pt x="22" y="43"/>
                    <a:pt x="18" y="44"/>
                    <a:pt x="14" y="44"/>
                  </a:cubicBezTo>
                  <a:cubicBezTo>
                    <a:pt x="14" y="44"/>
                    <a:pt x="14" y="44"/>
                    <a:pt x="14" y="44"/>
                  </a:cubicBezTo>
                  <a:cubicBezTo>
                    <a:pt x="10" y="44"/>
                    <a:pt x="5" y="43"/>
                    <a:pt x="2" y="41"/>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44" name="Freeform 192"/>
            <p:cNvSpPr>
              <a:spLocks/>
            </p:cNvSpPr>
            <p:nvPr/>
          </p:nvSpPr>
          <p:spPr bwMode="auto">
            <a:xfrm>
              <a:off x="7310438" y="2084387"/>
              <a:ext cx="307975" cy="306387"/>
            </a:xfrm>
            <a:custGeom>
              <a:avLst/>
              <a:gdLst>
                <a:gd name="T0" fmla="*/ 22813 w 27"/>
                <a:gd name="T1" fmla="*/ 306387 h 27"/>
                <a:gd name="T2" fmla="*/ 0 w 27"/>
                <a:gd name="T3" fmla="*/ 283692 h 27"/>
                <a:gd name="T4" fmla="*/ 0 w 27"/>
                <a:gd name="T5" fmla="*/ 283692 h 27"/>
                <a:gd name="T6" fmla="*/ 34219 w 27"/>
                <a:gd name="T7" fmla="*/ 260996 h 27"/>
                <a:gd name="T8" fmla="*/ 34219 w 27"/>
                <a:gd name="T9" fmla="*/ 260996 h 27"/>
                <a:gd name="T10" fmla="*/ 57032 w 27"/>
                <a:gd name="T11" fmla="*/ 260996 h 27"/>
                <a:gd name="T12" fmla="*/ 57032 w 27"/>
                <a:gd name="T13" fmla="*/ 260996 h 27"/>
                <a:gd name="T14" fmla="*/ 171097 w 27"/>
                <a:gd name="T15" fmla="*/ 238301 h 27"/>
                <a:gd name="T16" fmla="*/ 171097 w 27"/>
                <a:gd name="T17" fmla="*/ 238301 h 27"/>
                <a:gd name="T18" fmla="*/ 262349 w 27"/>
                <a:gd name="T19" fmla="*/ 124824 h 27"/>
                <a:gd name="T20" fmla="*/ 262349 w 27"/>
                <a:gd name="T21" fmla="*/ 124824 h 27"/>
                <a:gd name="T22" fmla="*/ 262349 w 27"/>
                <a:gd name="T23" fmla="*/ 102129 h 27"/>
                <a:gd name="T24" fmla="*/ 262349 w 27"/>
                <a:gd name="T25" fmla="*/ 102129 h 27"/>
                <a:gd name="T26" fmla="*/ 250943 w 27"/>
                <a:gd name="T27" fmla="*/ 56738 h 27"/>
                <a:gd name="T28" fmla="*/ 250943 w 27"/>
                <a:gd name="T29" fmla="*/ 56738 h 27"/>
                <a:gd name="T30" fmla="*/ 228130 w 27"/>
                <a:gd name="T31" fmla="*/ 45391 h 27"/>
                <a:gd name="T32" fmla="*/ 228130 w 27"/>
                <a:gd name="T33" fmla="*/ 45391 h 27"/>
                <a:gd name="T34" fmla="*/ 228130 w 27"/>
                <a:gd name="T35" fmla="*/ 45391 h 27"/>
                <a:gd name="T36" fmla="*/ 228130 w 27"/>
                <a:gd name="T37" fmla="*/ 45391 h 27"/>
                <a:gd name="T38" fmla="*/ 148284 w 27"/>
                <a:gd name="T39" fmla="*/ 113477 h 27"/>
                <a:gd name="T40" fmla="*/ 148284 w 27"/>
                <a:gd name="T41" fmla="*/ 113477 h 27"/>
                <a:gd name="T42" fmla="*/ 102658 w 27"/>
                <a:gd name="T43" fmla="*/ 192910 h 27"/>
                <a:gd name="T44" fmla="*/ 102658 w 27"/>
                <a:gd name="T45" fmla="*/ 192910 h 27"/>
                <a:gd name="T46" fmla="*/ 68439 w 27"/>
                <a:gd name="T47" fmla="*/ 192910 h 27"/>
                <a:gd name="T48" fmla="*/ 68439 w 27"/>
                <a:gd name="T49" fmla="*/ 192910 h 27"/>
                <a:gd name="T50" fmla="*/ 57032 w 27"/>
                <a:gd name="T51" fmla="*/ 158867 h 27"/>
                <a:gd name="T52" fmla="*/ 57032 w 27"/>
                <a:gd name="T53" fmla="*/ 158867 h 27"/>
                <a:gd name="T54" fmla="*/ 114065 w 27"/>
                <a:gd name="T55" fmla="*/ 79434 h 27"/>
                <a:gd name="T56" fmla="*/ 114065 w 27"/>
                <a:gd name="T57" fmla="*/ 79434 h 27"/>
                <a:gd name="T58" fmla="*/ 216723 w 27"/>
                <a:gd name="T59" fmla="*/ 0 h 27"/>
                <a:gd name="T60" fmla="*/ 216723 w 27"/>
                <a:gd name="T61" fmla="*/ 0 h 27"/>
                <a:gd name="T62" fmla="*/ 228130 w 27"/>
                <a:gd name="T63" fmla="*/ 0 h 27"/>
                <a:gd name="T64" fmla="*/ 228130 w 27"/>
                <a:gd name="T65" fmla="*/ 0 h 27"/>
                <a:gd name="T66" fmla="*/ 285162 w 27"/>
                <a:gd name="T67" fmla="*/ 34043 h 27"/>
                <a:gd name="T68" fmla="*/ 285162 w 27"/>
                <a:gd name="T69" fmla="*/ 34043 h 27"/>
                <a:gd name="T70" fmla="*/ 307975 w 27"/>
                <a:gd name="T71" fmla="*/ 102129 h 27"/>
                <a:gd name="T72" fmla="*/ 307975 w 27"/>
                <a:gd name="T73" fmla="*/ 102129 h 27"/>
                <a:gd name="T74" fmla="*/ 307975 w 27"/>
                <a:gd name="T75" fmla="*/ 136172 h 27"/>
                <a:gd name="T76" fmla="*/ 307975 w 27"/>
                <a:gd name="T77" fmla="*/ 136172 h 27"/>
                <a:gd name="T78" fmla="*/ 182504 w 27"/>
                <a:gd name="T79" fmla="*/ 283692 h 27"/>
                <a:gd name="T80" fmla="*/ 182504 w 27"/>
                <a:gd name="T81" fmla="*/ 283692 h 27"/>
                <a:gd name="T82" fmla="*/ 57032 w 27"/>
                <a:gd name="T83" fmla="*/ 306387 h 27"/>
                <a:gd name="T84" fmla="*/ 57032 w 27"/>
                <a:gd name="T85" fmla="*/ 306387 h 27"/>
                <a:gd name="T86" fmla="*/ 22813 w 27"/>
                <a:gd name="T87" fmla="*/ 306387 h 2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7"/>
                <a:gd name="T133" fmla="*/ 0 h 27"/>
                <a:gd name="T134" fmla="*/ 27 w 27"/>
                <a:gd name="T135" fmla="*/ 27 h 2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7" h="27">
                  <a:moveTo>
                    <a:pt x="2" y="27"/>
                  </a:moveTo>
                  <a:cubicBezTo>
                    <a:pt x="1" y="27"/>
                    <a:pt x="0" y="26"/>
                    <a:pt x="0" y="25"/>
                  </a:cubicBezTo>
                  <a:cubicBezTo>
                    <a:pt x="0" y="25"/>
                    <a:pt x="0" y="25"/>
                    <a:pt x="0" y="25"/>
                  </a:cubicBezTo>
                  <a:cubicBezTo>
                    <a:pt x="0" y="24"/>
                    <a:pt x="1" y="23"/>
                    <a:pt x="3" y="23"/>
                  </a:cubicBezTo>
                  <a:cubicBezTo>
                    <a:pt x="3" y="23"/>
                    <a:pt x="3" y="23"/>
                    <a:pt x="3" y="23"/>
                  </a:cubicBezTo>
                  <a:cubicBezTo>
                    <a:pt x="3" y="23"/>
                    <a:pt x="4" y="23"/>
                    <a:pt x="5" y="23"/>
                  </a:cubicBezTo>
                  <a:cubicBezTo>
                    <a:pt x="5" y="23"/>
                    <a:pt x="5" y="23"/>
                    <a:pt x="5" y="23"/>
                  </a:cubicBezTo>
                  <a:cubicBezTo>
                    <a:pt x="8" y="23"/>
                    <a:pt x="11" y="23"/>
                    <a:pt x="15" y="21"/>
                  </a:cubicBezTo>
                  <a:cubicBezTo>
                    <a:pt x="15" y="21"/>
                    <a:pt x="15" y="21"/>
                    <a:pt x="15" y="21"/>
                  </a:cubicBezTo>
                  <a:cubicBezTo>
                    <a:pt x="18" y="20"/>
                    <a:pt x="22" y="14"/>
                    <a:pt x="23" y="11"/>
                  </a:cubicBezTo>
                  <a:cubicBezTo>
                    <a:pt x="23" y="11"/>
                    <a:pt x="23" y="11"/>
                    <a:pt x="23" y="11"/>
                  </a:cubicBezTo>
                  <a:cubicBezTo>
                    <a:pt x="23" y="10"/>
                    <a:pt x="23" y="10"/>
                    <a:pt x="23" y="9"/>
                  </a:cubicBezTo>
                  <a:cubicBezTo>
                    <a:pt x="23" y="9"/>
                    <a:pt x="23" y="9"/>
                    <a:pt x="23" y="9"/>
                  </a:cubicBezTo>
                  <a:cubicBezTo>
                    <a:pt x="23" y="8"/>
                    <a:pt x="22" y="6"/>
                    <a:pt x="22" y="5"/>
                  </a:cubicBezTo>
                  <a:cubicBezTo>
                    <a:pt x="22" y="5"/>
                    <a:pt x="22" y="5"/>
                    <a:pt x="22" y="5"/>
                  </a:cubicBezTo>
                  <a:cubicBezTo>
                    <a:pt x="21" y="4"/>
                    <a:pt x="21" y="4"/>
                    <a:pt x="20" y="4"/>
                  </a:cubicBezTo>
                  <a:cubicBezTo>
                    <a:pt x="20" y="4"/>
                    <a:pt x="20" y="4"/>
                    <a:pt x="20" y="4"/>
                  </a:cubicBezTo>
                  <a:cubicBezTo>
                    <a:pt x="20" y="4"/>
                    <a:pt x="20" y="4"/>
                    <a:pt x="20" y="4"/>
                  </a:cubicBezTo>
                  <a:cubicBezTo>
                    <a:pt x="20" y="4"/>
                    <a:pt x="20" y="4"/>
                    <a:pt x="20" y="4"/>
                  </a:cubicBezTo>
                  <a:cubicBezTo>
                    <a:pt x="18" y="4"/>
                    <a:pt x="16" y="7"/>
                    <a:pt x="13" y="10"/>
                  </a:cubicBezTo>
                  <a:cubicBezTo>
                    <a:pt x="13" y="10"/>
                    <a:pt x="13" y="10"/>
                    <a:pt x="13" y="10"/>
                  </a:cubicBezTo>
                  <a:cubicBezTo>
                    <a:pt x="11" y="13"/>
                    <a:pt x="9" y="16"/>
                    <a:pt x="9" y="17"/>
                  </a:cubicBezTo>
                  <a:cubicBezTo>
                    <a:pt x="9" y="17"/>
                    <a:pt x="9" y="17"/>
                    <a:pt x="9" y="17"/>
                  </a:cubicBezTo>
                  <a:cubicBezTo>
                    <a:pt x="8" y="17"/>
                    <a:pt x="7" y="18"/>
                    <a:pt x="6" y="17"/>
                  </a:cubicBezTo>
                  <a:cubicBezTo>
                    <a:pt x="6" y="17"/>
                    <a:pt x="6" y="17"/>
                    <a:pt x="6" y="17"/>
                  </a:cubicBezTo>
                  <a:cubicBezTo>
                    <a:pt x="5" y="16"/>
                    <a:pt x="5" y="15"/>
                    <a:pt x="5" y="14"/>
                  </a:cubicBezTo>
                  <a:cubicBezTo>
                    <a:pt x="5" y="14"/>
                    <a:pt x="5" y="14"/>
                    <a:pt x="5" y="14"/>
                  </a:cubicBezTo>
                  <a:cubicBezTo>
                    <a:pt x="6" y="14"/>
                    <a:pt x="8" y="10"/>
                    <a:pt x="10" y="7"/>
                  </a:cubicBezTo>
                  <a:cubicBezTo>
                    <a:pt x="10" y="7"/>
                    <a:pt x="10" y="7"/>
                    <a:pt x="10" y="7"/>
                  </a:cubicBezTo>
                  <a:cubicBezTo>
                    <a:pt x="13" y="4"/>
                    <a:pt x="15" y="1"/>
                    <a:pt x="19" y="0"/>
                  </a:cubicBezTo>
                  <a:cubicBezTo>
                    <a:pt x="19" y="0"/>
                    <a:pt x="19" y="0"/>
                    <a:pt x="19" y="0"/>
                  </a:cubicBezTo>
                  <a:cubicBezTo>
                    <a:pt x="19" y="0"/>
                    <a:pt x="20" y="0"/>
                    <a:pt x="20" y="0"/>
                  </a:cubicBezTo>
                  <a:cubicBezTo>
                    <a:pt x="20" y="0"/>
                    <a:pt x="20" y="0"/>
                    <a:pt x="20" y="0"/>
                  </a:cubicBezTo>
                  <a:cubicBezTo>
                    <a:pt x="23" y="0"/>
                    <a:pt x="24" y="2"/>
                    <a:pt x="25" y="3"/>
                  </a:cubicBezTo>
                  <a:cubicBezTo>
                    <a:pt x="25" y="3"/>
                    <a:pt x="25" y="3"/>
                    <a:pt x="25" y="3"/>
                  </a:cubicBezTo>
                  <a:cubicBezTo>
                    <a:pt x="26" y="5"/>
                    <a:pt x="27" y="7"/>
                    <a:pt x="27" y="9"/>
                  </a:cubicBezTo>
                  <a:cubicBezTo>
                    <a:pt x="27" y="9"/>
                    <a:pt x="27" y="9"/>
                    <a:pt x="27" y="9"/>
                  </a:cubicBezTo>
                  <a:cubicBezTo>
                    <a:pt x="27" y="10"/>
                    <a:pt x="27" y="11"/>
                    <a:pt x="27" y="12"/>
                  </a:cubicBezTo>
                  <a:cubicBezTo>
                    <a:pt x="27" y="12"/>
                    <a:pt x="27" y="12"/>
                    <a:pt x="27" y="12"/>
                  </a:cubicBezTo>
                  <a:cubicBezTo>
                    <a:pt x="26" y="16"/>
                    <a:pt x="22" y="22"/>
                    <a:pt x="16" y="25"/>
                  </a:cubicBezTo>
                  <a:cubicBezTo>
                    <a:pt x="16" y="25"/>
                    <a:pt x="16" y="25"/>
                    <a:pt x="16" y="25"/>
                  </a:cubicBezTo>
                  <a:cubicBezTo>
                    <a:pt x="12" y="27"/>
                    <a:pt x="8" y="27"/>
                    <a:pt x="5" y="27"/>
                  </a:cubicBezTo>
                  <a:cubicBezTo>
                    <a:pt x="5" y="27"/>
                    <a:pt x="5" y="27"/>
                    <a:pt x="5" y="27"/>
                  </a:cubicBezTo>
                  <a:cubicBezTo>
                    <a:pt x="4" y="27"/>
                    <a:pt x="3" y="27"/>
                    <a:pt x="2" y="27"/>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45" name="Freeform 193"/>
            <p:cNvSpPr>
              <a:spLocks/>
            </p:cNvSpPr>
            <p:nvPr/>
          </p:nvSpPr>
          <p:spPr bwMode="auto">
            <a:xfrm>
              <a:off x="7435850" y="2185988"/>
              <a:ext cx="103188" cy="114300"/>
            </a:xfrm>
            <a:custGeom>
              <a:avLst/>
              <a:gdLst>
                <a:gd name="T0" fmla="*/ 11465 w 9"/>
                <a:gd name="T1" fmla="*/ 114300 h 10"/>
                <a:gd name="T2" fmla="*/ 11465 w 9"/>
                <a:gd name="T3" fmla="*/ 80010 h 10"/>
                <a:gd name="T4" fmla="*/ 11465 w 9"/>
                <a:gd name="T5" fmla="*/ 80010 h 10"/>
                <a:gd name="T6" fmla="*/ 45861 w 9"/>
                <a:gd name="T7" fmla="*/ 45720 h 10"/>
                <a:gd name="T8" fmla="*/ 45861 w 9"/>
                <a:gd name="T9" fmla="*/ 45720 h 10"/>
                <a:gd name="T10" fmla="*/ 57327 w 9"/>
                <a:gd name="T11" fmla="*/ 11430 h 10"/>
                <a:gd name="T12" fmla="*/ 57327 w 9"/>
                <a:gd name="T13" fmla="*/ 11430 h 10"/>
                <a:gd name="T14" fmla="*/ 91723 w 9"/>
                <a:gd name="T15" fmla="*/ 0 h 10"/>
                <a:gd name="T16" fmla="*/ 91723 w 9"/>
                <a:gd name="T17" fmla="*/ 0 h 10"/>
                <a:gd name="T18" fmla="*/ 103188 w 9"/>
                <a:gd name="T19" fmla="*/ 34290 h 10"/>
                <a:gd name="T20" fmla="*/ 103188 w 9"/>
                <a:gd name="T21" fmla="*/ 34290 h 10"/>
                <a:gd name="T22" fmla="*/ 80257 w 9"/>
                <a:gd name="T23" fmla="*/ 80010 h 10"/>
                <a:gd name="T24" fmla="*/ 80257 w 9"/>
                <a:gd name="T25" fmla="*/ 80010 h 10"/>
                <a:gd name="T26" fmla="*/ 45861 w 9"/>
                <a:gd name="T27" fmla="*/ 102870 h 10"/>
                <a:gd name="T28" fmla="*/ 45861 w 9"/>
                <a:gd name="T29" fmla="*/ 102870 h 10"/>
                <a:gd name="T30" fmla="*/ 45861 w 9"/>
                <a:gd name="T31" fmla="*/ 102870 h 10"/>
                <a:gd name="T32" fmla="*/ 22931 w 9"/>
                <a:gd name="T33" fmla="*/ 114300 h 10"/>
                <a:gd name="T34" fmla="*/ 22931 w 9"/>
                <a:gd name="T35" fmla="*/ 114300 h 10"/>
                <a:gd name="T36" fmla="*/ 11465 w 9"/>
                <a:gd name="T37" fmla="*/ 114300 h 1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
                <a:gd name="T58" fmla="*/ 0 h 10"/>
                <a:gd name="T59" fmla="*/ 9 w 9"/>
                <a:gd name="T60" fmla="*/ 10 h 1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 h="10">
                  <a:moveTo>
                    <a:pt x="1" y="10"/>
                  </a:moveTo>
                  <a:cubicBezTo>
                    <a:pt x="0" y="9"/>
                    <a:pt x="0" y="8"/>
                    <a:pt x="1" y="7"/>
                  </a:cubicBezTo>
                  <a:cubicBezTo>
                    <a:pt x="1" y="7"/>
                    <a:pt x="1" y="7"/>
                    <a:pt x="1" y="7"/>
                  </a:cubicBezTo>
                  <a:cubicBezTo>
                    <a:pt x="2" y="5"/>
                    <a:pt x="3" y="5"/>
                    <a:pt x="4" y="4"/>
                  </a:cubicBezTo>
                  <a:cubicBezTo>
                    <a:pt x="4" y="4"/>
                    <a:pt x="4" y="4"/>
                    <a:pt x="4" y="4"/>
                  </a:cubicBezTo>
                  <a:cubicBezTo>
                    <a:pt x="4" y="4"/>
                    <a:pt x="5" y="3"/>
                    <a:pt x="5" y="1"/>
                  </a:cubicBezTo>
                  <a:cubicBezTo>
                    <a:pt x="5" y="1"/>
                    <a:pt x="5" y="1"/>
                    <a:pt x="5" y="1"/>
                  </a:cubicBezTo>
                  <a:cubicBezTo>
                    <a:pt x="6" y="0"/>
                    <a:pt x="7" y="0"/>
                    <a:pt x="8" y="0"/>
                  </a:cubicBezTo>
                  <a:cubicBezTo>
                    <a:pt x="8" y="0"/>
                    <a:pt x="8" y="0"/>
                    <a:pt x="8" y="0"/>
                  </a:cubicBezTo>
                  <a:cubicBezTo>
                    <a:pt x="9" y="0"/>
                    <a:pt x="9" y="1"/>
                    <a:pt x="9" y="3"/>
                  </a:cubicBezTo>
                  <a:cubicBezTo>
                    <a:pt x="9" y="3"/>
                    <a:pt x="9" y="3"/>
                    <a:pt x="9" y="3"/>
                  </a:cubicBezTo>
                  <a:cubicBezTo>
                    <a:pt x="8" y="5"/>
                    <a:pt x="8" y="6"/>
                    <a:pt x="7" y="7"/>
                  </a:cubicBezTo>
                  <a:cubicBezTo>
                    <a:pt x="7" y="7"/>
                    <a:pt x="7" y="7"/>
                    <a:pt x="7" y="7"/>
                  </a:cubicBezTo>
                  <a:cubicBezTo>
                    <a:pt x="6" y="8"/>
                    <a:pt x="5" y="8"/>
                    <a:pt x="4" y="9"/>
                  </a:cubicBezTo>
                  <a:cubicBezTo>
                    <a:pt x="4" y="9"/>
                    <a:pt x="4" y="9"/>
                    <a:pt x="4" y="9"/>
                  </a:cubicBezTo>
                  <a:cubicBezTo>
                    <a:pt x="4" y="9"/>
                    <a:pt x="4" y="9"/>
                    <a:pt x="4" y="9"/>
                  </a:cubicBezTo>
                  <a:cubicBezTo>
                    <a:pt x="3" y="10"/>
                    <a:pt x="3" y="10"/>
                    <a:pt x="2" y="10"/>
                  </a:cubicBezTo>
                  <a:cubicBezTo>
                    <a:pt x="2" y="10"/>
                    <a:pt x="2" y="10"/>
                    <a:pt x="2" y="10"/>
                  </a:cubicBezTo>
                  <a:cubicBezTo>
                    <a:pt x="2" y="10"/>
                    <a:pt x="1" y="10"/>
                    <a:pt x="1" y="10"/>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46" name="Freeform 194"/>
            <p:cNvSpPr>
              <a:spLocks/>
            </p:cNvSpPr>
            <p:nvPr/>
          </p:nvSpPr>
          <p:spPr bwMode="auto">
            <a:xfrm>
              <a:off x="7277100" y="2117726"/>
              <a:ext cx="717550" cy="465137"/>
            </a:xfrm>
            <a:custGeom>
              <a:avLst/>
              <a:gdLst>
                <a:gd name="T0" fmla="*/ 0 w 63"/>
                <a:gd name="T1" fmla="*/ 442447 h 41"/>
                <a:gd name="T2" fmla="*/ 22779 w 63"/>
                <a:gd name="T3" fmla="*/ 419758 h 41"/>
                <a:gd name="T4" fmla="*/ 22779 w 63"/>
                <a:gd name="T5" fmla="*/ 419758 h 41"/>
                <a:gd name="T6" fmla="*/ 364470 w 63"/>
                <a:gd name="T7" fmla="*/ 260931 h 41"/>
                <a:gd name="T8" fmla="*/ 364470 w 63"/>
                <a:gd name="T9" fmla="*/ 260931 h 41"/>
                <a:gd name="T10" fmla="*/ 444198 w 63"/>
                <a:gd name="T11" fmla="*/ 45379 h 41"/>
                <a:gd name="T12" fmla="*/ 444198 w 63"/>
                <a:gd name="T13" fmla="*/ 45379 h 41"/>
                <a:gd name="T14" fmla="*/ 444198 w 63"/>
                <a:gd name="T15" fmla="*/ 22690 h 41"/>
                <a:gd name="T16" fmla="*/ 444198 w 63"/>
                <a:gd name="T17" fmla="*/ 22690 h 41"/>
                <a:gd name="T18" fmla="*/ 466977 w 63"/>
                <a:gd name="T19" fmla="*/ 0 h 41"/>
                <a:gd name="T20" fmla="*/ 466977 w 63"/>
                <a:gd name="T21" fmla="*/ 0 h 41"/>
                <a:gd name="T22" fmla="*/ 489756 w 63"/>
                <a:gd name="T23" fmla="*/ 11345 h 41"/>
                <a:gd name="T24" fmla="*/ 489756 w 63"/>
                <a:gd name="T25" fmla="*/ 11345 h 41"/>
                <a:gd name="T26" fmla="*/ 489756 w 63"/>
                <a:gd name="T27" fmla="*/ 22690 h 41"/>
                <a:gd name="T28" fmla="*/ 489756 w 63"/>
                <a:gd name="T29" fmla="*/ 22690 h 41"/>
                <a:gd name="T30" fmla="*/ 501146 w 63"/>
                <a:gd name="T31" fmla="*/ 34034 h 41"/>
                <a:gd name="T32" fmla="*/ 501146 w 63"/>
                <a:gd name="T33" fmla="*/ 34034 h 41"/>
                <a:gd name="T34" fmla="*/ 535315 w 63"/>
                <a:gd name="T35" fmla="*/ 102103 h 41"/>
                <a:gd name="T36" fmla="*/ 535315 w 63"/>
                <a:gd name="T37" fmla="*/ 102103 h 41"/>
                <a:gd name="T38" fmla="*/ 694771 w 63"/>
                <a:gd name="T39" fmla="*/ 272275 h 41"/>
                <a:gd name="T40" fmla="*/ 694771 w 63"/>
                <a:gd name="T41" fmla="*/ 272275 h 41"/>
                <a:gd name="T42" fmla="*/ 706160 w 63"/>
                <a:gd name="T43" fmla="*/ 294965 h 41"/>
                <a:gd name="T44" fmla="*/ 706160 w 63"/>
                <a:gd name="T45" fmla="*/ 294965 h 41"/>
                <a:gd name="T46" fmla="*/ 671991 w 63"/>
                <a:gd name="T47" fmla="*/ 306310 h 41"/>
                <a:gd name="T48" fmla="*/ 671991 w 63"/>
                <a:gd name="T49" fmla="*/ 306310 h 41"/>
                <a:gd name="T50" fmla="*/ 478367 w 63"/>
                <a:gd name="T51" fmla="*/ 113448 h 41"/>
                <a:gd name="T52" fmla="*/ 478367 w 63"/>
                <a:gd name="T53" fmla="*/ 113448 h 41"/>
                <a:gd name="T54" fmla="*/ 398639 w 63"/>
                <a:gd name="T55" fmla="*/ 283620 h 41"/>
                <a:gd name="T56" fmla="*/ 398639 w 63"/>
                <a:gd name="T57" fmla="*/ 283620 h 41"/>
                <a:gd name="T58" fmla="*/ 22779 w 63"/>
                <a:gd name="T59" fmla="*/ 465137 h 41"/>
                <a:gd name="T60" fmla="*/ 22779 w 63"/>
                <a:gd name="T61" fmla="*/ 465137 h 41"/>
                <a:gd name="T62" fmla="*/ 22779 w 63"/>
                <a:gd name="T63" fmla="*/ 465137 h 41"/>
                <a:gd name="T64" fmla="*/ 22779 w 63"/>
                <a:gd name="T65" fmla="*/ 465137 h 41"/>
                <a:gd name="T66" fmla="*/ 0 w 63"/>
                <a:gd name="T67" fmla="*/ 442447 h 4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3"/>
                <a:gd name="T103" fmla="*/ 0 h 41"/>
                <a:gd name="T104" fmla="*/ 63 w 63"/>
                <a:gd name="T105" fmla="*/ 41 h 4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3" h="41">
                  <a:moveTo>
                    <a:pt x="0" y="39"/>
                  </a:moveTo>
                  <a:cubicBezTo>
                    <a:pt x="0" y="38"/>
                    <a:pt x="1" y="37"/>
                    <a:pt x="2" y="37"/>
                  </a:cubicBezTo>
                  <a:cubicBezTo>
                    <a:pt x="2" y="37"/>
                    <a:pt x="2" y="37"/>
                    <a:pt x="2" y="37"/>
                  </a:cubicBezTo>
                  <a:cubicBezTo>
                    <a:pt x="18" y="35"/>
                    <a:pt x="27" y="29"/>
                    <a:pt x="32" y="23"/>
                  </a:cubicBezTo>
                  <a:cubicBezTo>
                    <a:pt x="32" y="23"/>
                    <a:pt x="32" y="23"/>
                    <a:pt x="32" y="23"/>
                  </a:cubicBezTo>
                  <a:cubicBezTo>
                    <a:pt x="38" y="16"/>
                    <a:pt x="39" y="8"/>
                    <a:pt x="39" y="4"/>
                  </a:cubicBezTo>
                  <a:cubicBezTo>
                    <a:pt x="39" y="4"/>
                    <a:pt x="39" y="4"/>
                    <a:pt x="39" y="4"/>
                  </a:cubicBezTo>
                  <a:cubicBezTo>
                    <a:pt x="39" y="3"/>
                    <a:pt x="39" y="2"/>
                    <a:pt x="39" y="2"/>
                  </a:cubicBezTo>
                  <a:cubicBezTo>
                    <a:pt x="39" y="2"/>
                    <a:pt x="39" y="2"/>
                    <a:pt x="39" y="2"/>
                  </a:cubicBezTo>
                  <a:cubicBezTo>
                    <a:pt x="39" y="1"/>
                    <a:pt x="40" y="0"/>
                    <a:pt x="41" y="0"/>
                  </a:cubicBezTo>
                  <a:cubicBezTo>
                    <a:pt x="41" y="0"/>
                    <a:pt x="41" y="0"/>
                    <a:pt x="41" y="0"/>
                  </a:cubicBezTo>
                  <a:cubicBezTo>
                    <a:pt x="42" y="0"/>
                    <a:pt x="43" y="0"/>
                    <a:pt x="43" y="1"/>
                  </a:cubicBezTo>
                  <a:cubicBezTo>
                    <a:pt x="43" y="1"/>
                    <a:pt x="43" y="1"/>
                    <a:pt x="43" y="1"/>
                  </a:cubicBezTo>
                  <a:cubicBezTo>
                    <a:pt x="43" y="1"/>
                    <a:pt x="43" y="1"/>
                    <a:pt x="43" y="2"/>
                  </a:cubicBezTo>
                  <a:cubicBezTo>
                    <a:pt x="43" y="2"/>
                    <a:pt x="43" y="2"/>
                    <a:pt x="43" y="2"/>
                  </a:cubicBezTo>
                  <a:cubicBezTo>
                    <a:pt x="43" y="2"/>
                    <a:pt x="43" y="3"/>
                    <a:pt x="44" y="3"/>
                  </a:cubicBezTo>
                  <a:cubicBezTo>
                    <a:pt x="44" y="3"/>
                    <a:pt x="44" y="3"/>
                    <a:pt x="44" y="3"/>
                  </a:cubicBezTo>
                  <a:cubicBezTo>
                    <a:pt x="44" y="5"/>
                    <a:pt x="45" y="7"/>
                    <a:pt x="47" y="9"/>
                  </a:cubicBezTo>
                  <a:cubicBezTo>
                    <a:pt x="47" y="9"/>
                    <a:pt x="47" y="9"/>
                    <a:pt x="47" y="9"/>
                  </a:cubicBezTo>
                  <a:cubicBezTo>
                    <a:pt x="50" y="14"/>
                    <a:pt x="54" y="19"/>
                    <a:pt x="61" y="24"/>
                  </a:cubicBezTo>
                  <a:cubicBezTo>
                    <a:pt x="61" y="24"/>
                    <a:pt x="61" y="24"/>
                    <a:pt x="61" y="24"/>
                  </a:cubicBezTo>
                  <a:cubicBezTo>
                    <a:pt x="62" y="24"/>
                    <a:pt x="63" y="25"/>
                    <a:pt x="62" y="26"/>
                  </a:cubicBezTo>
                  <a:cubicBezTo>
                    <a:pt x="62" y="26"/>
                    <a:pt x="62" y="26"/>
                    <a:pt x="62" y="26"/>
                  </a:cubicBezTo>
                  <a:cubicBezTo>
                    <a:pt x="61" y="27"/>
                    <a:pt x="60" y="27"/>
                    <a:pt x="59" y="27"/>
                  </a:cubicBezTo>
                  <a:cubicBezTo>
                    <a:pt x="59" y="27"/>
                    <a:pt x="59" y="27"/>
                    <a:pt x="59" y="27"/>
                  </a:cubicBezTo>
                  <a:cubicBezTo>
                    <a:pt x="51" y="22"/>
                    <a:pt x="45" y="15"/>
                    <a:pt x="42" y="10"/>
                  </a:cubicBezTo>
                  <a:cubicBezTo>
                    <a:pt x="42" y="10"/>
                    <a:pt x="42" y="10"/>
                    <a:pt x="42" y="10"/>
                  </a:cubicBezTo>
                  <a:cubicBezTo>
                    <a:pt x="41" y="14"/>
                    <a:pt x="39" y="20"/>
                    <a:pt x="35" y="25"/>
                  </a:cubicBezTo>
                  <a:cubicBezTo>
                    <a:pt x="35" y="25"/>
                    <a:pt x="35" y="25"/>
                    <a:pt x="35" y="25"/>
                  </a:cubicBezTo>
                  <a:cubicBezTo>
                    <a:pt x="29" y="33"/>
                    <a:pt x="19" y="39"/>
                    <a:pt x="2" y="41"/>
                  </a:cubicBezTo>
                  <a:cubicBezTo>
                    <a:pt x="2" y="41"/>
                    <a:pt x="2" y="41"/>
                    <a:pt x="2" y="41"/>
                  </a:cubicBezTo>
                  <a:cubicBezTo>
                    <a:pt x="2" y="41"/>
                    <a:pt x="2" y="41"/>
                    <a:pt x="2" y="41"/>
                  </a:cubicBezTo>
                  <a:cubicBezTo>
                    <a:pt x="2" y="41"/>
                    <a:pt x="2" y="41"/>
                    <a:pt x="2" y="41"/>
                  </a:cubicBezTo>
                  <a:cubicBezTo>
                    <a:pt x="1" y="41"/>
                    <a:pt x="0" y="40"/>
                    <a:pt x="0" y="39"/>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47" name="Freeform 195"/>
            <p:cNvSpPr>
              <a:spLocks/>
            </p:cNvSpPr>
            <p:nvPr/>
          </p:nvSpPr>
          <p:spPr bwMode="auto">
            <a:xfrm>
              <a:off x="7413625" y="2617788"/>
              <a:ext cx="387350" cy="112712"/>
            </a:xfrm>
            <a:custGeom>
              <a:avLst/>
              <a:gdLst>
                <a:gd name="T0" fmla="*/ 0 w 34"/>
                <a:gd name="T1" fmla="*/ 101441 h 10"/>
                <a:gd name="T2" fmla="*/ 11393 w 34"/>
                <a:gd name="T3" fmla="*/ 78898 h 10"/>
                <a:gd name="T4" fmla="*/ 11393 w 34"/>
                <a:gd name="T5" fmla="*/ 78898 h 10"/>
                <a:gd name="T6" fmla="*/ 227853 w 34"/>
                <a:gd name="T7" fmla="*/ 0 h 10"/>
                <a:gd name="T8" fmla="*/ 227853 w 34"/>
                <a:gd name="T9" fmla="*/ 0 h 10"/>
                <a:gd name="T10" fmla="*/ 364565 w 34"/>
                <a:gd name="T11" fmla="*/ 33814 h 10"/>
                <a:gd name="T12" fmla="*/ 364565 w 34"/>
                <a:gd name="T13" fmla="*/ 33814 h 10"/>
                <a:gd name="T14" fmla="*/ 375957 w 34"/>
                <a:gd name="T15" fmla="*/ 67627 h 10"/>
                <a:gd name="T16" fmla="*/ 375957 w 34"/>
                <a:gd name="T17" fmla="*/ 67627 h 10"/>
                <a:gd name="T18" fmla="*/ 341779 w 34"/>
                <a:gd name="T19" fmla="*/ 78898 h 10"/>
                <a:gd name="T20" fmla="*/ 341779 w 34"/>
                <a:gd name="T21" fmla="*/ 78898 h 10"/>
                <a:gd name="T22" fmla="*/ 227853 w 34"/>
                <a:gd name="T23" fmla="*/ 45085 h 10"/>
                <a:gd name="T24" fmla="*/ 227853 w 34"/>
                <a:gd name="T25" fmla="*/ 45085 h 10"/>
                <a:gd name="T26" fmla="*/ 34178 w 34"/>
                <a:gd name="T27" fmla="*/ 112712 h 10"/>
                <a:gd name="T28" fmla="*/ 34178 w 34"/>
                <a:gd name="T29" fmla="*/ 112712 h 10"/>
                <a:gd name="T30" fmla="*/ 22785 w 34"/>
                <a:gd name="T31" fmla="*/ 112712 h 10"/>
                <a:gd name="T32" fmla="*/ 22785 w 34"/>
                <a:gd name="T33" fmla="*/ 112712 h 10"/>
                <a:gd name="T34" fmla="*/ 0 w 34"/>
                <a:gd name="T35" fmla="*/ 101441 h 1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4"/>
                <a:gd name="T55" fmla="*/ 0 h 10"/>
                <a:gd name="T56" fmla="*/ 34 w 34"/>
                <a:gd name="T57" fmla="*/ 10 h 1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4" h="10">
                  <a:moveTo>
                    <a:pt x="0" y="9"/>
                  </a:moveTo>
                  <a:cubicBezTo>
                    <a:pt x="0" y="8"/>
                    <a:pt x="0" y="7"/>
                    <a:pt x="1" y="7"/>
                  </a:cubicBezTo>
                  <a:cubicBezTo>
                    <a:pt x="1" y="7"/>
                    <a:pt x="1" y="7"/>
                    <a:pt x="1" y="7"/>
                  </a:cubicBezTo>
                  <a:cubicBezTo>
                    <a:pt x="6" y="4"/>
                    <a:pt x="13" y="0"/>
                    <a:pt x="20" y="0"/>
                  </a:cubicBezTo>
                  <a:cubicBezTo>
                    <a:pt x="20" y="0"/>
                    <a:pt x="20" y="0"/>
                    <a:pt x="20" y="0"/>
                  </a:cubicBezTo>
                  <a:cubicBezTo>
                    <a:pt x="24" y="0"/>
                    <a:pt x="28" y="1"/>
                    <a:pt x="32" y="3"/>
                  </a:cubicBezTo>
                  <a:cubicBezTo>
                    <a:pt x="32" y="3"/>
                    <a:pt x="32" y="3"/>
                    <a:pt x="32" y="3"/>
                  </a:cubicBezTo>
                  <a:cubicBezTo>
                    <a:pt x="33" y="4"/>
                    <a:pt x="34" y="5"/>
                    <a:pt x="33" y="6"/>
                  </a:cubicBezTo>
                  <a:cubicBezTo>
                    <a:pt x="33" y="6"/>
                    <a:pt x="33" y="6"/>
                    <a:pt x="33" y="6"/>
                  </a:cubicBezTo>
                  <a:cubicBezTo>
                    <a:pt x="32" y="7"/>
                    <a:pt x="31" y="7"/>
                    <a:pt x="30" y="7"/>
                  </a:cubicBezTo>
                  <a:cubicBezTo>
                    <a:pt x="30" y="7"/>
                    <a:pt x="30" y="7"/>
                    <a:pt x="30" y="7"/>
                  </a:cubicBezTo>
                  <a:cubicBezTo>
                    <a:pt x="27" y="5"/>
                    <a:pt x="24" y="4"/>
                    <a:pt x="20" y="4"/>
                  </a:cubicBezTo>
                  <a:cubicBezTo>
                    <a:pt x="20" y="4"/>
                    <a:pt x="20" y="4"/>
                    <a:pt x="20" y="4"/>
                  </a:cubicBezTo>
                  <a:cubicBezTo>
                    <a:pt x="14" y="4"/>
                    <a:pt x="8" y="7"/>
                    <a:pt x="3" y="10"/>
                  </a:cubicBezTo>
                  <a:cubicBezTo>
                    <a:pt x="3" y="10"/>
                    <a:pt x="3" y="10"/>
                    <a:pt x="3" y="10"/>
                  </a:cubicBezTo>
                  <a:cubicBezTo>
                    <a:pt x="3" y="10"/>
                    <a:pt x="3" y="10"/>
                    <a:pt x="2" y="10"/>
                  </a:cubicBezTo>
                  <a:cubicBezTo>
                    <a:pt x="2" y="10"/>
                    <a:pt x="2" y="10"/>
                    <a:pt x="2" y="10"/>
                  </a:cubicBezTo>
                  <a:cubicBezTo>
                    <a:pt x="2" y="10"/>
                    <a:pt x="1" y="10"/>
                    <a:pt x="0" y="9"/>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48" name="Freeform 196"/>
            <p:cNvSpPr>
              <a:spLocks/>
            </p:cNvSpPr>
            <p:nvPr/>
          </p:nvSpPr>
          <p:spPr bwMode="auto">
            <a:xfrm>
              <a:off x="7675563" y="2527301"/>
              <a:ext cx="171450" cy="123825"/>
            </a:xfrm>
            <a:custGeom>
              <a:avLst/>
              <a:gdLst>
                <a:gd name="T0" fmla="*/ 137160 w 15"/>
                <a:gd name="T1" fmla="*/ 112568 h 11"/>
                <a:gd name="T2" fmla="*/ 68580 w 15"/>
                <a:gd name="T3" fmla="*/ 67541 h 11"/>
                <a:gd name="T4" fmla="*/ 68580 w 15"/>
                <a:gd name="T5" fmla="*/ 67541 h 11"/>
                <a:gd name="T6" fmla="*/ 22860 w 15"/>
                <a:gd name="T7" fmla="*/ 45027 h 11"/>
                <a:gd name="T8" fmla="*/ 22860 w 15"/>
                <a:gd name="T9" fmla="*/ 45027 h 11"/>
                <a:gd name="T10" fmla="*/ 11430 w 15"/>
                <a:gd name="T11" fmla="*/ 22514 h 11"/>
                <a:gd name="T12" fmla="*/ 11430 w 15"/>
                <a:gd name="T13" fmla="*/ 22514 h 11"/>
                <a:gd name="T14" fmla="*/ 34290 w 15"/>
                <a:gd name="T15" fmla="*/ 11257 h 11"/>
                <a:gd name="T16" fmla="*/ 34290 w 15"/>
                <a:gd name="T17" fmla="*/ 11257 h 11"/>
                <a:gd name="T18" fmla="*/ 91440 w 15"/>
                <a:gd name="T19" fmla="*/ 33770 h 11"/>
                <a:gd name="T20" fmla="*/ 91440 w 15"/>
                <a:gd name="T21" fmla="*/ 33770 h 11"/>
                <a:gd name="T22" fmla="*/ 171450 w 15"/>
                <a:gd name="T23" fmla="*/ 78798 h 11"/>
                <a:gd name="T24" fmla="*/ 171450 w 15"/>
                <a:gd name="T25" fmla="*/ 78798 h 11"/>
                <a:gd name="T26" fmla="*/ 160020 w 15"/>
                <a:gd name="T27" fmla="*/ 112568 h 11"/>
                <a:gd name="T28" fmla="*/ 160020 w 15"/>
                <a:gd name="T29" fmla="*/ 112568 h 11"/>
                <a:gd name="T30" fmla="*/ 148590 w 15"/>
                <a:gd name="T31" fmla="*/ 123825 h 11"/>
                <a:gd name="T32" fmla="*/ 148590 w 15"/>
                <a:gd name="T33" fmla="*/ 123825 h 11"/>
                <a:gd name="T34" fmla="*/ 137160 w 15"/>
                <a:gd name="T35" fmla="*/ 112568 h 1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5"/>
                <a:gd name="T55" fmla="*/ 0 h 11"/>
                <a:gd name="T56" fmla="*/ 15 w 15"/>
                <a:gd name="T57" fmla="*/ 11 h 1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5" h="11">
                  <a:moveTo>
                    <a:pt x="12" y="10"/>
                  </a:moveTo>
                  <a:cubicBezTo>
                    <a:pt x="11" y="9"/>
                    <a:pt x="8" y="7"/>
                    <a:pt x="6" y="6"/>
                  </a:cubicBezTo>
                  <a:cubicBezTo>
                    <a:pt x="6" y="6"/>
                    <a:pt x="6" y="6"/>
                    <a:pt x="6" y="6"/>
                  </a:cubicBezTo>
                  <a:cubicBezTo>
                    <a:pt x="4" y="5"/>
                    <a:pt x="2" y="4"/>
                    <a:pt x="2" y="4"/>
                  </a:cubicBezTo>
                  <a:cubicBezTo>
                    <a:pt x="2" y="4"/>
                    <a:pt x="2" y="4"/>
                    <a:pt x="2" y="4"/>
                  </a:cubicBezTo>
                  <a:cubicBezTo>
                    <a:pt x="1" y="4"/>
                    <a:pt x="0" y="3"/>
                    <a:pt x="1" y="2"/>
                  </a:cubicBezTo>
                  <a:cubicBezTo>
                    <a:pt x="1" y="2"/>
                    <a:pt x="1" y="2"/>
                    <a:pt x="1" y="2"/>
                  </a:cubicBezTo>
                  <a:cubicBezTo>
                    <a:pt x="1" y="1"/>
                    <a:pt x="2" y="0"/>
                    <a:pt x="3" y="1"/>
                  </a:cubicBezTo>
                  <a:cubicBezTo>
                    <a:pt x="3" y="1"/>
                    <a:pt x="3" y="1"/>
                    <a:pt x="3" y="1"/>
                  </a:cubicBezTo>
                  <a:cubicBezTo>
                    <a:pt x="3" y="1"/>
                    <a:pt x="5" y="1"/>
                    <a:pt x="8" y="3"/>
                  </a:cubicBezTo>
                  <a:cubicBezTo>
                    <a:pt x="8" y="3"/>
                    <a:pt x="8" y="3"/>
                    <a:pt x="8" y="3"/>
                  </a:cubicBezTo>
                  <a:cubicBezTo>
                    <a:pt x="10" y="4"/>
                    <a:pt x="13" y="5"/>
                    <a:pt x="15" y="7"/>
                  </a:cubicBezTo>
                  <a:cubicBezTo>
                    <a:pt x="15" y="7"/>
                    <a:pt x="15" y="7"/>
                    <a:pt x="15" y="7"/>
                  </a:cubicBezTo>
                  <a:cubicBezTo>
                    <a:pt x="15" y="8"/>
                    <a:pt x="15" y="10"/>
                    <a:pt x="14" y="10"/>
                  </a:cubicBezTo>
                  <a:cubicBezTo>
                    <a:pt x="14" y="10"/>
                    <a:pt x="14" y="10"/>
                    <a:pt x="14" y="10"/>
                  </a:cubicBezTo>
                  <a:cubicBezTo>
                    <a:pt x="14" y="11"/>
                    <a:pt x="14" y="11"/>
                    <a:pt x="13" y="11"/>
                  </a:cubicBezTo>
                  <a:cubicBezTo>
                    <a:pt x="13" y="11"/>
                    <a:pt x="13" y="11"/>
                    <a:pt x="13" y="11"/>
                  </a:cubicBezTo>
                  <a:cubicBezTo>
                    <a:pt x="13" y="11"/>
                    <a:pt x="12" y="10"/>
                    <a:pt x="12" y="10"/>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49" name="Freeform 197"/>
            <p:cNvSpPr>
              <a:spLocks/>
            </p:cNvSpPr>
            <p:nvPr/>
          </p:nvSpPr>
          <p:spPr bwMode="auto">
            <a:xfrm>
              <a:off x="7732713" y="2459038"/>
              <a:ext cx="171450" cy="123825"/>
            </a:xfrm>
            <a:custGeom>
              <a:avLst/>
              <a:gdLst>
                <a:gd name="T0" fmla="*/ 137160 w 15"/>
                <a:gd name="T1" fmla="*/ 123825 h 11"/>
                <a:gd name="T2" fmla="*/ 80010 w 15"/>
                <a:gd name="T3" fmla="*/ 67541 h 11"/>
                <a:gd name="T4" fmla="*/ 80010 w 15"/>
                <a:gd name="T5" fmla="*/ 67541 h 11"/>
                <a:gd name="T6" fmla="*/ 22860 w 15"/>
                <a:gd name="T7" fmla="*/ 45027 h 11"/>
                <a:gd name="T8" fmla="*/ 22860 w 15"/>
                <a:gd name="T9" fmla="*/ 45027 h 11"/>
                <a:gd name="T10" fmla="*/ 22860 w 15"/>
                <a:gd name="T11" fmla="*/ 45027 h 11"/>
                <a:gd name="T12" fmla="*/ 0 w 15"/>
                <a:gd name="T13" fmla="*/ 11257 h 11"/>
                <a:gd name="T14" fmla="*/ 0 w 15"/>
                <a:gd name="T15" fmla="*/ 11257 h 11"/>
                <a:gd name="T16" fmla="*/ 34290 w 15"/>
                <a:gd name="T17" fmla="*/ 0 h 11"/>
                <a:gd name="T18" fmla="*/ 34290 w 15"/>
                <a:gd name="T19" fmla="*/ 0 h 11"/>
                <a:gd name="T20" fmla="*/ 102870 w 15"/>
                <a:gd name="T21" fmla="*/ 33770 h 11"/>
                <a:gd name="T22" fmla="*/ 102870 w 15"/>
                <a:gd name="T23" fmla="*/ 33770 h 11"/>
                <a:gd name="T24" fmla="*/ 160020 w 15"/>
                <a:gd name="T25" fmla="*/ 90055 h 11"/>
                <a:gd name="T26" fmla="*/ 160020 w 15"/>
                <a:gd name="T27" fmla="*/ 90055 h 11"/>
                <a:gd name="T28" fmla="*/ 171450 w 15"/>
                <a:gd name="T29" fmla="*/ 112568 h 11"/>
                <a:gd name="T30" fmla="*/ 171450 w 15"/>
                <a:gd name="T31" fmla="*/ 112568 h 11"/>
                <a:gd name="T32" fmla="*/ 148590 w 15"/>
                <a:gd name="T33" fmla="*/ 123825 h 11"/>
                <a:gd name="T34" fmla="*/ 148590 w 15"/>
                <a:gd name="T35" fmla="*/ 123825 h 11"/>
                <a:gd name="T36" fmla="*/ 137160 w 15"/>
                <a:gd name="T37" fmla="*/ 123825 h 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
                <a:gd name="T58" fmla="*/ 0 h 11"/>
                <a:gd name="T59" fmla="*/ 15 w 15"/>
                <a:gd name="T60" fmla="*/ 11 h 1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 h="11">
                  <a:moveTo>
                    <a:pt x="12" y="11"/>
                  </a:moveTo>
                  <a:cubicBezTo>
                    <a:pt x="10" y="9"/>
                    <a:pt x="8" y="7"/>
                    <a:pt x="7" y="6"/>
                  </a:cubicBezTo>
                  <a:cubicBezTo>
                    <a:pt x="7" y="6"/>
                    <a:pt x="7" y="6"/>
                    <a:pt x="7" y="6"/>
                  </a:cubicBezTo>
                  <a:cubicBezTo>
                    <a:pt x="5" y="5"/>
                    <a:pt x="4" y="5"/>
                    <a:pt x="2" y="4"/>
                  </a:cubicBezTo>
                  <a:cubicBezTo>
                    <a:pt x="2" y="4"/>
                    <a:pt x="2" y="4"/>
                    <a:pt x="2" y="4"/>
                  </a:cubicBezTo>
                  <a:cubicBezTo>
                    <a:pt x="2" y="4"/>
                    <a:pt x="2" y="4"/>
                    <a:pt x="2" y="4"/>
                  </a:cubicBezTo>
                  <a:cubicBezTo>
                    <a:pt x="1" y="4"/>
                    <a:pt x="0" y="3"/>
                    <a:pt x="0" y="1"/>
                  </a:cubicBezTo>
                  <a:cubicBezTo>
                    <a:pt x="0" y="1"/>
                    <a:pt x="0" y="1"/>
                    <a:pt x="0" y="1"/>
                  </a:cubicBezTo>
                  <a:cubicBezTo>
                    <a:pt x="1" y="0"/>
                    <a:pt x="2" y="0"/>
                    <a:pt x="3" y="0"/>
                  </a:cubicBezTo>
                  <a:cubicBezTo>
                    <a:pt x="3" y="0"/>
                    <a:pt x="3" y="0"/>
                    <a:pt x="3" y="0"/>
                  </a:cubicBezTo>
                  <a:cubicBezTo>
                    <a:pt x="6" y="1"/>
                    <a:pt x="8" y="2"/>
                    <a:pt x="9" y="3"/>
                  </a:cubicBezTo>
                  <a:cubicBezTo>
                    <a:pt x="9" y="3"/>
                    <a:pt x="9" y="3"/>
                    <a:pt x="9" y="3"/>
                  </a:cubicBezTo>
                  <a:cubicBezTo>
                    <a:pt x="11" y="5"/>
                    <a:pt x="12" y="6"/>
                    <a:pt x="14" y="8"/>
                  </a:cubicBezTo>
                  <a:cubicBezTo>
                    <a:pt x="14" y="8"/>
                    <a:pt x="14" y="8"/>
                    <a:pt x="14" y="8"/>
                  </a:cubicBezTo>
                  <a:cubicBezTo>
                    <a:pt x="15" y="8"/>
                    <a:pt x="15" y="10"/>
                    <a:pt x="15" y="10"/>
                  </a:cubicBezTo>
                  <a:cubicBezTo>
                    <a:pt x="15" y="10"/>
                    <a:pt x="15" y="10"/>
                    <a:pt x="15" y="10"/>
                  </a:cubicBezTo>
                  <a:cubicBezTo>
                    <a:pt x="14" y="11"/>
                    <a:pt x="14" y="11"/>
                    <a:pt x="13" y="11"/>
                  </a:cubicBezTo>
                  <a:cubicBezTo>
                    <a:pt x="13" y="11"/>
                    <a:pt x="13" y="11"/>
                    <a:pt x="13" y="11"/>
                  </a:cubicBezTo>
                  <a:cubicBezTo>
                    <a:pt x="13" y="11"/>
                    <a:pt x="12" y="11"/>
                    <a:pt x="12" y="11"/>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50" name="Freeform 198"/>
            <p:cNvSpPr>
              <a:spLocks/>
            </p:cNvSpPr>
            <p:nvPr/>
          </p:nvSpPr>
          <p:spPr bwMode="auto">
            <a:xfrm>
              <a:off x="7585075" y="1912937"/>
              <a:ext cx="420688" cy="442912"/>
            </a:xfrm>
            <a:custGeom>
              <a:avLst/>
              <a:gdLst>
                <a:gd name="T0" fmla="*/ 386578 w 37"/>
                <a:gd name="T1" fmla="*/ 431555 h 39"/>
                <a:gd name="T2" fmla="*/ 204659 w 37"/>
                <a:gd name="T3" fmla="*/ 193064 h 39"/>
                <a:gd name="T4" fmla="*/ 204659 w 37"/>
                <a:gd name="T5" fmla="*/ 193064 h 39"/>
                <a:gd name="T6" fmla="*/ 147809 w 37"/>
                <a:gd name="T7" fmla="*/ 79497 h 39"/>
                <a:gd name="T8" fmla="*/ 147809 w 37"/>
                <a:gd name="T9" fmla="*/ 79497 h 39"/>
                <a:gd name="T10" fmla="*/ 34110 w 37"/>
                <a:gd name="T11" fmla="*/ 45427 h 39"/>
                <a:gd name="T12" fmla="*/ 34110 w 37"/>
                <a:gd name="T13" fmla="*/ 45427 h 39"/>
                <a:gd name="T14" fmla="*/ 22740 w 37"/>
                <a:gd name="T15" fmla="*/ 45427 h 39"/>
                <a:gd name="T16" fmla="*/ 22740 w 37"/>
                <a:gd name="T17" fmla="*/ 45427 h 39"/>
                <a:gd name="T18" fmla="*/ 0 w 37"/>
                <a:gd name="T19" fmla="*/ 22713 h 39"/>
                <a:gd name="T20" fmla="*/ 0 w 37"/>
                <a:gd name="T21" fmla="*/ 22713 h 39"/>
                <a:gd name="T22" fmla="*/ 22740 w 37"/>
                <a:gd name="T23" fmla="*/ 0 h 39"/>
                <a:gd name="T24" fmla="*/ 22740 w 37"/>
                <a:gd name="T25" fmla="*/ 0 h 39"/>
                <a:gd name="T26" fmla="*/ 34110 w 37"/>
                <a:gd name="T27" fmla="*/ 0 h 39"/>
                <a:gd name="T28" fmla="*/ 34110 w 37"/>
                <a:gd name="T29" fmla="*/ 0 h 39"/>
                <a:gd name="T30" fmla="*/ 181919 w 37"/>
                <a:gd name="T31" fmla="*/ 56784 h 39"/>
                <a:gd name="T32" fmla="*/ 181919 w 37"/>
                <a:gd name="T33" fmla="*/ 56784 h 39"/>
                <a:gd name="T34" fmla="*/ 250139 w 37"/>
                <a:gd name="T35" fmla="*/ 170351 h 39"/>
                <a:gd name="T36" fmla="*/ 250139 w 37"/>
                <a:gd name="T37" fmla="*/ 170351 h 39"/>
                <a:gd name="T38" fmla="*/ 409318 w 37"/>
                <a:gd name="T39" fmla="*/ 397485 h 39"/>
                <a:gd name="T40" fmla="*/ 409318 w 37"/>
                <a:gd name="T41" fmla="*/ 397485 h 39"/>
                <a:gd name="T42" fmla="*/ 409318 w 37"/>
                <a:gd name="T43" fmla="*/ 431555 h 39"/>
                <a:gd name="T44" fmla="*/ 409318 w 37"/>
                <a:gd name="T45" fmla="*/ 431555 h 39"/>
                <a:gd name="T46" fmla="*/ 397948 w 37"/>
                <a:gd name="T47" fmla="*/ 442912 h 39"/>
                <a:gd name="T48" fmla="*/ 397948 w 37"/>
                <a:gd name="T49" fmla="*/ 442912 h 39"/>
                <a:gd name="T50" fmla="*/ 386578 w 37"/>
                <a:gd name="T51" fmla="*/ 431555 h 3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7"/>
                <a:gd name="T79" fmla="*/ 0 h 39"/>
                <a:gd name="T80" fmla="*/ 37 w 37"/>
                <a:gd name="T81" fmla="*/ 39 h 3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7" h="39">
                  <a:moveTo>
                    <a:pt x="34" y="38"/>
                  </a:moveTo>
                  <a:cubicBezTo>
                    <a:pt x="26" y="32"/>
                    <a:pt x="23" y="26"/>
                    <a:pt x="18" y="17"/>
                  </a:cubicBezTo>
                  <a:cubicBezTo>
                    <a:pt x="18" y="17"/>
                    <a:pt x="18" y="17"/>
                    <a:pt x="18" y="17"/>
                  </a:cubicBezTo>
                  <a:cubicBezTo>
                    <a:pt x="16" y="13"/>
                    <a:pt x="15" y="10"/>
                    <a:pt x="13" y="7"/>
                  </a:cubicBezTo>
                  <a:cubicBezTo>
                    <a:pt x="13" y="7"/>
                    <a:pt x="13" y="7"/>
                    <a:pt x="13" y="7"/>
                  </a:cubicBezTo>
                  <a:cubicBezTo>
                    <a:pt x="11" y="5"/>
                    <a:pt x="8" y="4"/>
                    <a:pt x="3" y="4"/>
                  </a:cubicBezTo>
                  <a:cubicBezTo>
                    <a:pt x="3" y="4"/>
                    <a:pt x="3" y="4"/>
                    <a:pt x="3" y="4"/>
                  </a:cubicBezTo>
                  <a:cubicBezTo>
                    <a:pt x="3" y="4"/>
                    <a:pt x="2" y="4"/>
                    <a:pt x="2" y="4"/>
                  </a:cubicBezTo>
                  <a:cubicBezTo>
                    <a:pt x="2" y="4"/>
                    <a:pt x="2" y="4"/>
                    <a:pt x="2" y="4"/>
                  </a:cubicBezTo>
                  <a:cubicBezTo>
                    <a:pt x="1" y="4"/>
                    <a:pt x="0" y="3"/>
                    <a:pt x="0" y="2"/>
                  </a:cubicBezTo>
                  <a:cubicBezTo>
                    <a:pt x="0" y="2"/>
                    <a:pt x="0" y="2"/>
                    <a:pt x="0" y="2"/>
                  </a:cubicBezTo>
                  <a:cubicBezTo>
                    <a:pt x="0" y="1"/>
                    <a:pt x="1" y="0"/>
                    <a:pt x="2" y="0"/>
                  </a:cubicBezTo>
                  <a:cubicBezTo>
                    <a:pt x="2" y="0"/>
                    <a:pt x="2" y="0"/>
                    <a:pt x="2" y="0"/>
                  </a:cubicBezTo>
                  <a:cubicBezTo>
                    <a:pt x="2" y="0"/>
                    <a:pt x="3" y="0"/>
                    <a:pt x="3" y="0"/>
                  </a:cubicBezTo>
                  <a:cubicBezTo>
                    <a:pt x="3" y="0"/>
                    <a:pt x="3" y="0"/>
                    <a:pt x="3" y="0"/>
                  </a:cubicBezTo>
                  <a:cubicBezTo>
                    <a:pt x="9" y="0"/>
                    <a:pt x="13" y="2"/>
                    <a:pt x="16" y="5"/>
                  </a:cubicBezTo>
                  <a:cubicBezTo>
                    <a:pt x="16" y="5"/>
                    <a:pt x="16" y="5"/>
                    <a:pt x="16" y="5"/>
                  </a:cubicBezTo>
                  <a:cubicBezTo>
                    <a:pt x="18" y="8"/>
                    <a:pt x="20" y="12"/>
                    <a:pt x="22" y="15"/>
                  </a:cubicBezTo>
                  <a:cubicBezTo>
                    <a:pt x="22" y="15"/>
                    <a:pt x="22" y="15"/>
                    <a:pt x="22" y="15"/>
                  </a:cubicBezTo>
                  <a:cubicBezTo>
                    <a:pt x="26" y="24"/>
                    <a:pt x="29" y="30"/>
                    <a:pt x="36" y="35"/>
                  </a:cubicBezTo>
                  <a:cubicBezTo>
                    <a:pt x="36" y="35"/>
                    <a:pt x="36" y="35"/>
                    <a:pt x="36" y="35"/>
                  </a:cubicBezTo>
                  <a:cubicBezTo>
                    <a:pt x="37" y="36"/>
                    <a:pt x="37" y="37"/>
                    <a:pt x="36" y="38"/>
                  </a:cubicBezTo>
                  <a:cubicBezTo>
                    <a:pt x="36" y="38"/>
                    <a:pt x="36" y="38"/>
                    <a:pt x="36" y="38"/>
                  </a:cubicBezTo>
                  <a:cubicBezTo>
                    <a:pt x="36" y="38"/>
                    <a:pt x="35" y="39"/>
                    <a:pt x="35" y="39"/>
                  </a:cubicBezTo>
                  <a:cubicBezTo>
                    <a:pt x="35" y="39"/>
                    <a:pt x="35" y="39"/>
                    <a:pt x="35" y="39"/>
                  </a:cubicBezTo>
                  <a:cubicBezTo>
                    <a:pt x="34" y="39"/>
                    <a:pt x="34" y="38"/>
                    <a:pt x="34" y="38"/>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51" name="Freeform 199"/>
            <p:cNvSpPr>
              <a:spLocks/>
            </p:cNvSpPr>
            <p:nvPr/>
          </p:nvSpPr>
          <p:spPr bwMode="auto">
            <a:xfrm>
              <a:off x="7185025" y="1833562"/>
              <a:ext cx="844550" cy="442912"/>
            </a:xfrm>
            <a:custGeom>
              <a:avLst/>
              <a:gdLst>
                <a:gd name="T0" fmla="*/ 11413 w 74"/>
                <a:gd name="T1" fmla="*/ 442912 h 39"/>
                <a:gd name="T2" fmla="*/ 11413 w 74"/>
                <a:gd name="T3" fmla="*/ 408842 h 39"/>
                <a:gd name="T4" fmla="*/ 11413 w 74"/>
                <a:gd name="T5" fmla="*/ 408842 h 39"/>
                <a:gd name="T6" fmla="*/ 159780 w 74"/>
                <a:gd name="T7" fmla="*/ 204421 h 39"/>
                <a:gd name="T8" fmla="*/ 159780 w 74"/>
                <a:gd name="T9" fmla="*/ 204421 h 39"/>
                <a:gd name="T10" fmla="*/ 388037 w 74"/>
                <a:gd name="T11" fmla="*/ 11357 h 39"/>
                <a:gd name="T12" fmla="*/ 388037 w 74"/>
                <a:gd name="T13" fmla="*/ 11357 h 39"/>
                <a:gd name="T14" fmla="*/ 467926 w 74"/>
                <a:gd name="T15" fmla="*/ 0 h 39"/>
                <a:gd name="T16" fmla="*/ 467926 w 74"/>
                <a:gd name="T17" fmla="*/ 0 h 39"/>
                <a:gd name="T18" fmla="*/ 627706 w 74"/>
                <a:gd name="T19" fmla="*/ 68140 h 39"/>
                <a:gd name="T20" fmla="*/ 627706 w 74"/>
                <a:gd name="T21" fmla="*/ 68140 h 39"/>
                <a:gd name="T22" fmla="*/ 719009 w 74"/>
                <a:gd name="T23" fmla="*/ 227134 h 39"/>
                <a:gd name="T24" fmla="*/ 719009 w 74"/>
                <a:gd name="T25" fmla="*/ 227134 h 39"/>
                <a:gd name="T26" fmla="*/ 833137 w 74"/>
                <a:gd name="T27" fmla="*/ 386128 h 39"/>
                <a:gd name="T28" fmla="*/ 833137 w 74"/>
                <a:gd name="T29" fmla="*/ 386128 h 39"/>
                <a:gd name="T30" fmla="*/ 833137 w 74"/>
                <a:gd name="T31" fmla="*/ 408842 h 39"/>
                <a:gd name="T32" fmla="*/ 833137 w 74"/>
                <a:gd name="T33" fmla="*/ 408842 h 39"/>
                <a:gd name="T34" fmla="*/ 798899 w 74"/>
                <a:gd name="T35" fmla="*/ 420199 h 39"/>
                <a:gd name="T36" fmla="*/ 798899 w 74"/>
                <a:gd name="T37" fmla="*/ 420199 h 39"/>
                <a:gd name="T38" fmla="*/ 684770 w 74"/>
                <a:gd name="T39" fmla="*/ 249848 h 39"/>
                <a:gd name="T40" fmla="*/ 684770 w 74"/>
                <a:gd name="T41" fmla="*/ 249848 h 39"/>
                <a:gd name="T42" fmla="*/ 593467 w 74"/>
                <a:gd name="T43" fmla="*/ 102210 h 39"/>
                <a:gd name="T44" fmla="*/ 593467 w 74"/>
                <a:gd name="T45" fmla="*/ 102210 h 39"/>
                <a:gd name="T46" fmla="*/ 467926 w 74"/>
                <a:gd name="T47" fmla="*/ 45427 h 39"/>
                <a:gd name="T48" fmla="*/ 467926 w 74"/>
                <a:gd name="T49" fmla="*/ 45427 h 39"/>
                <a:gd name="T50" fmla="*/ 399449 w 74"/>
                <a:gd name="T51" fmla="*/ 45427 h 39"/>
                <a:gd name="T52" fmla="*/ 399449 w 74"/>
                <a:gd name="T53" fmla="*/ 45427 h 39"/>
                <a:gd name="T54" fmla="*/ 194018 w 74"/>
                <a:gd name="T55" fmla="*/ 227134 h 39"/>
                <a:gd name="T56" fmla="*/ 194018 w 74"/>
                <a:gd name="T57" fmla="*/ 227134 h 39"/>
                <a:gd name="T58" fmla="*/ 45651 w 74"/>
                <a:gd name="T59" fmla="*/ 431555 h 39"/>
                <a:gd name="T60" fmla="*/ 45651 w 74"/>
                <a:gd name="T61" fmla="*/ 431555 h 39"/>
                <a:gd name="T62" fmla="*/ 45651 w 74"/>
                <a:gd name="T63" fmla="*/ 431555 h 39"/>
                <a:gd name="T64" fmla="*/ 22826 w 74"/>
                <a:gd name="T65" fmla="*/ 442912 h 39"/>
                <a:gd name="T66" fmla="*/ 22826 w 74"/>
                <a:gd name="T67" fmla="*/ 442912 h 39"/>
                <a:gd name="T68" fmla="*/ 11413 w 74"/>
                <a:gd name="T69" fmla="*/ 442912 h 3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4"/>
                <a:gd name="T106" fmla="*/ 0 h 39"/>
                <a:gd name="T107" fmla="*/ 74 w 74"/>
                <a:gd name="T108" fmla="*/ 39 h 3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4" h="39">
                  <a:moveTo>
                    <a:pt x="1" y="39"/>
                  </a:moveTo>
                  <a:cubicBezTo>
                    <a:pt x="0" y="38"/>
                    <a:pt x="0" y="37"/>
                    <a:pt x="1" y="36"/>
                  </a:cubicBezTo>
                  <a:cubicBezTo>
                    <a:pt x="1" y="36"/>
                    <a:pt x="1" y="36"/>
                    <a:pt x="1" y="36"/>
                  </a:cubicBezTo>
                  <a:cubicBezTo>
                    <a:pt x="3" y="33"/>
                    <a:pt x="8" y="25"/>
                    <a:pt x="14" y="18"/>
                  </a:cubicBezTo>
                  <a:cubicBezTo>
                    <a:pt x="14" y="18"/>
                    <a:pt x="14" y="18"/>
                    <a:pt x="14" y="18"/>
                  </a:cubicBezTo>
                  <a:cubicBezTo>
                    <a:pt x="20" y="10"/>
                    <a:pt x="27" y="3"/>
                    <a:pt x="34" y="1"/>
                  </a:cubicBezTo>
                  <a:cubicBezTo>
                    <a:pt x="34" y="1"/>
                    <a:pt x="34" y="1"/>
                    <a:pt x="34" y="1"/>
                  </a:cubicBezTo>
                  <a:cubicBezTo>
                    <a:pt x="36" y="0"/>
                    <a:pt x="39" y="0"/>
                    <a:pt x="41" y="0"/>
                  </a:cubicBezTo>
                  <a:cubicBezTo>
                    <a:pt x="41" y="0"/>
                    <a:pt x="41" y="0"/>
                    <a:pt x="41" y="0"/>
                  </a:cubicBezTo>
                  <a:cubicBezTo>
                    <a:pt x="46" y="0"/>
                    <a:pt x="51" y="2"/>
                    <a:pt x="55" y="6"/>
                  </a:cubicBezTo>
                  <a:cubicBezTo>
                    <a:pt x="55" y="6"/>
                    <a:pt x="55" y="6"/>
                    <a:pt x="55" y="6"/>
                  </a:cubicBezTo>
                  <a:cubicBezTo>
                    <a:pt x="59" y="10"/>
                    <a:pt x="61" y="15"/>
                    <a:pt x="63" y="20"/>
                  </a:cubicBezTo>
                  <a:cubicBezTo>
                    <a:pt x="63" y="20"/>
                    <a:pt x="63" y="20"/>
                    <a:pt x="63" y="20"/>
                  </a:cubicBezTo>
                  <a:cubicBezTo>
                    <a:pt x="65" y="23"/>
                    <a:pt x="68" y="31"/>
                    <a:pt x="73" y="34"/>
                  </a:cubicBezTo>
                  <a:cubicBezTo>
                    <a:pt x="73" y="34"/>
                    <a:pt x="73" y="34"/>
                    <a:pt x="73" y="34"/>
                  </a:cubicBezTo>
                  <a:cubicBezTo>
                    <a:pt x="73" y="34"/>
                    <a:pt x="74" y="35"/>
                    <a:pt x="73" y="36"/>
                  </a:cubicBezTo>
                  <a:cubicBezTo>
                    <a:pt x="73" y="36"/>
                    <a:pt x="73" y="36"/>
                    <a:pt x="73" y="36"/>
                  </a:cubicBezTo>
                  <a:cubicBezTo>
                    <a:pt x="72" y="37"/>
                    <a:pt x="71" y="37"/>
                    <a:pt x="70" y="37"/>
                  </a:cubicBezTo>
                  <a:cubicBezTo>
                    <a:pt x="70" y="37"/>
                    <a:pt x="70" y="37"/>
                    <a:pt x="70" y="37"/>
                  </a:cubicBezTo>
                  <a:cubicBezTo>
                    <a:pt x="64" y="33"/>
                    <a:pt x="61" y="25"/>
                    <a:pt x="60" y="22"/>
                  </a:cubicBezTo>
                  <a:cubicBezTo>
                    <a:pt x="60" y="22"/>
                    <a:pt x="60" y="22"/>
                    <a:pt x="60" y="22"/>
                  </a:cubicBezTo>
                  <a:cubicBezTo>
                    <a:pt x="58" y="17"/>
                    <a:pt x="55" y="12"/>
                    <a:pt x="52" y="9"/>
                  </a:cubicBezTo>
                  <a:cubicBezTo>
                    <a:pt x="52" y="9"/>
                    <a:pt x="52" y="9"/>
                    <a:pt x="52" y="9"/>
                  </a:cubicBezTo>
                  <a:cubicBezTo>
                    <a:pt x="49" y="6"/>
                    <a:pt x="45" y="4"/>
                    <a:pt x="41" y="4"/>
                  </a:cubicBezTo>
                  <a:cubicBezTo>
                    <a:pt x="41" y="4"/>
                    <a:pt x="41" y="4"/>
                    <a:pt x="41" y="4"/>
                  </a:cubicBezTo>
                  <a:cubicBezTo>
                    <a:pt x="39" y="4"/>
                    <a:pt x="37" y="4"/>
                    <a:pt x="35" y="4"/>
                  </a:cubicBezTo>
                  <a:cubicBezTo>
                    <a:pt x="35" y="4"/>
                    <a:pt x="35" y="4"/>
                    <a:pt x="35" y="4"/>
                  </a:cubicBezTo>
                  <a:cubicBezTo>
                    <a:pt x="29" y="6"/>
                    <a:pt x="23" y="13"/>
                    <a:pt x="17" y="20"/>
                  </a:cubicBezTo>
                  <a:cubicBezTo>
                    <a:pt x="17" y="20"/>
                    <a:pt x="17" y="20"/>
                    <a:pt x="17" y="20"/>
                  </a:cubicBezTo>
                  <a:cubicBezTo>
                    <a:pt x="11" y="27"/>
                    <a:pt x="7" y="35"/>
                    <a:pt x="4" y="38"/>
                  </a:cubicBezTo>
                  <a:cubicBezTo>
                    <a:pt x="4" y="38"/>
                    <a:pt x="4" y="38"/>
                    <a:pt x="4" y="38"/>
                  </a:cubicBezTo>
                  <a:cubicBezTo>
                    <a:pt x="4" y="38"/>
                    <a:pt x="4" y="38"/>
                    <a:pt x="4" y="38"/>
                  </a:cubicBezTo>
                  <a:cubicBezTo>
                    <a:pt x="3" y="39"/>
                    <a:pt x="3" y="39"/>
                    <a:pt x="2" y="39"/>
                  </a:cubicBezTo>
                  <a:cubicBezTo>
                    <a:pt x="2" y="39"/>
                    <a:pt x="2" y="39"/>
                    <a:pt x="2" y="39"/>
                  </a:cubicBezTo>
                  <a:cubicBezTo>
                    <a:pt x="2" y="39"/>
                    <a:pt x="1" y="39"/>
                    <a:pt x="1" y="39"/>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52" name="Freeform 200"/>
            <p:cNvSpPr>
              <a:spLocks/>
            </p:cNvSpPr>
            <p:nvPr/>
          </p:nvSpPr>
          <p:spPr bwMode="auto">
            <a:xfrm>
              <a:off x="7334250" y="1447800"/>
              <a:ext cx="546100" cy="125412"/>
            </a:xfrm>
            <a:custGeom>
              <a:avLst/>
              <a:gdLst>
                <a:gd name="T0" fmla="*/ 511969 w 48"/>
                <a:gd name="T1" fmla="*/ 125412 h 11"/>
                <a:gd name="T2" fmla="*/ 261673 w 48"/>
                <a:gd name="T3" fmla="*/ 45604 h 11"/>
                <a:gd name="T4" fmla="*/ 261673 w 48"/>
                <a:gd name="T5" fmla="*/ 45604 h 11"/>
                <a:gd name="T6" fmla="*/ 261673 w 48"/>
                <a:gd name="T7" fmla="*/ 45604 h 11"/>
                <a:gd name="T8" fmla="*/ 261673 w 48"/>
                <a:gd name="T9" fmla="*/ 45604 h 11"/>
                <a:gd name="T10" fmla="*/ 34131 w 48"/>
                <a:gd name="T11" fmla="*/ 114011 h 11"/>
                <a:gd name="T12" fmla="*/ 34131 w 48"/>
                <a:gd name="T13" fmla="*/ 114011 h 11"/>
                <a:gd name="T14" fmla="*/ 34131 w 48"/>
                <a:gd name="T15" fmla="*/ 114011 h 11"/>
                <a:gd name="T16" fmla="*/ 0 w 48"/>
                <a:gd name="T17" fmla="*/ 102610 h 11"/>
                <a:gd name="T18" fmla="*/ 0 w 48"/>
                <a:gd name="T19" fmla="*/ 102610 h 11"/>
                <a:gd name="T20" fmla="*/ 11377 w 48"/>
                <a:gd name="T21" fmla="*/ 79808 h 11"/>
                <a:gd name="T22" fmla="*/ 11377 w 48"/>
                <a:gd name="T23" fmla="*/ 79808 h 11"/>
                <a:gd name="T24" fmla="*/ 261673 w 48"/>
                <a:gd name="T25" fmla="*/ 0 h 11"/>
                <a:gd name="T26" fmla="*/ 261673 w 48"/>
                <a:gd name="T27" fmla="*/ 0 h 11"/>
                <a:gd name="T28" fmla="*/ 261673 w 48"/>
                <a:gd name="T29" fmla="*/ 0 h 11"/>
                <a:gd name="T30" fmla="*/ 261673 w 48"/>
                <a:gd name="T31" fmla="*/ 0 h 11"/>
                <a:gd name="T32" fmla="*/ 534723 w 48"/>
                <a:gd name="T33" fmla="*/ 91209 h 11"/>
                <a:gd name="T34" fmla="*/ 534723 w 48"/>
                <a:gd name="T35" fmla="*/ 91209 h 11"/>
                <a:gd name="T36" fmla="*/ 546100 w 48"/>
                <a:gd name="T37" fmla="*/ 125412 h 11"/>
                <a:gd name="T38" fmla="*/ 546100 w 48"/>
                <a:gd name="T39" fmla="*/ 125412 h 11"/>
                <a:gd name="T40" fmla="*/ 523346 w 48"/>
                <a:gd name="T41" fmla="*/ 125412 h 11"/>
                <a:gd name="T42" fmla="*/ 523346 w 48"/>
                <a:gd name="T43" fmla="*/ 125412 h 11"/>
                <a:gd name="T44" fmla="*/ 511969 w 48"/>
                <a:gd name="T45" fmla="*/ 125412 h 1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8"/>
                <a:gd name="T70" fmla="*/ 0 h 11"/>
                <a:gd name="T71" fmla="*/ 48 w 48"/>
                <a:gd name="T72" fmla="*/ 11 h 1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8" h="11">
                  <a:moveTo>
                    <a:pt x="45" y="11"/>
                  </a:moveTo>
                  <a:cubicBezTo>
                    <a:pt x="36" y="5"/>
                    <a:pt x="29" y="4"/>
                    <a:pt x="23" y="4"/>
                  </a:cubicBezTo>
                  <a:cubicBezTo>
                    <a:pt x="23" y="4"/>
                    <a:pt x="23" y="4"/>
                    <a:pt x="23" y="4"/>
                  </a:cubicBezTo>
                  <a:cubicBezTo>
                    <a:pt x="23" y="4"/>
                    <a:pt x="23" y="4"/>
                    <a:pt x="23" y="4"/>
                  </a:cubicBezTo>
                  <a:cubicBezTo>
                    <a:pt x="23" y="4"/>
                    <a:pt x="23" y="4"/>
                    <a:pt x="23" y="4"/>
                  </a:cubicBezTo>
                  <a:cubicBezTo>
                    <a:pt x="14" y="4"/>
                    <a:pt x="9" y="7"/>
                    <a:pt x="3" y="10"/>
                  </a:cubicBezTo>
                  <a:cubicBezTo>
                    <a:pt x="3" y="10"/>
                    <a:pt x="3" y="10"/>
                    <a:pt x="3" y="10"/>
                  </a:cubicBezTo>
                  <a:cubicBezTo>
                    <a:pt x="3" y="10"/>
                    <a:pt x="3" y="10"/>
                    <a:pt x="3" y="10"/>
                  </a:cubicBezTo>
                  <a:cubicBezTo>
                    <a:pt x="2" y="11"/>
                    <a:pt x="1" y="10"/>
                    <a:pt x="0" y="9"/>
                  </a:cubicBezTo>
                  <a:cubicBezTo>
                    <a:pt x="0" y="9"/>
                    <a:pt x="0" y="9"/>
                    <a:pt x="0" y="9"/>
                  </a:cubicBezTo>
                  <a:cubicBezTo>
                    <a:pt x="0" y="8"/>
                    <a:pt x="0" y="7"/>
                    <a:pt x="1" y="7"/>
                  </a:cubicBezTo>
                  <a:cubicBezTo>
                    <a:pt x="1" y="7"/>
                    <a:pt x="1" y="7"/>
                    <a:pt x="1" y="7"/>
                  </a:cubicBezTo>
                  <a:cubicBezTo>
                    <a:pt x="7" y="4"/>
                    <a:pt x="13" y="0"/>
                    <a:pt x="23" y="0"/>
                  </a:cubicBezTo>
                  <a:cubicBezTo>
                    <a:pt x="23" y="0"/>
                    <a:pt x="23" y="0"/>
                    <a:pt x="23" y="0"/>
                  </a:cubicBezTo>
                  <a:cubicBezTo>
                    <a:pt x="23" y="0"/>
                    <a:pt x="23" y="0"/>
                    <a:pt x="23" y="0"/>
                  </a:cubicBezTo>
                  <a:cubicBezTo>
                    <a:pt x="23" y="0"/>
                    <a:pt x="23" y="0"/>
                    <a:pt x="23" y="0"/>
                  </a:cubicBezTo>
                  <a:cubicBezTo>
                    <a:pt x="30" y="0"/>
                    <a:pt x="38" y="1"/>
                    <a:pt x="47" y="8"/>
                  </a:cubicBezTo>
                  <a:cubicBezTo>
                    <a:pt x="47" y="8"/>
                    <a:pt x="47" y="8"/>
                    <a:pt x="47" y="8"/>
                  </a:cubicBezTo>
                  <a:cubicBezTo>
                    <a:pt x="48" y="9"/>
                    <a:pt x="48" y="10"/>
                    <a:pt x="48" y="11"/>
                  </a:cubicBezTo>
                  <a:cubicBezTo>
                    <a:pt x="48" y="11"/>
                    <a:pt x="48" y="11"/>
                    <a:pt x="48" y="11"/>
                  </a:cubicBezTo>
                  <a:cubicBezTo>
                    <a:pt x="47" y="11"/>
                    <a:pt x="47" y="11"/>
                    <a:pt x="46" y="11"/>
                  </a:cubicBezTo>
                  <a:cubicBezTo>
                    <a:pt x="46" y="11"/>
                    <a:pt x="46" y="11"/>
                    <a:pt x="46" y="11"/>
                  </a:cubicBezTo>
                  <a:cubicBezTo>
                    <a:pt x="46" y="11"/>
                    <a:pt x="45" y="11"/>
                    <a:pt x="45" y="11"/>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53" name="Freeform 201"/>
            <p:cNvSpPr>
              <a:spLocks/>
            </p:cNvSpPr>
            <p:nvPr/>
          </p:nvSpPr>
          <p:spPr bwMode="auto">
            <a:xfrm>
              <a:off x="7231063" y="1538287"/>
              <a:ext cx="719138" cy="238125"/>
            </a:xfrm>
            <a:custGeom>
              <a:avLst/>
              <a:gdLst>
                <a:gd name="T0" fmla="*/ 0 w 63"/>
                <a:gd name="T1" fmla="*/ 226786 h 21"/>
                <a:gd name="T2" fmla="*/ 11415 w 63"/>
                <a:gd name="T3" fmla="*/ 192768 h 21"/>
                <a:gd name="T4" fmla="*/ 11415 w 63"/>
                <a:gd name="T5" fmla="*/ 192768 h 21"/>
                <a:gd name="T6" fmla="*/ 296787 w 63"/>
                <a:gd name="T7" fmla="*/ 11339 h 21"/>
                <a:gd name="T8" fmla="*/ 296787 w 63"/>
                <a:gd name="T9" fmla="*/ 11339 h 21"/>
                <a:gd name="T10" fmla="*/ 388106 w 63"/>
                <a:gd name="T11" fmla="*/ 0 h 21"/>
                <a:gd name="T12" fmla="*/ 388106 w 63"/>
                <a:gd name="T13" fmla="*/ 0 h 21"/>
                <a:gd name="T14" fmla="*/ 570744 w 63"/>
                <a:gd name="T15" fmla="*/ 56696 h 21"/>
                <a:gd name="T16" fmla="*/ 570744 w 63"/>
                <a:gd name="T17" fmla="*/ 56696 h 21"/>
                <a:gd name="T18" fmla="*/ 707723 w 63"/>
                <a:gd name="T19" fmla="*/ 147411 h 21"/>
                <a:gd name="T20" fmla="*/ 707723 w 63"/>
                <a:gd name="T21" fmla="*/ 147411 h 21"/>
                <a:gd name="T22" fmla="*/ 707723 w 63"/>
                <a:gd name="T23" fmla="*/ 181429 h 21"/>
                <a:gd name="T24" fmla="*/ 707723 w 63"/>
                <a:gd name="T25" fmla="*/ 181429 h 21"/>
                <a:gd name="T26" fmla="*/ 673478 w 63"/>
                <a:gd name="T27" fmla="*/ 181429 h 21"/>
                <a:gd name="T28" fmla="*/ 673478 w 63"/>
                <a:gd name="T29" fmla="*/ 181429 h 21"/>
                <a:gd name="T30" fmla="*/ 547915 w 63"/>
                <a:gd name="T31" fmla="*/ 90714 h 21"/>
                <a:gd name="T32" fmla="*/ 547915 w 63"/>
                <a:gd name="T33" fmla="*/ 90714 h 21"/>
                <a:gd name="T34" fmla="*/ 388106 w 63"/>
                <a:gd name="T35" fmla="*/ 45357 h 21"/>
                <a:gd name="T36" fmla="*/ 388106 w 63"/>
                <a:gd name="T37" fmla="*/ 45357 h 21"/>
                <a:gd name="T38" fmla="*/ 308202 w 63"/>
                <a:gd name="T39" fmla="*/ 56696 h 21"/>
                <a:gd name="T40" fmla="*/ 308202 w 63"/>
                <a:gd name="T41" fmla="*/ 56696 h 21"/>
                <a:gd name="T42" fmla="*/ 34245 w 63"/>
                <a:gd name="T43" fmla="*/ 226786 h 21"/>
                <a:gd name="T44" fmla="*/ 34245 w 63"/>
                <a:gd name="T45" fmla="*/ 226786 h 21"/>
                <a:gd name="T46" fmla="*/ 34245 w 63"/>
                <a:gd name="T47" fmla="*/ 226786 h 21"/>
                <a:gd name="T48" fmla="*/ 22830 w 63"/>
                <a:gd name="T49" fmla="*/ 238125 h 21"/>
                <a:gd name="T50" fmla="*/ 22830 w 63"/>
                <a:gd name="T51" fmla="*/ 238125 h 21"/>
                <a:gd name="T52" fmla="*/ 0 w 63"/>
                <a:gd name="T53" fmla="*/ 226786 h 2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3"/>
                <a:gd name="T82" fmla="*/ 0 h 21"/>
                <a:gd name="T83" fmla="*/ 63 w 63"/>
                <a:gd name="T84" fmla="*/ 21 h 21"/>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3" h="21">
                  <a:moveTo>
                    <a:pt x="0" y="20"/>
                  </a:moveTo>
                  <a:cubicBezTo>
                    <a:pt x="0" y="19"/>
                    <a:pt x="0" y="18"/>
                    <a:pt x="1" y="17"/>
                  </a:cubicBezTo>
                  <a:cubicBezTo>
                    <a:pt x="1" y="17"/>
                    <a:pt x="1" y="17"/>
                    <a:pt x="1" y="17"/>
                  </a:cubicBezTo>
                  <a:cubicBezTo>
                    <a:pt x="6" y="13"/>
                    <a:pt x="16" y="4"/>
                    <a:pt x="26" y="1"/>
                  </a:cubicBezTo>
                  <a:cubicBezTo>
                    <a:pt x="26" y="1"/>
                    <a:pt x="26" y="1"/>
                    <a:pt x="26" y="1"/>
                  </a:cubicBezTo>
                  <a:cubicBezTo>
                    <a:pt x="29" y="0"/>
                    <a:pt x="32" y="0"/>
                    <a:pt x="34" y="0"/>
                  </a:cubicBezTo>
                  <a:cubicBezTo>
                    <a:pt x="34" y="0"/>
                    <a:pt x="34" y="0"/>
                    <a:pt x="34" y="0"/>
                  </a:cubicBezTo>
                  <a:cubicBezTo>
                    <a:pt x="41" y="0"/>
                    <a:pt x="46" y="2"/>
                    <a:pt x="50" y="5"/>
                  </a:cubicBezTo>
                  <a:cubicBezTo>
                    <a:pt x="50" y="5"/>
                    <a:pt x="50" y="5"/>
                    <a:pt x="50" y="5"/>
                  </a:cubicBezTo>
                  <a:cubicBezTo>
                    <a:pt x="55" y="7"/>
                    <a:pt x="59" y="10"/>
                    <a:pt x="62" y="13"/>
                  </a:cubicBezTo>
                  <a:cubicBezTo>
                    <a:pt x="62" y="13"/>
                    <a:pt x="62" y="13"/>
                    <a:pt x="62" y="13"/>
                  </a:cubicBezTo>
                  <a:cubicBezTo>
                    <a:pt x="63" y="14"/>
                    <a:pt x="63" y="15"/>
                    <a:pt x="62" y="16"/>
                  </a:cubicBezTo>
                  <a:cubicBezTo>
                    <a:pt x="62" y="16"/>
                    <a:pt x="62" y="16"/>
                    <a:pt x="62" y="16"/>
                  </a:cubicBezTo>
                  <a:cubicBezTo>
                    <a:pt x="61" y="17"/>
                    <a:pt x="60" y="17"/>
                    <a:pt x="59" y="16"/>
                  </a:cubicBezTo>
                  <a:cubicBezTo>
                    <a:pt x="59" y="16"/>
                    <a:pt x="59" y="16"/>
                    <a:pt x="59" y="16"/>
                  </a:cubicBezTo>
                  <a:cubicBezTo>
                    <a:pt x="56" y="13"/>
                    <a:pt x="53" y="11"/>
                    <a:pt x="48" y="8"/>
                  </a:cubicBezTo>
                  <a:cubicBezTo>
                    <a:pt x="48" y="8"/>
                    <a:pt x="48" y="8"/>
                    <a:pt x="48" y="8"/>
                  </a:cubicBezTo>
                  <a:cubicBezTo>
                    <a:pt x="45" y="6"/>
                    <a:pt x="40" y="4"/>
                    <a:pt x="34" y="4"/>
                  </a:cubicBezTo>
                  <a:cubicBezTo>
                    <a:pt x="34" y="4"/>
                    <a:pt x="34" y="4"/>
                    <a:pt x="34" y="4"/>
                  </a:cubicBezTo>
                  <a:cubicBezTo>
                    <a:pt x="32" y="4"/>
                    <a:pt x="29" y="4"/>
                    <a:pt x="27" y="5"/>
                  </a:cubicBezTo>
                  <a:cubicBezTo>
                    <a:pt x="27" y="5"/>
                    <a:pt x="27" y="5"/>
                    <a:pt x="27" y="5"/>
                  </a:cubicBezTo>
                  <a:cubicBezTo>
                    <a:pt x="18" y="8"/>
                    <a:pt x="9" y="16"/>
                    <a:pt x="3" y="20"/>
                  </a:cubicBezTo>
                  <a:cubicBezTo>
                    <a:pt x="3" y="20"/>
                    <a:pt x="3" y="20"/>
                    <a:pt x="3" y="20"/>
                  </a:cubicBezTo>
                  <a:cubicBezTo>
                    <a:pt x="3" y="20"/>
                    <a:pt x="3" y="20"/>
                    <a:pt x="3" y="20"/>
                  </a:cubicBezTo>
                  <a:cubicBezTo>
                    <a:pt x="3" y="21"/>
                    <a:pt x="2" y="21"/>
                    <a:pt x="2" y="21"/>
                  </a:cubicBezTo>
                  <a:cubicBezTo>
                    <a:pt x="2" y="21"/>
                    <a:pt x="2" y="21"/>
                    <a:pt x="2" y="21"/>
                  </a:cubicBezTo>
                  <a:cubicBezTo>
                    <a:pt x="1" y="21"/>
                    <a:pt x="1" y="21"/>
                    <a:pt x="0" y="20"/>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54" name="Freeform 202"/>
            <p:cNvSpPr>
              <a:spLocks/>
            </p:cNvSpPr>
            <p:nvPr/>
          </p:nvSpPr>
          <p:spPr bwMode="auto">
            <a:xfrm>
              <a:off x="7196138" y="1628775"/>
              <a:ext cx="809625" cy="341312"/>
            </a:xfrm>
            <a:custGeom>
              <a:avLst/>
              <a:gdLst>
                <a:gd name="T0" fmla="*/ 11403 w 71"/>
                <a:gd name="T1" fmla="*/ 329935 h 30"/>
                <a:gd name="T2" fmla="*/ 11403 w 71"/>
                <a:gd name="T3" fmla="*/ 307181 h 30"/>
                <a:gd name="T4" fmla="*/ 11403 w 71"/>
                <a:gd name="T5" fmla="*/ 307181 h 30"/>
                <a:gd name="T6" fmla="*/ 205257 w 71"/>
                <a:gd name="T7" fmla="*/ 102394 h 30"/>
                <a:gd name="T8" fmla="*/ 205257 w 71"/>
                <a:gd name="T9" fmla="*/ 102394 h 30"/>
                <a:gd name="T10" fmla="*/ 444724 w 71"/>
                <a:gd name="T11" fmla="*/ 0 h 30"/>
                <a:gd name="T12" fmla="*/ 444724 w 71"/>
                <a:gd name="T13" fmla="*/ 0 h 30"/>
                <a:gd name="T14" fmla="*/ 592965 w 71"/>
                <a:gd name="T15" fmla="*/ 45508 h 30"/>
                <a:gd name="T16" fmla="*/ 592965 w 71"/>
                <a:gd name="T17" fmla="*/ 45508 h 30"/>
                <a:gd name="T18" fmla="*/ 798222 w 71"/>
                <a:gd name="T19" fmla="*/ 238918 h 30"/>
                <a:gd name="T20" fmla="*/ 798222 w 71"/>
                <a:gd name="T21" fmla="*/ 238918 h 30"/>
                <a:gd name="T22" fmla="*/ 798222 w 71"/>
                <a:gd name="T23" fmla="*/ 273050 h 30"/>
                <a:gd name="T24" fmla="*/ 798222 w 71"/>
                <a:gd name="T25" fmla="*/ 273050 h 30"/>
                <a:gd name="T26" fmla="*/ 764012 w 71"/>
                <a:gd name="T27" fmla="*/ 273050 h 30"/>
                <a:gd name="T28" fmla="*/ 764012 w 71"/>
                <a:gd name="T29" fmla="*/ 273050 h 30"/>
                <a:gd name="T30" fmla="*/ 570158 w 71"/>
                <a:gd name="T31" fmla="*/ 79639 h 30"/>
                <a:gd name="T32" fmla="*/ 570158 w 71"/>
                <a:gd name="T33" fmla="*/ 79639 h 30"/>
                <a:gd name="T34" fmla="*/ 444724 w 71"/>
                <a:gd name="T35" fmla="*/ 45508 h 30"/>
                <a:gd name="T36" fmla="*/ 444724 w 71"/>
                <a:gd name="T37" fmla="*/ 45508 h 30"/>
                <a:gd name="T38" fmla="*/ 239467 w 71"/>
                <a:gd name="T39" fmla="*/ 136525 h 30"/>
                <a:gd name="T40" fmla="*/ 239467 w 71"/>
                <a:gd name="T41" fmla="*/ 136525 h 30"/>
                <a:gd name="T42" fmla="*/ 45613 w 71"/>
                <a:gd name="T43" fmla="*/ 329935 h 30"/>
                <a:gd name="T44" fmla="*/ 45613 w 71"/>
                <a:gd name="T45" fmla="*/ 329935 h 30"/>
                <a:gd name="T46" fmla="*/ 45613 w 71"/>
                <a:gd name="T47" fmla="*/ 329935 h 30"/>
                <a:gd name="T48" fmla="*/ 22806 w 71"/>
                <a:gd name="T49" fmla="*/ 341312 h 30"/>
                <a:gd name="T50" fmla="*/ 22806 w 71"/>
                <a:gd name="T51" fmla="*/ 341312 h 30"/>
                <a:gd name="T52" fmla="*/ 11403 w 71"/>
                <a:gd name="T53" fmla="*/ 329935 h 3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71"/>
                <a:gd name="T82" fmla="*/ 0 h 30"/>
                <a:gd name="T83" fmla="*/ 71 w 71"/>
                <a:gd name="T84" fmla="*/ 30 h 3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71" h="30">
                  <a:moveTo>
                    <a:pt x="1" y="29"/>
                  </a:moveTo>
                  <a:cubicBezTo>
                    <a:pt x="0" y="29"/>
                    <a:pt x="0" y="28"/>
                    <a:pt x="1" y="27"/>
                  </a:cubicBezTo>
                  <a:cubicBezTo>
                    <a:pt x="1" y="27"/>
                    <a:pt x="1" y="27"/>
                    <a:pt x="1" y="27"/>
                  </a:cubicBezTo>
                  <a:cubicBezTo>
                    <a:pt x="8" y="20"/>
                    <a:pt x="10" y="16"/>
                    <a:pt x="18" y="9"/>
                  </a:cubicBezTo>
                  <a:cubicBezTo>
                    <a:pt x="18" y="9"/>
                    <a:pt x="18" y="9"/>
                    <a:pt x="18" y="9"/>
                  </a:cubicBezTo>
                  <a:cubicBezTo>
                    <a:pt x="25" y="3"/>
                    <a:pt x="32" y="0"/>
                    <a:pt x="39" y="0"/>
                  </a:cubicBezTo>
                  <a:cubicBezTo>
                    <a:pt x="39" y="0"/>
                    <a:pt x="39" y="0"/>
                    <a:pt x="39" y="0"/>
                  </a:cubicBezTo>
                  <a:cubicBezTo>
                    <a:pt x="43" y="0"/>
                    <a:pt x="48" y="2"/>
                    <a:pt x="52" y="4"/>
                  </a:cubicBezTo>
                  <a:cubicBezTo>
                    <a:pt x="52" y="4"/>
                    <a:pt x="52" y="4"/>
                    <a:pt x="52" y="4"/>
                  </a:cubicBezTo>
                  <a:cubicBezTo>
                    <a:pt x="58" y="7"/>
                    <a:pt x="65" y="15"/>
                    <a:pt x="70" y="21"/>
                  </a:cubicBezTo>
                  <a:cubicBezTo>
                    <a:pt x="70" y="21"/>
                    <a:pt x="70" y="21"/>
                    <a:pt x="70" y="21"/>
                  </a:cubicBezTo>
                  <a:cubicBezTo>
                    <a:pt x="71" y="22"/>
                    <a:pt x="71" y="23"/>
                    <a:pt x="70" y="24"/>
                  </a:cubicBezTo>
                  <a:cubicBezTo>
                    <a:pt x="70" y="24"/>
                    <a:pt x="70" y="24"/>
                    <a:pt x="70" y="24"/>
                  </a:cubicBezTo>
                  <a:cubicBezTo>
                    <a:pt x="69" y="25"/>
                    <a:pt x="68" y="25"/>
                    <a:pt x="67" y="24"/>
                  </a:cubicBezTo>
                  <a:cubicBezTo>
                    <a:pt x="67" y="24"/>
                    <a:pt x="67" y="24"/>
                    <a:pt x="67" y="24"/>
                  </a:cubicBezTo>
                  <a:cubicBezTo>
                    <a:pt x="62" y="18"/>
                    <a:pt x="55" y="10"/>
                    <a:pt x="50" y="7"/>
                  </a:cubicBezTo>
                  <a:cubicBezTo>
                    <a:pt x="50" y="7"/>
                    <a:pt x="50" y="7"/>
                    <a:pt x="50" y="7"/>
                  </a:cubicBezTo>
                  <a:cubicBezTo>
                    <a:pt x="46" y="5"/>
                    <a:pt x="43" y="4"/>
                    <a:pt x="39" y="4"/>
                  </a:cubicBezTo>
                  <a:cubicBezTo>
                    <a:pt x="39" y="4"/>
                    <a:pt x="39" y="4"/>
                    <a:pt x="39" y="4"/>
                  </a:cubicBezTo>
                  <a:cubicBezTo>
                    <a:pt x="33" y="4"/>
                    <a:pt x="28" y="6"/>
                    <a:pt x="21" y="12"/>
                  </a:cubicBezTo>
                  <a:cubicBezTo>
                    <a:pt x="21" y="12"/>
                    <a:pt x="21" y="12"/>
                    <a:pt x="21" y="12"/>
                  </a:cubicBezTo>
                  <a:cubicBezTo>
                    <a:pt x="13" y="19"/>
                    <a:pt x="11" y="22"/>
                    <a:pt x="4" y="29"/>
                  </a:cubicBezTo>
                  <a:cubicBezTo>
                    <a:pt x="4" y="29"/>
                    <a:pt x="4" y="29"/>
                    <a:pt x="4" y="29"/>
                  </a:cubicBezTo>
                  <a:cubicBezTo>
                    <a:pt x="4" y="29"/>
                    <a:pt x="4" y="29"/>
                    <a:pt x="4" y="29"/>
                  </a:cubicBezTo>
                  <a:cubicBezTo>
                    <a:pt x="3" y="30"/>
                    <a:pt x="3" y="30"/>
                    <a:pt x="2" y="30"/>
                  </a:cubicBezTo>
                  <a:cubicBezTo>
                    <a:pt x="2" y="30"/>
                    <a:pt x="2" y="30"/>
                    <a:pt x="2" y="30"/>
                  </a:cubicBezTo>
                  <a:cubicBezTo>
                    <a:pt x="2" y="30"/>
                    <a:pt x="1" y="30"/>
                    <a:pt x="1" y="29"/>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55" name="Freeform 203"/>
            <p:cNvSpPr>
              <a:spLocks/>
            </p:cNvSpPr>
            <p:nvPr/>
          </p:nvSpPr>
          <p:spPr bwMode="auto">
            <a:xfrm>
              <a:off x="7162800" y="1731962"/>
              <a:ext cx="877888" cy="431800"/>
            </a:xfrm>
            <a:custGeom>
              <a:avLst/>
              <a:gdLst>
                <a:gd name="T0" fmla="*/ 832283 w 77"/>
                <a:gd name="T1" fmla="*/ 431800 h 38"/>
                <a:gd name="T2" fmla="*/ 718272 w 77"/>
                <a:gd name="T3" fmla="*/ 204537 h 38"/>
                <a:gd name="T4" fmla="*/ 718272 w 77"/>
                <a:gd name="T5" fmla="*/ 204537 h 38"/>
                <a:gd name="T6" fmla="*/ 501650 w 77"/>
                <a:gd name="T7" fmla="*/ 45453 h 38"/>
                <a:gd name="T8" fmla="*/ 501650 w 77"/>
                <a:gd name="T9" fmla="*/ 45453 h 38"/>
                <a:gd name="T10" fmla="*/ 342034 w 77"/>
                <a:gd name="T11" fmla="*/ 102268 h 38"/>
                <a:gd name="T12" fmla="*/ 342034 w 77"/>
                <a:gd name="T13" fmla="*/ 102268 h 38"/>
                <a:gd name="T14" fmla="*/ 45605 w 77"/>
                <a:gd name="T15" fmla="*/ 420437 h 38"/>
                <a:gd name="T16" fmla="*/ 45605 w 77"/>
                <a:gd name="T17" fmla="*/ 420437 h 38"/>
                <a:gd name="T18" fmla="*/ 11401 w 77"/>
                <a:gd name="T19" fmla="*/ 431800 h 38"/>
                <a:gd name="T20" fmla="*/ 11401 w 77"/>
                <a:gd name="T21" fmla="*/ 431800 h 38"/>
                <a:gd name="T22" fmla="*/ 11401 w 77"/>
                <a:gd name="T23" fmla="*/ 397711 h 38"/>
                <a:gd name="T24" fmla="*/ 11401 w 77"/>
                <a:gd name="T25" fmla="*/ 397711 h 38"/>
                <a:gd name="T26" fmla="*/ 319232 w 77"/>
                <a:gd name="T27" fmla="*/ 56816 h 38"/>
                <a:gd name="T28" fmla="*/ 319232 w 77"/>
                <a:gd name="T29" fmla="*/ 56816 h 38"/>
                <a:gd name="T30" fmla="*/ 501650 w 77"/>
                <a:gd name="T31" fmla="*/ 11363 h 38"/>
                <a:gd name="T32" fmla="*/ 501650 w 77"/>
                <a:gd name="T33" fmla="*/ 11363 h 38"/>
                <a:gd name="T34" fmla="*/ 752475 w 77"/>
                <a:gd name="T35" fmla="*/ 181811 h 38"/>
                <a:gd name="T36" fmla="*/ 752475 w 77"/>
                <a:gd name="T37" fmla="*/ 181811 h 38"/>
                <a:gd name="T38" fmla="*/ 866487 w 77"/>
                <a:gd name="T39" fmla="*/ 397711 h 38"/>
                <a:gd name="T40" fmla="*/ 866487 w 77"/>
                <a:gd name="T41" fmla="*/ 397711 h 38"/>
                <a:gd name="T42" fmla="*/ 866487 w 77"/>
                <a:gd name="T43" fmla="*/ 431800 h 38"/>
                <a:gd name="T44" fmla="*/ 866487 w 77"/>
                <a:gd name="T45" fmla="*/ 431800 h 38"/>
                <a:gd name="T46" fmla="*/ 855086 w 77"/>
                <a:gd name="T47" fmla="*/ 431800 h 38"/>
                <a:gd name="T48" fmla="*/ 855086 w 77"/>
                <a:gd name="T49" fmla="*/ 431800 h 38"/>
                <a:gd name="T50" fmla="*/ 832283 w 77"/>
                <a:gd name="T51" fmla="*/ 431800 h 3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7"/>
                <a:gd name="T79" fmla="*/ 0 h 38"/>
                <a:gd name="T80" fmla="*/ 77 w 77"/>
                <a:gd name="T81" fmla="*/ 38 h 3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7" h="38">
                  <a:moveTo>
                    <a:pt x="73" y="38"/>
                  </a:moveTo>
                  <a:cubicBezTo>
                    <a:pt x="67" y="30"/>
                    <a:pt x="67" y="24"/>
                    <a:pt x="63" y="18"/>
                  </a:cubicBezTo>
                  <a:cubicBezTo>
                    <a:pt x="63" y="18"/>
                    <a:pt x="63" y="18"/>
                    <a:pt x="63" y="18"/>
                  </a:cubicBezTo>
                  <a:cubicBezTo>
                    <a:pt x="57" y="8"/>
                    <a:pt x="50" y="4"/>
                    <a:pt x="44" y="4"/>
                  </a:cubicBezTo>
                  <a:cubicBezTo>
                    <a:pt x="44" y="4"/>
                    <a:pt x="44" y="4"/>
                    <a:pt x="44" y="4"/>
                  </a:cubicBezTo>
                  <a:cubicBezTo>
                    <a:pt x="39" y="4"/>
                    <a:pt x="35" y="6"/>
                    <a:pt x="30" y="9"/>
                  </a:cubicBezTo>
                  <a:cubicBezTo>
                    <a:pt x="30" y="9"/>
                    <a:pt x="30" y="9"/>
                    <a:pt x="30" y="9"/>
                  </a:cubicBezTo>
                  <a:cubicBezTo>
                    <a:pt x="20" y="14"/>
                    <a:pt x="10" y="30"/>
                    <a:pt x="4" y="37"/>
                  </a:cubicBezTo>
                  <a:cubicBezTo>
                    <a:pt x="4" y="37"/>
                    <a:pt x="4" y="37"/>
                    <a:pt x="4" y="37"/>
                  </a:cubicBezTo>
                  <a:cubicBezTo>
                    <a:pt x="3" y="38"/>
                    <a:pt x="2" y="38"/>
                    <a:pt x="1" y="38"/>
                  </a:cubicBezTo>
                  <a:cubicBezTo>
                    <a:pt x="1" y="38"/>
                    <a:pt x="1" y="38"/>
                    <a:pt x="1" y="38"/>
                  </a:cubicBezTo>
                  <a:cubicBezTo>
                    <a:pt x="0" y="37"/>
                    <a:pt x="0" y="36"/>
                    <a:pt x="1" y="35"/>
                  </a:cubicBezTo>
                  <a:cubicBezTo>
                    <a:pt x="1" y="35"/>
                    <a:pt x="1" y="35"/>
                    <a:pt x="1" y="35"/>
                  </a:cubicBezTo>
                  <a:cubicBezTo>
                    <a:pt x="7" y="28"/>
                    <a:pt x="17" y="12"/>
                    <a:pt x="28" y="5"/>
                  </a:cubicBezTo>
                  <a:cubicBezTo>
                    <a:pt x="28" y="5"/>
                    <a:pt x="28" y="5"/>
                    <a:pt x="28" y="5"/>
                  </a:cubicBezTo>
                  <a:cubicBezTo>
                    <a:pt x="33" y="2"/>
                    <a:pt x="38" y="1"/>
                    <a:pt x="44" y="1"/>
                  </a:cubicBezTo>
                  <a:cubicBezTo>
                    <a:pt x="44" y="1"/>
                    <a:pt x="44" y="1"/>
                    <a:pt x="44" y="1"/>
                  </a:cubicBezTo>
                  <a:cubicBezTo>
                    <a:pt x="52" y="0"/>
                    <a:pt x="60" y="5"/>
                    <a:pt x="66" y="16"/>
                  </a:cubicBezTo>
                  <a:cubicBezTo>
                    <a:pt x="66" y="16"/>
                    <a:pt x="66" y="16"/>
                    <a:pt x="66" y="16"/>
                  </a:cubicBezTo>
                  <a:cubicBezTo>
                    <a:pt x="70" y="23"/>
                    <a:pt x="71" y="28"/>
                    <a:pt x="76" y="35"/>
                  </a:cubicBezTo>
                  <a:cubicBezTo>
                    <a:pt x="76" y="35"/>
                    <a:pt x="76" y="35"/>
                    <a:pt x="76" y="35"/>
                  </a:cubicBezTo>
                  <a:cubicBezTo>
                    <a:pt x="77" y="36"/>
                    <a:pt x="77" y="37"/>
                    <a:pt x="76" y="38"/>
                  </a:cubicBezTo>
                  <a:cubicBezTo>
                    <a:pt x="76" y="38"/>
                    <a:pt x="76" y="38"/>
                    <a:pt x="76" y="38"/>
                  </a:cubicBezTo>
                  <a:cubicBezTo>
                    <a:pt x="76" y="38"/>
                    <a:pt x="75" y="38"/>
                    <a:pt x="75" y="38"/>
                  </a:cubicBezTo>
                  <a:cubicBezTo>
                    <a:pt x="75" y="38"/>
                    <a:pt x="75" y="38"/>
                    <a:pt x="75" y="38"/>
                  </a:cubicBezTo>
                  <a:cubicBezTo>
                    <a:pt x="74" y="38"/>
                    <a:pt x="74" y="38"/>
                    <a:pt x="73" y="38"/>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56" name="Freeform 204"/>
            <p:cNvSpPr>
              <a:spLocks/>
            </p:cNvSpPr>
            <p:nvPr/>
          </p:nvSpPr>
          <p:spPr bwMode="auto">
            <a:xfrm>
              <a:off x="7321550" y="2311401"/>
              <a:ext cx="639763" cy="339725"/>
            </a:xfrm>
            <a:custGeom>
              <a:avLst/>
              <a:gdLst>
                <a:gd name="T0" fmla="*/ 0 w 56"/>
                <a:gd name="T1" fmla="*/ 317077 h 30"/>
                <a:gd name="T2" fmla="*/ 11424 w 56"/>
                <a:gd name="T3" fmla="*/ 294428 h 30"/>
                <a:gd name="T4" fmla="*/ 11424 w 56"/>
                <a:gd name="T5" fmla="*/ 294428 h 30"/>
                <a:gd name="T6" fmla="*/ 217062 w 56"/>
                <a:gd name="T7" fmla="*/ 237808 h 30"/>
                <a:gd name="T8" fmla="*/ 217062 w 56"/>
                <a:gd name="T9" fmla="*/ 237808 h 30"/>
                <a:gd name="T10" fmla="*/ 434125 w 56"/>
                <a:gd name="T11" fmla="*/ 22648 h 30"/>
                <a:gd name="T12" fmla="*/ 434125 w 56"/>
                <a:gd name="T13" fmla="*/ 22648 h 30"/>
                <a:gd name="T14" fmla="*/ 445549 w 56"/>
                <a:gd name="T15" fmla="*/ 0 h 30"/>
                <a:gd name="T16" fmla="*/ 445549 w 56"/>
                <a:gd name="T17" fmla="*/ 0 h 30"/>
                <a:gd name="T18" fmla="*/ 468398 w 56"/>
                <a:gd name="T19" fmla="*/ 11324 h 30"/>
                <a:gd name="T20" fmla="*/ 468398 w 56"/>
                <a:gd name="T21" fmla="*/ 11324 h 30"/>
                <a:gd name="T22" fmla="*/ 479822 w 56"/>
                <a:gd name="T23" fmla="*/ 33973 h 30"/>
                <a:gd name="T24" fmla="*/ 479822 w 56"/>
                <a:gd name="T25" fmla="*/ 33973 h 30"/>
                <a:gd name="T26" fmla="*/ 525520 w 56"/>
                <a:gd name="T27" fmla="*/ 67945 h 30"/>
                <a:gd name="T28" fmla="*/ 525520 w 56"/>
                <a:gd name="T29" fmla="*/ 67945 h 30"/>
                <a:gd name="T30" fmla="*/ 628339 w 56"/>
                <a:gd name="T31" fmla="*/ 147214 h 30"/>
                <a:gd name="T32" fmla="*/ 628339 w 56"/>
                <a:gd name="T33" fmla="*/ 147214 h 30"/>
                <a:gd name="T34" fmla="*/ 639763 w 56"/>
                <a:gd name="T35" fmla="*/ 181187 h 30"/>
                <a:gd name="T36" fmla="*/ 639763 w 56"/>
                <a:gd name="T37" fmla="*/ 181187 h 30"/>
                <a:gd name="T38" fmla="*/ 605490 w 56"/>
                <a:gd name="T39" fmla="*/ 181187 h 30"/>
                <a:gd name="T40" fmla="*/ 605490 w 56"/>
                <a:gd name="T41" fmla="*/ 181187 h 30"/>
                <a:gd name="T42" fmla="*/ 456974 w 56"/>
                <a:gd name="T43" fmla="*/ 67945 h 30"/>
                <a:gd name="T44" fmla="*/ 456974 w 56"/>
                <a:gd name="T45" fmla="*/ 67945 h 30"/>
                <a:gd name="T46" fmla="*/ 239911 w 56"/>
                <a:gd name="T47" fmla="*/ 283104 h 30"/>
                <a:gd name="T48" fmla="*/ 239911 w 56"/>
                <a:gd name="T49" fmla="*/ 283104 h 30"/>
                <a:gd name="T50" fmla="*/ 22849 w 56"/>
                <a:gd name="T51" fmla="*/ 339725 h 30"/>
                <a:gd name="T52" fmla="*/ 22849 w 56"/>
                <a:gd name="T53" fmla="*/ 339725 h 30"/>
                <a:gd name="T54" fmla="*/ 22849 w 56"/>
                <a:gd name="T55" fmla="*/ 339725 h 30"/>
                <a:gd name="T56" fmla="*/ 22849 w 56"/>
                <a:gd name="T57" fmla="*/ 339725 h 30"/>
                <a:gd name="T58" fmla="*/ 22849 w 56"/>
                <a:gd name="T59" fmla="*/ 339725 h 30"/>
                <a:gd name="T60" fmla="*/ 0 w 56"/>
                <a:gd name="T61" fmla="*/ 317077 h 3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6"/>
                <a:gd name="T94" fmla="*/ 0 h 30"/>
                <a:gd name="T95" fmla="*/ 56 w 56"/>
                <a:gd name="T96" fmla="*/ 30 h 3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6" h="30">
                  <a:moveTo>
                    <a:pt x="0" y="28"/>
                  </a:moveTo>
                  <a:cubicBezTo>
                    <a:pt x="0" y="27"/>
                    <a:pt x="0" y="26"/>
                    <a:pt x="1" y="26"/>
                  </a:cubicBezTo>
                  <a:cubicBezTo>
                    <a:pt x="1" y="26"/>
                    <a:pt x="1" y="26"/>
                    <a:pt x="1" y="26"/>
                  </a:cubicBezTo>
                  <a:cubicBezTo>
                    <a:pt x="5" y="26"/>
                    <a:pt x="12" y="25"/>
                    <a:pt x="19" y="21"/>
                  </a:cubicBezTo>
                  <a:cubicBezTo>
                    <a:pt x="19" y="21"/>
                    <a:pt x="19" y="21"/>
                    <a:pt x="19" y="21"/>
                  </a:cubicBezTo>
                  <a:cubicBezTo>
                    <a:pt x="27" y="18"/>
                    <a:pt x="34" y="12"/>
                    <a:pt x="38" y="2"/>
                  </a:cubicBezTo>
                  <a:cubicBezTo>
                    <a:pt x="38" y="2"/>
                    <a:pt x="38" y="2"/>
                    <a:pt x="38" y="2"/>
                  </a:cubicBezTo>
                  <a:cubicBezTo>
                    <a:pt x="38" y="1"/>
                    <a:pt x="39" y="1"/>
                    <a:pt x="39" y="0"/>
                  </a:cubicBezTo>
                  <a:cubicBezTo>
                    <a:pt x="39" y="0"/>
                    <a:pt x="39" y="0"/>
                    <a:pt x="39" y="0"/>
                  </a:cubicBezTo>
                  <a:cubicBezTo>
                    <a:pt x="40" y="0"/>
                    <a:pt x="41" y="1"/>
                    <a:pt x="41" y="1"/>
                  </a:cubicBezTo>
                  <a:cubicBezTo>
                    <a:pt x="41" y="1"/>
                    <a:pt x="41" y="1"/>
                    <a:pt x="41" y="1"/>
                  </a:cubicBezTo>
                  <a:cubicBezTo>
                    <a:pt x="41" y="1"/>
                    <a:pt x="42" y="2"/>
                    <a:pt x="42" y="3"/>
                  </a:cubicBezTo>
                  <a:cubicBezTo>
                    <a:pt x="42" y="3"/>
                    <a:pt x="42" y="3"/>
                    <a:pt x="42" y="3"/>
                  </a:cubicBezTo>
                  <a:cubicBezTo>
                    <a:pt x="43" y="3"/>
                    <a:pt x="44" y="5"/>
                    <a:pt x="46" y="6"/>
                  </a:cubicBezTo>
                  <a:cubicBezTo>
                    <a:pt x="46" y="6"/>
                    <a:pt x="46" y="6"/>
                    <a:pt x="46" y="6"/>
                  </a:cubicBezTo>
                  <a:cubicBezTo>
                    <a:pt x="48" y="8"/>
                    <a:pt x="52" y="11"/>
                    <a:pt x="55" y="13"/>
                  </a:cubicBezTo>
                  <a:cubicBezTo>
                    <a:pt x="55" y="13"/>
                    <a:pt x="55" y="13"/>
                    <a:pt x="55" y="13"/>
                  </a:cubicBezTo>
                  <a:cubicBezTo>
                    <a:pt x="56" y="13"/>
                    <a:pt x="56" y="15"/>
                    <a:pt x="56" y="16"/>
                  </a:cubicBezTo>
                  <a:cubicBezTo>
                    <a:pt x="56" y="16"/>
                    <a:pt x="56" y="16"/>
                    <a:pt x="56" y="16"/>
                  </a:cubicBezTo>
                  <a:cubicBezTo>
                    <a:pt x="55" y="17"/>
                    <a:pt x="54" y="17"/>
                    <a:pt x="53" y="16"/>
                  </a:cubicBezTo>
                  <a:cubicBezTo>
                    <a:pt x="53" y="16"/>
                    <a:pt x="53" y="16"/>
                    <a:pt x="53" y="16"/>
                  </a:cubicBezTo>
                  <a:cubicBezTo>
                    <a:pt x="48" y="14"/>
                    <a:pt x="43" y="9"/>
                    <a:pt x="40" y="6"/>
                  </a:cubicBezTo>
                  <a:cubicBezTo>
                    <a:pt x="40" y="6"/>
                    <a:pt x="40" y="6"/>
                    <a:pt x="40" y="6"/>
                  </a:cubicBezTo>
                  <a:cubicBezTo>
                    <a:pt x="36" y="16"/>
                    <a:pt x="28" y="21"/>
                    <a:pt x="21" y="25"/>
                  </a:cubicBezTo>
                  <a:cubicBezTo>
                    <a:pt x="21" y="25"/>
                    <a:pt x="21" y="25"/>
                    <a:pt x="21" y="25"/>
                  </a:cubicBezTo>
                  <a:cubicBezTo>
                    <a:pt x="13" y="29"/>
                    <a:pt x="6" y="30"/>
                    <a:pt x="2" y="30"/>
                  </a:cubicBezTo>
                  <a:cubicBezTo>
                    <a:pt x="2" y="30"/>
                    <a:pt x="2" y="30"/>
                    <a:pt x="2" y="30"/>
                  </a:cubicBezTo>
                  <a:cubicBezTo>
                    <a:pt x="2" y="30"/>
                    <a:pt x="2" y="30"/>
                    <a:pt x="2" y="30"/>
                  </a:cubicBezTo>
                  <a:cubicBezTo>
                    <a:pt x="2" y="30"/>
                    <a:pt x="2" y="30"/>
                    <a:pt x="2" y="30"/>
                  </a:cubicBezTo>
                  <a:cubicBezTo>
                    <a:pt x="2" y="30"/>
                    <a:pt x="2" y="30"/>
                    <a:pt x="2" y="30"/>
                  </a:cubicBezTo>
                  <a:cubicBezTo>
                    <a:pt x="0" y="30"/>
                    <a:pt x="0" y="29"/>
                    <a:pt x="0" y="28"/>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sp>
          <p:nvSpPr>
            <p:cNvPr id="257" name="Freeform 205"/>
            <p:cNvSpPr>
              <a:spLocks/>
            </p:cNvSpPr>
            <p:nvPr/>
          </p:nvSpPr>
          <p:spPr bwMode="auto">
            <a:xfrm>
              <a:off x="7516813" y="2719388"/>
              <a:ext cx="169863" cy="57150"/>
            </a:xfrm>
            <a:custGeom>
              <a:avLst/>
              <a:gdLst>
                <a:gd name="T0" fmla="*/ 0 w 15"/>
                <a:gd name="T1" fmla="*/ 45720 h 5"/>
                <a:gd name="T2" fmla="*/ 11324 w 15"/>
                <a:gd name="T3" fmla="*/ 11430 h 5"/>
                <a:gd name="T4" fmla="*/ 11324 w 15"/>
                <a:gd name="T5" fmla="*/ 11430 h 5"/>
                <a:gd name="T6" fmla="*/ 79269 w 15"/>
                <a:gd name="T7" fmla="*/ 0 h 5"/>
                <a:gd name="T8" fmla="*/ 79269 w 15"/>
                <a:gd name="T9" fmla="*/ 0 h 5"/>
                <a:gd name="T10" fmla="*/ 147215 w 15"/>
                <a:gd name="T11" fmla="*/ 11430 h 5"/>
                <a:gd name="T12" fmla="*/ 147215 w 15"/>
                <a:gd name="T13" fmla="*/ 11430 h 5"/>
                <a:gd name="T14" fmla="*/ 158539 w 15"/>
                <a:gd name="T15" fmla="*/ 34290 h 5"/>
                <a:gd name="T16" fmla="*/ 158539 w 15"/>
                <a:gd name="T17" fmla="*/ 34290 h 5"/>
                <a:gd name="T18" fmla="*/ 135890 w 15"/>
                <a:gd name="T19" fmla="*/ 57150 h 5"/>
                <a:gd name="T20" fmla="*/ 135890 w 15"/>
                <a:gd name="T21" fmla="*/ 57150 h 5"/>
                <a:gd name="T22" fmla="*/ 79269 w 15"/>
                <a:gd name="T23" fmla="*/ 45720 h 5"/>
                <a:gd name="T24" fmla="*/ 79269 w 15"/>
                <a:gd name="T25" fmla="*/ 45720 h 5"/>
                <a:gd name="T26" fmla="*/ 33973 w 15"/>
                <a:gd name="T27" fmla="*/ 57150 h 5"/>
                <a:gd name="T28" fmla="*/ 33973 w 15"/>
                <a:gd name="T29" fmla="*/ 57150 h 5"/>
                <a:gd name="T30" fmla="*/ 33973 w 15"/>
                <a:gd name="T31" fmla="*/ 57150 h 5"/>
                <a:gd name="T32" fmla="*/ 22648 w 15"/>
                <a:gd name="T33" fmla="*/ 57150 h 5"/>
                <a:gd name="T34" fmla="*/ 22648 w 15"/>
                <a:gd name="T35" fmla="*/ 57150 h 5"/>
                <a:gd name="T36" fmla="*/ 0 w 15"/>
                <a:gd name="T37" fmla="*/ 45720 h 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
                <a:gd name="T58" fmla="*/ 0 h 5"/>
                <a:gd name="T59" fmla="*/ 15 w 15"/>
                <a:gd name="T60" fmla="*/ 5 h 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 h="5">
                  <a:moveTo>
                    <a:pt x="0" y="4"/>
                  </a:moveTo>
                  <a:cubicBezTo>
                    <a:pt x="0" y="3"/>
                    <a:pt x="0" y="2"/>
                    <a:pt x="1" y="1"/>
                  </a:cubicBezTo>
                  <a:cubicBezTo>
                    <a:pt x="1" y="1"/>
                    <a:pt x="1" y="1"/>
                    <a:pt x="1" y="1"/>
                  </a:cubicBezTo>
                  <a:cubicBezTo>
                    <a:pt x="3" y="0"/>
                    <a:pt x="5" y="0"/>
                    <a:pt x="7" y="0"/>
                  </a:cubicBezTo>
                  <a:cubicBezTo>
                    <a:pt x="7" y="0"/>
                    <a:pt x="7" y="0"/>
                    <a:pt x="7" y="0"/>
                  </a:cubicBezTo>
                  <a:cubicBezTo>
                    <a:pt x="10" y="0"/>
                    <a:pt x="12" y="0"/>
                    <a:pt x="13" y="1"/>
                  </a:cubicBezTo>
                  <a:cubicBezTo>
                    <a:pt x="13" y="1"/>
                    <a:pt x="13" y="1"/>
                    <a:pt x="13" y="1"/>
                  </a:cubicBezTo>
                  <a:cubicBezTo>
                    <a:pt x="14" y="1"/>
                    <a:pt x="15" y="2"/>
                    <a:pt x="14" y="3"/>
                  </a:cubicBezTo>
                  <a:cubicBezTo>
                    <a:pt x="14" y="3"/>
                    <a:pt x="14" y="3"/>
                    <a:pt x="14" y="3"/>
                  </a:cubicBezTo>
                  <a:cubicBezTo>
                    <a:pt x="14" y="4"/>
                    <a:pt x="13" y="5"/>
                    <a:pt x="12" y="5"/>
                  </a:cubicBezTo>
                  <a:cubicBezTo>
                    <a:pt x="12" y="5"/>
                    <a:pt x="12" y="5"/>
                    <a:pt x="12" y="5"/>
                  </a:cubicBezTo>
                  <a:cubicBezTo>
                    <a:pt x="11" y="4"/>
                    <a:pt x="9" y="4"/>
                    <a:pt x="7" y="4"/>
                  </a:cubicBezTo>
                  <a:cubicBezTo>
                    <a:pt x="7" y="4"/>
                    <a:pt x="7" y="4"/>
                    <a:pt x="7" y="4"/>
                  </a:cubicBezTo>
                  <a:cubicBezTo>
                    <a:pt x="6" y="4"/>
                    <a:pt x="4" y="4"/>
                    <a:pt x="3" y="5"/>
                  </a:cubicBezTo>
                  <a:cubicBezTo>
                    <a:pt x="3" y="5"/>
                    <a:pt x="3" y="5"/>
                    <a:pt x="3" y="5"/>
                  </a:cubicBezTo>
                  <a:cubicBezTo>
                    <a:pt x="3" y="5"/>
                    <a:pt x="3" y="5"/>
                    <a:pt x="3" y="5"/>
                  </a:cubicBezTo>
                  <a:cubicBezTo>
                    <a:pt x="2" y="5"/>
                    <a:pt x="2" y="5"/>
                    <a:pt x="2" y="5"/>
                  </a:cubicBezTo>
                  <a:cubicBezTo>
                    <a:pt x="2" y="5"/>
                    <a:pt x="2" y="5"/>
                    <a:pt x="2" y="5"/>
                  </a:cubicBezTo>
                  <a:cubicBezTo>
                    <a:pt x="1" y="5"/>
                    <a:pt x="0" y="5"/>
                    <a:pt x="0" y="4"/>
                  </a:cubicBezTo>
                  <a:close/>
                </a:path>
              </a:pathLst>
            </a:custGeom>
            <a:grpFill/>
            <a:ln w="9525">
              <a:noFill/>
              <a:round/>
              <a:headEnd/>
              <a:tailEnd/>
            </a:ln>
          </p:spPr>
          <p:txBody>
            <a:bodyPr/>
            <a:lstStyle/>
            <a:p>
              <a:endParaRPr lang="en-US" b="0" dirty="0">
                <a:latin typeface="微软雅黑" pitchFamily="34" charset="-122"/>
                <a:ea typeface="微软雅黑" pitchFamily="34" charset="-122"/>
              </a:endParaRPr>
            </a:p>
          </p:txBody>
        </p:sp>
      </p:grpSp>
      <p:sp>
        <p:nvSpPr>
          <p:cNvPr id="428" name="Freeform 575"/>
          <p:cNvSpPr>
            <a:spLocks noEditPoints="1"/>
          </p:cNvSpPr>
          <p:nvPr/>
        </p:nvSpPr>
        <p:spPr bwMode="auto">
          <a:xfrm>
            <a:off x="8350556" y="4476947"/>
            <a:ext cx="1053058" cy="2129222"/>
          </a:xfrm>
          <a:custGeom>
            <a:avLst/>
            <a:gdLst>
              <a:gd name="T0" fmla="*/ 156 w 180"/>
              <a:gd name="T1" fmla="*/ 0 h 364"/>
              <a:gd name="T2" fmla="*/ 0 w 180"/>
              <a:gd name="T3" fmla="*/ 0 h 364"/>
              <a:gd name="T4" fmla="*/ 0 w 180"/>
              <a:gd name="T5" fmla="*/ 340 h 364"/>
              <a:gd name="T6" fmla="*/ 24 w 180"/>
              <a:gd name="T7" fmla="*/ 364 h 364"/>
              <a:gd name="T8" fmla="*/ 180 w 180"/>
              <a:gd name="T9" fmla="*/ 364 h 364"/>
              <a:gd name="T10" fmla="*/ 180 w 180"/>
              <a:gd name="T11" fmla="*/ 24 h 364"/>
              <a:gd name="T12" fmla="*/ 156 w 180"/>
              <a:gd name="T13" fmla="*/ 0 h 364"/>
              <a:gd name="T14" fmla="*/ 76 w 180"/>
              <a:gd name="T15" fmla="*/ 292 h 364"/>
              <a:gd name="T16" fmla="*/ 28 w 180"/>
              <a:gd name="T17" fmla="*/ 292 h 364"/>
              <a:gd name="T18" fmla="*/ 28 w 180"/>
              <a:gd name="T19" fmla="*/ 244 h 364"/>
              <a:gd name="T20" fmla="*/ 76 w 180"/>
              <a:gd name="T21" fmla="*/ 244 h 364"/>
              <a:gd name="T22" fmla="*/ 76 w 180"/>
              <a:gd name="T23" fmla="*/ 292 h 364"/>
              <a:gd name="T24" fmla="*/ 76 w 180"/>
              <a:gd name="T25" fmla="*/ 220 h 364"/>
              <a:gd name="T26" fmla="*/ 28 w 180"/>
              <a:gd name="T27" fmla="*/ 220 h 364"/>
              <a:gd name="T28" fmla="*/ 28 w 180"/>
              <a:gd name="T29" fmla="*/ 172 h 364"/>
              <a:gd name="T30" fmla="*/ 76 w 180"/>
              <a:gd name="T31" fmla="*/ 172 h 364"/>
              <a:gd name="T32" fmla="*/ 76 w 180"/>
              <a:gd name="T33" fmla="*/ 220 h 364"/>
              <a:gd name="T34" fmla="*/ 76 w 180"/>
              <a:gd name="T35" fmla="*/ 148 h 364"/>
              <a:gd name="T36" fmla="*/ 28 w 180"/>
              <a:gd name="T37" fmla="*/ 148 h 364"/>
              <a:gd name="T38" fmla="*/ 28 w 180"/>
              <a:gd name="T39" fmla="*/ 100 h 364"/>
              <a:gd name="T40" fmla="*/ 76 w 180"/>
              <a:gd name="T41" fmla="*/ 100 h 364"/>
              <a:gd name="T42" fmla="*/ 76 w 180"/>
              <a:gd name="T43" fmla="*/ 148 h 364"/>
              <a:gd name="T44" fmla="*/ 76 w 180"/>
              <a:gd name="T45" fmla="*/ 76 h 364"/>
              <a:gd name="T46" fmla="*/ 28 w 180"/>
              <a:gd name="T47" fmla="*/ 76 h 364"/>
              <a:gd name="T48" fmla="*/ 28 w 180"/>
              <a:gd name="T49" fmla="*/ 28 h 364"/>
              <a:gd name="T50" fmla="*/ 76 w 180"/>
              <a:gd name="T51" fmla="*/ 28 h 364"/>
              <a:gd name="T52" fmla="*/ 76 w 180"/>
              <a:gd name="T53" fmla="*/ 76 h 364"/>
              <a:gd name="T54" fmla="*/ 152 w 180"/>
              <a:gd name="T55" fmla="*/ 220 h 364"/>
              <a:gd name="T56" fmla="*/ 104 w 180"/>
              <a:gd name="T57" fmla="*/ 220 h 364"/>
              <a:gd name="T58" fmla="*/ 104 w 180"/>
              <a:gd name="T59" fmla="*/ 172 h 364"/>
              <a:gd name="T60" fmla="*/ 152 w 180"/>
              <a:gd name="T61" fmla="*/ 172 h 364"/>
              <a:gd name="T62" fmla="*/ 152 w 180"/>
              <a:gd name="T63" fmla="*/ 220 h 364"/>
              <a:gd name="T64" fmla="*/ 152 w 180"/>
              <a:gd name="T65" fmla="*/ 148 h 364"/>
              <a:gd name="T66" fmla="*/ 104 w 180"/>
              <a:gd name="T67" fmla="*/ 148 h 364"/>
              <a:gd name="T68" fmla="*/ 104 w 180"/>
              <a:gd name="T69" fmla="*/ 100 h 364"/>
              <a:gd name="T70" fmla="*/ 152 w 180"/>
              <a:gd name="T71" fmla="*/ 100 h 364"/>
              <a:gd name="T72" fmla="*/ 152 w 180"/>
              <a:gd name="T73" fmla="*/ 148 h 364"/>
              <a:gd name="T74" fmla="*/ 152 w 180"/>
              <a:gd name="T75" fmla="*/ 76 h 364"/>
              <a:gd name="T76" fmla="*/ 104 w 180"/>
              <a:gd name="T77" fmla="*/ 76 h 364"/>
              <a:gd name="T78" fmla="*/ 104 w 180"/>
              <a:gd name="T79" fmla="*/ 28 h 364"/>
              <a:gd name="T80" fmla="*/ 152 w 180"/>
              <a:gd name="T81" fmla="*/ 28 h 364"/>
              <a:gd name="T82" fmla="*/ 152 w 180"/>
              <a:gd name="T83" fmla="*/ 76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0" h="364">
                <a:moveTo>
                  <a:pt x="156" y="0"/>
                </a:moveTo>
                <a:cubicBezTo>
                  <a:pt x="0" y="0"/>
                  <a:pt x="0" y="0"/>
                  <a:pt x="0" y="0"/>
                </a:cubicBezTo>
                <a:cubicBezTo>
                  <a:pt x="0" y="340"/>
                  <a:pt x="0" y="340"/>
                  <a:pt x="0" y="340"/>
                </a:cubicBezTo>
                <a:cubicBezTo>
                  <a:pt x="0" y="353"/>
                  <a:pt x="10" y="364"/>
                  <a:pt x="24" y="364"/>
                </a:cubicBezTo>
                <a:cubicBezTo>
                  <a:pt x="180" y="364"/>
                  <a:pt x="180" y="364"/>
                  <a:pt x="180" y="364"/>
                </a:cubicBezTo>
                <a:cubicBezTo>
                  <a:pt x="180" y="24"/>
                  <a:pt x="180" y="24"/>
                  <a:pt x="180" y="24"/>
                </a:cubicBezTo>
                <a:cubicBezTo>
                  <a:pt x="180" y="11"/>
                  <a:pt x="169" y="0"/>
                  <a:pt x="156" y="0"/>
                </a:cubicBezTo>
                <a:moveTo>
                  <a:pt x="76" y="292"/>
                </a:moveTo>
                <a:cubicBezTo>
                  <a:pt x="28" y="292"/>
                  <a:pt x="28" y="292"/>
                  <a:pt x="28" y="292"/>
                </a:cubicBezTo>
                <a:cubicBezTo>
                  <a:pt x="28" y="244"/>
                  <a:pt x="28" y="244"/>
                  <a:pt x="28" y="244"/>
                </a:cubicBezTo>
                <a:cubicBezTo>
                  <a:pt x="76" y="244"/>
                  <a:pt x="76" y="244"/>
                  <a:pt x="76" y="244"/>
                </a:cubicBezTo>
                <a:lnTo>
                  <a:pt x="76" y="292"/>
                </a:lnTo>
                <a:close/>
                <a:moveTo>
                  <a:pt x="76" y="220"/>
                </a:moveTo>
                <a:cubicBezTo>
                  <a:pt x="28" y="220"/>
                  <a:pt x="28" y="220"/>
                  <a:pt x="28" y="220"/>
                </a:cubicBezTo>
                <a:cubicBezTo>
                  <a:pt x="28" y="172"/>
                  <a:pt x="28" y="172"/>
                  <a:pt x="28" y="172"/>
                </a:cubicBezTo>
                <a:cubicBezTo>
                  <a:pt x="76" y="172"/>
                  <a:pt x="76" y="172"/>
                  <a:pt x="76" y="172"/>
                </a:cubicBezTo>
                <a:lnTo>
                  <a:pt x="76" y="220"/>
                </a:lnTo>
                <a:close/>
                <a:moveTo>
                  <a:pt x="76" y="148"/>
                </a:moveTo>
                <a:cubicBezTo>
                  <a:pt x="28" y="148"/>
                  <a:pt x="28" y="148"/>
                  <a:pt x="28" y="148"/>
                </a:cubicBezTo>
                <a:cubicBezTo>
                  <a:pt x="28" y="100"/>
                  <a:pt x="28" y="100"/>
                  <a:pt x="28" y="100"/>
                </a:cubicBezTo>
                <a:cubicBezTo>
                  <a:pt x="76" y="100"/>
                  <a:pt x="76" y="100"/>
                  <a:pt x="76" y="100"/>
                </a:cubicBezTo>
                <a:lnTo>
                  <a:pt x="76" y="148"/>
                </a:lnTo>
                <a:close/>
                <a:moveTo>
                  <a:pt x="76" y="76"/>
                </a:moveTo>
                <a:cubicBezTo>
                  <a:pt x="28" y="76"/>
                  <a:pt x="28" y="76"/>
                  <a:pt x="28" y="76"/>
                </a:cubicBezTo>
                <a:cubicBezTo>
                  <a:pt x="28" y="28"/>
                  <a:pt x="28" y="28"/>
                  <a:pt x="28" y="28"/>
                </a:cubicBezTo>
                <a:cubicBezTo>
                  <a:pt x="76" y="28"/>
                  <a:pt x="76" y="28"/>
                  <a:pt x="76" y="28"/>
                </a:cubicBezTo>
                <a:lnTo>
                  <a:pt x="76" y="76"/>
                </a:lnTo>
                <a:close/>
                <a:moveTo>
                  <a:pt x="152" y="220"/>
                </a:moveTo>
                <a:cubicBezTo>
                  <a:pt x="104" y="220"/>
                  <a:pt x="104" y="220"/>
                  <a:pt x="104" y="220"/>
                </a:cubicBezTo>
                <a:cubicBezTo>
                  <a:pt x="104" y="172"/>
                  <a:pt x="104" y="172"/>
                  <a:pt x="104" y="172"/>
                </a:cubicBezTo>
                <a:cubicBezTo>
                  <a:pt x="152" y="172"/>
                  <a:pt x="152" y="172"/>
                  <a:pt x="152" y="172"/>
                </a:cubicBezTo>
                <a:lnTo>
                  <a:pt x="152" y="220"/>
                </a:lnTo>
                <a:close/>
                <a:moveTo>
                  <a:pt x="152" y="148"/>
                </a:moveTo>
                <a:cubicBezTo>
                  <a:pt x="104" y="148"/>
                  <a:pt x="104" y="148"/>
                  <a:pt x="104" y="148"/>
                </a:cubicBezTo>
                <a:cubicBezTo>
                  <a:pt x="104" y="100"/>
                  <a:pt x="104" y="100"/>
                  <a:pt x="104" y="100"/>
                </a:cubicBezTo>
                <a:cubicBezTo>
                  <a:pt x="152" y="100"/>
                  <a:pt x="152" y="100"/>
                  <a:pt x="152" y="100"/>
                </a:cubicBezTo>
                <a:lnTo>
                  <a:pt x="152" y="148"/>
                </a:lnTo>
                <a:close/>
                <a:moveTo>
                  <a:pt x="152" y="76"/>
                </a:moveTo>
                <a:cubicBezTo>
                  <a:pt x="104" y="76"/>
                  <a:pt x="104" y="76"/>
                  <a:pt x="104" y="76"/>
                </a:cubicBezTo>
                <a:cubicBezTo>
                  <a:pt x="104" y="28"/>
                  <a:pt x="104" y="28"/>
                  <a:pt x="104" y="28"/>
                </a:cubicBezTo>
                <a:cubicBezTo>
                  <a:pt x="152" y="28"/>
                  <a:pt x="152" y="28"/>
                  <a:pt x="152" y="28"/>
                </a:cubicBezTo>
                <a:lnTo>
                  <a:pt x="152" y="76"/>
                </a:lnTo>
                <a:close/>
              </a:path>
            </a:pathLst>
          </a:custGeom>
          <a:solidFill>
            <a:schemeClr val="accent4">
              <a:lumMod val="40000"/>
              <a:lumOff val="60000"/>
            </a:schemeClr>
          </a:solidFill>
          <a:ln>
            <a:noFill/>
          </a:ln>
        </p:spPr>
        <p:txBody>
          <a:bodyPr vert="horz" wrap="square" lIns="129909" tIns="64954" rIns="129909" bIns="64954" numCol="1" anchor="t" anchorCtr="0" compatLnSpc="1">
            <a:prstTxWarp prst="textNoShape">
              <a:avLst/>
            </a:prstTxWarp>
          </a:bodyPr>
          <a:lstStyle/>
          <a:p>
            <a:endParaRPr lang="en-US">
              <a:latin typeface="微软雅黑" pitchFamily="34" charset="-122"/>
              <a:ea typeface="微软雅黑" pitchFamily="34" charset="-122"/>
            </a:endParaRPr>
          </a:p>
        </p:txBody>
      </p:sp>
      <p:grpSp>
        <p:nvGrpSpPr>
          <p:cNvPr id="6" name="Group 5"/>
          <p:cNvGrpSpPr/>
          <p:nvPr/>
        </p:nvGrpSpPr>
        <p:grpSpPr>
          <a:xfrm>
            <a:off x="3000810" y="1414046"/>
            <a:ext cx="1481740" cy="1221955"/>
            <a:chOff x="2113298" y="994251"/>
            <a:chExt cx="1043504" cy="859187"/>
          </a:xfrm>
        </p:grpSpPr>
        <p:grpSp>
          <p:nvGrpSpPr>
            <p:cNvPr id="405" name="Group 404"/>
            <p:cNvGrpSpPr/>
            <p:nvPr/>
          </p:nvGrpSpPr>
          <p:grpSpPr>
            <a:xfrm>
              <a:off x="2113298" y="994251"/>
              <a:ext cx="1043504" cy="321946"/>
              <a:chOff x="161386" y="954156"/>
              <a:chExt cx="314542" cy="387627"/>
            </a:xfrm>
          </p:grpSpPr>
          <p:sp>
            <p:nvSpPr>
              <p:cNvPr id="406" name="Round Diagonal Corner Rectangle 405"/>
              <p:cNvSpPr/>
              <p:nvPr/>
            </p:nvSpPr>
            <p:spPr>
              <a:xfrm flipV="1">
                <a:off x="171035" y="954156"/>
                <a:ext cx="291924" cy="387626"/>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00" dirty="0">
                  <a:latin typeface="微软雅黑" pitchFamily="34" charset="-122"/>
                  <a:ea typeface="微软雅黑" pitchFamily="34" charset="-122"/>
                </a:endParaRPr>
              </a:p>
            </p:txBody>
          </p:sp>
          <p:sp>
            <p:nvSpPr>
              <p:cNvPr id="407" name="Round Diagonal Corner Rectangle 406"/>
              <p:cNvSpPr/>
              <p:nvPr/>
            </p:nvSpPr>
            <p:spPr>
              <a:xfrm>
                <a:off x="161386" y="954157"/>
                <a:ext cx="314542" cy="387626"/>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2300" dirty="0">
                    <a:latin typeface="微软雅黑" pitchFamily="34" charset="-122"/>
                    <a:ea typeface="微软雅黑" pitchFamily="34" charset="-122"/>
                  </a:rPr>
                  <a:t>研究</a:t>
                </a:r>
                <a:endParaRPr lang="en-US" sz="2300" dirty="0">
                  <a:latin typeface="微软雅黑" pitchFamily="34" charset="-122"/>
                  <a:ea typeface="微软雅黑" pitchFamily="34" charset="-122"/>
                </a:endParaRPr>
              </a:p>
            </p:txBody>
          </p:sp>
        </p:grpSp>
        <p:sp>
          <p:nvSpPr>
            <p:cNvPr id="422" name="Freeform 248"/>
            <p:cNvSpPr>
              <a:spLocks noEditPoints="1"/>
            </p:cNvSpPr>
            <p:nvPr/>
          </p:nvSpPr>
          <p:spPr bwMode="auto">
            <a:xfrm>
              <a:off x="2246142" y="1370083"/>
              <a:ext cx="492004" cy="483355"/>
            </a:xfrm>
            <a:custGeom>
              <a:avLst/>
              <a:gdLst>
                <a:gd name="T0" fmla="*/ 136 w 216"/>
                <a:gd name="T1" fmla="*/ 134 h 212"/>
                <a:gd name="T2" fmla="*/ 116 w 216"/>
                <a:gd name="T3" fmla="*/ 130 h 212"/>
                <a:gd name="T4" fmla="*/ 87 w 216"/>
                <a:gd name="T5" fmla="*/ 101 h 212"/>
                <a:gd name="T6" fmla="*/ 83 w 216"/>
                <a:gd name="T7" fmla="*/ 81 h 212"/>
                <a:gd name="T8" fmla="*/ 136 w 216"/>
                <a:gd name="T9" fmla="*/ 28 h 212"/>
                <a:gd name="T10" fmla="*/ 189 w 216"/>
                <a:gd name="T11" fmla="*/ 81 h 212"/>
                <a:gd name="T12" fmla="*/ 136 w 216"/>
                <a:gd name="T13" fmla="*/ 134 h 212"/>
                <a:gd name="T14" fmla="*/ 136 w 216"/>
                <a:gd name="T15" fmla="*/ 0 h 212"/>
                <a:gd name="T16" fmla="*/ 56 w 216"/>
                <a:gd name="T17" fmla="*/ 81 h 212"/>
                <a:gd name="T18" fmla="*/ 67 w 216"/>
                <a:gd name="T19" fmla="*/ 121 h 212"/>
                <a:gd name="T20" fmla="*/ 15 w 216"/>
                <a:gd name="T21" fmla="*/ 173 h 212"/>
                <a:gd name="T22" fmla="*/ 15 w 216"/>
                <a:gd name="T23" fmla="*/ 173 h 212"/>
                <a:gd name="T24" fmla="*/ 0 w 216"/>
                <a:gd name="T25" fmla="*/ 189 h 212"/>
                <a:gd name="T26" fmla="*/ 17 w 216"/>
                <a:gd name="T27" fmla="*/ 207 h 212"/>
                <a:gd name="T28" fmla="*/ 39 w 216"/>
                <a:gd name="T29" fmla="*/ 207 h 212"/>
                <a:gd name="T30" fmla="*/ 96 w 216"/>
                <a:gd name="T31" fmla="*/ 150 h 212"/>
                <a:gd name="T32" fmla="*/ 136 w 216"/>
                <a:gd name="T33" fmla="*/ 161 h 212"/>
                <a:gd name="T34" fmla="*/ 216 w 216"/>
                <a:gd name="T35" fmla="*/ 81 h 212"/>
                <a:gd name="T36" fmla="*/ 136 w 216"/>
                <a:gd name="T3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6" h="212">
                  <a:moveTo>
                    <a:pt x="136" y="134"/>
                  </a:moveTo>
                  <a:cubicBezTo>
                    <a:pt x="129" y="134"/>
                    <a:pt x="122" y="132"/>
                    <a:pt x="116" y="130"/>
                  </a:cubicBezTo>
                  <a:cubicBezTo>
                    <a:pt x="103" y="124"/>
                    <a:pt x="93" y="114"/>
                    <a:pt x="87" y="101"/>
                  </a:cubicBezTo>
                  <a:cubicBezTo>
                    <a:pt x="84" y="95"/>
                    <a:pt x="83" y="88"/>
                    <a:pt x="83" y="81"/>
                  </a:cubicBezTo>
                  <a:cubicBezTo>
                    <a:pt x="83" y="51"/>
                    <a:pt x="107" y="28"/>
                    <a:pt x="136" y="28"/>
                  </a:cubicBezTo>
                  <a:cubicBezTo>
                    <a:pt x="165" y="28"/>
                    <a:pt x="189" y="51"/>
                    <a:pt x="189" y="81"/>
                  </a:cubicBezTo>
                  <a:cubicBezTo>
                    <a:pt x="189" y="110"/>
                    <a:pt x="165" y="134"/>
                    <a:pt x="136" y="134"/>
                  </a:cubicBezTo>
                  <a:moveTo>
                    <a:pt x="136" y="0"/>
                  </a:moveTo>
                  <a:cubicBezTo>
                    <a:pt x="92" y="0"/>
                    <a:pt x="56" y="36"/>
                    <a:pt x="56" y="81"/>
                  </a:cubicBezTo>
                  <a:cubicBezTo>
                    <a:pt x="56" y="95"/>
                    <a:pt x="60" y="109"/>
                    <a:pt x="67" y="121"/>
                  </a:cubicBezTo>
                  <a:cubicBezTo>
                    <a:pt x="15" y="173"/>
                    <a:pt x="15" y="173"/>
                    <a:pt x="15" y="173"/>
                  </a:cubicBezTo>
                  <a:cubicBezTo>
                    <a:pt x="15" y="173"/>
                    <a:pt x="15" y="173"/>
                    <a:pt x="15" y="173"/>
                  </a:cubicBezTo>
                  <a:cubicBezTo>
                    <a:pt x="0" y="189"/>
                    <a:pt x="0" y="189"/>
                    <a:pt x="0" y="189"/>
                  </a:cubicBezTo>
                  <a:cubicBezTo>
                    <a:pt x="17" y="207"/>
                    <a:pt x="17" y="207"/>
                    <a:pt x="17" y="207"/>
                  </a:cubicBezTo>
                  <a:cubicBezTo>
                    <a:pt x="23" y="212"/>
                    <a:pt x="33" y="212"/>
                    <a:pt x="39" y="207"/>
                  </a:cubicBezTo>
                  <a:cubicBezTo>
                    <a:pt x="96" y="150"/>
                    <a:pt x="96" y="150"/>
                    <a:pt x="96" y="150"/>
                  </a:cubicBezTo>
                  <a:cubicBezTo>
                    <a:pt x="108" y="157"/>
                    <a:pt x="121" y="161"/>
                    <a:pt x="136" y="161"/>
                  </a:cubicBezTo>
                  <a:cubicBezTo>
                    <a:pt x="180" y="161"/>
                    <a:pt x="216" y="125"/>
                    <a:pt x="216" y="81"/>
                  </a:cubicBezTo>
                  <a:cubicBezTo>
                    <a:pt x="216" y="36"/>
                    <a:pt x="180" y="0"/>
                    <a:pt x="136" y="0"/>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nvGrpSpPr>
          <p:cNvPr id="432" name="Group 431"/>
          <p:cNvGrpSpPr/>
          <p:nvPr/>
        </p:nvGrpSpPr>
        <p:grpSpPr>
          <a:xfrm>
            <a:off x="3055350" y="5170062"/>
            <a:ext cx="1004809" cy="1200649"/>
            <a:chOff x="4008438" y="1887538"/>
            <a:chExt cx="1135063" cy="1354138"/>
          </a:xfrm>
          <a:solidFill>
            <a:srgbClr val="000000"/>
          </a:solidFill>
        </p:grpSpPr>
        <p:sp>
          <p:nvSpPr>
            <p:cNvPr id="433" name="Oval 796"/>
            <p:cNvSpPr>
              <a:spLocks noChangeArrowheads="1"/>
            </p:cNvSpPr>
            <p:nvPr/>
          </p:nvSpPr>
          <p:spPr bwMode="auto">
            <a:xfrm>
              <a:off x="4094163" y="2252663"/>
              <a:ext cx="184150" cy="195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34" name="Freeform 797"/>
            <p:cNvSpPr>
              <a:spLocks/>
            </p:cNvSpPr>
            <p:nvPr/>
          </p:nvSpPr>
          <p:spPr bwMode="auto">
            <a:xfrm>
              <a:off x="4008438" y="2478088"/>
              <a:ext cx="357188" cy="665163"/>
            </a:xfrm>
            <a:custGeom>
              <a:avLst/>
              <a:gdLst>
                <a:gd name="T0" fmla="*/ 75 w 95"/>
                <a:gd name="T1" fmla="*/ 0 h 177"/>
                <a:gd name="T2" fmla="*/ 48 w 95"/>
                <a:gd name="T3" fmla="*/ 0 h 177"/>
                <a:gd name="T4" fmla="*/ 20 w 95"/>
                <a:gd name="T5" fmla="*/ 0 h 177"/>
                <a:gd name="T6" fmla="*/ 0 w 95"/>
                <a:gd name="T7" fmla="*/ 21 h 177"/>
                <a:gd name="T8" fmla="*/ 0 w 95"/>
                <a:gd name="T9" fmla="*/ 24 h 177"/>
                <a:gd name="T10" fmla="*/ 0 w 95"/>
                <a:gd name="T11" fmla="*/ 40 h 177"/>
                <a:gd name="T12" fmla="*/ 0 w 95"/>
                <a:gd name="T13" fmla="*/ 55 h 177"/>
                <a:gd name="T14" fmla="*/ 0 w 95"/>
                <a:gd name="T15" fmla="*/ 83 h 177"/>
                <a:gd name="T16" fmla="*/ 0 w 95"/>
                <a:gd name="T17" fmla="*/ 83 h 177"/>
                <a:gd name="T18" fmla="*/ 8 w 95"/>
                <a:gd name="T19" fmla="*/ 91 h 177"/>
                <a:gd name="T20" fmla="*/ 16 w 95"/>
                <a:gd name="T21" fmla="*/ 84 h 177"/>
                <a:gd name="T22" fmla="*/ 16 w 95"/>
                <a:gd name="T23" fmla="*/ 83 h 177"/>
                <a:gd name="T24" fmla="*/ 16 w 95"/>
                <a:gd name="T25" fmla="*/ 27 h 177"/>
                <a:gd name="T26" fmla="*/ 18 w 95"/>
                <a:gd name="T27" fmla="*/ 25 h 177"/>
                <a:gd name="T28" fmla="*/ 20 w 95"/>
                <a:gd name="T29" fmla="*/ 27 h 177"/>
                <a:gd name="T30" fmla="*/ 20 w 95"/>
                <a:gd name="T31" fmla="*/ 87 h 177"/>
                <a:gd name="T32" fmla="*/ 20 w 95"/>
                <a:gd name="T33" fmla="*/ 95 h 177"/>
                <a:gd name="T34" fmla="*/ 20 w 95"/>
                <a:gd name="T35" fmla="*/ 96 h 177"/>
                <a:gd name="T36" fmla="*/ 20 w 95"/>
                <a:gd name="T37" fmla="*/ 96 h 177"/>
                <a:gd name="T38" fmla="*/ 26 w 95"/>
                <a:gd name="T39" fmla="*/ 163 h 177"/>
                <a:gd name="T40" fmla="*/ 40 w 95"/>
                <a:gd name="T41" fmla="*/ 177 h 177"/>
                <a:gd name="T42" fmla="*/ 48 w 95"/>
                <a:gd name="T43" fmla="*/ 177 h 177"/>
                <a:gd name="T44" fmla="*/ 55 w 95"/>
                <a:gd name="T45" fmla="*/ 177 h 177"/>
                <a:gd name="T46" fmla="*/ 69 w 95"/>
                <a:gd name="T47" fmla="*/ 163 h 177"/>
                <a:gd name="T48" fmla="*/ 75 w 95"/>
                <a:gd name="T49" fmla="*/ 96 h 177"/>
                <a:gd name="T50" fmla="*/ 75 w 95"/>
                <a:gd name="T51" fmla="*/ 96 h 177"/>
                <a:gd name="T52" fmla="*/ 75 w 95"/>
                <a:gd name="T53" fmla="*/ 95 h 177"/>
                <a:gd name="T54" fmla="*/ 75 w 95"/>
                <a:gd name="T55" fmla="*/ 87 h 177"/>
                <a:gd name="T56" fmla="*/ 75 w 95"/>
                <a:gd name="T57" fmla="*/ 27 h 177"/>
                <a:gd name="T58" fmla="*/ 77 w 95"/>
                <a:gd name="T59" fmla="*/ 25 h 177"/>
                <a:gd name="T60" fmla="*/ 79 w 95"/>
                <a:gd name="T61" fmla="*/ 27 h 177"/>
                <a:gd name="T62" fmla="*/ 79 w 95"/>
                <a:gd name="T63" fmla="*/ 83 h 177"/>
                <a:gd name="T64" fmla="*/ 79 w 95"/>
                <a:gd name="T65" fmla="*/ 84 h 177"/>
                <a:gd name="T66" fmla="*/ 87 w 95"/>
                <a:gd name="T67" fmla="*/ 91 h 177"/>
                <a:gd name="T68" fmla="*/ 95 w 95"/>
                <a:gd name="T69" fmla="*/ 83 h 177"/>
                <a:gd name="T70" fmla="*/ 95 w 95"/>
                <a:gd name="T71" fmla="*/ 83 h 177"/>
                <a:gd name="T72" fmla="*/ 95 w 95"/>
                <a:gd name="T73" fmla="*/ 40 h 177"/>
                <a:gd name="T74" fmla="*/ 95 w 95"/>
                <a:gd name="T75" fmla="*/ 24 h 177"/>
                <a:gd name="T76" fmla="*/ 95 w 95"/>
                <a:gd name="T77" fmla="*/ 21 h 177"/>
                <a:gd name="T78" fmla="*/ 75 w 95"/>
                <a:gd name="T79"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5" h="177">
                  <a:moveTo>
                    <a:pt x="75" y="0"/>
                  </a:moveTo>
                  <a:cubicBezTo>
                    <a:pt x="48" y="0"/>
                    <a:pt x="48" y="0"/>
                    <a:pt x="48" y="0"/>
                  </a:cubicBezTo>
                  <a:cubicBezTo>
                    <a:pt x="20" y="0"/>
                    <a:pt x="20" y="0"/>
                    <a:pt x="20" y="0"/>
                  </a:cubicBezTo>
                  <a:cubicBezTo>
                    <a:pt x="7" y="0"/>
                    <a:pt x="0" y="6"/>
                    <a:pt x="0" y="21"/>
                  </a:cubicBezTo>
                  <a:cubicBezTo>
                    <a:pt x="0" y="24"/>
                    <a:pt x="0" y="24"/>
                    <a:pt x="0" y="24"/>
                  </a:cubicBezTo>
                  <a:cubicBezTo>
                    <a:pt x="0" y="40"/>
                    <a:pt x="0" y="40"/>
                    <a:pt x="0" y="40"/>
                  </a:cubicBezTo>
                  <a:cubicBezTo>
                    <a:pt x="0" y="55"/>
                    <a:pt x="0" y="55"/>
                    <a:pt x="0" y="55"/>
                  </a:cubicBezTo>
                  <a:cubicBezTo>
                    <a:pt x="0" y="83"/>
                    <a:pt x="0" y="83"/>
                    <a:pt x="0" y="83"/>
                  </a:cubicBezTo>
                  <a:cubicBezTo>
                    <a:pt x="0" y="83"/>
                    <a:pt x="0" y="83"/>
                    <a:pt x="0" y="83"/>
                  </a:cubicBezTo>
                  <a:cubicBezTo>
                    <a:pt x="0" y="88"/>
                    <a:pt x="4" y="91"/>
                    <a:pt x="8" y="91"/>
                  </a:cubicBezTo>
                  <a:cubicBezTo>
                    <a:pt x="12" y="91"/>
                    <a:pt x="15" y="88"/>
                    <a:pt x="16" y="84"/>
                  </a:cubicBezTo>
                  <a:cubicBezTo>
                    <a:pt x="16" y="84"/>
                    <a:pt x="16" y="84"/>
                    <a:pt x="16" y="83"/>
                  </a:cubicBezTo>
                  <a:cubicBezTo>
                    <a:pt x="16" y="27"/>
                    <a:pt x="16" y="27"/>
                    <a:pt x="16" y="27"/>
                  </a:cubicBezTo>
                  <a:cubicBezTo>
                    <a:pt x="16" y="26"/>
                    <a:pt x="17" y="25"/>
                    <a:pt x="18" y="25"/>
                  </a:cubicBezTo>
                  <a:cubicBezTo>
                    <a:pt x="19" y="25"/>
                    <a:pt x="20" y="26"/>
                    <a:pt x="20" y="27"/>
                  </a:cubicBezTo>
                  <a:cubicBezTo>
                    <a:pt x="20" y="87"/>
                    <a:pt x="20" y="87"/>
                    <a:pt x="20" y="87"/>
                  </a:cubicBezTo>
                  <a:cubicBezTo>
                    <a:pt x="20" y="87"/>
                    <a:pt x="20" y="92"/>
                    <a:pt x="20" y="95"/>
                  </a:cubicBezTo>
                  <a:cubicBezTo>
                    <a:pt x="20" y="96"/>
                    <a:pt x="20" y="96"/>
                    <a:pt x="20" y="96"/>
                  </a:cubicBezTo>
                  <a:cubicBezTo>
                    <a:pt x="20" y="96"/>
                    <a:pt x="20" y="96"/>
                    <a:pt x="20" y="96"/>
                  </a:cubicBezTo>
                  <a:cubicBezTo>
                    <a:pt x="26" y="163"/>
                    <a:pt x="26" y="163"/>
                    <a:pt x="26" y="163"/>
                  </a:cubicBezTo>
                  <a:cubicBezTo>
                    <a:pt x="27" y="173"/>
                    <a:pt x="31" y="177"/>
                    <a:pt x="40" y="177"/>
                  </a:cubicBezTo>
                  <a:cubicBezTo>
                    <a:pt x="48" y="177"/>
                    <a:pt x="48" y="177"/>
                    <a:pt x="48" y="177"/>
                  </a:cubicBezTo>
                  <a:cubicBezTo>
                    <a:pt x="55" y="177"/>
                    <a:pt x="55" y="177"/>
                    <a:pt x="55" y="177"/>
                  </a:cubicBezTo>
                  <a:cubicBezTo>
                    <a:pt x="64" y="177"/>
                    <a:pt x="68" y="173"/>
                    <a:pt x="69" y="163"/>
                  </a:cubicBezTo>
                  <a:cubicBezTo>
                    <a:pt x="75" y="96"/>
                    <a:pt x="75" y="96"/>
                    <a:pt x="75" y="96"/>
                  </a:cubicBezTo>
                  <a:cubicBezTo>
                    <a:pt x="75" y="96"/>
                    <a:pt x="75" y="96"/>
                    <a:pt x="75" y="96"/>
                  </a:cubicBezTo>
                  <a:cubicBezTo>
                    <a:pt x="75" y="95"/>
                    <a:pt x="75" y="95"/>
                    <a:pt x="75" y="95"/>
                  </a:cubicBezTo>
                  <a:cubicBezTo>
                    <a:pt x="75" y="92"/>
                    <a:pt x="75" y="87"/>
                    <a:pt x="75" y="87"/>
                  </a:cubicBezTo>
                  <a:cubicBezTo>
                    <a:pt x="75" y="27"/>
                    <a:pt x="75" y="27"/>
                    <a:pt x="75" y="27"/>
                  </a:cubicBezTo>
                  <a:cubicBezTo>
                    <a:pt x="75" y="26"/>
                    <a:pt x="76" y="25"/>
                    <a:pt x="77" y="25"/>
                  </a:cubicBezTo>
                  <a:cubicBezTo>
                    <a:pt x="78" y="25"/>
                    <a:pt x="79" y="26"/>
                    <a:pt x="79" y="27"/>
                  </a:cubicBezTo>
                  <a:cubicBezTo>
                    <a:pt x="79" y="83"/>
                    <a:pt x="79" y="83"/>
                    <a:pt x="79" y="83"/>
                  </a:cubicBezTo>
                  <a:cubicBezTo>
                    <a:pt x="79" y="84"/>
                    <a:pt x="79" y="84"/>
                    <a:pt x="79" y="84"/>
                  </a:cubicBezTo>
                  <a:cubicBezTo>
                    <a:pt x="80" y="88"/>
                    <a:pt x="83" y="91"/>
                    <a:pt x="87" y="91"/>
                  </a:cubicBezTo>
                  <a:cubicBezTo>
                    <a:pt x="91" y="91"/>
                    <a:pt x="95" y="88"/>
                    <a:pt x="95" y="83"/>
                  </a:cubicBezTo>
                  <a:cubicBezTo>
                    <a:pt x="95" y="83"/>
                    <a:pt x="95" y="83"/>
                    <a:pt x="95" y="83"/>
                  </a:cubicBezTo>
                  <a:cubicBezTo>
                    <a:pt x="95" y="40"/>
                    <a:pt x="95" y="40"/>
                    <a:pt x="95" y="40"/>
                  </a:cubicBezTo>
                  <a:cubicBezTo>
                    <a:pt x="95" y="24"/>
                    <a:pt x="95" y="24"/>
                    <a:pt x="95" y="24"/>
                  </a:cubicBezTo>
                  <a:cubicBezTo>
                    <a:pt x="95" y="21"/>
                    <a:pt x="95" y="21"/>
                    <a:pt x="95" y="21"/>
                  </a:cubicBezTo>
                  <a:cubicBezTo>
                    <a:pt x="95" y="6"/>
                    <a:pt x="88" y="0"/>
                    <a:pt x="7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35" name="Oval 798"/>
            <p:cNvSpPr>
              <a:spLocks noChangeArrowheads="1"/>
            </p:cNvSpPr>
            <p:nvPr/>
          </p:nvSpPr>
          <p:spPr bwMode="auto">
            <a:xfrm>
              <a:off x="4778376" y="2041526"/>
              <a:ext cx="249238" cy="2667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36" name="Freeform 799"/>
            <p:cNvSpPr>
              <a:spLocks/>
            </p:cNvSpPr>
            <p:nvPr/>
          </p:nvSpPr>
          <p:spPr bwMode="auto">
            <a:xfrm>
              <a:off x="4157663" y="1887538"/>
              <a:ext cx="771525" cy="250825"/>
            </a:xfrm>
            <a:custGeom>
              <a:avLst/>
              <a:gdLst>
                <a:gd name="T0" fmla="*/ 16 w 205"/>
                <a:gd name="T1" fmla="*/ 16 h 67"/>
                <a:gd name="T2" fmla="*/ 104 w 205"/>
                <a:gd name="T3" fmla="*/ 16 h 67"/>
                <a:gd name="T4" fmla="*/ 104 w 205"/>
                <a:gd name="T5" fmla="*/ 67 h 67"/>
                <a:gd name="T6" fmla="*/ 120 w 205"/>
                <a:gd name="T7" fmla="*/ 67 h 67"/>
                <a:gd name="T8" fmla="*/ 120 w 205"/>
                <a:gd name="T9" fmla="*/ 16 h 67"/>
                <a:gd name="T10" fmla="*/ 189 w 205"/>
                <a:gd name="T11" fmla="*/ 16 h 67"/>
                <a:gd name="T12" fmla="*/ 189 w 205"/>
                <a:gd name="T13" fmla="*/ 32 h 67"/>
                <a:gd name="T14" fmla="*/ 198 w 205"/>
                <a:gd name="T15" fmla="*/ 32 h 67"/>
                <a:gd name="T16" fmla="*/ 205 w 205"/>
                <a:gd name="T17" fmla="*/ 32 h 67"/>
                <a:gd name="T18" fmla="*/ 205 w 205"/>
                <a:gd name="T19" fmla="*/ 0 h 67"/>
                <a:gd name="T20" fmla="*/ 0 w 205"/>
                <a:gd name="T21" fmla="*/ 0 h 67"/>
                <a:gd name="T22" fmla="*/ 0 w 205"/>
                <a:gd name="T23" fmla="*/ 67 h 67"/>
                <a:gd name="T24" fmla="*/ 16 w 205"/>
                <a:gd name="T25" fmla="*/ 67 h 67"/>
                <a:gd name="T26" fmla="*/ 16 w 205"/>
                <a:gd name="T27" fmla="*/ 16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5" h="67">
                  <a:moveTo>
                    <a:pt x="16" y="16"/>
                  </a:moveTo>
                  <a:cubicBezTo>
                    <a:pt x="104" y="16"/>
                    <a:pt x="104" y="16"/>
                    <a:pt x="104" y="16"/>
                  </a:cubicBezTo>
                  <a:cubicBezTo>
                    <a:pt x="104" y="67"/>
                    <a:pt x="104" y="67"/>
                    <a:pt x="104" y="67"/>
                  </a:cubicBezTo>
                  <a:cubicBezTo>
                    <a:pt x="120" y="67"/>
                    <a:pt x="120" y="67"/>
                    <a:pt x="120" y="67"/>
                  </a:cubicBezTo>
                  <a:cubicBezTo>
                    <a:pt x="120" y="16"/>
                    <a:pt x="120" y="16"/>
                    <a:pt x="120" y="16"/>
                  </a:cubicBezTo>
                  <a:cubicBezTo>
                    <a:pt x="189" y="16"/>
                    <a:pt x="189" y="16"/>
                    <a:pt x="189" y="16"/>
                  </a:cubicBezTo>
                  <a:cubicBezTo>
                    <a:pt x="189" y="32"/>
                    <a:pt x="189" y="32"/>
                    <a:pt x="189" y="32"/>
                  </a:cubicBezTo>
                  <a:cubicBezTo>
                    <a:pt x="192" y="32"/>
                    <a:pt x="195" y="32"/>
                    <a:pt x="198" y="32"/>
                  </a:cubicBezTo>
                  <a:cubicBezTo>
                    <a:pt x="201" y="32"/>
                    <a:pt x="203" y="32"/>
                    <a:pt x="205" y="32"/>
                  </a:cubicBezTo>
                  <a:cubicBezTo>
                    <a:pt x="205" y="0"/>
                    <a:pt x="205" y="0"/>
                    <a:pt x="205" y="0"/>
                  </a:cubicBezTo>
                  <a:cubicBezTo>
                    <a:pt x="0" y="0"/>
                    <a:pt x="0" y="0"/>
                    <a:pt x="0" y="0"/>
                  </a:cubicBezTo>
                  <a:cubicBezTo>
                    <a:pt x="0" y="67"/>
                    <a:pt x="0" y="67"/>
                    <a:pt x="0" y="67"/>
                  </a:cubicBezTo>
                  <a:cubicBezTo>
                    <a:pt x="16" y="67"/>
                    <a:pt x="16" y="67"/>
                    <a:pt x="16" y="67"/>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37" name="Freeform 800"/>
            <p:cNvSpPr>
              <a:spLocks/>
            </p:cNvSpPr>
            <p:nvPr/>
          </p:nvSpPr>
          <p:spPr bwMode="auto">
            <a:xfrm>
              <a:off x="4489451" y="2252663"/>
              <a:ext cx="184150" cy="195263"/>
            </a:xfrm>
            <a:custGeom>
              <a:avLst/>
              <a:gdLst>
                <a:gd name="T0" fmla="*/ 0 w 49"/>
                <a:gd name="T1" fmla="*/ 26 h 52"/>
                <a:gd name="T2" fmla="*/ 25 w 49"/>
                <a:gd name="T3" fmla="*/ 52 h 52"/>
                <a:gd name="T4" fmla="*/ 38 w 49"/>
                <a:gd name="T5" fmla="*/ 50 h 52"/>
                <a:gd name="T6" fmla="*/ 49 w 49"/>
                <a:gd name="T7" fmla="*/ 25 h 52"/>
                <a:gd name="T8" fmla="*/ 25 w 49"/>
                <a:gd name="T9" fmla="*/ 0 h 52"/>
                <a:gd name="T10" fmla="*/ 0 w 49"/>
                <a:gd name="T11" fmla="*/ 26 h 52"/>
              </a:gdLst>
              <a:ahLst/>
              <a:cxnLst>
                <a:cxn ang="0">
                  <a:pos x="T0" y="T1"/>
                </a:cxn>
                <a:cxn ang="0">
                  <a:pos x="T2" y="T3"/>
                </a:cxn>
                <a:cxn ang="0">
                  <a:pos x="T4" y="T5"/>
                </a:cxn>
                <a:cxn ang="0">
                  <a:pos x="T6" y="T7"/>
                </a:cxn>
                <a:cxn ang="0">
                  <a:pos x="T8" y="T9"/>
                </a:cxn>
                <a:cxn ang="0">
                  <a:pos x="T10" y="T11"/>
                </a:cxn>
              </a:cxnLst>
              <a:rect l="0" t="0" r="r" b="b"/>
              <a:pathLst>
                <a:path w="49" h="52">
                  <a:moveTo>
                    <a:pt x="0" y="26"/>
                  </a:moveTo>
                  <a:cubicBezTo>
                    <a:pt x="0" y="45"/>
                    <a:pt x="7" y="52"/>
                    <a:pt x="25" y="52"/>
                  </a:cubicBezTo>
                  <a:cubicBezTo>
                    <a:pt x="30" y="52"/>
                    <a:pt x="35" y="52"/>
                    <a:pt x="38" y="50"/>
                  </a:cubicBezTo>
                  <a:cubicBezTo>
                    <a:pt x="39" y="39"/>
                    <a:pt x="43" y="30"/>
                    <a:pt x="49" y="25"/>
                  </a:cubicBezTo>
                  <a:cubicBezTo>
                    <a:pt x="49" y="7"/>
                    <a:pt x="42" y="0"/>
                    <a:pt x="25" y="0"/>
                  </a:cubicBezTo>
                  <a:cubicBezTo>
                    <a:pt x="7" y="0"/>
                    <a:pt x="0" y="7"/>
                    <a:pt x="0" y="2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38" name="Freeform 801"/>
            <p:cNvSpPr>
              <a:spLocks/>
            </p:cNvSpPr>
            <p:nvPr/>
          </p:nvSpPr>
          <p:spPr bwMode="auto">
            <a:xfrm>
              <a:off x="4402138" y="2478088"/>
              <a:ext cx="282575" cy="665163"/>
            </a:xfrm>
            <a:custGeom>
              <a:avLst/>
              <a:gdLst>
                <a:gd name="T0" fmla="*/ 61 w 75"/>
                <a:gd name="T1" fmla="*/ 77 h 177"/>
                <a:gd name="T2" fmla="*/ 61 w 75"/>
                <a:gd name="T3" fmla="*/ 0 h 177"/>
                <a:gd name="T4" fmla="*/ 48 w 75"/>
                <a:gd name="T5" fmla="*/ 0 h 177"/>
                <a:gd name="T6" fmla="*/ 20 w 75"/>
                <a:gd name="T7" fmla="*/ 0 h 177"/>
                <a:gd name="T8" fmla="*/ 0 w 75"/>
                <a:gd name="T9" fmla="*/ 21 h 177"/>
                <a:gd name="T10" fmla="*/ 0 w 75"/>
                <a:gd name="T11" fmla="*/ 24 h 177"/>
                <a:gd name="T12" fmla="*/ 0 w 75"/>
                <a:gd name="T13" fmla="*/ 40 h 177"/>
                <a:gd name="T14" fmla="*/ 0 w 75"/>
                <a:gd name="T15" fmla="*/ 55 h 177"/>
                <a:gd name="T16" fmla="*/ 0 w 75"/>
                <a:gd name="T17" fmla="*/ 83 h 177"/>
                <a:gd name="T18" fmla="*/ 0 w 75"/>
                <a:gd name="T19" fmla="*/ 83 h 177"/>
                <a:gd name="T20" fmla="*/ 8 w 75"/>
                <a:gd name="T21" fmla="*/ 91 h 177"/>
                <a:gd name="T22" fmla="*/ 16 w 75"/>
                <a:gd name="T23" fmla="*/ 84 h 177"/>
                <a:gd name="T24" fmla="*/ 16 w 75"/>
                <a:gd name="T25" fmla="*/ 83 h 177"/>
                <a:gd name="T26" fmla="*/ 16 w 75"/>
                <a:gd name="T27" fmla="*/ 27 h 177"/>
                <a:gd name="T28" fmla="*/ 18 w 75"/>
                <a:gd name="T29" fmla="*/ 25 h 177"/>
                <a:gd name="T30" fmla="*/ 20 w 75"/>
                <a:gd name="T31" fmla="*/ 27 h 177"/>
                <a:gd name="T32" fmla="*/ 20 w 75"/>
                <a:gd name="T33" fmla="*/ 87 h 177"/>
                <a:gd name="T34" fmla="*/ 20 w 75"/>
                <a:gd name="T35" fmla="*/ 95 h 177"/>
                <a:gd name="T36" fmla="*/ 20 w 75"/>
                <a:gd name="T37" fmla="*/ 96 h 177"/>
                <a:gd name="T38" fmla="*/ 20 w 75"/>
                <a:gd name="T39" fmla="*/ 96 h 177"/>
                <a:gd name="T40" fmla="*/ 27 w 75"/>
                <a:gd name="T41" fmla="*/ 163 h 177"/>
                <a:gd name="T42" fmla="*/ 40 w 75"/>
                <a:gd name="T43" fmla="*/ 177 h 177"/>
                <a:gd name="T44" fmla="*/ 48 w 75"/>
                <a:gd name="T45" fmla="*/ 177 h 177"/>
                <a:gd name="T46" fmla="*/ 55 w 75"/>
                <a:gd name="T47" fmla="*/ 177 h 177"/>
                <a:gd name="T48" fmla="*/ 69 w 75"/>
                <a:gd name="T49" fmla="*/ 163 h 177"/>
                <a:gd name="T50" fmla="*/ 75 w 75"/>
                <a:gd name="T51" fmla="*/ 96 h 177"/>
                <a:gd name="T52" fmla="*/ 75 w 75"/>
                <a:gd name="T53" fmla="*/ 96 h 177"/>
                <a:gd name="T54" fmla="*/ 75 w 75"/>
                <a:gd name="T55" fmla="*/ 95 h 177"/>
                <a:gd name="T56" fmla="*/ 75 w 75"/>
                <a:gd name="T57" fmla="*/ 95 h 177"/>
                <a:gd name="T58" fmla="*/ 61 w 75"/>
                <a:gd name="T59" fmla="*/ 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5" h="177">
                  <a:moveTo>
                    <a:pt x="61" y="77"/>
                  </a:moveTo>
                  <a:cubicBezTo>
                    <a:pt x="61" y="0"/>
                    <a:pt x="61" y="0"/>
                    <a:pt x="61" y="0"/>
                  </a:cubicBezTo>
                  <a:cubicBezTo>
                    <a:pt x="48" y="0"/>
                    <a:pt x="48" y="0"/>
                    <a:pt x="48" y="0"/>
                  </a:cubicBezTo>
                  <a:cubicBezTo>
                    <a:pt x="20" y="0"/>
                    <a:pt x="20" y="0"/>
                    <a:pt x="20" y="0"/>
                  </a:cubicBezTo>
                  <a:cubicBezTo>
                    <a:pt x="7" y="0"/>
                    <a:pt x="0" y="6"/>
                    <a:pt x="0" y="21"/>
                  </a:cubicBezTo>
                  <a:cubicBezTo>
                    <a:pt x="0" y="24"/>
                    <a:pt x="0" y="24"/>
                    <a:pt x="0" y="24"/>
                  </a:cubicBezTo>
                  <a:cubicBezTo>
                    <a:pt x="0" y="40"/>
                    <a:pt x="0" y="40"/>
                    <a:pt x="0" y="40"/>
                  </a:cubicBezTo>
                  <a:cubicBezTo>
                    <a:pt x="0" y="55"/>
                    <a:pt x="0" y="55"/>
                    <a:pt x="0" y="55"/>
                  </a:cubicBezTo>
                  <a:cubicBezTo>
                    <a:pt x="0" y="83"/>
                    <a:pt x="0" y="83"/>
                    <a:pt x="0" y="83"/>
                  </a:cubicBezTo>
                  <a:cubicBezTo>
                    <a:pt x="0" y="83"/>
                    <a:pt x="0" y="83"/>
                    <a:pt x="0" y="83"/>
                  </a:cubicBezTo>
                  <a:cubicBezTo>
                    <a:pt x="0" y="88"/>
                    <a:pt x="4" y="91"/>
                    <a:pt x="8" y="91"/>
                  </a:cubicBezTo>
                  <a:cubicBezTo>
                    <a:pt x="12" y="91"/>
                    <a:pt x="15" y="88"/>
                    <a:pt x="16" y="84"/>
                  </a:cubicBezTo>
                  <a:cubicBezTo>
                    <a:pt x="16" y="84"/>
                    <a:pt x="16" y="84"/>
                    <a:pt x="16" y="83"/>
                  </a:cubicBezTo>
                  <a:cubicBezTo>
                    <a:pt x="16" y="27"/>
                    <a:pt x="16" y="27"/>
                    <a:pt x="16" y="27"/>
                  </a:cubicBezTo>
                  <a:cubicBezTo>
                    <a:pt x="16" y="26"/>
                    <a:pt x="17" y="25"/>
                    <a:pt x="18" y="25"/>
                  </a:cubicBezTo>
                  <a:cubicBezTo>
                    <a:pt x="19" y="25"/>
                    <a:pt x="20" y="26"/>
                    <a:pt x="20" y="27"/>
                  </a:cubicBezTo>
                  <a:cubicBezTo>
                    <a:pt x="20" y="87"/>
                    <a:pt x="20" y="87"/>
                    <a:pt x="20" y="87"/>
                  </a:cubicBezTo>
                  <a:cubicBezTo>
                    <a:pt x="20" y="87"/>
                    <a:pt x="20" y="92"/>
                    <a:pt x="20" y="95"/>
                  </a:cubicBezTo>
                  <a:cubicBezTo>
                    <a:pt x="20" y="96"/>
                    <a:pt x="20" y="96"/>
                    <a:pt x="20" y="96"/>
                  </a:cubicBezTo>
                  <a:cubicBezTo>
                    <a:pt x="20" y="96"/>
                    <a:pt x="20" y="96"/>
                    <a:pt x="20" y="96"/>
                  </a:cubicBezTo>
                  <a:cubicBezTo>
                    <a:pt x="27" y="163"/>
                    <a:pt x="27" y="163"/>
                    <a:pt x="27" y="163"/>
                  </a:cubicBezTo>
                  <a:cubicBezTo>
                    <a:pt x="28" y="173"/>
                    <a:pt x="31" y="177"/>
                    <a:pt x="40" y="177"/>
                  </a:cubicBezTo>
                  <a:cubicBezTo>
                    <a:pt x="48" y="177"/>
                    <a:pt x="48" y="177"/>
                    <a:pt x="48" y="177"/>
                  </a:cubicBezTo>
                  <a:cubicBezTo>
                    <a:pt x="55" y="177"/>
                    <a:pt x="55" y="177"/>
                    <a:pt x="55" y="177"/>
                  </a:cubicBezTo>
                  <a:cubicBezTo>
                    <a:pt x="64" y="177"/>
                    <a:pt x="68" y="173"/>
                    <a:pt x="69" y="163"/>
                  </a:cubicBezTo>
                  <a:cubicBezTo>
                    <a:pt x="75" y="96"/>
                    <a:pt x="75" y="96"/>
                    <a:pt x="75" y="96"/>
                  </a:cubicBezTo>
                  <a:cubicBezTo>
                    <a:pt x="75" y="96"/>
                    <a:pt x="75" y="96"/>
                    <a:pt x="75" y="96"/>
                  </a:cubicBezTo>
                  <a:cubicBezTo>
                    <a:pt x="75" y="95"/>
                    <a:pt x="75" y="95"/>
                    <a:pt x="75" y="95"/>
                  </a:cubicBezTo>
                  <a:cubicBezTo>
                    <a:pt x="75" y="95"/>
                    <a:pt x="75" y="95"/>
                    <a:pt x="75" y="95"/>
                  </a:cubicBezTo>
                  <a:cubicBezTo>
                    <a:pt x="67" y="93"/>
                    <a:pt x="61" y="85"/>
                    <a:pt x="61" y="7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39" name="Freeform 802"/>
            <p:cNvSpPr>
              <a:spLocks/>
            </p:cNvSpPr>
            <p:nvPr/>
          </p:nvSpPr>
          <p:spPr bwMode="auto">
            <a:xfrm>
              <a:off x="4662488" y="2346326"/>
              <a:ext cx="481013" cy="895350"/>
            </a:xfrm>
            <a:custGeom>
              <a:avLst/>
              <a:gdLst>
                <a:gd name="T0" fmla="*/ 101 w 128"/>
                <a:gd name="T1" fmla="*/ 0 h 238"/>
                <a:gd name="T2" fmla="*/ 64 w 128"/>
                <a:gd name="T3" fmla="*/ 0 h 238"/>
                <a:gd name="T4" fmla="*/ 27 w 128"/>
                <a:gd name="T5" fmla="*/ 0 h 238"/>
                <a:gd name="T6" fmla="*/ 0 w 128"/>
                <a:gd name="T7" fmla="*/ 29 h 238"/>
                <a:gd name="T8" fmla="*/ 0 w 128"/>
                <a:gd name="T9" fmla="*/ 32 h 238"/>
                <a:gd name="T10" fmla="*/ 0 w 128"/>
                <a:gd name="T11" fmla="*/ 54 h 238"/>
                <a:gd name="T12" fmla="*/ 0 w 128"/>
                <a:gd name="T13" fmla="*/ 74 h 238"/>
                <a:gd name="T14" fmla="*/ 0 w 128"/>
                <a:gd name="T15" fmla="*/ 112 h 238"/>
                <a:gd name="T16" fmla="*/ 0 w 128"/>
                <a:gd name="T17" fmla="*/ 112 h 238"/>
                <a:gd name="T18" fmla="*/ 11 w 128"/>
                <a:gd name="T19" fmla="*/ 122 h 238"/>
                <a:gd name="T20" fmla="*/ 21 w 128"/>
                <a:gd name="T21" fmla="*/ 113 h 238"/>
                <a:gd name="T22" fmla="*/ 21 w 128"/>
                <a:gd name="T23" fmla="*/ 112 h 238"/>
                <a:gd name="T24" fmla="*/ 21 w 128"/>
                <a:gd name="T25" fmla="*/ 36 h 238"/>
                <a:gd name="T26" fmla="*/ 24 w 128"/>
                <a:gd name="T27" fmla="*/ 33 h 238"/>
                <a:gd name="T28" fmla="*/ 27 w 128"/>
                <a:gd name="T29" fmla="*/ 36 h 238"/>
                <a:gd name="T30" fmla="*/ 27 w 128"/>
                <a:gd name="T31" fmla="*/ 116 h 238"/>
                <a:gd name="T32" fmla="*/ 27 w 128"/>
                <a:gd name="T33" fmla="*/ 128 h 238"/>
                <a:gd name="T34" fmla="*/ 27 w 128"/>
                <a:gd name="T35" fmla="*/ 128 h 238"/>
                <a:gd name="T36" fmla="*/ 27 w 128"/>
                <a:gd name="T37" fmla="*/ 128 h 238"/>
                <a:gd name="T38" fmla="*/ 36 w 128"/>
                <a:gd name="T39" fmla="*/ 219 h 238"/>
                <a:gd name="T40" fmla="*/ 54 w 128"/>
                <a:gd name="T41" fmla="*/ 238 h 238"/>
                <a:gd name="T42" fmla="*/ 64 w 128"/>
                <a:gd name="T43" fmla="*/ 238 h 238"/>
                <a:gd name="T44" fmla="*/ 74 w 128"/>
                <a:gd name="T45" fmla="*/ 238 h 238"/>
                <a:gd name="T46" fmla="*/ 92 w 128"/>
                <a:gd name="T47" fmla="*/ 219 h 238"/>
                <a:gd name="T48" fmla="*/ 101 w 128"/>
                <a:gd name="T49" fmla="*/ 128 h 238"/>
                <a:gd name="T50" fmla="*/ 101 w 128"/>
                <a:gd name="T51" fmla="*/ 128 h 238"/>
                <a:gd name="T52" fmla="*/ 101 w 128"/>
                <a:gd name="T53" fmla="*/ 128 h 238"/>
                <a:gd name="T54" fmla="*/ 101 w 128"/>
                <a:gd name="T55" fmla="*/ 116 h 238"/>
                <a:gd name="T56" fmla="*/ 101 w 128"/>
                <a:gd name="T57" fmla="*/ 36 h 238"/>
                <a:gd name="T58" fmla="*/ 104 w 128"/>
                <a:gd name="T59" fmla="*/ 33 h 238"/>
                <a:gd name="T60" fmla="*/ 106 w 128"/>
                <a:gd name="T61" fmla="*/ 36 h 238"/>
                <a:gd name="T62" fmla="*/ 106 w 128"/>
                <a:gd name="T63" fmla="*/ 112 h 238"/>
                <a:gd name="T64" fmla="*/ 107 w 128"/>
                <a:gd name="T65" fmla="*/ 113 h 238"/>
                <a:gd name="T66" fmla="*/ 117 w 128"/>
                <a:gd name="T67" fmla="*/ 122 h 238"/>
                <a:gd name="T68" fmla="*/ 128 w 128"/>
                <a:gd name="T69" fmla="*/ 112 h 238"/>
                <a:gd name="T70" fmla="*/ 128 w 128"/>
                <a:gd name="T71" fmla="*/ 112 h 238"/>
                <a:gd name="T72" fmla="*/ 128 w 128"/>
                <a:gd name="T73" fmla="*/ 54 h 238"/>
                <a:gd name="T74" fmla="*/ 128 w 128"/>
                <a:gd name="T75" fmla="*/ 32 h 238"/>
                <a:gd name="T76" fmla="*/ 128 w 128"/>
                <a:gd name="T77" fmla="*/ 29 h 238"/>
                <a:gd name="T78" fmla="*/ 101 w 128"/>
                <a:gd name="T79"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238">
                  <a:moveTo>
                    <a:pt x="101" y="0"/>
                  </a:moveTo>
                  <a:cubicBezTo>
                    <a:pt x="64" y="0"/>
                    <a:pt x="64" y="0"/>
                    <a:pt x="64" y="0"/>
                  </a:cubicBezTo>
                  <a:cubicBezTo>
                    <a:pt x="27" y="0"/>
                    <a:pt x="27" y="0"/>
                    <a:pt x="27" y="0"/>
                  </a:cubicBezTo>
                  <a:cubicBezTo>
                    <a:pt x="10" y="0"/>
                    <a:pt x="0" y="8"/>
                    <a:pt x="0" y="29"/>
                  </a:cubicBezTo>
                  <a:cubicBezTo>
                    <a:pt x="0" y="32"/>
                    <a:pt x="0" y="32"/>
                    <a:pt x="0" y="32"/>
                  </a:cubicBezTo>
                  <a:cubicBezTo>
                    <a:pt x="0" y="54"/>
                    <a:pt x="0" y="54"/>
                    <a:pt x="0" y="54"/>
                  </a:cubicBezTo>
                  <a:cubicBezTo>
                    <a:pt x="0" y="74"/>
                    <a:pt x="0" y="74"/>
                    <a:pt x="0" y="74"/>
                  </a:cubicBezTo>
                  <a:cubicBezTo>
                    <a:pt x="0" y="112"/>
                    <a:pt x="0" y="112"/>
                    <a:pt x="0" y="112"/>
                  </a:cubicBezTo>
                  <a:cubicBezTo>
                    <a:pt x="0" y="112"/>
                    <a:pt x="0" y="112"/>
                    <a:pt x="0" y="112"/>
                  </a:cubicBezTo>
                  <a:cubicBezTo>
                    <a:pt x="0" y="118"/>
                    <a:pt x="5" y="122"/>
                    <a:pt x="11" y="122"/>
                  </a:cubicBezTo>
                  <a:cubicBezTo>
                    <a:pt x="16" y="122"/>
                    <a:pt x="20" y="119"/>
                    <a:pt x="21" y="113"/>
                  </a:cubicBezTo>
                  <a:cubicBezTo>
                    <a:pt x="21" y="113"/>
                    <a:pt x="21" y="112"/>
                    <a:pt x="21" y="112"/>
                  </a:cubicBezTo>
                  <a:cubicBezTo>
                    <a:pt x="21" y="36"/>
                    <a:pt x="21" y="36"/>
                    <a:pt x="21" y="36"/>
                  </a:cubicBezTo>
                  <a:cubicBezTo>
                    <a:pt x="21" y="34"/>
                    <a:pt x="23" y="33"/>
                    <a:pt x="24" y="33"/>
                  </a:cubicBezTo>
                  <a:cubicBezTo>
                    <a:pt x="26" y="33"/>
                    <a:pt x="27" y="34"/>
                    <a:pt x="27" y="36"/>
                  </a:cubicBezTo>
                  <a:cubicBezTo>
                    <a:pt x="27" y="116"/>
                    <a:pt x="27" y="116"/>
                    <a:pt x="27" y="116"/>
                  </a:cubicBezTo>
                  <a:cubicBezTo>
                    <a:pt x="27" y="116"/>
                    <a:pt x="27" y="123"/>
                    <a:pt x="27" y="128"/>
                  </a:cubicBezTo>
                  <a:cubicBezTo>
                    <a:pt x="27" y="128"/>
                    <a:pt x="27" y="128"/>
                    <a:pt x="27" y="128"/>
                  </a:cubicBezTo>
                  <a:cubicBezTo>
                    <a:pt x="27" y="128"/>
                    <a:pt x="27" y="128"/>
                    <a:pt x="27" y="128"/>
                  </a:cubicBezTo>
                  <a:cubicBezTo>
                    <a:pt x="36" y="219"/>
                    <a:pt x="36" y="219"/>
                    <a:pt x="36" y="219"/>
                  </a:cubicBezTo>
                  <a:cubicBezTo>
                    <a:pt x="37" y="233"/>
                    <a:pt x="42" y="238"/>
                    <a:pt x="54" y="238"/>
                  </a:cubicBezTo>
                  <a:cubicBezTo>
                    <a:pt x="64" y="238"/>
                    <a:pt x="64" y="238"/>
                    <a:pt x="64" y="238"/>
                  </a:cubicBezTo>
                  <a:cubicBezTo>
                    <a:pt x="74" y="238"/>
                    <a:pt x="74" y="238"/>
                    <a:pt x="74" y="238"/>
                  </a:cubicBezTo>
                  <a:cubicBezTo>
                    <a:pt x="86" y="238"/>
                    <a:pt x="91" y="233"/>
                    <a:pt x="92" y="219"/>
                  </a:cubicBezTo>
                  <a:cubicBezTo>
                    <a:pt x="101" y="128"/>
                    <a:pt x="101" y="128"/>
                    <a:pt x="101" y="128"/>
                  </a:cubicBezTo>
                  <a:cubicBezTo>
                    <a:pt x="101" y="128"/>
                    <a:pt x="101" y="128"/>
                    <a:pt x="101" y="128"/>
                  </a:cubicBezTo>
                  <a:cubicBezTo>
                    <a:pt x="101" y="128"/>
                    <a:pt x="101" y="128"/>
                    <a:pt x="101" y="128"/>
                  </a:cubicBezTo>
                  <a:cubicBezTo>
                    <a:pt x="101" y="123"/>
                    <a:pt x="101" y="116"/>
                    <a:pt x="101" y="116"/>
                  </a:cubicBezTo>
                  <a:cubicBezTo>
                    <a:pt x="101" y="36"/>
                    <a:pt x="101" y="36"/>
                    <a:pt x="101" y="36"/>
                  </a:cubicBezTo>
                  <a:cubicBezTo>
                    <a:pt x="101" y="34"/>
                    <a:pt x="102" y="33"/>
                    <a:pt x="104" y="33"/>
                  </a:cubicBezTo>
                  <a:cubicBezTo>
                    <a:pt x="105" y="33"/>
                    <a:pt x="106" y="34"/>
                    <a:pt x="106" y="36"/>
                  </a:cubicBezTo>
                  <a:cubicBezTo>
                    <a:pt x="106" y="112"/>
                    <a:pt x="106" y="112"/>
                    <a:pt x="106" y="112"/>
                  </a:cubicBezTo>
                  <a:cubicBezTo>
                    <a:pt x="106" y="112"/>
                    <a:pt x="107" y="113"/>
                    <a:pt x="107" y="113"/>
                  </a:cubicBezTo>
                  <a:cubicBezTo>
                    <a:pt x="107" y="119"/>
                    <a:pt x="112" y="122"/>
                    <a:pt x="117" y="122"/>
                  </a:cubicBezTo>
                  <a:cubicBezTo>
                    <a:pt x="123" y="122"/>
                    <a:pt x="128" y="118"/>
                    <a:pt x="128" y="112"/>
                  </a:cubicBezTo>
                  <a:cubicBezTo>
                    <a:pt x="128" y="112"/>
                    <a:pt x="128" y="112"/>
                    <a:pt x="128" y="112"/>
                  </a:cubicBezTo>
                  <a:cubicBezTo>
                    <a:pt x="128" y="54"/>
                    <a:pt x="128" y="54"/>
                    <a:pt x="128" y="54"/>
                  </a:cubicBezTo>
                  <a:cubicBezTo>
                    <a:pt x="128" y="32"/>
                    <a:pt x="128" y="32"/>
                    <a:pt x="128" y="32"/>
                  </a:cubicBezTo>
                  <a:cubicBezTo>
                    <a:pt x="128" y="29"/>
                    <a:pt x="128" y="29"/>
                    <a:pt x="128" y="29"/>
                  </a:cubicBezTo>
                  <a:cubicBezTo>
                    <a:pt x="128" y="8"/>
                    <a:pt x="118" y="0"/>
                    <a:pt x="10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nvGrpSpPr>
          <p:cNvPr id="452" name="Group 451"/>
          <p:cNvGrpSpPr/>
          <p:nvPr/>
        </p:nvGrpSpPr>
        <p:grpSpPr>
          <a:xfrm>
            <a:off x="2756746" y="4588742"/>
            <a:ext cx="1540924" cy="480994"/>
            <a:chOff x="2541226" y="2809769"/>
            <a:chExt cx="1282879" cy="399811"/>
          </a:xfrm>
        </p:grpSpPr>
        <p:grpSp>
          <p:nvGrpSpPr>
            <p:cNvPr id="440" name="Group 439"/>
            <p:cNvGrpSpPr/>
            <p:nvPr/>
          </p:nvGrpSpPr>
          <p:grpSpPr>
            <a:xfrm>
              <a:off x="2541226" y="2809769"/>
              <a:ext cx="399347" cy="399811"/>
              <a:chOff x="3879851" y="1882776"/>
              <a:chExt cx="1368425" cy="1370013"/>
            </a:xfrm>
            <a:solidFill>
              <a:srgbClr val="000000"/>
            </a:solidFill>
          </p:grpSpPr>
          <p:sp>
            <p:nvSpPr>
              <p:cNvPr id="441" name="Freeform 513"/>
              <p:cNvSpPr>
                <a:spLocks noEditPoints="1"/>
              </p:cNvSpPr>
              <p:nvPr/>
            </p:nvSpPr>
            <p:spPr bwMode="auto">
              <a:xfrm>
                <a:off x="3879851" y="1882776"/>
                <a:ext cx="1368425" cy="1370013"/>
              </a:xfrm>
              <a:custGeom>
                <a:avLst/>
                <a:gdLst>
                  <a:gd name="T0" fmla="*/ 342 w 364"/>
                  <a:gd name="T1" fmla="*/ 0 h 364"/>
                  <a:gd name="T2" fmla="*/ 0 w 364"/>
                  <a:gd name="T3" fmla="*/ 0 h 364"/>
                  <a:gd name="T4" fmla="*/ 0 w 364"/>
                  <a:gd name="T5" fmla="*/ 341 h 364"/>
                  <a:gd name="T6" fmla="*/ 22 w 364"/>
                  <a:gd name="T7" fmla="*/ 364 h 364"/>
                  <a:gd name="T8" fmla="*/ 364 w 364"/>
                  <a:gd name="T9" fmla="*/ 364 h 364"/>
                  <a:gd name="T10" fmla="*/ 364 w 364"/>
                  <a:gd name="T11" fmla="*/ 25 h 364"/>
                  <a:gd name="T12" fmla="*/ 342 w 364"/>
                  <a:gd name="T13" fmla="*/ 0 h 364"/>
                  <a:gd name="T14" fmla="*/ 255 w 364"/>
                  <a:gd name="T15" fmla="*/ 259 h 364"/>
                  <a:gd name="T16" fmla="*/ 242 w 364"/>
                  <a:gd name="T17" fmla="*/ 280 h 364"/>
                  <a:gd name="T18" fmla="*/ 219 w 364"/>
                  <a:gd name="T19" fmla="*/ 292 h 364"/>
                  <a:gd name="T20" fmla="*/ 188 w 364"/>
                  <a:gd name="T21" fmla="*/ 296 h 364"/>
                  <a:gd name="T22" fmla="*/ 185 w 364"/>
                  <a:gd name="T23" fmla="*/ 330 h 364"/>
                  <a:gd name="T24" fmla="*/ 168 w 364"/>
                  <a:gd name="T25" fmla="*/ 330 h 364"/>
                  <a:gd name="T26" fmla="*/ 161 w 364"/>
                  <a:gd name="T27" fmla="*/ 327 h 364"/>
                  <a:gd name="T28" fmla="*/ 159 w 364"/>
                  <a:gd name="T29" fmla="*/ 320 h 364"/>
                  <a:gd name="T30" fmla="*/ 161 w 364"/>
                  <a:gd name="T31" fmla="*/ 296 h 364"/>
                  <a:gd name="T32" fmla="*/ 140 w 364"/>
                  <a:gd name="T33" fmla="*/ 294 h 364"/>
                  <a:gd name="T34" fmla="*/ 124 w 364"/>
                  <a:gd name="T35" fmla="*/ 290 h 364"/>
                  <a:gd name="T36" fmla="*/ 114 w 364"/>
                  <a:gd name="T37" fmla="*/ 284 h 364"/>
                  <a:gd name="T38" fmla="*/ 111 w 364"/>
                  <a:gd name="T39" fmla="*/ 275 h 364"/>
                  <a:gd name="T40" fmla="*/ 111 w 364"/>
                  <a:gd name="T41" fmla="*/ 251 h 364"/>
                  <a:gd name="T42" fmla="*/ 124 w 364"/>
                  <a:gd name="T43" fmla="*/ 252 h 364"/>
                  <a:gd name="T44" fmla="*/ 138 w 364"/>
                  <a:gd name="T45" fmla="*/ 252 h 364"/>
                  <a:gd name="T46" fmla="*/ 152 w 364"/>
                  <a:gd name="T47" fmla="*/ 253 h 364"/>
                  <a:gd name="T48" fmla="*/ 165 w 364"/>
                  <a:gd name="T49" fmla="*/ 253 h 364"/>
                  <a:gd name="T50" fmla="*/ 169 w 364"/>
                  <a:gd name="T51" fmla="*/ 202 h 364"/>
                  <a:gd name="T52" fmla="*/ 141 w 364"/>
                  <a:gd name="T53" fmla="*/ 191 h 364"/>
                  <a:gd name="T54" fmla="*/ 122 w 364"/>
                  <a:gd name="T55" fmla="*/ 176 h 364"/>
                  <a:gd name="T56" fmla="*/ 112 w 364"/>
                  <a:gd name="T57" fmla="*/ 159 h 364"/>
                  <a:gd name="T58" fmla="*/ 109 w 364"/>
                  <a:gd name="T59" fmla="*/ 137 h 364"/>
                  <a:gd name="T60" fmla="*/ 114 w 364"/>
                  <a:gd name="T61" fmla="*/ 106 h 364"/>
                  <a:gd name="T62" fmla="*/ 128 w 364"/>
                  <a:gd name="T63" fmla="*/ 85 h 364"/>
                  <a:gd name="T64" fmla="*/ 150 w 364"/>
                  <a:gd name="T65" fmla="*/ 74 h 364"/>
                  <a:gd name="T66" fmla="*/ 179 w 364"/>
                  <a:gd name="T67" fmla="*/ 69 h 364"/>
                  <a:gd name="T68" fmla="*/ 181 w 364"/>
                  <a:gd name="T69" fmla="*/ 37 h 364"/>
                  <a:gd name="T70" fmla="*/ 198 w 364"/>
                  <a:gd name="T71" fmla="*/ 37 h 364"/>
                  <a:gd name="T72" fmla="*/ 206 w 364"/>
                  <a:gd name="T73" fmla="*/ 40 h 364"/>
                  <a:gd name="T74" fmla="*/ 207 w 364"/>
                  <a:gd name="T75" fmla="*/ 48 h 364"/>
                  <a:gd name="T76" fmla="*/ 206 w 364"/>
                  <a:gd name="T77" fmla="*/ 69 h 364"/>
                  <a:gd name="T78" fmla="*/ 226 w 364"/>
                  <a:gd name="T79" fmla="*/ 71 h 364"/>
                  <a:gd name="T80" fmla="*/ 240 w 364"/>
                  <a:gd name="T81" fmla="*/ 75 h 364"/>
                  <a:gd name="T82" fmla="*/ 250 w 364"/>
                  <a:gd name="T83" fmla="*/ 83 h 364"/>
                  <a:gd name="T84" fmla="*/ 252 w 364"/>
                  <a:gd name="T85" fmla="*/ 93 h 364"/>
                  <a:gd name="T86" fmla="*/ 252 w 364"/>
                  <a:gd name="T87" fmla="*/ 114 h 364"/>
                  <a:gd name="T88" fmla="*/ 227 w 364"/>
                  <a:gd name="T89" fmla="*/ 112 h 364"/>
                  <a:gd name="T90" fmla="*/ 202 w 364"/>
                  <a:gd name="T91" fmla="*/ 111 h 364"/>
                  <a:gd name="T92" fmla="*/ 198 w 364"/>
                  <a:gd name="T93" fmla="*/ 161 h 364"/>
                  <a:gd name="T94" fmla="*/ 227 w 364"/>
                  <a:gd name="T95" fmla="*/ 173 h 364"/>
                  <a:gd name="T96" fmla="*/ 246 w 364"/>
                  <a:gd name="T97" fmla="*/ 185 h 364"/>
                  <a:gd name="T98" fmla="*/ 257 w 364"/>
                  <a:gd name="T99" fmla="*/ 203 h 364"/>
                  <a:gd name="T100" fmla="*/ 260 w 364"/>
                  <a:gd name="T101" fmla="*/ 227 h 364"/>
                  <a:gd name="T102" fmla="*/ 255 w 364"/>
                  <a:gd name="T103" fmla="*/ 25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4" h="364">
                    <a:moveTo>
                      <a:pt x="342" y="0"/>
                    </a:moveTo>
                    <a:cubicBezTo>
                      <a:pt x="0" y="0"/>
                      <a:pt x="0" y="0"/>
                      <a:pt x="0" y="0"/>
                    </a:cubicBezTo>
                    <a:cubicBezTo>
                      <a:pt x="0" y="341"/>
                      <a:pt x="0" y="341"/>
                      <a:pt x="0" y="341"/>
                    </a:cubicBezTo>
                    <a:cubicBezTo>
                      <a:pt x="0" y="354"/>
                      <a:pt x="10" y="364"/>
                      <a:pt x="22" y="364"/>
                    </a:cubicBezTo>
                    <a:cubicBezTo>
                      <a:pt x="364" y="364"/>
                      <a:pt x="364" y="364"/>
                      <a:pt x="364" y="364"/>
                    </a:cubicBezTo>
                    <a:cubicBezTo>
                      <a:pt x="364" y="25"/>
                      <a:pt x="364" y="25"/>
                      <a:pt x="364" y="25"/>
                    </a:cubicBezTo>
                    <a:cubicBezTo>
                      <a:pt x="364" y="12"/>
                      <a:pt x="354" y="0"/>
                      <a:pt x="342" y="0"/>
                    </a:cubicBezTo>
                    <a:moveTo>
                      <a:pt x="255" y="259"/>
                    </a:moveTo>
                    <a:cubicBezTo>
                      <a:pt x="252" y="267"/>
                      <a:pt x="248" y="274"/>
                      <a:pt x="242" y="280"/>
                    </a:cubicBezTo>
                    <a:cubicBezTo>
                      <a:pt x="236" y="285"/>
                      <a:pt x="228" y="289"/>
                      <a:pt x="219" y="292"/>
                    </a:cubicBezTo>
                    <a:cubicBezTo>
                      <a:pt x="210" y="294"/>
                      <a:pt x="200" y="296"/>
                      <a:pt x="188" y="296"/>
                    </a:cubicBezTo>
                    <a:cubicBezTo>
                      <a:pt x="185" y="330"/>
                      <a:pt x="185" y="330"/>
                      <a:pt x="185" y="330"/>
                    </a:cubicBezTo>
                    <a:cubicBezTo>
                      <a:pt x="168" y="330"/>
                      <a:pt x="168" y="330"/>
                      <a:pt x="168" y="330"/>
                    </a:cubicBezTo>
                    <a:cubicBezTo>
                      <a:pt x="164" y="330"/>
                      <a:pt x="162" y="329"/>
                      <a:pt x="161" y="327"/>
                    </a:cubicBezTo>
                    <a:cubicBezTo>
                      <a:pt x="160" y="325"/>
                      <a:pt x="159" y="323"/>
                      <a:pt x="159" y="320"/>
                    </a:cubicBezTo>
                    <a:cubicBezTo>
                      <a:pt x="161" y="296"/>
                      <a:pt x="161" y="296"/>
                      <a:pt x="161" y="296"/>
                    </a:cubicBezTo>
                    <a:cubicBezTo>
                      <a:pt x="153" y="296"/>
                      <a:pt x="146" y="295"/>
                      <a:pt x="140" y="294"/>
                    </a:cubicBezTo>
                    <a:cubicBezTo>
                      <a:pt x="133" y="293"/>
                      <a:pt x="128" y="292"/>
                      <a:pt x="124" y="290"/>
                    </a:cubicBezTo>
                    <a:cubicBezTo>
                      <a:pt x="119" y="288"/>
                      <a:pt x="116" y="286"/>
                      <a:pt x="114" y="284"/>
                    </a:cubicBezTo>
                    <a:cubicBezTo>
                      <a:pt x="112" y="281"/>
                      <a:pt x="111" y="278"/>
                      <a:pt x="111" y="275"/>
                    </a:cubicBezTo>
                    <a:cubicBezTo>
                      <a:pt x="111" y="251"/>
                      <a:pt x="111" y="251"/>
                      <a:pt x="111" y="251"/>
                    </a:cubicBezTo>
                    <a:cubicBezTo>
                      <a:pt x="115" y="251"/>
                      <a:pt x="119" y="251"/>
                      <a:pt x="124" y="252"/>
                    </a:cubicBezTo>
                    <a:cubicBezTo>
                      <a:pt x="129" y="252"/>
                      <a:pt x="134" y="252"/>
                      <a:pt x="138" y="252"/>
                    </a:cubicBezTo>
                    <a:cubicBezTo>
                      <a:pt x="143" y="252"/>
                      <a:pt x="148" y="253"/>
                      <a:pt x="152" y="253"/>
                    </a:cubicBezTo>
                    <a:cubicBezTo>
                      <a:pt x="157" y="253"/>
                      <a:pt x="161" y="253"/>
                      <a:pt x="165" y="253"/>
                    </a:cubicBezTo>
                    <a:cubicBezTo>
                      <a:pt x="169" y="202"/>
                      <a:pt x="169" y="202"/>
                      <a:pt x="169" y="202"/>
                    </a:cubicBezTo>
                    <a:cubicBezTo>
                      <a:pt x="158" y="198"/>
                      <a:pt x="149" y="195"/>
                      <a:pt x="141" y="191"/>
                    </a:cubicBezTo>
                    <a:cubicBezTo>
                      <a:pt x="133" y="186"/>
                      <a:pt x="127" y="182"/>
                      <a:pt x="122" y="176"/>
                    </a:cubicBezTo>
                    <a:cubicBezTo>
                      <a:pt x="117" y="171"/>
                      <a:pt x="114" y="165"/>
                      <a:pt x="112" y="159"/>
                    </a:cubicBezTo>
                    <a:cubicBezTo>
                      <a:pt x="110" y="152"/>
                      <a:pt x="109" y="145"/>
                      <a:pt x="109" y="137"/>
                    </a:cubicBezTo>
                    <a:cubicBezTo>
                      <a:pt x="109" y="124"/>
                      <a:pt x="110" y="114"/>
                      <a:pt x="114" y="106"/>
                    </a:cubicBezTo>
                    <a:cubicBezTo>
                      <a:pt x="117" y="97"/>
                      <a:pt x="122" y="90"/>
                      <a:pt x="128" y="85"/>
                    </a:cubicBezTo>
                    <a:cubicBezTo>
                      <a:pt x="134" y="80"/>
                      <a:pt x="142" y="76"/>
                      <a:pt x="150" y="74"/>
                    </a:cubicBezTo>
                    <a:cubicBezTo>
                      <a:pt x="159" y="71"/>
                      <a:pt x="168" y="70"/>
                      <a:pt x="179" y="69"/>
                    </a:cubicBezTo>
                    <a:cubicBezTo>
                      <a:pt x="181" y="37"/>
                      <a:pt x="181" y="37"/>
                      <a:pt x="181" y="37"/>
                    </a:cubicBezTo>
                    <a:cubicBezTo>
                      <a:pt x="198" y="37"/>
                      <a:pt x="198" y="37"/>
                      <a:pt x="198" y="37"/>
                    </a:cubicBezTo>
                    <a:cubicBezTo>
                      <a:pt x="202" y="37"/>
                      <a:pt x="205" y="38"/>
                      <a:pt x="206" y="40"/>
                    </a:cubicBezTo>
                    <a:cubicBezTo>
                      <a:pt x="207" y="42"/>
                      <a:pt x="207" y="45"/>
                      <a:pt x="207" y="48"/>
                    </a:cubicBezTo>
                    <a:cubicBezTo>
                      <a:pt x="206" y="69"/>
                      <a:pt x="206" y="69"/>
                      <a:pt x="206" y="69"/>
                    </a:cubicBezTo>
                    <a:cubicBezTo>
                      <a:pt x="213" y="69"/>
                      <a:pt x="220" y="70"/>
                      <a:pt x="226" y="71"/>
                    </a:cubicBezTo>
                    <a:cubicBezTo>
                      <a:pt x="231" y="73"/>
                      <a:pt x="236" y="74"/>
                      <a:pt x="240" y="75"/>
                    </a:cubicBezTo>
                    <a:cubicBezTo>
                      <a:pt x="246" y="78"/>
                      <a:pt x="249" y="80"/>
                      <a:pt x="250" y="83"/>
                    </a:cubicBezTo>
                    <a:cubicBezTo>
                      <a:pt x="251" y="87"/>
                      <a:pt x="252" y="90"/>
                      <a:pt x="252" y="93"/>
                    </a:cubicBezTo>
                    <a:cubicBezTo>
                      <a:pt x="252" y="114"/>
                      <a:pt x="252" y="114"/>
                      <a:pt x="252" y="114"/>
                    </a:cubicBezTo>
                    <a:cubicBezTo>
                      <a:pt x="244" y="113"/>
                      <a:pt x="236" y="112"/>
                      <a:pt x="227" y="112"/>
                    </a:cubicBezTo>
                    <a:cubicBezTo>
                      <a:pt x="219" y="112"/>
                      <a:pt x="211" y="111"/>
                      <a:pt x="202" y="111"/>
                    </a:cubicBezTo>
                    <a:cubicBezTo>
                      <a:pt x="198" y="161"/>
                      <a:pt x="198" y="161"/>
                      <a:pt x="198" y="161"/>
                    </a:cubicBezTo>
                    <a:cubicBezTo>
                      <a:pt x="210" y="165"/>
                      <a:pt x="219" y="169"/>
                      <a:pt x="227" y="173"/>
                    </a:cubicBezTo>
                    <a:cubicBezTo>
                      <a:pt x="235" y="176"/>
                      <a:pt x="241" y="180"/>
                      <a:pt x="246" y="185"/>
                    </a:cubicBezTo>
                    <a:cubicBezTo>
                      <a:pt x="251" y="190"/>
                      <a:pt x="254" y="196"/>
                      <a:pt x="257" y="203"/>
                    </a:cubicBezTo>
                    <a:cubicBezTo>
                      <a:pt x="259" y="209"/>
                      <a:pt x="260" y="218"/>
                      <a:pt x="260" y="227"/>
                    </a:cubicBezTo>
                    <a:cubicBezTo>
                      <a:pt x="260" y="240"/>
                      <a:pt x="258" y="250"/>
                      <a:pt x="255" y="2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42" name="Freeform 514"/>
              <p:cNvSpPr>
                <a:spLocks/>
              </p:cNvSpPr>
              <p:nvPr/>
            </p:nvSpPr>
            <p:spPr bwMode="auto">
              <a:xfrm>
                <a:off x="4459288" y="2305051"/>
                <a:ext cx="79375" cy="165100"/>
              </a:xfrm>
              <a:custGeom>
                <a:avLst/>
                <a:gdLst>
                  <a:gd name="T0" fmla="*/ 4 w 21"/>
                  <a:gd name="T1" fmla="*/ 6 h 44"/>
                  <a:gd name="T2" fmla="*/ 0 w 21"/>
                  <a:gd name="T3" fmla="*/ 22 h 44"/>
                  <a:gd name="T4" fmla="*/ 4 w 21"/>
                  <a:gd name="T5" fmla="*/ 36 h 44"/>
                  <a:gd name="T6" fmla="*/ 18 w 21"/>
                  <a:gd name="T7" fmla="*/ 44 h 44"/>
                  <a:gd name="T8" fmla="*/ 21 w 21"/>
                  <a:gd name="T9" fmla="*/ 0 h 44"/>
                  <a:gd name="T10" fmla="*/ 4 w 21"/>
                  <a:gd name="T11" fmla="*/ 6 h 44"/>
                </a:gdLst>
                <a:ahLst/>
                <a:cxnLst>
                  <a:cxn ang="0">
                    <a:pos x="T0" y="T1"/>
                  </a:cxn>
                  <a:cxn ang="0">
                    <a:pos x="T2" y="T3"/>
                  </a:cxn>
                  <a:cxn ang="0">
                    <a:pos x="T4" y="T5"/>
                  </a:cxn>
                  <a:cxn ang="0">
                    <a:pos x="T6" y="T7"/>
                  </a:cxn>
                  <a:cxn ang="0">
                    <a:pos x="T8" y="T9"/>
                  </a:cxn>
                  <a:cxn ang="0">
                    <a:pos x="T10" y="T11"/>
                  </a:cxn>
                </a:cxnLst>
                <a:rect l="0" t="0" r="r" b="b"/>
                <a:pathLst>
                  <a:path w="21" h="44">
                    <a:moveTo>
                      <a:pt x="4" y="6"/>
                    </a:moveTo>
                    <a:cubicBezTo>
                      <a:pt x="1" y="10"/>
                      <a:pt x="0" y="15"/>
                      <a:pt x="0" y="22"/>
                    </a:cubicBezTo>
                    <a:cubicBezTo>
                      <a:pt x="0" y="28"/>
                      <a:pt x="1" y="33"/>
                      <a:pt x="4" y="36"/>
                    </a:cubicBezTo>
                    <a:cubicBezTo>
                      <a:pt x="7" y="39"/>
                      <a:pt x="11" y="42"/>
                      <a:pt x="18" y="44"/>
                    </a:cubicBezTo>
                    <a:cubicBezTo>
                      <a:pt x="21" y="0"/>
                      <a:pt x="21" y="0"/>
                      <a:pt x="21" y="0"/>
                    </a:cubicBezTo>
                    <a:cubicBezTo>
                      <a:pt x="13" y="0"/>
                      <a:pt x="7" y="3"/>
                      <a:pt x="4"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43" name="Freeform 515"/>
              <p:cNvSpPr>
                <a:spLocks/>
              </p:cNvSpPr>
              <p:nvPr/>
            </p:nvSpPr>
            <p:spPr bwMode="auto">
              <a:xfrm>
                <a:off x="4598988" y="2662238"/>
                <a:ext cx="82550" cy="173038"/>
              </a:xfrm>
              <a:custGeom>
                <a:avLst/>
                <a:gdLst>
                  <a:gd name="T0" fmla="*/ 4 w 22"/>
                  <a:gd name="T1" fmla="*/ 0 h 46"/>
                  <a:gd name="T2" fmla="*/ 0 w 22"/>
                  <a:gd name="T3" fmla="*/ 46 h 46"/>
                  <a:gd name="T4" fmla="*/ 18 w 22"/>
                  <a:gd name="T5" fmla="*/ 39 h 46"/>
                  <a:gd name="T6" fmla="*/ 22 w 22"/>
                  <a:gd name="T7" fmla="*/ 23 h 46"/>
                  <a:gd name="T8" fmla="*/ 18 w 22"/>
                  <a:gd name="T9" fmla="*/ 7 h 46"/>
                  <a:gd name="T10" fmla="*/ 4 w 22"/>
                  <a:gd name="T11" fmla="*/ 0 h 46"/>
                </a:gdLst>
                <a:ahLst/>
                <a:cxnLst>
                  <a:cxn ang="0">
                    <a:pos x="T0" y="T1"/>
                  </a:cxn>
                  <a:cxn ang="0">
                    <a:pos x="T2" y="T3"/>
                  </a:cxn>
                  <a:cxn ang="0">
                    <a:pos x="T4" y="T5"/>
                  </a:cxn>
                  <a:cxn ang="0">
                    <a:pos x="T6" y="T7"/>
                  </a:cxn>
                  <a:cxn ang="0">
                    <a:pos x="T8" y="T9"/>
                  </a:cxn>
                  <a:cxn ang="0">
                    <a:pos x="T10" y="T11"/>
                  </a:cxn>
                </a:cxnLst>
                <a:rect l="0" t="0" r="r" b="b"/>
                <a:pathLst>
                  <a:path w="22" h="46">
                    <a:moveTo>
                      <a:pt x="4" y="0"/>
                    </a:moveTo>
                    <a:cubicBezTo>
                      <a:pt x="0" y="46"/>
                      <a:pt x="0" y="46"/>
                      <a:pt x="0" y="46"/>
                    </a:cubicBezTo>
                    <a:cubicBezTo>
                      <a:pt x="9" y="45"/>
                      <a:pt x="14" y="43"/>
                      <a:pt x="18" y="39"/>
                    </a:cubicBezTo>
                    <a:cubicBezTo>
                      <a:pt x="21" y="35"/>
                      <a:pt x="22" y="30"/>
                      <a:pt x="22" y="23"/>
                    </a:cubicBezTo>
                    <a:cubicBezTo>
                      <a:pt x="22" y="15"/>
                      <a:pt x="21" y="10"/>
                      <a:pt x="18" y="7"/>
                    </a:cubicBezTo>
                    <a:cubicBezTo>
                      <a:pt x="15" y="5"/>
                      <a:pt x="10"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nvGrpSpPr>
            <p:cNvPr id="444" name="Group 443"/>
            <p:cNvGrpSpPr/>
            <p:nvPr/>
          </p:nvGrpSpPr>
          <p:grpSpPr>
            <a:xfrm>
              <a:off x="2982992" y="2809769"/>
              <a:ext cx="399347" cy="399811"/>
              <a:chOff x="3879851" y="1882776"/>
              <a:chExt cx="1368425" cy="1370013"/>
            </a:xfrm>
            <a:solidFill>
              <a:srgbClr val="000000"/>
            </a:solidFill>
          </p:grpSpPr>
          <p:sp>
            <p:nvSpPr>
              <p:cNvPr id="445" name="Freeform 513"/>
              <p:cNvSpPr>
                <a:spLocks noEditPoints="1"/>
              </p:cNvSpPr>
              <p:nvPr/>
            </p:nvSpPr>
            <p:spPr bwMode="auto">
              <a:xfrm>
                <a:off x="3879851" y="1882776"/>
                <a:ext cx="1368425" cy="1370013"/>
              </a:xfrm>
              <a:custGeom>
                <a:avLst/>
                <a:gdLst>
                  <a:gd name="T0" fmla="*/ 342 w 364"/>
                  <a:gd name="T1" fmla="*/ 0 h 364"/>
                  <a:gd name="T2" fmla="*/ 0 w 364"/>
                  <a:gd name="T3" fmla="*/ 0 h 364"/>
                  <a:gd name="T4" fmla="*/ 0 w 364"/>
                  <a:gd name="T5" fmla="*/ 341 h 364"/>
                  <a:gd name="T6" fmla="*/ 22 w 364"/>
                  <a:gd name="T7" fmla="*/ 364 h 364"/>
                  <a:gd name="T8" fmla="*/ 364 w 364"/>
                  <a:gd name="T9" fmla="*/ 364 h 364"/>
                  <a:gd name="T10" fmla="*/ 364 w 364"/>
                  <a:gd name="T11" fmla="*/ 25 h 364"/>
                  <a:gd name="T12" fmla="*/ 342 w 364"/>
                  <a:gd name="T13" fmla="*/ 0 h 364"/>
                  <a:gd name="T14" fmla="*/ 255 w 364"/>
                  <a:gd name="T15" fmla="*/ 259 h 364"/>
                  <a:gd name="T16" fmla="*/ 242 w 364"/>
                  <a:gd name="T17" fmla="*/ 280 h 364"/>
                  <a:gd name="T18" fmla="*/ 219 w 364"/>
                  <a:gd name="T19" fmla="*/ 292 h 364"/>
                  <a:gd name="T20" fmla="*/ 188 w 364"/>
                  <a:gd name="T21" fmla="*/ 296 h 364"/>
                  <a:gd name="T22" fmla="*/ 185 w 364"/>
                  <a:gd name="T23" fmla="*/ 330 h 364"/>
                  <a:gd name="T24" fmla="*/ 168 w 364"/>
                  <a:gd name="T25" fmla="*/ 330 h 364"/>
                  <a:gd name="T26" fmla="*/ 161 w 364"/>
                  <a:gd name="T27" fmla="*/ 327 h 364"/>
                  <a:gd name="T28" fmla="*/ 159 w 364"/>
                  <a:gd name="T29" fmla="*/ 320 h 364"/>
                  <a:gd name="T30" fmla="*/ 161 w 364"/>
                  <a:gd name="T31" fmla="*/ 296 h 364"/>
                  <a:gd name="T32" fmla="*/ 140 w 364"/>
                  <a:gd name="T33" fmla="*/ 294 h 364"/>
                  <a:gd name="T34" fmla="*/ 124 w 364"/>
                  <a:gd name="T35" fmla="*/ 290 h 364"/>
                  <a:gd name="T36" fmla="*/ 114 w 364"/>
                  <a:gd name="T37" fmla="*/ 284 h 364"/>
                  <a:gd name="T38" fmla="*/ 111 w 364"/>
                  <a:gd name="T39" fmla="*/ 275 h 364"/>
                  <a:gd name="T40" fmla="*/ 111 w 364"/>
                  <a:gd name="T41" fmla="*/ 251 h 364"/>
                  <a:gd name="T42" fmla="*/ 124 w 364"/>
                  <a:gd name="T43" fmla="*/ 252 h 364"/>
                  <a:gd name="T44" fmla="*/ 138 w 364"/>
                  <a:gd name="T45" fmla="*/ 252 h 364"/>
                  <a:gd name="T46" fmla="*/ 152 w 364"/>
                  <a:gd name="T47" fmla="*/ 253 h 364"/>
                  <a:gd name="T48" fmla="*/ 165 w 364"/>
                  <a:gd name="T49" fmla="*/ 253 h 364"/>
                  <a:gd name="T50" fmla="*/ 169 w 364"/>
                  <a:gd name="T51" fmla="*/ 202 h 364"/>
                  <a:gd name="T52" fmla="*/ 141 w 364"/>
                  <a:gd name="T53" fmla="*/ 191 h 364"/>
                  <a:gd name="T54" fmla="*/ 122 w 364"/>
                  <a:gd name="T55" fmla="*/ 176 h 364"/>
                  <a:gd name="T56" fmla="*/ 112 w 364"/>
                  <a:gd name="T57" fmla="*/ 159 h 364"/>
                  <a:gd name="T58" fmla="*/ 109 w 364"/>
                  <a:gd name="T59" fmla="*/ 137 h 364"/>
                  <a:gd name="T60" fmla="*/ 114 w 364"/>
                  <a:gd name="T61" fmla="*/ 106 h 364"/>
                  <a:gd name="T62" fmla="*/ 128 w 364"/>
                  <a:gd name="T63" fmla="*/ 85 h 364"/>
                  <a:gd name="T64" fmla="*/ 150 w 364"/>
                  <a:gd name="T65" fmla="*/ 74 h 364"/>
                  <a:gd name="T66" fmla="*/ 179 w 364"/>
                  <a:gd name="T67" fmla="*/ 69 h 364"/>
                  <a:gd name="T68" fmla="*/ 181 w 364"/>
                  <a:gd name="T69" fmla="*/ 37 h 364"/>
                  <a:gd name="T70" fmla="*/ 198 w 364"/>
                  <a:gd name="T71" fmla="*/ 37 h 364"/>
                  <a:gd name="T72" fmla="*/ 206 w 364"/>
                  <a:gd name="T73" fmla="*/ 40 h 364"/>
                  <a:gd name="T74" fmla="*/ 207 w 364"/>
                  <a:gd name="T75" fmla="*/ 48 h 364"/>
                  <a:gd name="T76" fmla="*/ 206 w 364"/>
                  <a:gd name="T77" fmla="*/ 69 h 364"/>
                  <a:gd name="T78" fmla="*/ 226 w 364"/>
                  <a:gd name="T79" fmla="*/ 71 h 364"/>
                  <a:gd name="T80" fmla="*/ 240 w 364"/>
                  <a:gd name="T81" fmla="*/ 75 h 364"/>
                  <a:gd name="T82" fmla="*/ 250 w 364"/>
                  <a:gd name="T83" fmla="*/ 83 h 364"/>
                  <a:gd name="T84" fmla="*/ 252 w 364"/>
                  <a:gd name="T85" fmla="*/ 93 h 364"/>
                  <a:gd name="T86" fmla="*/ 252 w 364"/>
                  <a:gd name="T87" fmla="*/ 114 h 364"/>
                  <a:gd name="T88" fmla="*/ 227 w 364"/>
                  <a:gd name="T89" fmla="*/ 112 h 364"/>
                  <a:gd name="T90" fmla="*/ 202 w 364"/>
                  <a:gd name="T91" fmla="*/ 111 h 364"/>
                  <a:gd name="T92" fmla="*/ 198 w 364"/>
                  <a:gd name="T93" fmla="*/ 161 h 364"/>
                  <a:gd name="T94" fmla="*/ 227 w 364"/>
                  <a:gd name="T95" fmla="*/ 173 h 364"/>
                  <a:gd name="T96" fmla="*/ 246 w 364"/>
                  <a:gd name="T97" fmla="*/ 185 h 364"/>
                  <a:gd name="T98" fmla="*/ 257 w 364"/>
                  <a:gd name="T99" fmla="*/ 203 h 364"/>
                  <a:gd name="T100" fmla="*/ 260 w 364"/>
                  <a:gd name="T101" fmla="*/ 227 h 364"/>
                  <a:gd name="T102" fmla="*/ 255 w 364"/>
                  <a:gd name="T103" fmla="*/ 25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4" h="364">
                    <a:moveTo>
                      <a:pt x="342" y="0"/>
                    </a:moveTo>
                    <a:cubicBezTo>
                      <a:pt x="0" y="0"/>
                      <a:pt x="0" y="0"/>
                      <a:pt x="0" y="0"/>
                    </a:cubicBezTo>
                    <a:cubicBezTo>
                      <a:pt x="0" y="341"/>
                      <a:pt x="0" y="341"/>
                      <a:pt x="0" y="341"/>
                    </a:cubicBezTo>
                    <a:cubicBezTo>
                      <a:pt x="0" y="354"/>
                      <a:pt x="10" y="364"/>
                      <a:pt x="22" y="364"/>
                    </a:cubicBezTo>
                    <a:cubicBezTo>
                      <a:pt x="364" y="364"/>
                      <a:pt x="364" y="364"/>
                      <a:pt x="364" y="364"/>
                    </a:cubicBezTo>
                    <a:cubicBezTo>
                      <a:pt x="364" y="25"/>
                      <a:pt x="364" y="25"/>
                      <a:pt x="364" y="25"/>
                    </a:cubicBezTo>
                    <a:cubicBezTo>
                      <a:pt x="364" y="12"/>
                      <a:pt x="354" y="0"/>
                      <a:pt x="342" y="0"/>
                    </a:cubicBezTo>
                    <a:moveTo>
                      <a:pt x="255" y="259"/>
                    </a:moveTo>
                    <a:cubicBezTo>
                      <a:pt x="252" y="267"/>
                      <a:pt x="248" y="274"/>
                      <a:pt x="242" y="280"/>
                    </a:cubicBezTo>
                    <a:cubicBezTo>
                      <a:pt x="236" y="285"/>
                      <a:pt x="228" y="289"/>
                      <a:pt x="219" y="292"/>
                    </a:cubicBezTo>
                    <a:cubicBezTo>
                      <a:pt x="210" y="294"/>
                      <a:pt x="200" y="296"/>
                      <a:pt x="188" y="296"/>
                    </a:cubicBezTo>
                    <a:cubicBezTo>
                      <a:pt x="185" y="330"/>
                      <a:pt x="185" y="330"/>
                      <a:pt x="185" y="330"/>
                    </a:cubicBezTo>
                    <a:cubicBezTo>
                      <a:pt x="168" y="330"/>
                      <a:pt x="168" y="330"/>
                      <a:pt x="168" y="330"/>
                    </a:cubicBezTo>
                    <a:cubicBezTo>
                      <a:pt x="164" y="330"/>
                      <a:pt x="162" y="329"/>
                      <a:pt x="161" y="327"/>
                    </a:cubicBezTo>
                    <a:cubicBezTo>
                      <a:pt x="160" y="325"/>
                      <a:pt x="159" y="323"/>
                      <a:pt x="159" y="320"/>
                    </a:cubicBezTo>
                    <a:cubicBezTo>
                      <a:pt x="161" y="296"/>
                      <a:pt x="161" y="296"/>
                      <a:pt x="161" y="296"/>
                    </a:cubicBezTo>
                    <a:cubicBezTo>
                      <a:pt x="153" y="296"/>
                      <a:pt x="146" y="295"/>
                      <a:pt x="140" y="294"/>
                    </a:cubicBezTo>
                    <a:cubicBezTo>
                      <a:pt x="133" y="293"/>
                      <a:pt x="128" y="292"/>
                      <a:pt x="124" y="290"/>
                    </a:cubicBezTo>
                    <a:cubicBezTo>
                      <a:pt x="119" y="288"/>
                      <a:pt x="116" y="286"/>
                      <a:pt x="114" y="284"/>
                    </a:cubicBezTo>
                    <a:cubicBezTo>
                      <a:pt x="112" y="281"/>
                      <a:pt x="111" y="278"/>
                      <a:pt x="111" y="275"/>
                    </a:cubicBezTo>
                    <a:cubicBezTo>
                      <a:pt x="111" y="251"/>
                      <a:pt x="111" y="251"/>
                      <a:pt x="111" y="251"/>
                    </a:cubicBezTo>
                    <a:cubicBezTo>
                      <a:pt x="115" y="251"/>
                      <a:pt x="119" y="251"/>
                      <a:pt x="124" y="252"/>
                    </a:cubicBezTo>
                    <a:cubicBezTo>
                      <a:pt x="129" y="252"/>
                      <a:pt x="134" y="252"/>
                      <a:pt x="138" y="252"/>
                    </a:cubicBezTo>
                    <a:cubicBezTo>
                      <a:pt x="143" y="252"/>
                      <a:pt x="148" y="253"/>
                      <a:pt x="152" y="253"/>
                    </a:cubicBezTo>
                    <a:cubicBezTo>
                      <a:pt x="157" y="253"/>
                      <a:pt x="161" y="253"/>
                      <a:pt x="165" y="253"/>
                    </a:cubicBezTo>
                    <a:cubicBezTo>
                      <a:pt x="169" y="202"/>
                      <a:pt x="169" y="202"/>
                      <a:pt x="169" y="202"/>
                    </a:cubicBezTo>
                    <a:cubicBezTo>
                      <a:pt x="158" y="198"/>
                      <a:pt x="149" y="195"/>
                      <a:pt x="141" y="191"/>
                    </a:cubicBezTo>
                    <a:cubicBezTo>
                      <a:pt x="133" y="186"/>
                      <a:pt x="127" y="182"/>
                      <a:pt x="122" y="176"/>
                    </a:cubicBezTo>
                    <a:cubicBezTo>
                      <a:pt x="117" y="171"/>
                      <a:pt x="114" y="165"/>
                      <a:pt x="112" y="159"/>
                    </a:cubicBezTo>
                    <a:cubicBezTo>
                      <a:pt x="110" y="152"/>
                      <a:pt x="109" y="145"/>
                      <a:pt x="109" y="137"/>
                    </a:cubicBezTo>
                    <a:cubicBezTo>
                      <a:pt x="109" y="124"/>
                      <a:pt x="110" y="114"/>
                      <a:pt x="114" y="106"/>
                    </a:cubicBezTo>
                    <a:cubicBezTo>
                      <a:pt x="117" y="97"/>
                      <a:pt x="122" y="90"/>
                      <a:pt x="128" y="85"/>
                    </a:cubicBezTo>
                    <a:cubicBezTo>
                      <a:pt x="134" y="80"/>
                      <a:pt x="142" y="76"/>
                      <a:pt x="150" y="74"/>
                    </a:cubicBezTo>
                    <a:cubicBezTo>
                      <a:pt x="159" y="71"/>
                      <a:pt x="168" y="70"/>
                      <a:pt x="179" y="69"/>
                    </a:cubicBezTo>
                    <a:cubicBezTo>
                      <a:pt x="181" y="37"/>
                      <a:pt x="181" y="37"/>
                      <a:pt x="181" y="37"/>
                    </a:cubicBezTo>
                    <a:cubicBezTo>
                      <a:pt x="198" y="37"/>
                      <a:pt x="198" y="37"/>
                      <a:pt x="198" y="37"/>
                    </a:cubicBezTo>
                    <a:cubicBezTo>
                      <a:pt x="202" y="37"/>
                      <a:pt x="205" y="38"/>
                      <a:pt x="206" y="40"/>
                    </a:cubicBezTo>
                    <a:cubicBezTo>
                      <a:pt x="207" y="42"/>
                      <a:pt x="207" y="45"/>
                      <a:pt x="207" y="48"/>
                    </a:cubicBezTo>
                    <a:cubicBezTo>
                      <a:pt x="206" y="69"/>
                      <a:pt x="206" y="69"/>
                      <a:pt x="206" y="69"/>
                    </a:cubicBezTo>
                    <a:cubicBezTo>
                      <a:pt x="213" y="69"/>
                      <a:pt x="220" y="70"/>
                      <a:pt x="226" y="71"/>
                    </a:cubicBezTo>
                    <a:cubicBezTo>
                      <a:pt x="231" y="73"/>
                      <a:pt x="236" y="74"/>
                      <a:pt x="240" y="75"/>
                    </a:cubicBezTo>
                    <a:cubicBezTo>
                      <a:pt x="246" y="78"/>
                      <a:pt x="249" y="80"/>
                      <a:pt x="250" y="83"/>
                    </a:cubicBezTo>
                    <a:cubicBezTo>
                      <a:pt x="251" y="87"/>
                      <a:pt x="252" y="90"/>
                      <a:pt x="252" y="93"/>
                    </a:cubicBezTo>
                    <a:cubicBezTo>
                      <a:pt x="252" y="114"/>
                      <a:pt x="252" y="114"/>
                      <a:pt x="252" y="114"/>
                    </a:cubicBezTo>
                    <a:cubicBezTo>
                      <a:pt x="244" y="113"/>
                      <a:pt x="236" y="112"/>
                      <a:pt x="227" y="112"/>
                    </a:cubicBezTo>
                    <a:cubicBezTo>
                      <a:pt x="219" y="112"/>
                      <a:pt x="211" y="111"/>
                      <a:pt x="202" y="111"/>
                    </a:cubicBezTo>
                    <a:cubicBezTo>
                      <a:pt x="198" y="161"/>
                      <a:pt x="198" y="161"/>
                      <a:pt x="198" y="161"/>
                    </a:cubicBezTo>
                    <a:cubicBezTo>
                      <a:pt x="210" y="165"/>
                      <a:pt x="219" y="169"/>
                      <a:pt x="227" y="173"/>
                    </a:cubicBezTo>
                    <a:cubicBezTo>
                      <a:pt x="235" y="176"/>
                      <a:pt x="241" y="180"/>
                      <a:pt x="246" y="185"/>
                    </a:cubicBezTo>
                    <a:cubicBezTo>
                      <a:pt x="251" y="190"/>
                      <a:pt x="254" y="196"/>
                      <a:pt x="257" y="203"/>
                    </a:cubicBezTo>
                    <a:cubicBezTo>
                      <a:pt x="259" y="209"/>
                      <a:pt x="260" y="218"/>
                      <a:pt x="260" y="227"/>
                    </a:cubicBezTo>
                    <a:cubicBezTo>
                      <a:pt x="260" y="240"/>
                      <a:pt x="258" y="250"/>
                      <a:pt x="255" y="2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46" name="Freeform 514"/>
              <p:cNvSpPr>
                <a:spLocks/>
              </p:cNvSpPr>
              <p:nvPr/>
            </p:nvSpPr>
            <p:spPr bwMode="auto">
              <a:xfrm>
                <a:off x="4459288" y="2305051"/>
                <a:ext cx="79375" cy="165100"/>
              </a:xfrm>
              <a:custGeom>
                <a:avLst/>
                <a:gdLst>
                  <a:gd name="T0" fmla="*/ 4 w 21"/>
                  <a:gd name="T1" fmla="*/ 6 h 44"/>
                  <a:gd name="T2" fmla="*/ 0 w 21"/>
                  <a:gd name="T3" fmla="*/ 22 h 44"/>
                  <a:gd name="T4" fmla="*/ 4 w 21"/>
                  <a:gd name="T5" fmla="*/ 36 h 44"/>
                  <a:gd name="T6" fmla="*/ 18 w 21"/>
                  <a:gd name="T7" fmla="*/ 44 h 44"/>
                  <a:gd name="T8" fmla="*/ 21 w 21"/>
                  <a:gd name="T9" fmla="*/ 0 h 44"/>
                  <a:gd name="T10" fmla="*/ 4 w 21"/>
                  <a:gd name="T11" fmla="*/ 6 h 44"/>
                </a:gdLst>
                <a:ahLst/>
                <a:cxnLst>
                  <a:cxn ang="0">
                    <a:pos x="T0" y="T1"/>
                  </a:cxn>
                  <a:cxn ang="0">
                    <a:pos x="T2" y="T3"/>
                  </a:cxn>
                  <a:cxn ang="0">
                    <a:pos x="T4" y="T5"/>
                  </a:cxn>
                  <a:cxn ang="0">
                    <a:pos x="T6" y="T7"/>
                  </a:cxn>
                  <a:cxn ang="0">
                    <a:pos x="T8" y="T9"/>
                  </a:cxn>
                  <a:cxn ang="0">
                    <a:pos x="T10" y="T11"/>
                  </a:cxn>
                </a:cxnLst>
                <a:rect l="0" t="0" r="r" b="b"/>
                <a:pathLst>
                  <a:path w="21" h="44">
                    <a:moveTo>
                      <a:pt x="4" y="6"/>
                    </a:moveTo>
                    <a:cubicBezTo>
                      <a:pt x="1" y="10"/>
                      <a:pt x="0" y="15"/>
                      <a:pt x="0" y="22"/>
                    </a:cubicBezTo>
                    <a:cubicBezTo>
                      <a:pt x="0" y="28"/>
                      <a:pt x="1" y="33"/>
                      <a:pt x="4" y="36"/>
                    </a:cubicBezTo>
                    <a:cubicBezTo>
                      <a:pt x="7" y="39"/>
                      <a:pt x="11" y="42"/>
                      <a:pt x="18" y="44"/>
                    </a:cubicBezTo>
                    <a:cubicBezTo>
                      <a:pt x="21" y="0"/>
                      <a:pt x="21" y="0"/>
                      <a:pt x="21" y="0"/>
                    </a:cubicBezTo>
                    <a:cubicBezTo>
                      <a:pt x="13" y="0"/>
                      <a:pt x="7" y="3"/>
                      <a:pt x="4"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47" name="Freeform 515"/>
              <p:cNvSpPr>
                <a:spLocks/>
              </p:cNvSpPr>
              <p:nvPr/>
            </p:nvSpPr>
            <p:spPr bwMode="auto">
              <a:xfrm>
                <a:off x="4598988" y="2662238"/>
                <a:ext cx="82550" cy="173038"/>
              </a:xfrm>
              <a:custGeom>
                <a:avLst/>
                <a:gdLst>
                  <a:gd name="T0" fmla="*/ 4 w 22"/>
                  <a:gd name="T1" fmla="*/ 0 h 46"/>
                  <a:gd name="T2" fmla="*/ 0 w 22"/>
                  <a:gd name="T3" fmla="*/ 46 h 46"/>
                  <a:gd name="T4" fmla="*/ 18 w 22"/>
                  <a:gd name="T5" fmla="*/ 39 h 46"/>
                  <a:gd name="T6" fmla="*/ 22 w 22"/>
                  <a:gd name="T7" fmla="*/ 23 h 46"/>
                  <a:gd name="T8" fmla="*/ 18 w 22"/>
                  <a:gd name="T9" fmla="*/ 7 h 46"/>
                  <a:gd name="T10" fmla="*/ 4 w 22"/>
                  <a:gd name="T11" fmla="*/ 0 h 46"/>
                </a:gdLst>
                <a:ahLst/>
                <a:cxnLst>
                  <a:cxn ang="0">
                    <a:pos x="T0" y="T1"/>
                  </a:cxn>
                  <a:cxn ang="0">
                    <a:pos x="T2" y="T3"/>
                  </a:cxn>
                  <a:cxn ang="0">
                    <a:pos x="T4" y="T5"/>
                  </a:cxn>
                  <a:cxn ang="0">
                    <a:pos x="T6" y="T7"/>
                  </a:cxn>
                  <a:cxn ang="0">
                    <a:pos x="T8" y="T9"/>
                  </a:cxn>
                  <a:cxn ang="0">
                    <a:pos x="T10" y="T11"/>
                  </a:cxn>
                </a:cxnLst>
                <a:rect l="0" t="0" r="r" b="b"/>
                <a:pathLst>
                  <a:path w="22" h="46">
                    <a:moveTo>
                      <a:pt x="4" y="0"/>
                    </a:moveTo>
                    <a:cubicBezTo>
                      <a:pt x="0" y="46"/>
                      <a:pt x="0" y="46"/>
                      <a:pt x="0" y="46"/>
                    </a:cubicBezTo>
                    <a:cubicBezTo>
                      <a:pt x="9" y="45"/>
                      <a:pt x="14" y="43"/>
                      <a:pt x="18" y="39"/>
                    </a:cubicBezTo>
                    <a:cubicBezTo>
                      <a:pt x="21" y="35"/>
                      <a:pt x="22" y="30"/>
                      <a:pt x="22" y="23"/>
                    </a:cubicBezTo>
                    <a:cubicBezTo>
                      <a:pt x="22" y="15"/>
                      <a:pt x="21" y="10"/>
                      <a:pt x="18" y="7"/>
                    </a:cubicBezTo>
                    <a:cubicBezTo>
                      <a:pt x="15" y="5"/>
                      <a:pt x="10"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nvGrpSpPr>
            <p:cNvPr id="448" name="Group 447"/>
            <p:cNvGrpSpPr/>
            <p:nvPr/>
          </p:nvGrpSpPr>
          <p:grpSpPr>
            <a:xfrm>
              <a:off x="3424758" y="2809769"/>
              <a:ext cx="399347" cy="399811"/>
              <a:chOff x="3879851" y="1882776"/>
              <a:chExt cx="1368425" cy="1370013"/>
            </a:xfrm>
            <a:solidFill>
              <a:srgbClr val="000000"/>
            </a:solidFill>
          </p:grpSpPr>
          <p:sp>
            <p:nvSpPr>
              <p:cNvPr id="449" name="Freeform 513"/>
              <p:cNvSpPr>
                <a:spLocks noEditPoints="1"/>
              </p:cNvSpPr>
              <p:nvPr/>
            </p:nvSpPr>
            <p:spPr bwMode="auto">
              <a:xfrm>
                <a:off x="3879851" y="1882776"/>
                <a:ext cx="1368425" cy="1370013"/>
              </a:xfrm>
              <a:custGeom>
                <a:avLst/>
                <a:gdLst>
                  <a:gd name="T0" fmla="*/ 342 w 364"/>
                  <a:gd name="T1" fmla="*/ 0 h 364"/>
                  <a:gd name="T2" fmla="*/ 0 w 364"/>
                  <a:gd name="T3" fmla="*/ 0 h 364"/>
                  <a:gd name="T4" fmla="*/ 0 w 364"/>
                  <a:gd name="T5" fmla="*/ 341 h 364"/>
                  <a:gd name="T6" fmla="*/ 22 w 364"/>
                  <a:gd name="T7" fmla="*/ 364 h 364"/>
                  <a:gd name="T8" fmla="*/ 364 w 364"/>
                  <a:gd name="T9" fmla="*/ 364 h 364"/>
                  <a:gd name="T10" fmla="*/ 364 w 364"/>
                  <a:gd name="T11" fmla="*/ 25 h 364"/>
                  <a:gd name="T12" fmla="*/ 342 w 364"/>
                  <a:gd name="T13" fmla="*/ 0 h 364"/>
                  <a:gd name="T14" fmla="*/ 255 w 364"/>
                  <a:gd name="T15" fmla="*/ 259 h 364"/>
                  <a:gd name="T16" fmla="*/ 242 w 364"/>
                  <a:gd name="T17" fmla="*/ 280 h 364"/>
                  <a:gd name="T18" fmla="*/ 219 w 364"/>
                  <a:gd name="T19" fmla="*/ 292 h 364"/>
                  <a:gd name="T20" fmla="*/ 188 w 364"/>
                  <a:gd name="T21" fmla="*/ 296 h 364"/>
                  <a:gd name="T22" fmla="*/ 185 w 364"/>
                  <a:gd name="T23" fmla="*/ 330 h 364"/>
                  <a:gd name="T24" fmla="*/ 168 w 364"/>
                  <a:gd name="T25" fmla="*/ 330 h 364"/>
                  <a:gd name="T26" fmla="*/ 161 w 364"/>
                  <a:gd name="T27" fmla="*/ 327 h 364"/>
                  <a:gd name="T28" fmla="*/ 159 w 364"/>
                  <a:gd name="T29" fmla="*/ 320 h 364"/>
                  <a:gd name="T30" fmla="*/ 161 w 364"/>
                  <a:gd name="T31" fmla="*/ 296 h 364"/>
                  <a:gd name="T32" fmla="*/ 140 w 364"/>
                  <a:gd name="T33" fmla="*/ 294 h 364"/>
                  <a:gd name="T34" fmla="*/ 124 w 364"/>
                  <a:gd name="T35" fmla="*/ 290 h 364"/>
                  <a:gd name="T36" fmla="*/ 114 w 364"/>
                  <a:gd name="T37" fmla="*/ 284 h 364"/>
                  <a:gd name="T38" fmla="*/ 111 w 364"/>
                  <a:gd name="T39" fmla="*/ 275 h 364"/>
                  <a:gd name="T40" fmla="*/ 111 w 364"/>
                  <a:gd name="T41" fmla="*/ 251 h 364"/>
                  <a:gd name="T42" fmla="*/ 124 w 364"/>
                  <a:gd name="T43" fmla="*/ 252 h 364"/>
                  <a:gd name="T44" fmla="*/ 138 w 364"/>
                  <a:gd name="T45" fmla="*/ 252 h 364"/>
                  <a:gd name="T46" fmla="*/ 152 w 364"/>
                  <a:gd name="T47" fmla="*/ 253 h 364"/>
                  <a:gd name="T48" fmla="*/ 165 w 364"/>
                  <a:gd name="T49" fmla="*/ 253 h 364"/>
                  <a:gd name="T50" fmla="*/ 169 w 364"/>
                  <a:gd name="T51" fmla="*/ 202 h 364"/>
                  <a:gd name="T52" fmla="*/ 141 w 364"/>
                  <a:gd name="T53" fmla="*/ 191 h 364"/>
                  <a:gd name="T54" fmla="*/ 122 w 364"/>
                  <a:gd name="T55" fmla="*/ 176 h 364"/>
                  <a:gd name="T56" fmla="*/ 112 w 364"/>
                  <a:gd name="T57" fmla="*/ 159 h 364"/>
                  <a:gd name="T58" fmla="*/ 109 w 364"/>
                  <a:gd name="T59" fmla="*/ 137 h 364"/>
                  <a:gd name="T60" fmla="*/ 114 w 364"/>
                  <a:gd name="T61" fmla="*/ 106 h 364"/>
                  <a:gd name="T62" fmla="*/ 128 w 364"/>
                  <a:gd name="T63" fmla="*/ 85 h 364"/>
                  <a:gd name="T64" fmla="*/ 150 w 364"/>
                  <a:gd name="T65" fmla="*/ 74 h 364"/>
                  <a:gd name="T66" fmla="*/ 179 w 364"/>
                  <a:gd name="T67" fmla="*/ 69 h 364"/>
                  <a:gd name="T68" fmla="*/ 181 w 364"/>
                  <a:gd name="T69" fmla="*/ 37 h 364"/>
                  <a:gd name="T70" fmla="*/ 198 w 364"/>
                  <a:gd name="T71" fmla="*/ 37 h 364"/>
                  <a:gd name="T72" fmla="*/ 206 w 364"/>
                  <a:gd name="T73" fmla="*/ 40 h 364"/>
                  <a:gd name="T74" fmla="*/ 207 w 364"/>
                  <a:gd name="T75" fmla="*/ 48 h 364"/>
                  <a:gd name="T76" fmla="*/ 206 w 364"/>
                  <a:gd name="T77" fmla="*/ 69 h 364"/>
                  <a:gd name="T78" fmla="*/ 226 w 364"/>
                  <a:gd name="T79" fmla="*/ 71 h 364"/>
                  <a:gd name="T80" fmla="*/ 240 w 364"/>
                  <a:gd name="T81" fmla="*/ 75 h 364"/>
                  <a:gd name="T82" fmla="*/ 250 w 364"/>
                  <a:gd name="T83" fmla="*/ 83 h 364"/>
                  <a:gd name="T84" fmla="*/ 252 w 364"/>
                  <a:gd name="T85" fmla="*/ 93 h 364"/>
                  <a:gd name="T86" fmla="*/ 252 w 364"/>
                  <a:gd name="T87" fmla="*/ 114 h 364"/>
                  <a:gd name="T88" fmla="*/ 227 w 364"/>
                  <a:gd name="T89" fmla="*/ 112 h 364"/>
                  <a:gd name="T90" fmla="*/ 202 w 364"/>
                  <a:gd name="T91" fmla="*/ 111 h 364"/>
                  <a:gd name="T92" fmla="*/ 198 w 364"/>
                  <a:gd name="T93" fmla="*/ 161 h 364"/>
                  <a:gd name="T94" fmla="*/ 227 w 364"/>
                  <a:gd name="T95" fmla="*/ 173 h 364"/>
                  <a:gd name="T96" fmla="*/ 246 w 364"/>
                  <a:gd name="T97" fmla="*/ 185 h 364"/>
                  <a:gd name="T98" fmla="*/ 257 w 364"/>
                  <a:gd name="T99" fmla="*/ 203 h 364"/>
                  <a:gd name="T100" fmla="*/ 260 w 364"/>
                  <a:gd name="T101" fmla="*/ 227 h 364"/>
                  <a:gd name="T102" fmla="*/ 255 w 364"/>
                  <a:gd name="T103" fmla="*/ 25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4" h="364">
                    <a:moveTo>
                      <a:pt x="342" y="0"/>
                    </a:moveTo>
                    <a:cubicBezTo>
                      <a:pt x="0" y="0"/>
                      <a:pt x="0" y="0"/>
                      <a:pt x="0" y="0"/>
                    </a:cubicBezTo>
                    <a:cubicBezTo>
                      <a:pt x="0" y="341"/>
                      <a:pt x="0" y="341"/>
                      <a:pt x="0" y="341"/>
                    </a:cubicBezTo>
                    <a:cubicBezTo>
                      <a:pt x="0" y="354"/>
                      <a:pt x="10" y="364"/>
                      <a:pt x="22" y="364"/>
                    </a:cubicBezTo>
                    <a:cubicBezTo>
                      <a:pt x="364" y="364"/>
                      <a:pt x="364" y="364"/>
                      <a:pt x="364" y="364"/>
                    </a:cubicBezTo>
                    <a:cubicBezTo>
                      <a:pt x="364" y="25"/>
                      <a:pt x="364" y="25"/>
                      <a:pt x="364" y="25"/>
                    </a:cubicBezTo>
                    <a:cubicBezTo>
                      <a:pt x="364" y="12"/>
                      <a:pt x="354" y="0"/>
                      <a:pt x="342" y="0"/>
                    </a:cubicBezTo>
                    <a:moveTo>
                      <a:pt x="255" y="259"/>
                    </a:moveTo>
                    <a:cubicBezTo>
                      <a:pt x="252" y="267"/>
                      <a:pt x="248" y="274"/>
                      <a:pt x="242" y="280"/>
                    </a:cubicBezTo>
                    <a:cubicBezTo>
                      <a:pt x="236" y="285"/>
                      <a:pt x="228" y="289"/>
                      <a:pt x="219" y="292"/>
                    </a:cubicBezTo>
                    <a:cubicBezTo>
                      <a:pt x="210" y="294"/>
                      <a:pt x="200" y="296"/>
                      <a:pt x="188" y="296"/>
                    </a:cubicBezTo>
                    <a:cubicBezTo>
                      <a:pt x="185" y="330"/>
                      <a:pt x="185" y="330"/>
                      <a:pt x="185" y="330"/>
                    </a:cubicBezTo>
                    <a:cubicBezTo>
                      <a:pt x="168" y="330"/>
                      <a:pt x="168" y="330"/>
                      <a:pt x="168" y="330"/>
                    </a:cubicBezTo>
                    <a:cubicBezTo>
                      <a:pt x="164" y="330"/>
                      <a:pt x="162" y="329"/>
                      <a:pt x="161" y="327"/>
                    </a:cubicBezTo>
                    <a:cubicBezTo>
                      <a:pt x="160" y="325"/>
                      <a:pt x="159" y="323"/>
                      <a:pt x="159" y="320"/>
                    </a:cubicBezTo>
                    <a:cubicBezTo>
                      <a:pt x="161" y="296"/>
                      <a:pt x="161" y="296"/>
                      <a:pt x="161" y="296"/>
                    </a:cubicBezTo>
                    <a:cubicBezTo>
                      <a:pt x="153" y="296"/>
                      <a:pt x="146" y="295"/>
                      <a:pt x="140" y="294"/>
                    </a:cubicBezTo>
                    <a:cubicBezTo>
                      <a:pt x="133" y="293"/>
                      <a:pt x="128" y="292"/>
                      <a:pt x="124" y="290"/>
                    </a:cubicBezTo>
                    <a:cubicBezTo>
                      <a:pt x="119" y="288"/>
                      <a:pt x="116" y="286"/>
                      <a:pt x="114" y="284"/>
                    </a:cubicBezTo>
                    <a:cubicBezTo>
                      <a:pt x="112" y="281"/>
                      <a:pt x="111" y="278"/>
                      <a:pt x="111" y="275"/>
                    </a:cubicBezTo>
                    <a:cubicBezTo>
                      <a:pt x="111" y="251"/>
                      <a:pt x="111" y="251"/>
                      <a:pt x="111" y="251"/>
                    </a:cubicBezTo>
                    <a:cubicBezTo>
                      <a:pt x="115" y="251"/>
                      <a:pt x="119" y="251"/>
                      <a:pt x="124" y="252"/>
                    </a:cubicBezTo>
                    <a:cubicBezTo>
                      <a:pt x="129" y="252"/>
                      <a:pt x="134" y="252"/>
                      <a:pt x="138" y="252"/>
                    </a:cubicBezTo>
                    <a:cubicBezTo>
                      <a:pt x="143" y="252"/>
                      <a:pt x="148" y="253"/>
                      <a:pt x="152" y="253"/>
                    </a:cubicBezTo>
                    <a:cubicBezTo>
                      <a:pt x="157" y="253"/>
                      <a:pt x="161" y="253"/>
                      <a:pt x="165" y="253"/>
                    </a:cubicBezTo>
                    <a:cubicBezTo>
                      <a:pt x="169" y="202"/>
                      <a:pt x="169" y="202"/>
                      <a:pt x="169" y="202"/>
                    </a:cubicBezTo>
                    <a:cubicBezTo>
                      <a:pt x="158" y="198"/>
                      <a:pt x="149" y="195"/>
                      <a:pt x="141" y="191"/>
                    </a:cubicBezTo>
                    <a:cubicBezTo>
                      <a:pt x="133" y="186"/>
                      <a:pt x="127" y="182"/>
                      <a:pt x="122" y="176"/>
                    </a:cubicBezTo>
                    <a:cubicBezTo>
                      <a:pt x="117" y="171"/>
                      <a:pt x="114" y="165"/>
                      <a:pt x="112" y="159"/>
                    </a:cubicBezTo>
                    <a:cubicBezTo>
                      <a:pt x="110" y="152"/>
                      <a:pt x="109" y="145"/>
                      <a:pt x="109" y="137"/>
                    </a:cubicBezTo>
                    <a:cubicBezTo>
                      <a:pt x="109" y="124"/>
                      <a:pt x="110" y="114"/>
                      <a:pt x="114" y="106"/>
                    </a:cubicBezTo>
                    <a:cubicBezTo>
                      <a:pt x="117" y="97"/>
                      <a:pt x="122" y="90"/>
                      <a:pt x="128" y="85"/>
                    </a:cubicBezTo>
                    <a:cubicBezTo>
                      <a:pt x="134" y="80"/>
                      <a:pt x="142" y="76"/>
                      <a:pt x="150" y="74"/>
                    </a:cubicBezTo>
                    <a:cubicBezTo>
                      <a:pt x="159" y="71"/>
                      <a:pt x="168" y="70"/>
                      <a:pt x="179" y="69"/>
                    </a:cubicBezTo>
                    <a:cubicBezTo>
                      <a:pt x="181" y="37"/>
                      <a:pt x="181" y="37"/>
                      <a:pt x="181" y="37"/>
                    </a:cubicBezTo>
                    <a:cubicBezTo>
                      <a:pt x="198" y="37"/>
                      <a:pt x="198" y="37"/>
                      <a:pt x="198" y="37"/>
                    </a:cubicBezTo>
                    <a:cubicBezTo>
                      <a:pt x="202" y="37"/>
                      <a:pt x="205" y="38"/>
                      <a:pt x="206" y="40"/>
                    </a:cubicBezTo>
                    <a:cubicBezTo>
                      <a:pt x="207" y="42"/>
                      <a:pt x="207" y="45"/>
                      <a:pt x="207" y="48"/>
                    </a:cubicBezTo>
                    <a:cubicBezTo>
                      <a:pt x="206" y="69"/>
                      <a:pt x="206" y="69"/>
                      <a:pt x="206" y="69"/>
                    </a:cubicBezTo>
                    <a:cubicBezTo>
                      <a:pt x="213" y="69"/>
                      <a:pt x="220" y="70"/>
                      <a:pt x="226" y="71"/>
                    </a:cubicBezTo>
                    <a:cubicBezTo>
                      <a:pt x="231" y="73"/>
                      <a:pt x="236" y="74"/>
                      <a:pt x="240" y="75"/>
                    </a:cubicBezTo>
                    <a:cubicBezTo>
                      <a:pt x="246" y="78"/>
                      <a:pt x="249" y="80"/>
                      <a:pt x="250" y="83"/>
                    </a:cubicBezTo>
                    <a:cubicBezTo>
                      <a:pt x="251" y="87"/>
                      <a:pt x="252" y="90"/>
                      <a:pt x="252" y="93"/>
                    </a:cubicBezTo>
                    <a:cubicBezTo>
                      <a:pt x="252" y="114"/>
                      <a:pt x="252" y="114"/>
                      <a:pt x="252" y="114"/>
                    </a:cubicBezTo>
                    <a:cubicBezTo>
                      <a:pt x="244" y="113"/>
                      <a:pt x="236" y="112"/>
                      <a:pt x="227" y="112"/>
                    </a:cubicBezTo>
                    <a:cubicBezTo>
                      <a:pt x="219" y="112"/>
                      <a:pt x="211" y="111"/>
                      <a:pt x="202" y="111"/>
                    </a:cubicBezTo>
                    <a:cubicBezTo>
                      <a:pt x="198" y="161"/>
                      <a:pt x="198" y="161"/>
                      <a:pt x="198" y="161"/>
                    </a:cubicBezTo>
                    <a:cubicBezTo>
                      <a:pt x="210" y="165"/>
                      <a:pt x="219" y="169"/>
                      <a:pt x="227" y="173"/>
                    </a:cubicBezTo>
                    <a:cubicBezTo>
                      <a:pt x="235" y="176"/>
                      <a:pt x="241" y="180"/>
                      <a:pt x="246" y="185"/>
                    </a:cubicBezTo>
                    <a:cubicBezTo>
                      <a:pt x="251" y="190"/>
                      <a:pt x="254" y="196"/>
                      <a:pt x="257" y="203"/>
                    </a:cubicBezTo>
                    <a:cubicBezTo>
                      <a:pt x="259" y="209"/>
                      <a:pt x="260" y="218"/>
                      <a:pt x="260" y="227"/>
                    </a:cubicBezTo>
                    <a:cubicBezTo>
                      <a:pt x="260" y="240"/>
                      <a:pt x="258" y="250"/>
                      <a:pt x="255" y="2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50" name="Freeform 514"/>
              <p:cNvSpPr>
                <a:spLocks/>
              </p:cNvSpPr>
              <p:nvPr/>
            </p:nvSpPr>
            <p:spPr bwMode="auto">
              <a:xfrm>
                <a:off x="4459288" y="2305051"/>
                <a:ext cx="79375" cy="165100"/>
              </a:xfrm>
              <a:custGeom>
                <a:avLst/>
                <a:gdLst>
                  <a:gd name="T0" fmla="*/ 4 w 21"/>
                  <a:gd name="T1" fmla="*/ 6 h 44"/>
                  <a:gd name="T2" fmla="*/ 0 w 21"/>
                  <a:gd name="T3" fmla="*/ 22 h 44"/>
                  <a:gd name="T4" fmla="*/ 4 w 21"/>
                  <a:gd name="T5" fmla="*/ 36 h 44"/>
                  <a:gd name="T6" fmla="*/ 18 w 21"/>
                  <a:gd name="T7" fmla="*/ 44 h 44"/>
                  <a:gd name="T8" fmla="*/ 21 w 21"/>
                  <a:gd name="T9" fmla="*/ 0 h 44"/>
                  <a:gd name="T10" fmla="*/ 4 w 21"/>
                  <a:gd name="T11" fmla="*/ 6 h 44"/>
                </a:gdLst>
                <a:ahLst/>
                <a:cxnLst>
                  <a:cxn ang="0">
                    <a:pos x="T0" y="T1"/>
                  </a:cxn>
                  <a:cxn ang="0">
                    <a:pos x="T2" y="T3"/>
                  </a:cxn>
                  <a:cxn ang="0">
                    <a:pos x="T4" y="T5"/>
                  </a:cxn>
                  <a:cxn ang="0">
                    <a:pos x="T6" y="T7"/>
                  </a:cxn>
                  <a:cxn ang="0">
                    <a:pos x="T8" y="T9"/>
                  </a:cxn>
                  <a:cxn ang="0">
                    <a:pos x="T10" y="T11"/>
                  </a:cxn>
                </a:cxnLst>
                <a:rect l="0" t="0" r="r" b="b"/>
                <a:pathLst>
                  <a:path w="21" h="44">
                    <a:moveTo>
                      <a:pt x="4" y="6"/>
                    </a:moveTo>
                    <a:cubicBezTo>
                      <a:pt x="1" y="10"/>
                      <a:pt x="0" y="15"/>
                      <a:pt x="0" y="22"/>
                    </a:cubicBezTo>
                    <a:cubicBezTo>
                      <a:pt x="0" y="28"/>
                      <a:pt x="1" y="33"/>
                      <a:pt x="4" y="36"/>
                    </a:cubicBezTo>
                    <a:cubicBezTo>
                      <a:pt x="7" y="39"/>
                      <a:pt x="11" y="42"/>
                      <a:pt x="18" y="44"/>
                    </a:cubicBezTo>
                    <a:cubicBezTo>
                      <a:pt x="21" y="0"/>
                      <a:pt x="21" y="0"/>
                      <a:pt x="21" y="0"/>
                    </a:cubicBezTo>
                    <a:cubicBezTo>
                      <a:pt x="13" y="0"/>
                      <a:pt x="7" y="3"/>
                      <a:pt x="4"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451" name="Freeform 515"/>
              <p:cNvSpPr>
                <a:spLocks/>
              </p:cNvSpPr>
              <p:nvPr/>
            </p:nvSpPr>
            <p:spPr bwMode="auto">
              <a:xfrm>
                <a:off x="4598988" y="2662238"/>
                <a:ext cx="82550" cy="173038"/>
              </a:xfrm>
              <a:custGeom>
                <a:avLst/>
                <a:gdLst>
                  <a:gd name="T0" fmla="*/ 4 w 22"/>
                  <a:gd name="T1" fmla="*/ 0 h 46"/>
                  <a:gd name="T2" fmla="*/ 0 w 22"/>
                  <a:gd name="T3" fmla="*/ 46 h 46"/>
                  <a:gd name="T4" fmla="*/ 18 w 22"/>
                  <a:gd name="T5" fmla="*/ 39 h 46"/>
                  <a:gd name="T6" fmla="*/ 22 w 22"/>
                  <a:gd name="T7" fmla="*/ 23 h 46"/>
                  <a:gd name="T8" fmla="*/ 18 w 22"/>
                  <a:gd name="T9" fmla="*/ 7 h 46"/>
                  <a:gd name="T10" fmla="*/ 4 w 22"/>
                  <a:gd name="T11" fmla="*/ 0 h 46"/>
                </a:gdLst>
                <a:ahLst/>
                <a:cxnLst>
                  <a:cxn ang="0">
                    <a:pos x="T0" y="T1"/>
                  </a:cxn>
                  <a:cxn ang="0">
                    <a:pos x="T2" y="T3"/>
                  </a:cxn>
                  <a:cxn ang="0">
                    <a:pos x="T4" y="T5"/>
                  </a:cxn>
                  <a:cxn ang="0">
                    <a:pos x="T6" y="T7"/>
                  </a:cxn>
                  <a:cxn ang="0">
                    <a:pos x="T8" y="T9"/>
                  </a:cxn>
                  <a:cxn ang="0">
                    <a:pos x="T10" y="T11"/>
                  </a:cxn>
                </a:cxnLst>
                <a:rect l="0" t="0" r="r" b="b"/>
                <a:pathLst>
                  <a:path w="22" h="46">
                    <a:moveTo>
                      <a:pt x="4" y="0"/>
                    </a:moveTo>
                    <a:cubicBezTo>
                      <a:pt x="0" y="46"/>
                      <a:pt x="0" y="46"/>
                      <a:pt x="0" y="46"/>
                    </a:cubicBezTo>
                    <a:cubicBezTo>
                      <a:pt x="9" y="45"/>
                      <a:pt x="14" y="43"/>
                      <a:pt x="18" y="39"/>
                    </a:cubicBezTo>
                    <a:cubicBezTo>
                      <a:pt x="21" y="35"/>
                      <a:pt x="22" y="30"/>
                      <a:pt x="22" y="23"/>
                    </a:cubicBezTo>
                    <a:cubicBezTo>
                      <a:pt x="22" y="15"/>
                      <a:pt x="21" y="10"/>
                      <a:pt x="18" y="7"/>
                    </a:cubicBezTo>
                    <a:cubicBezTo>
                      <a:pt x="15" y="5"/>
                      <a:pt x="10" y="2"/>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sp>
        <p:nvSpPr>
          <p:cNvPr id="453" name="TextBox 452"/>
          <p:cNvSpPr txBox="1"/>
          <p:nvPr/>
        </p:nvSpPr>
        <p:spPr>
          <a:xfrm>
            <a:off x="8313785" y="3523523"/>
            <a:ext cx="2028685" cy="408176"/>
          </a:xfrm>
          <a:prstGeom prst="rect">
            <a:avLst/>
          </a:prstGeom>
          <a:noFill/>
        </p:spPr>
        <p:txBody>
          <a:bodyPr wrap="square" lIns="129909" tIns="64954" rIns="129909" bIns="64954" rtlCol="0">
            <a:spAutoFit/>
          </a:bodyPr>
          <a:lstStyle/>
          <a:p>
            <a:pPr defTabSz="611204">
              <a:spcAft>
                <a:spcPts val="568"/>
              </a:spcAft>
              <a:buSzPct val="100000"/>
            </a:pPr>
            <a:r>
              <a:rPr lang="zh-CN" altLang="en-US" sz="1800" b="1" dirty="0" smtClean="0">
                <a:solidFill>
                  <a:srgbClr val="002060"/>
                </a:solidFill>
                <a:latin typeface="微软雅黑" pitchFamily="34" charset="-122"/>
                <a:ea typeface="微软雅黑" pitchFamily="34" charset="-122"/>
                <a:cs typeface="HP Simplified" pitchFamily="34" charset="0"/>
              </a:rPr>
              <a:t>我们的企业</a:t>
            </a:r>
            <a:endParaRPr lang="en-US" sz="1800" b="1" dirty="0" smtClean="0">
              <a:solidFill>
                <a:srgbClr val="002060"/>
              </a:solidFill>
              <a:latin typeface="微软雅黑" pitchFamily="34" charset="-122"/>
              <a:ea typeface="微软雅黑" pitchFamily="34" charset="-122"/>
              <a:cs typeface="HP Simplified" pitchFamily="34" charset="0"/>
            </a:endParaRPr>
          </a:p>
        </p:txBody>
      </p:sp>
      <p:sp>
        <p:nvSpPr>
          <p:cNvPr id="455" name="TextBox 454"/>
          <p:cNvSpPr txBox="1"/>
          <p:nvPr/>
        </p:nvSpPr>
        <p:spPr>
          <a:xfrm>
            <a:off x="2641694" y="3523524"/>
            <a:ext cx="2462650" cy="408176"/>
          </a:xfrm>
          <a:prstGeom prst="rect">
            <a:avLst/>
          </a:prstGeom>
          <a:noFill/>
        </p:spPr>
        <p:txBody>
          <a:bodyPr wrap="square" lIns="129909" tIns="64954" rIns="129909" bIns="64954" rtlCol="0">
            <a:spAutoFit/>
          </a:bodyPr>
          <a:lstStyle/>
          <a:p>
            <a:pPr defTabSz="611204">
              <a:spcAft>
                <a:spcPts val="568"/>
              </a:spcAft>
              <a:buSzPct val="100000"/>
            </a:pPr>
            <a:r>
              <a:rPr lang="zh-CN" altLang="en-US" sz="1800" b="1" dirty="0" smtClean="0">
                <a:solidFill>
                  <a:srgbClr val="000000"/>
                </a:solidFill>
                <a:latin typeface="微软雅黑" pitchFamily="34" charset="-122"/>
                <a:ea typeface="微软雅黑" pitchFamily="34" charset="-122"/>
                <a:cs typeface="HP Simplified" pitchFamily="34" charset="0"/>
              </a:rPr>
              <a:t>对手的生态系统</a:t>
            </a:r>
            <a:endParaRPr lang="en-US" sz="1800" b="1" dirty="0" smtClean="0">
              <a:solidFill>
                <a:srgbClr val="000000"/>
              </a:solidFill>
              <a:latin typeface="微软雅黑" pitchFamily="34" charset="-122"/>
              <a:ea typeface="微软雅黑" pitchFamily="34" charset="-122"/>
              <a:cs typeface="HP Simplified" pitchFamily="34" charset="0"/>
            </a:endParaRPr>
          </a:p>
        </p:txBody>
      </p:sp>
      <p:grpSp>
        <p:nvGrpSpPr>
          <p:cNvPr id="2" name="Group 1"/>
          <p:cNvGrpSpPr/>
          <p:nvPr/>
        </p:nvGrpSpPr>
        <p:grpSpPr>
          <a:xfrm>
            <a:off x="5395404" y="1084107"/>
            <a:ext cx="510443" cy="5578311"/>
            <a:chOff x="5326950" y="727538"/>
            <a:chExt cx="385877" cy="4210312"/>
          </a:xfrm>
          <a:solidFill>
            <a:schemeClr val="accent3"/>
          </a:solidFill>
        </p:grpSpPr>
        <p:grpSp>
          <p:nvGrpSpPr>
            <p:cNvPr id="206" name="Group 205"/>
            <p:cNvGrpSpPr/>
            <p:nvPr/>
          </p:nvGrpSpPr>
          <p:grpSpPr>
            <a:xfrm>
              <a:off x="5478169" y="960699"/>
              <a:ext cx="83439" cy="3576577"/>
              <a:chOff x="5396292" y="1038173"/>
              <a:chExt cx="120650" cy="3594099"/>
            </a:xfrm>
            <a:grpFill/>
          </p:grpSpPr>
          <p:sp>
            <p:nvSpPr>
              <p:cNvPr id="219" name="Rectangle 218"/>
              <p:cNvSpPr/>
              <p:nvPr/>
            </p:nvSpPr>
            <p:spPr bwMode="gray">
              <a:xfrm>
                <a:off x="5396292" y="1038173"/>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0" name="Rectangle 219"/>
              <p:cNvSpPr/>
              <p:nvPr/>
            </p:nvSpPr>
            <p:spPr bwMode="gray">
              <a:xfrm>
                <a:off x="5396292" y="1281202"/>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1" name="Rectangle 220"/>
              <p:cNvSpPr/>
              <p:nvPr/>
            </p:nvSpPr>
            <p:spPr bwMode="gray">
              <a:xfrm>
                <a:off x="5396292" y="1524231"/>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2" name="Rectangle 221"/>
              <p:cNvSpPr/>
              <p:nvPr/>
            </p:nvSpPr>
            <p:spPr bwMode="gray">
              <a:xfrm>
                <a:off x="5396292" y="1767260"/>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3" name="Rectangle 222"/>
              <p:cNvSpPr/>
              <p:nvPr/>
            </p:nvSpPr>
            <p:spPr bwMode="gray">
              <a:xfrm>
                <a:off x="5396292" y="2010289"/>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4" name="Rectangle 223"/>
              <p:cNvSpPr/>
              <p:nvPr/>
            </p:nvSpPr>
            <p:spPr bwMode="gray">
              <a:xfrm>
                <a:off x="5396292" y="2253319"/>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5" name="Rectangle 224"/>
              <p:cNvSpPr/>
              <p:nvPr/>
            </p:nvSpPr>
            <p:spPr bwMode="gray">
              <a:xfrm>
                <a:off x="5396292" y="2496349"/>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6" name="Rectangle 225"/>
              <p:cNvSpPr/>
              <p:nvPr/>
            </p:nvSpPr>
            <p:spPr bwMode="gray">
              <a:xfrm>
                <a:off x="5396292" y="2739379"/>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7" name="Rectangle 226"/>
              <p:cNvSpPr/>
              <p:nvPr/>
            </p:nvSpPr>
            <p:spPr bwMode="gray">
              <a:xfrm>
                <a:off x="5396292" y="2982408"/>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8" name="Rectangle 227"/>
              <p:cNvSpPr/>
              <p:nvPr/>
            </p:nvSpPr>
            <p:spPr bwMode="gray">
              <a:xfrm>
                <a:off x="5396292" y="3225437"/>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29" name="Rectangle 228"/>
              <p:cNvSpPr/>
              <p:nvPr/>
            </p:nvSpPr>
            <p:spPr bwMode="gray">
              <a:xfrm>
                <a:off x="5396292" y="3468466"/>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30" name="Rectangle 229"/>
              <p:cNvSpPr/>
              <p:nvPr/>
            </p:nvSpPr>
            <p:spPr bwMode="gray">
              <a:xfrm>
                <a:off x="5396292" y="3711496"/>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31" name="Rectangle 230"/>
              <p:cNvSpPr/>
              <p:nvPr/>
            </p:nvSpPr>
            <p:spPr bwMode="gray">
              <a:xfrm>
                <a:off x="5396292" y="3954526"/>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41" name="Rectangle 240"/>
              <p:cNvSpPr/>
              <p:nvPr/>
            </p:nvSpPr>
            <p:spPr bwMode="gray">
              <a:xfrm>
                <a:off x="5396292" y="4197555"/>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sp>
            <p:nvSpPr>
              <p:cNvPr id="242" name="Rectangle 241"/>
              <p:cNvSpPr/>
              <p:nvPr/>
            </p:nvSpPr>
            <p:spPr bwMode="gray">
              <a:xfrm>
                <a:off x="5396292" y="4440581"/>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ctr"/>
              <a:lstStyle/>
              <a:p>
                <a:pPr algn="ctr" eaLnBrk="0" hangingPunct="0">
                  <a:defRPr/>
                </a:pPr>
                <a:endParaRPr lang="en-US" sz="2000" dirty="0">
                  <a:latin typeface="微软雅黑" pitchFamily="34" charset="-122"/>
                  <a:ea typeface="微软雅黑" pitchFamily="34" charset="-122"/>
                  <a:cs typeface="Arial" charset="0"/>
                </a:endParaRPr>
              </a:p>
            </p:txBody>
          </p:sp>
        </p:grpSp>
        <p:sp>
          <p:nvSpPr>
            <p:cNvPr id="457" name="Freeform 745"/>
            <p:cNvSpPr>
              <a:spLocks noEditPoints="1"/>
            </p:cNvSpPr>
            <p:nvPr/>
          </p:nvSpPr>
          <p:spPr bwMode="auto">
            <a:xfrm>
              <a:off x="5326950" y="727538"/>
              <a:ext cx="385877" cy="460375"/>
            </a:xfrm>
            <a:custGeom>
              <a:avLst/>
              <a:gdLst>
                <a:gd name="T0" fmla="*/ 259 w 280"/>
                <a:gd name="T1" fmla="*/ 153 h 334"/>
                <a:gd name="T2" fmla="*/ 238 w 280"/>
                <a:gd name="T3" fmla="*/ 153 h 334"/>
                <a:gd name="T4" fmla="*/ 238 w 280"/>
                <a:gd name="T5" fmla="*/ 99 h 334"/>
                <a:gd name="T6" fmla="*/ 138 w 280"/>
                <a:gd name="T7" fmla="*/ 0 h 334"/>
                <a:gd name="T8" fmla="*/ 39 w 280"/>
                <a:gd name="T9" fmla="*/ 99 h 334"/>
                <a:gd name="T10" fmla="*/ 39 w 280"/>
                <a:gd name="T11" fmla="*/ 153 h 334"/>
                <a:gd name="T12" fmla="*/ 0 w 280"/>
                <a:gd name="T13" fmla="*/ 153 h 334"/>
                <a:gd name="T14" fmla="*/ 0 w 280"/>
                <a:gd name="T15" fmla="*/ 312 h 334"/>
                <a:gd name="T16" fmla="*/ 21 w 280"/>
                <a:gd name="T17" fmla="*/ 334 h 334"/>
                <a:gd name="T18" fmla="*/ 280 w 280"/>
                <a:gd name="T19" fmla="*/ 334 h 334"/>
                <a:gd name="T20" fmla="*/ 280 w 280"/>
                <a:gd name="T21" fmla="*/ 174 h 334"/>
                <a:gd name="T22" fmla="*/ 259 w 280"/>
                <a:gd name="T23" fmla="*/ 153 h 334"/>
                <a:gd name="T24" fmla="*/ 81 w 280"/>
                <a:gd name="T25" fmla="*/ 99 h 334"/>
                <a:gd name="T26" fmla="*/ 138 w 280"/>
                <a:gd name="T27" fmla="*/ 43 h 334"/>
                <a:gd name="T28" fmla="*/ 195 w 280"/>
                <a:gd name="T29" fmla="*/ 99 h 334"/>
                <a:gd name="T30" fmla="*/ 195 w 280"/>
                <a:gd name="T31" fmla="*/ 153 h 334"/>
                <a:gd name="T32" fmla="*/ 81 w 280"/>
                <a:gd name="T33" fmla="*/ 153 h 334"/>
                <a:gd name="T34" fmla="*/ 81 w 280"/>
                <a:gd name="T35" fmla="*/ 9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0" h="334">
                  <a:moveTo>
                    <a:pt x="259" y="153"/>
                  </a:moveTo>
                  <a:cubicBezTo>
                    <a:pt x="238" y="153"/>
                    <a:pt x="238" y="153"/>
                    <a:pt x="238" y="153"/>
                  </a:cubicBezTo>
                  <a:cubicBezTo>
                    <a:pt x="238" y="99"/>
                    <a:pt x="238" y="99"/>
                    <a:pt x="238" y="99"/>
                  </a:cubicBezTo>
                  <a:cubicBezTo>
                    <a:pt x="238" y="45"/>
                    <a:pt x="193" y="0"/>
                    <a:pt x="138" y="0"/>
                  </a:cubicBezTo>
                  <a:cubicBezTo>
                    <a:pt x="83" y="0"/>
                    <a:pt x="39" y="45"/>
                    <a:pt x="39" y="99"/>
                  </a:cubicBezTo>
                  <a:cubicBezTo>
                    <a:pt x="39" y="153"/>
                    <a:pt x="39" y="153"/>
                    <a:pt x="39" y="153"/>
                  </a:cubicBezTo>
                  <a:cubicBezTo>
                    <a:pt x="0" y="153"/>
                    <a:pt x="0" y="153"/>
                    <a:pt x="0" y="153"/>
                  </a:cubicBezTo>
                  <a:cubicBezTo>
                    <a:pt x="0" y="312"/>
                    <a:pt x="0" y="312"/>
                    <a:pt x="0" y="312"/>
                  </a:cubicBezTo>
                  <a:cubicBezTo>
                    <a:pt x="0" y="324"/>
                    <a:pt x="9" y="334"/>
                    <a:pt x="21" y="334"/>
                  </a:cubicBezTo>
                  <a:cubicBezTo>
                    <a:pt x="280" y="334"/>
                    <a:pt x="280" y="334"/>
                    <a:pt x="280" y="334"/>
                  </a:cubicBezTo>
                  <a:cubicBezTo>
                    <a:pt x="280" y="174"/>
                    <a:pt x="280" y="174"/>
                    <a:pt x="280" y="174"/>
                  </a:cubicBezTo>
                  <a:cubicBezTo>
                    <a:pt x="280" y="162"/>
                    <a:pt x="271" y="153"/>
                    <a:pt x="259" y="153"/>
                  </a:cubicBezTo>
                  <a:moveTo>
                    <a:pt x="81" y="99"/>
                  </a:moveTo>
                  <a:cubicBezTo>
                    <a:pt x="81" y="68"/>
                    <a:pt x="107" y="43"/>
                    <a:pt x="138" y="43"/>
                  </a:cubicBezTo>
                  <a:cubicBezTo>
                    <a:pt x="169" y="43"/>
                    <a:pt x="195" y="68"/>
                    <a:pt x="195" y="99"/>
                  </a:cubicBezTo>
                  <a:cubicBezTo>
                    <a:pt x="195" y="153"/>
                    <a:pt x="195" y="153"/>
                    <a:pt x="195" y="153"/>
                  </a:cubicBezTo>
                  <a:cubicBezTo>
                    <a:pt x="81" y="153"/>
                    <a:pt x="81" y="153"/>
                    <a:pt x="81" y="153"/>
                  </a:cubicBezTo>
                  <a:lnTo>
                    <a:pt x="81" y="99"/>
                  </a:ln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216" name="Freeform 745"/>
            <p:cNvSpPr>
              <a:spLocks noEditPoints="1"/>
            </p:cNvSpPr>
            <p:nvPr/>
          </p:nvSpPr>
          <p:spPr bwMode="auto">
            <a:xfrm>
              <a:off x="5326950" y="4477475"/>
              <a:ext cx="385877" cy="460375"/>
            </a:xfrm>
            <a:custGeom>
              <a:avLst/>
              <a:gdLst>
                <a:gd name="T0" fmla="*/ 259 w 280"/>
                <a:gd name="T1" fmla="*/ 153 h 334"/>
                <a:gd name="T2" fmla="*/ 238 w 280"/>
                <a:gd name="T3" fmla="*/ 153 h 334"/>
                <a:gd name="T4" fmla="*/ 238 w 280"/>
                <a:gd name="T5" fmla="*/ 99 h 334"/>
                <a:gd name="T6" fmla="*/ 138 w 280"/>
                <a:gd name="T7" fmla="*/ 0 h 334"/>
                <a:gd name="T8" fmla="*/ 39 w 280"/>
                <a:gd name="T9" fmla="*/ 99 h 334"/>
                <a:gd name="T10" fmla="*/ 39 w 280"/>
                <a:gd name="T11" fmla="*/ 153 h 334"/>
                <a:gd name="T12" fmla="*/ 0 w 280"/>
                <a:gd name="T13" fmla="*/ 153 h 334"/>
                <a:gd name="T14" fmla="*/ 0 w 280"/>
                <a:gd name="T15" fmla="*/ 312 h 334"/>
                <a:gd name="T16" fmla="*/ 21 w 280"/>
                <a:gd name="T17" fmla="*/ 334 h 334"/>
                <a:gd name="T18" fmla="*/ 280 w 280"/>
                <a:gd name="T19" fmla="*/ 334 h 334"/>
                <a:gd name="T20" fmla="*/ 280 w 280"/>
                <a:gd name="T21" fmla="*/ 174 h 334"/>
                <a:gd name="T22" fmla="*/ 259 w 280"/>
                <a:gd name="T23" fmla="*/ 153 h 334"/>
                <a:gd name="T24" fmla="*/ 81 w 280"/>
                <a:gd name="T25" fmla="*/ 99 h 334"/>
                <a:gd name="T26" fmla="*/ 138 w 280"/>
                <a:gd name="T27" fmla="*/ 43 h 334"/>
                <a:gd name="T28" fmla="*/ 195 w 280"/>
                <a:gd name="T29" fmla="*/ 99 h 334"/>
                <a:gd name="T30" fmla="*/ 195 w 280"/>
                <a:gd name="T31" fmla="*/ 153 h 334"/>
                <a:gd name="T32" fmla="*/ 81 w 280"/>
                <a:gd name="T33" fmla="*/ 153 h 334"/>
                <a:gd name="T34" fmla="*/ 81 w 280"/>
                <a:gd name="T35" fmla="*/ 9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0" h="334">
                  <a:moveTo>
                    <a:pt x="259" y="153"/>
                  </a:moveTo>
                  <a:cubicBezTo>
                    <a:pt x="238" y="153"/>
                    <a:pt x="238" y="153"/>
                    <a:pt x="238" y="153"/>
                  </a:cubicBezTo>
                  <a:cubicBezTo>
                    <a:pt x="238" y="99"/>
                    <a:pt x="238" y="99"/>
                    <a:pt x="238" y="99"/>
                  </a:cubicBezTo>
                  <a:cubicBezTo>
                    <a:pt x="238" y="45"/>
                    <a:pt x="193" y="0"/>
                    <a:pt x="138" y="0"/>
                  </a:cubicBezTo>
                  <a:cubicBezTo>
                    <a:pt x="83" y="0"/>
                    <a:pt x="39" y="45"/>
                    <a:pt x="39" y="99"/>
                  </a:cubicBezTo>
                  <a:cubicBezTo>
                    <a:pt x="39" y="153"/>
                    <a:pt x="39" y="153"/>
                    <a:pt x="39" y="153"/>
                  </a:cubicBezTo>
                  <a:cubicBezTo>
                    <a:pt x="0" y="153"/>
                    <a:pt x="0" y="153"/>
                    <a:pt x="0" y="153"/>
                  </a:cubicBezTo>
                  <a:cubicBezTo>
                    <a:pt x="0" y="312"/>
                    <a:pt x="0" y="312"/>
                    <a:pt x="0" y="312"/>
                  </a:cubicBezTo>
                  <a:cubicBezTo>
                    <a:pt x="0" y="324"/>
                    <a:pt x="9" y="334"/>
                    <a:pt x="21" y="334"/>
                  </a:cubicBezTo>
                  <a:cubicBezTo>
                    <a:pt x="280" y="334"/>
                    <a:pt x="280" y="334"/>
                    <a:pt x="280" y="334"/>
                  </a:cubicBezTo>
                  <a:cubicBezTo>
                    <a:pt x="280" y="174"/>
                    <a:pt x="280" y="174"/>
                    <a:pt x="280" y="174"/>
                  </a:cubicBezTo>
                  <a:cubicBezTo>
                    <a:pt x="280" y="162"/>
                    <a:pt x="271" y="153"/>
                    <a:pt x="259" y="153"/>
                  </a:cubicBezTo>
                  <a:moveTo>
                    <a:pt x="81" y="99"/>
                  </a:moveTo>
                  <a:cubicBezTo>
                    <a:pt x="81" y="68"/>
                    <a:pt x="107" y="43"/>
                    <a:pt x="138" y="43"/>
                  </a:cubicBezTo>
                  <a:cubicBezTo>
                    <a:pt x="169" y="43"/>
                    <a:pt x="195" y="68"/>
                    <a:pt x="195" y="99"/>
                  </a:cubicBezTo>
                  <a:cubicBezTo>
                    <a:pt x="195" y="153"/>
                    <a:pt x="195" y="153"/>
                    <a:pt x="195" y="153"/>
                  </a:cubicBezTo>
                  <a:cubicBezTo>
                    <a:pt x="81" y="153"/>
                    <a:pt x="81" y="153"/>
                    <a:pt x="81" y="153"/>
                  </a:cubicBezTo>
                  <a:lnTo>
                    <a:pt x="81" y="99"/>
                  </a:ln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nvGrpSpPr>
          <p:cNvPr id="4" name="Group 3"/>
          <p:cNvGrpSpPr/>
          <p:nvPr/>
        </p:nvGrpSpPr>
        <p:grpSpPr>
          <a:xfrm>
            <a:off x="2850414" y="2650350"/>
            <a:ext cx="1008667" cy="701163"/>
            <a:chOff x="3687587" y="1770927"/>
            <a:chExt cx="710346" cy="493005"/>
          </a:xfrm>
        </p:grpSpPr>
        <p:grpSp>
          <p:nvGrpSpPr>
            <p:cNvPr id="217" name="Group 216"/>
            <p:cNvGrpSpPr/>
            <p:nvPr/>
          </p:nvGrpSpPr>
          <p:grpSpPr>
            <a:xfrm>
              <a:off x="3687587" y="1770927"/>
              <a:ext cx="197202" cy="493005"/>
              <a:chOff x="4305301" y="1846263"/>
              <a:chExt cx="568325" cy="1420813"/>
            </a:xfrm>
            <a:solidFill>
              <a:srgbClr val="000000"/>
            </a:solidFill>
          </p:grpSpPr>
          <p:sp>
            <p:nvSpPr>
              <p:cNvPr id="218" name="Oval 633"/>
              <p:cNvSpPr>
                <a:spLocks noChangeArrowheads="1"/>
              </p:cNvSpPr>
              <p:nvPr/>
            </p:nvSpPr>
            <p:spPr bwMode="auto">
              <a:xfrm>
                <a:off x="4440238" y="1846263"/>
                <a:ext cx="296863" cy="3111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232" name="Freeform 634"/>
              <p:cNvSpPr>
                <a:spLocks/>
              </p:cNvSpPr>
              <p:nvPr/>
            </p:nvSpPr>
            <p:spPr bwMode="auto">
              <a:xfrm>
                <a:off x="4305301" y="2203451"/>
                <a:ext cx="568325" cy="1063625"/>
              </a:xfrm>
              <a:custGeom>
                <a:avLst/>
                <a:gdLst>
                  <a:gd name="T0" fmla="*/ 119 w 151"/>
                  <a:gd name="T1" fmla="*/ 0 h 283"/>
                  <a:gd name="T2" fmla="*/ 75 w 151"/>
                  <a:gd name="T3" fmla="*/ 0 h 283"/>
                  <a:gd name="T4" fmla="*/ 32 w 151"/>
                  <a:gd name="T5" fmla="*/ 0 h 283"/>
                  <a:gd name="T6" fmla="*/ 0 w 151"/>
                  <a:gd name="T7" fmla="*/ 34 h 283"/>
                  <a:gd name="T8" fmla="*/ 0 w 151"/>
                  <a:gd name="T9" fmla="*/ 39 h 283"/>
                  <a:gd name="T10" fmla="*/ 0 w 151"/>
                  <a:gd name="T11" fmla="*/ 65 h 283"/>
                  <a:gd name="T12" fmla="*/ 0 w 151"/>
                  <a:gd name="T13" fmla="*/ 88 h 283"/>
                  <a:gd name="T14" fmla="*/ 0 w 151"/>
                  <a:gd name="T15" fmla="*/ 133 h 283"/>
                  <a:gd name="T16" fmla="*/ 0 w 151"/>
                  <a:gd name="T17" fmla="*/ 133 h 283"/>
                  <a:gd name="T18" fmla="*/ 12 w 151"/>
                  <a:gd name="T19" fmla="*/ 145 h 283"/>
                  <a:gd name="T20" fmla="*/ 25 w 151"/>
                  <a:gd name="T21" fmla="*/ 135 h 283"/>
                  <a:gd name="T22" fmla="*/ 25 w 151"/>
                  <a:gd name="T23" fmla="*/ 133 h 283"/>
                  <a:gd name="T24" fmla="*/ 25 w 151"/>
                  <a:gd name="T25" fmla="*/ 43 h 283"/>
                  <a:gd name="T26" fmla="*/ 28 w 151"/>
                  <a:gd name="T27" fmla="*/ 39 h 283"/>
                  <a:gd name="T28" fmla="*/ 31 w 151"/>
                  <a:gd name="T29" fmla="*/ 43 h 283"/>
                  <a:gd name="T30" fmla="*/ 31 w 151"/>
                  <a:gd name="T31" fmla="*/ 138 h 283"/>
                  <a:gd name="T32" fmla="*/ 32 w 151"/>
                  <a:gd name="T33" fmla="*/ 152 h 283"/>
                  <a:gd name="T34" fmla="*/ 32 w 151"/>
                  <a:gd name="T35" fmla="*/ 152 h 283"/>
                  <a:gd name="T36" fmla="*/ 32 w 151"/>
                  <a:gd name="T37" fmla="*/ 152 h 283"/>
                  <a:gd name="T38" fmla="*/ 42 w 151"/>
                  <a:gd name="T39" fmla="*/ 260 h 283"/>
                  <a:gd name="T40" fmla="*/ 64 w 151"/>
                  <a:gd name="T41" fmla="*/ 283 h 283"/>
                  <a:gd name="T42" fmla="*/ 75 w 151"/>
                  <a:gd name="T43" fmla="*/ 283 h 283"/>
                  <a:gd name="T44" fmla="*/ 87 w 151"/>
                  <a:gd name="T45" fmla="*/ 283 h 283"/>
                  <a:gd name="T46" fmla="*/ 109 w 151"/>
                  <a:gd name="T47" fmla="*/ 260 h 283"/>
                  <a:gd name="T48" fmla="*/ 119 w 151"/>
                  <a:gd name="T49" fmla="*/ 152 h 283"/>
                  <a:gd name="T50" fmla="*/ 119 w 151"/>
                  <a:gd name="T51" fmla="*/ 152 h 283"/>
                  <a:gd name="T52" fmla="*/ 119 w 151"/>
                  <a:gd name="T53" fmla="*/ 152 h 283"/>
                  <a:gd name="T54" fmla="*/ 119 w 151"/>
                  <a:gd name="T55" fmla="*/ 138 h 283"/>
                  <a:gd name="T56" fmla="*/ 119 w 151"/>
                  <a:gd name="T57" fmla="*/ 43 h 283"/>
                  <a:gd name="T58" fmla="*/ 123 w 151"/>
                  <a:gd name="T59" fmla="*/ 39 h 283"/>
                  <a:gd name="T60" fmla="*/ 126 w 151"/>
                  <a:gd name="T61" fmla="*/ 43 h 283"/>
                  <a:gd name="T62" fmla="*/ 126 w 151"/>
                  <a:gd name="T63" fmla="*/ 133 h 283"/>
                  <a:gd name="T64" fmla="*/ 126 w 151"/>
                  <a:gd name="T65" fmla="*/ 135 h 283"/>
                  <a:gd name="T66" fmla="*/ 139 w 151"/>
                  <a:gd name="T67" fmla="*/ 145 h 283"/>
                  <a:gd name="T68" fmla="*/ 151 w 151"/>
                  <a:gd name="T69" fmla="*/ 133 h 283"/>
                  <a:gd name="T70" fmla="*/ 151 w 151"/>
                  <a:gd name="T71" fmla="*/ 133 h 283"/>
                  <a:gd name="T72" fmla="*/ 151 w 151"/>
                  <a:gd name="T73" fmla="*/ 65 h 283"/>
                  <a:gd name="T74" fmla="*/ 151 w 151"/>
                  <a:gd name="T75" fmla="*/ 39 h 283"/>
                  <a:gd name="T76" fmla="*/ 151 w 151"/>
                  <a:gd name="T77" fmla="*/ 34 h 283"/>
                  <a:gd name="T78" fmla="*/ 119 w 151"/>
                  <a:gd name="T79"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1" h="283">
                    <a:moveTo>
                      <a:pt x="119" y="0"/>
                    </a:moveTo>
                    <a:cubicBezTo>
                      <a:pt x="75" y="0"/>
                      <a:pt x="75" y="0"/>
                      <a:pt x="75" y="0"/>
                    </a:cubicBezTo>
                    <a:cubicBezTo>
                      <a:pt x="32" y="0"/>
                      <a:pt x="32" y="0"/>
                      <a:pt x="32" y="0"/>
                    </a:cubicBezTo>
                    <a:cubicBezTo>
                      <a:pt x="11" y="0"/>
                      <a:pt x="0" y="10"/>
                      <a:pt x="0" y="34"/>
                    </a:cubicBezTo>
                    <a:cubicBezTo>
                      <a:pt x="0" y="39"/>
                      <a:pt x="0" y="39"/>
                      <a:pt x="0" y="39"/>
                    </a:cubicBezTo>
                    <a:cubicBezTo>
                      <a:pt x="0" y="65"/>
                      <a:pt x="0" y="65"/>
                      <a:pt x="0" y="65"/>
                    </a:cubicBezTo>
                    <a:cubicBezTo>
                      <a:pt x="0" y="88"/>
                      <a:pt x="0" y="88"/>
                      <a:pt x="0" y="88"/>
                    </a:cubicBezTo>
                    <a:cubicBezTo>
                      <a:pt x="0" y="133"/>
                      <a:pt x="0" y="133"/>
                      <a:pt x="0" y="133"/>
                    </a:cubicBezTo>
                    <a:cubicBezTo>
                      <a:pt x="0" y="133"/>
                      <a:pt x="0" y="133"/>
                      <a:pt x="0" y="133"/>
                    </a:cubicBezTo>
                    <a:cubicBezTo>
                      <a:pt x="0" y="140"/>
                      <a:pt x="5" y="145"/>
                      <a:pt x="12" y="145"/>
                    </a:cubicBezTo>
                    <a:cubicBezTo>
                      <a:pt x="19" y="145"/>
                      <a:pt x="24" y="141"/>
                      <a:pt x="25" y="135"/>
                    </a:cubicBezTo>
                    <a:cubicBezTo>
                      <a:pt x="25" y="134"/>
                      <a:pt x="25" y="133"/>
                      <a:pt x="25" y="133"/>
                    </a:cubicBezTo>
                    <a:cubicBezTo>
                      <a:pt x="25" y="43"/>
                      <a:pt x="25" y="43"/>
                      <a:pt x="25" y="43"/>
                    </a:cubicBezTo>
                    <a:cubicBezTo>
                      <a:pt x="25" y="41"/>
                      <a:pt x="26" y="39"/>
                      <a:pt x="28" y="39"/>
                    </a:cubicBezTo>
                    <a:cubicBezTo>
                      <a:pt x="30" y="39"/>
                      <a:pt x="31" y="41"/>
                      <a:pt x="31" y="43"/>
                    </a:cubicBezTo>
                    <a:cubicBezTo>
                      <a:pt x="31" y="138"/>
                      <a:pt x="31" y="138"/>
                      <a:pt x="31" y="138"/>
                    </a:cubicBezTo>
                    <a:cubicBezTo>
                      <a:pt x="31" y="138"/>
                      <a:pt x="31" y="147"/>
                      <a:pt x="32" y="152"/>
                    </a:cubicBezTo>
                    <a:cubicBezTo>
                      <a:pt x="32" y="152"/>
                      <a:pt x="32" y="152"/>
                      <a:pt x="32" y="152"/>
                    </a:cubicBezTo>
                    <a:cubicBezTo>
                      <a:pt x="32" y="152"/>
                      <a:pt x="32" y="152"/>
                      <a:pt x="32" y="152"/>
                    </a:cubicBezTo>
                    <a:cubicBezTo>
                      <a:pt x="42" y="260"/>
                      <a:pt x="42" y="260"/>
                      <a:pt x="42" y="260"/>
                    </a:cubicBezTo>
                    <a:cubicBezTo>
                      <a:pt x="43" y="276"/>
                      <a:pt x="50" y="283"/>
                      <a:pt x="64" y="283"/>
                    </a:cubicBezTo>
                    <a:cubicBezTo>
                      <a:pt x="75" y="283"/>
                      <a:pt x="75" y="283"/>
                      <a:pt x="75" y="283"/>
                    </a:cubicBezTo>
                    <a:cubicBezTo>
                      <a:pt x="87" y="283"/>
                      <a:pt x="87" y="283"/>
                      <a:pt x="87" y="283"/>
                    </a:cubicBezTo>
                    <a:cubicBezTo>
                      <a:pt x="101" y="283"/>
                      <a:pt x="108" y="276"/>
                      <a:pt x="109" y="260"/>
                    </a:cubicBezTo>
                    <a:cubicBezTo>
                      <a:pt x="119" y="152"/>
                      <a:pt x="119" y="152"/>
                      <a:pt x="119" y="152"/>
                    </a:cubicBezTo>
                    <a:cubicBezTo>
                      <a:pt x="119" y="152"/>
                      <a:pt x="119" y="152"/>
                      <a:pt x="119" y="152"/>
                    </a:cubicBezTo>
                    <a:cubicBezTo>
                      <a:pt x="119" y="152"/>
                      <a:pt x="119" y="152"/>
                      <a:pt x="119" y="152"/>
                    </a:cubicBezTo>
                    <a:cubicBezTo>
                      <a:pt x="119" y="147"/>
                      <a:pt x="119" y="138"/>
                      <a:pt x="119" y="138"/>
                    </a:cubicBezTo>
                    <a:cubicBezTo>
                      <a:pt x="119" y="43"/>
                      <a:pt x="119" y="43"/>
                      <a:pt x="119" y="43"/>
                    </a:cubicBezTo>
                    <a:cubicBezTo>
                      <a:pt x="119" y="41"/>
                      <a:pt x="121" y="39"/>
                      <a:pt x="123" y="39"/>
                    </a:cubicBezTo>
                    <a:cubicBezTo>
                      <a:pt x="124" y="39"/>
                      <a:pt x="126" y="41"/>
                      <a:pt x="126" y="43"/>
                    </a:cubicBezTo>
                    <a:cubicBezTo>
                      <a:pt x="126" y="133"/>
                      <a:pt x="126" y="133"/>
                      <a:pt x="126" y="133"/>
                    </a:cubicBezTo>
                    <a:cubicBezTo>
                      <a:pt x="126" y="133"/>
                      <a:pt x="126" y="134"/>
                      <a:pt x="126" y="135"/>
                    </a:cubicBezTo>
                    <a:cubicBezTo>
                      <a:pt x="127" y="141"/>
                      <a:pt x="132" y="145"/>
                      <a:pt x="139" y="145"/>
                    </a:cubicBezTo>
                    <a:cubicBezTo>
                      <a:pt x="146" y="145"/>
                      <a:pt x="151" y="140"/>
                      <a:pt x="151" y="133"/>
                    </a:cubicBezTo>
                    <a:cubicBezTo>
                      <a:pt x="151" y="133"/>
                      <a:pt x="151" y="133"/>
                      <a:pt x="151" y="133"/>
                    </a:cubicBezTo>
                    <a:cubicBezTo>
                      <a:pt x="151" y="65"/>
                      <a:pt x="151" y="65"/>
                      <a:pt x="151" y="65"/>
                    </a:cubicBezTo>
                    <a:cubicBezTo>
                      <a:pt x="151" y="39"/>
                      <a:pt x="151" y="39"/>
                      <a:pt x="151" y="39"/>
                    </a:cubicBezTo>
                    <a:cubicBezTo>
                      <a:pt x="151" y="34"/>
                      <a:pt x="151" y="34"/>
                      <a:pt x="151" y="34"/>
                    </a:cubicBezTo>
                    <a:cubicBezTo>
                      <a:pt x="151" y="10"/>
                      <a:pt x="140" y="0"/>
                      <a:pt x="1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nvGrpSpPr>
            <p:cNvPr id="233" name="Group 232"/>
            <p:cNvGrpSpPr/>
            <p:nvPr/>
          </p:nvGrpSpPr>
          <p:grpSpPr>
            <a:xfrm>
              <a:off x="3944159" y="1770927"/>
              <a:ext cx="197202" cy="493005"/>
              <a:chOff x="4305301" y="1846263"/>
              <a:chExt cx="568325" cy="1420813"/>
            </a:xfrm>
            <a:solidFill>
              <a:srgbClr val="000000"/>
            </a:solidFill>
          </p:grpSpPr>
          <p:sp>
            <p:nvSpPr>
              <p:cNvPr id="234" name="Oval 633"/>
              <p:cNvSpPr>
                <a:spLocks noChangeArrowheads="1"/>
              </p:cNvSpPr>
              <p:nvPr/>
            </p:nvSpPr>
            <p:spPr bwMode="auto">
              <a:xfrm>
                <a:off x="4440238" y="1846263"/>
                <a:ext cx="296863" cy="3111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235" name="Freeform 634"/>
              <p:cNvSpPr>
                <a:spLocks/>
              </p:cNvSpPr>
              <p:nvPr/>
            </p:nvSpPr>
            <p:spPr bwMode="auto">
              <a:xfrm>
                <a:off x="4305301" y="2203451"/>
                <a:ext cx="568325" cy="1063625"/>
              </a:xfrm>
              <a:custGeom>
                <a:avLst/>
                <a:gdLst>
                  <a:gd name="T0" fmla="*/ 119 w 151"/>
                  <a:gd name="T1" fmla="*/ 0 h 283"/>
                  <a:gd name="T2" fmla="*/ 75 w 151"/>
                  <a:gd name="T3" fmla="*/ 0 h 283"/>
                  <a:gd name="T4" fmla="*/ 32 w 151"/>
                  <a:gd name="T5" fmla="*/ 0 h 283"/>
                  <a:gd name="T6" fmla="*/ 0 w 151"/>
                  <a:gd name="T7" fmla="*/ 34 h 283"/>
                  <a:gd name="T8" fmla="*/ 0 w 151"/>
                  <a:gd name="T9" fmla="*/ 39 h 283"/>
                  <a:gd name="T10" fmla="*/ 0 w 151"/>
                  <a:gd name="T11" fmla="*/ 65 h 283"/>
                  <a:gd name="T12" fmla="*/ 0 w 151"/>
                  <a:gd name="T13" fmla="*/ 88 h 283"/>
                  <a:gd name="T14" fmla="*/ 0 w 151"/>
                  <a:gd name="T15" fmla="*/ 133 h 283"/>
                  <a:gd name="T16" fmla="*/ 0 w 151"/>
                  <a:gd name="T17" fmla="*/ 133 h 283"/>
                  <a:gd name="T18" fmla="*/ 12 w 151"/>
                  <a:gd name="T19" fmla="*/ 145 h 283"/>
                  <a:gd name="T20" fmla="*/ 25 w 151"/>
                  <a:gd name="T21" fmla="*/ 135 h 283"/>
                  <a:gd name="T22" fmla="*/ 25 w 151"/>
                  <a:gd name="T23" fmla="*/ 133 h 283"/>
                  <a:gd name="T24" fmla="*/ 25 w 151"/>
                  <a:gd name="T25" fmla="*/ 43 h 283"/>
                  <a:gd name="T26" fmla="*/ 28 w 151"/>
                  <a:gd name="T27" fmla="*/ 39 h 283"/>
                  <a:gd name="T28" fmla="*/ 31 w 151"/>
                  <a:gd name="T29" fmla="*/ 43 h 283"/>
                  <a:gd name="T30" fmla="*/ 31 w 151"/>
                  <a:gd name="T31" fmla="*/ 138 h 283"/>
                  <a:gd name="T32" fmla="*/ 32 w 151"/>
                  <a:gd name="T33" fmla="*/ 152 h 283"/>
                  <a:gd name="T34" fmla="*/ 32 w 151"/>
                  <a:gd name="T35" fmla="*/ 152 h 283"/>
                  <a:gd name="T36" fmla="*/ 32 w 151"/>
                  <a:gd name="T37" fmla="*/ 152 h 283"/>
                  <a:gd name="T38" fmla="*/ 42 w 151"/>
                  <a:gd name="T39" fmla="*/ 260 h 283"/>
                  <a:gd name="T40" fmla="*/ 64 w 151"/>
                  <a:gd name="T41" fmla="*/ 283 h 283"/>
                  <a:gd name="T42" fmla="*/ 75 w 151"/>
                  <a:gd name="T43" fmla="*/ 283 h 283"/>
                  <a:gd name="T44" fmla="*/ 87 w 151"/>
                  <a:gd name="T45" fmla="*/ 283 h 283"/>
                  <a:gd name="T46" fmla="*/ 109 w 151"/>
                  <a:gd name="T47" fmla="*/ 260 h 283"/>
                  <a:gd name="T48" fmla="*/ 119 w 151"/>
                  <a:gd name="T49" fmla="*/ 152 h 283"/>
                  <a:gd name="T50" fmla="*/ 119 w 151"/>
                  <a:gd name="T51" fmla="*/ 152 h 283"/>
                  <a:gd name="T52" fmla="*/ 119 w 151"/>
                  <a:gd name="T53" fmla="*/ 152 h 283"/>
                  <a:gd name="T54" fmla="*/ 119 w 151"/>
                  <a:gd name="T55" fmla="*/ 138 h 283"/>
                  <a:gd name="T56" fmla="*/ 119 w 151"/>
                  <a:gd name="T57" fmla="*/ 43 h 283"/>
                  <a:gd name="T58" fmla="*/ 123 w 151"/>
                  <a:gd name="T59" fmla="*/ 39 h 283"/>
                  <a:gd name="T60" fmla="*/ 126 w 151"/>
                  <a:gd name="T61" fmla="*/ 43 h 283"/>
                  <a:gd name="T62" fmla="*/ 126 w 151"/>
                  <a:gd name="T63" fmla="*/ 133 h 283"/>
                  <a:gd name="T64" fmla="*/ 126 w 151"/>
                  <a:gd name="T65" fmla="*/ 135 h 283"/>
                  <a:gd name="T66" fmla="*/ 139 w 151"/>
                  <a:gd name="T67" fmla="*/ 145 h 283"/>
                  <a:gd name="T68" fmla="*/ 151 w 151"/>
                  <a:gd name="T69" fmla="*/ 133 h 283"/>
                  <a:gd name="T70" fmla="*/ 151 w 151"/>
                  <a:gd name="T71" fmla="*/ 133 h 283"/>
                  <a:gd name="T72" fmla="*/ 151 w 151"/>
                  <a:gd name="T73" fmla="*/ 65 h 283"/>
                  <a:gd name="T74" fmla="*/ 151 w 151"/>
                  <a:gd name="T75" fmla="*/ 39 h 283"/>
                  <a:gd name="T76" fmla="*/ 151 w 151"/>
                  <a:gd name="T77" fmla="*/ 34 h 283"/>
                  <a:gd name="T78" fmla="*/ 119 w 151"/>
                  <a:gd name="T79"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1" h="283">
                    <a:moveTo>
                      <a:pt x="119" y="0"/>
                    </a:moveTo>
                    <a:cubicBezTo>
                      <a:pt x="75" y="0"/>
                      <a:pt x="75" y="0"/>
                      <a:pt x="75" y="0"/>
                    </a:cubicBezTo>
                    <a:cubicBezTo>
                      <a:pt x="32" y="0"/>
                      <a:pt x="32" y="0"/>
                      <a:pt x="32" y="0"/>
                    </a:cubicBezTo>
                    <a:cubicBezTo>
                      <a:pt x="11" y="0"/>
                      <a:pt x="0" y="10"/>
                      <a:pt x="0" y="34"/>
                    </a:cubicBezTo>
                    <a:cubicBezTo>
                      <a:pt x="0" y="39"/>
                      <a:pt x="0" y="39"/>
                      <a:pt x="0" y="39"/>
                    </a:cubicBezTo>
                    <a:cubicBezTo>
                      <a:pt x="0" y="65"/>
                      <a:pt x="0" y="65"/>
                      <a:pt x="0" y="65"/>
                    </a:cubicBezTo>
                    <a:cubicBezTo>
                      <a:pt x="0" y="88"/>
                      <a:pt x="0" y="88"/>
                      <a:pt x="0" y="88"/>
                    </a:cubicBezTo>
                    <a:cubicBezTo>
                      <a:pt x="0" y="133"/>
                      <a:pt x="0" y="133"/>
                      <a:pt x="0" y="133"/>
                    </a:cubicBezTo>
                    <a:cubicBezTo>
                      <a:pt x="0" y="133"/>
                      <a:pt x="0" y="133"/>
                      <a:pt x="0" y="133"/>
                    </a:cubicBezTo>
                    <a:cubicBezTo>
                      <a:pt x="0" y="140"/>
                      <a:pt x="5" y="145"/>
                      <a:pt x="12" y="145"/>
                    </a:cubicBezTo>
                    <a:cubicBezTo>
                      <a:pt x="19" y="145"/>
                      <a:pt x="24" y="141"/>
                      <a:pt x="25" y="135"/>
                    </a:cubicBezTo>
                    <a:cubicBezTo>
                      <a:pt x="25" y="134"/>
                      <a:pt x="25" y="133"/>
                      <a:pt x="25" y="133"/>
                    </a:cubicBezTo>
                    <a:cubicBezTo>
                      <a:pt x="25" y="43"/>
                      <a:pt x="25" y="43"/>
                      <a:pt x="25" y="43"/>
                    </a:cubicBezTo>
                    <a:cubicBezTo>
                      <a:pt x="25" y="41"/>
                      <a:pt x="26" y="39"/>
                      <a:pt x="28" y="39"/>
                    </a:cubicBezTo>
                    <a:cubicBezTo>
                      <a:pt x="30" y="39"/>
                      <a:pt x="31" y="41"/>
                      <a:pt x="31" y="43"/>
                    </a:cubicBezTo>
                    <a:cubicBezTo>
                      <a:pt x="31" y="138"/>
                      <a:pt x="31" y="138"/>
                      <a:pt x="31" y="138"/>
                    </a:cubicBezTo>
                    <a:cubicBezTo>
                      <a:pt x="31" y="138"/>
                      <a:pt x="31" y="147"/>
                      <a:pt x="32" y="152"/>
                    </a:cubicBezTo>
                    <a:cubicBezTo>
                      <a:pt x="32" y="152"/>
                      <a:pt x="32" y="152"/>
                      <a:pt x="32" y="152"/>
                    </a:cubicBezTo>
                    <a:cubicBezTo>
                      <a:pt x="32" y="152"/>
                      <a:pt x="32" y="152"/>
                      <a:pt x="32" y="152"/>
                    </a:cubicBezTo>
                    <a:cubicBezTo>
                      <a:pt x="42" y="260"/>
                      <a:pt x="42" y="260"/>
                      <a:pt x="42" y="260"/>
                    </a:cubicBezTo>
                    <a:cubicBezTo>
                      <a:pt x="43" y="276"/>
                      <a:pt x="50" y="283"/>
                      <a:pt x="64" y="283"/>
                    </a:cubicBezTo>
                    <a:cubicBezTo>
                      <a:pt x="75" y="283"/>
                      <a:pt x="75" y="283"/>
                      <a:pt x="75" y="283"/>
                    </a:cubicBezTo>
                    <a:cubicBezTo>
                      <a:pt x="87" y="283"/>
                      <a:pt x="87" y="283"/>
                      <a:pt x="87" y="283"/>
                    </a:cubicBezTo>
                    <a:cubicBezTo>
                      <a:pt x="101" y="283"/>
                      <a:pt x="108" y="276"/>
                      <a:pt x="109" y="260"/>
                    </a:cubicBezTo>
                    <a:cubicBezTo>
                      <a:pt x="119" y="152"/>
                      <a:pt x="119" y="152"/>
                      <a:pt x="119" y="152"/>
                    </a:cubicBezTo>
                    <a:cubicBezTo>
                      <a:pt x="119" y="152"/>
                      <a:pt x="119" y="152"/>
                      <a:pt x="119" y="152"/>
                    </a:cubicBezTo>
                    <a:cubicBezTo>
                      <a:pt x="119" y="152"/>
                      <a:pt x="119" y="152"/>
                      <a:pt x="119" y="152"/>
                    </a:cubicBezTo>
                    <a:cubicBezTo>
                      <a:pt x="119" y="147"/>
                      <a:pt x="119" y="138"/>
                      <a:pt x="119" y="138"/>
                    </a:cubicBezTo>
                    <a:cubicBezTo>
                      <a:pt x="119" y="43"/>
                      <a:pt x="119" y="43"/>
                      <a:pt x="119" y="43"/>
                    </a:cubicBezTo>
                    <a:cubicBezTo>
                      <a:pt x="119" y="41"/>
                      <a:pt x="121" y="39"/>
                      <a:pt x="123" y="39"/>
                    </a:cubicBezTo>
                    <a:cubicBezTo>
                      <a:pt x="124" y="39"/>
                      <a:pt x="126" y="41"/>
                      <a:pt x="126" y="43"/>
                    </a:cubicBezTo>
                    <a:cubicBezTo>
                      <a:pt x="126" y="133"/>
                      <a:pt x="126" y="133"/>
                      <a:pt x="126" y="133"/>
                    </a:cubicBezTo>
                    <a:cubicBezTo>
                      <a:pt x="126" y="133"/>
                      <a:pt x="126" y="134"/>
                      <a:pt x="126" y="135"/>
                    </a:cubicBezTo>
                    <a:cubicBezTo>
                      <a:pt x="127" y="141"/>
                      <a:pt x="132" y="145"/>
                      <a:pt x="139" y="145"/>
                    </a:cubicBezTo>
                    <a:cubicBezTo>
                      <a:pt x="146" y="145"/>
                      <a:pt x="151" y="140"/>
                      <a:pt x="151" y="133"/>
                    </a:cubicBezTo>
                    <a:cubicBezTo>
                      <a:pt x="151" y="133"/>
                      <a:pt x="151" y="133"/>
                      <a:pt x="151" y="133"/>
                    </a:cubicBezTo>
                    <a:cubicBezTo>
                      <a:pt x="151" y="65"/>
                      <a:pt x="151" y="65"/>
                      <a:pt x="151" y="65"/>
                    </a:cubicBezTo>
                    <a:cubicBezTo>
                      <a:pt x="151" y="39"/>
                      <a:pt x="151" y="39"/>
                      <a:pt x="151" y="39"/>
                    </a:cubicBezTo>
                    <a:cubicBezTo>
                      <a:pt x="151" y="34"/>
                      <a:pt x="151" y="34"/>
                      <a:pt x="151" y="34"/>
                    </a:cubicBezTo>
                    <a:cubicBezTo>
                      <a:pt x="151" y="10"/>
                      <a:pt x="140" y="0"/>
                      <a:pt x="1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nvGrpSpPr>
            <p:cNvPr id="236" name="Group 235"/>
            <p:cNvGrpSpPr/>
            <p:nvPr/>
          </p:nvGrpSpPr>
          <p:grpSpPr>
            <a:xfrm>
              <a:off x="4200731" y="1770927"/>
              <a:ext cx="197202" cy="493005"/>
              <a:chOff x="4305301" y="1846263"/>
              <a:chExt cx="568325" cy="1420813"/>
            </a:xfrm>
            <a:solidFill>
              <a:srgbClr val="000000"/>
            </a:solidFill>
          </p:grpSpPr>
          <p:sp>
            <p:nvSpPr>
              <p:cNvPr id="237" name="Oval 633"/>
              <p:cNvSpPr>
                <a:spLocks noChangeArrowheads="1"/>
              </p:cNvSpPr>
              <p:nvPr/>
            </p:nvSpPr>
            <p:spPr bwMode="auto">
              <a:xfrm>
                <a:off x="4440238" y="1846263"/>
                <a:ext cx="296863" cy="3111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238" name="Freeform 634"/>
              <p:cNvSpPr>
                <a:spLocks/>
              </p:cNvSpPr>
              <p:nvPr/>
            </p:nvSpPr>
            <p:spPr bwMode="auto">
              <a:xfrm>
                <a:off x="4305301" y="2203451"/>
                <a:ext cx="568325" cy="1063625"/>
              </a:xfrm>
              <a:custGeom>
                <a:avLst/>
                <a:gdLst>
                  <a:gd name="T0" fmla="*/ 119 w 151"/>
                  <a:gd name="T1" fmla="*/ 0 h 283"/>
                  <a:gd name="T2" fmla="*/ 75 w 151"/>
                  <a:gd name="T3" fmla="*/ 0 h 283"/>
                  <a:gd name="T4" fmla="*/ 32 w 151"/>
                  <a:gd name="T5" fmla="*/ 0 h 283"/>
                  <a:gd name="T6" fmla="*/ 0 w 151"/>
                  <a:gd name="T7" fmla="*/ 34 h 283"/>
                  <a:gd name="T8" fmla="*/ 0 w 151"/>
                  <a:gd name="T9" fmla="*/ 39 h 283"/>
                  <a:gd name="T10" fmla="*/ 0 w 151"/>
                  <a:gd name="T11" fmla="*/ 65 h 283"/>
                  <a:gd name="T12" fmla="*/ 0 w 151"/>
                  <a:gd name="T13" fmla="*/ 88 h 283"/>
                  <a:gd name="T14" fmla="*/ 0 w 151"/>
                  <a:gd name="T15" fmla="*/ 133 h 283"/>
                  <a:gd name="T16" fmla="*/ 0 w 151"/>
                  <a:gd name="T17" fmla="*/ 133 h 283"/>
                  <a:gd name="T18" fmla="*/ 12 w 151"/>
                  <a:gd name="T19" fmla="*/ 145 h 283"/>
                  <a:gd name="T20" fmla="*/ 25 w 151"/>
                  <a:gd name="T21" fmla="*/ 135 h 283"/>
                  <a:gd name="T22" fmla="*/ 25 w 151"/>
                  <a:gd name="T23" fmla="*/ 133 h 283"/>
                  <a:gd name="T24" fmla="*/ 25 w 151"/>
                  <a:gd name="T25" fmla="*/ 43 h 283"/>
                  <a:gd name="T26" fmla="*/ 28 w 151"/>
                  <a:gd name="T27" fmla="*/ 39 h 283"/>
                  <a:gd name="T28" fmla="*/ 31 w 151"/>
                  <a:gd name="T29" fmla="*/ 43 h 283"/>
                  <a:gd name="T30" fmla="*/ 31 w 151"/>
                  <a:gd name="T31" fmla="*/ 138 h 283"/>
                  <a:gd name="T32" fmla="*/ 32 w 151"/>
                  <a:gd name="T33" fmla="*/ 152 h 283"/>
                  <a:gd name="T34" fmla="*/ 32 w 151"/>
                  <a:gd name="T35" fmla="*/ 152 h 283"/>
                  <a:gd name="T36" fmla="*/ 32 w 151"/>
                  <a:gd name="T37" fmla="*/ 152 h 283"/>
                  <a:gd name="T38" fmla="*/ 42 w 151"/>
                  <a:gd name="T39" fmla="*/ 260 h 283"/>
                  <a:gd name="T40" fmla="*/ 64 w 151"/>
                  <a:gd name="T41" fmla="*/ 283 h 283"/>
                  <a:gd name="T42" fmla="*/ 75 w 151"/>
                  <a:gd name="T43" fmla="*/ 283 h 283"/>
                  <a:gd name="T44" fmla="*/ 87 w 151"/>
                  <a:gd name="T45" fmla="*/ 283 h 283"/>
                  <a:gd name="T46" fmla="*/ 109 w 151"/>
                  <a:gd name="T47" fmla="*/ 260 h 283"/>
                  <a:gd name="T48" fmla="*/ 119 w 151"/>
                  <a:gd name="T49" fmla="*/ 152 h 283"/>
                  <a:gd name="T50" fmla="*/ 119 w 151"/>
                  <a:gd name="T51" fmla="*/ 152 h 283"/>
                  <a:gd name="T52" fmla="*/ 119 w 151"/>
                  <a:gd name="T53" fmla="*/ 152 h 283"/>
                  <a:gd name="T54" fmla="*/ 119 w 151"/>
                  <a:gd name="T55" fmla="*/ 138 h 283"/>
                  <a:gd name="T56" fmla="*/ 119 w 151"/>
                  <a:gd name="T57" fmla="*/ 43 h 283"/>
                  <a:gd name="T58" fmla="*/ 123 w 151"/>
                  <a:gd name="T59" fmla="*/ 39 h 283"/>
                  <a:gd name="T60" fmla="*/ 126 w 151"/>
                  <a:gd name="T61" fmla="*/ 43 h 283"/>
                  <a:gd name="T62" fmla="*/ 126 w 151"/>
                  <a:gd name="T63" fmla="*/ 133 h 283"/>
                  <a:gd name="T64" fmla="*/ 126 w 151"/>
                  <a:gd name="T65" fmla="*/ 135 h 283"/>
                  <a:gd name="T66" fmla="*/ 139 w 151"/>
                  <a:gd name="T67" fmla="*/ 145 h 283"/>
                  <a:gd name="T68" fmla="*/ 151 w 151"/>
                  <a:gd name="T69" fmla="*/ 133 h 283"/>
                  <a:gd name="T70" fmla="*/ 151 w 151"/>
                  <a:gd name="T71" fmla="*/ 133 h 283"/>
                  <a:gd name="T72" fmla="*/ 151 w 151"/>
                  <a:gd name="T73" fmla="*/ 65 h 283"/>
                  <a:gd name="T74" fmla="*/ 151 w 151"/>
                  <a:gd name="T75" fmla="*/ 39 h 283"/>
                  <a:gd name="T76" fmla="*/ 151 w 151"/>
                  <a:gd name="T77" fmla="*/ 34 h 283"/>
                  <a:gd name="T78" fmla="*/ 119 w 151"/>
                  <a:gd name="T79"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1" h="283">
                    <a:moveTo>
                      <a:pt x="119" y="0"/>
                    </a:moveTo>
                    <a:cubicBezTo>
                      <a:pt x="75" y="0"/>
                      <a:pt x="75" y="0"/>
                      <a:pt x="75" y="0"/>
                    </a:cubicBezTo>
                    <a:cubicBezTo>
                      <a:pt x="32" y="0"/>
                      <a:pt x="32" y="0"/>
                      <a:pt x="32" y="0"/>
                    </a:cubicBezTo>
                    <a:cubicBezTo>
                      <a:pt x="11" y="0"/>
                      <a:pt x="0" y="10"/>
                      <a:pt x="0" y="34"/>
                    </a:cubicBezTo>
                    <a:cubicBezTo>
                      <a:pt x="0" y="39"/>
                      <a:pt x="0" y="39"/>
                      <a:pt x="0" y="39"/>
                    </a:cubicBezTo>
                    <a:cubicBezTo>
                      <a:pt x="0" y="65"/>
                      <a:pt x="0" y="65"/>
                      <a:pt x="0" y="65"/>
                    </a:cubicBezTo>
                    <a:cubicBezTo>
                      <a:pt x="0" y="88"/>
                      <a:pt x="0" y="88"/>
                      <a:pt x="0" y="88"/>
                    </a:cubicBezTo>
                    <a:cubicBezTo>
                      <a:pt x="0" y="133"/>
                      <a:pt x="0" y="133"/>
                      <a:pt x="0" y="133"/>
                    </a:cubicBezTo>
                    <a:cubicBezTo>
                      <a:pt x="0" y="133"/>
                      <a:pt x="0" y="133"/>
                      <a:pt x="0" y="133"/>
                    </a:cubicBezTo>
                    <a:cubicBezTo>
                      <a:pt x="0" y="140"/>
                      <a:pt x="5" y="145"/>
                      <a:pt x="12" y="145"/>
                    </a:cubicBezTo>
                    <a:cubicBezTo>
                      <a:pt x="19" y="145"/>
                      <a:pt x="24" y="141"/>
                      <a:pt x="25" y="135"/>
                    </a:cubicBezTo>
                    <a:cubicBezTo>
                      <a:pt x="25" y="134"/>
                      <a:pt x="25" y="133"/>
                      <a:pt x="25" y="133"/>
                    </a:cubicBezTo>
                    <a:cubicBezTo>
                      <a:pt x="25" y="43"/>
                      <a:pt x="25" y="43"/>
                      <a:pt x="25" y="43"/>
                    </a:cubicBezTo>
                    <a:cubicBezTo>
                      <a:pt x="25" y="41"/>
                      <a:pt x="26" y="39"/>
                      <a:pt x="28" y="39"/>
                    </a:cubicBezTo>
                    <a:cubicBezTo>
                      <a:pt x="30" y="39"/>
                      <a:pt x="31" y="41"/>
                      <a:pt x="31" y="43"/>
                    </a:cubicBezTo>
                    <a:cubicBezTo>
                      <a:pt x="31" y="138"/>
                      <a:pt x="31" y="138"/>
                      <a:pt x="31" y="138"/>
                    </a:cubicBezTo>
                    <a:cubicBezTo>
                      <a:pt x="31" y="138"/>
                      <a:pt x="31" y="147"/>
                      <a:pt x="32" y="152"/>
                    </a:cubicBezTo>
                    <a:cubicBezTo>
                      <a:pt x="32" y="152"/>
                      <a:pt x="32" y="152"/>
                      <a:pt x="32" y="152"/>
                    </a:cubicBezTo>
                    <a:cubicBezTo>
                      <a:pt x="32" y="152"/>
                      <a:pt x="32" y="152"/>
                      <a:pt x="32" y="152"/>
                    </a:cubicBezTo>
                    <a:cubicBezTo>
                      <a:pt x="42" y="260"/>
                      <a:pt x="42" y="260"/>
                      <a:pt x="42" y="260"/>
                    </a:cubicBezTo>
                    <a:cubicBezTo>
                      <a:pt x="43" y="276"/>
                      <a:pt x="50" y="283"/>
                      <a:pt x="64" y="283"/>
                    </a:cubicBezTo>
                    <a:cubicBezTo>
                      <a:pt x="75" y="283"/>
                      <a:pt x="75" y="283"/>
                      <a:pt x="75" y="283"/>
                    </a:cubicBezTo>
                    <a:cubicBezTo>
                      <a:pt x="87" y="283"/>
                      <a:pt x="87" y="283"/>
                      <a:pt x="87" y="283"/>
                    </a:cubicBezTo>
                    <a:cubicBezTo>
                      <a:pt x="101" y="283"/>
                      <a:pt x="108" y="276"/>
                      <a:pt x="109" y="260"/>
                    </a:cubicBezTo>
                    <a:cubicBezTo>
                      <a:pt x="119" y="152"/>
                      <a:pt x="119" y="152"/>
                      <a:pt x="119" y="152"/>
                    </a:cubicBezTo>
                    <a:cubicBezTo>
                      <a:pt x="119" y="152"/>
                      <a:pt x="119" y="152"/>
                      <a:pt x="119" y="152"/>
                    </a:cubicBezTo>
                    <a:cubicBezTo>
                      <a:pt x="119" y="152"/>
                      <a:pt x="119" y="152"/>
                      <a:pt x="119" y="152"/>
                    </a:cubicBezTo>
                    <a:cubicBezTo>
                      <a:pt x="119" y="147"/>
                      <a:pt x="119" y="138"/>
                      <a:pt x="119" y="138"/>
                    </a:cubicBezTo>
                    <a:cubicBezTo>
                      <a:pt x="119" y="43"/>
                      <a:pt x="119" y="43"/>
                      <a:pt x="119" y="43"/>
                    </a:cubicBezTo>
                    <a:cubicBezTo>
                      <a:pt x="119" y="41"/>
                      <a:pt x="121" y="39"/>
                      <a:pt x="123" y="39"/>
                    </a:cubicBezTo>
                    <a:cubicBezTo>
                      <a:pt x="124" y="39"/>
                      <a:pt x="126" y="41"/>
                      <a:pt x="126" y="43"/>
                    </a:cubicBezTo>
                    <a:cubicBezTo>
                      <a:pt x="126" y="133"/>
                      <a:pt x="126" y="133"/>
                      <a:pt x="126" y="133"/>
                    </a:cubicBezTo>
                    <a:cubicBezTo>
                      <a:pt x="126" y="133"/>
                      <a:pt x="126" y="134"/>
                      <a:pt x="126" y="135"/>
                    </a:cubicBezTo>
                    <a:cubicBezTo>
                      <a:pt x="127" y="141"/>
                      <a:pt x="132" y="145"/>
                      <a:pt x="139" y="145"/>
                    </a:cubicBezTo>
                    <a:cubicBezTo>
                      <a:pt x="146" y="145"/>
                      <a:pt x="151" y="140"/>
                      <a:pt x="151" y="133"/>
                    </a:cubicBezTo>
                    <a:cubicBezTo>
                      <a:pt x="151" y="133"/>
                      <a:pt x="151" y="133"/>
                      <a:pt x="151" y="133"/>
                    </a:cubicBezTo>
                    <a:cubicBezTo>
                      <a:pt x="151" y="65"/>
                      <a:pt x="151" y="65"/>
                      <a:pt x="151" y="65"/>
                    </a:cubicBezTo>
                    <a:cubicBezTo>
                      <a:pt x="151" y="39"/>
                      <a:pt x="151" y="39"/>
                      <a:pt x="151" y="39"/>
                    </a:cubicBezTo>
                    <a:cubicBezTo>
                      <a:pt x="151" y="34"/>
                      <a:pt x="151" y="34"/>
                      <a:pt x="151" y="34"/>
                    </a:cubicBezTo>
                    <a:cubicBezTo>
                      <a:pt x="151" y="10"/>
                      <a:pt x="140" y="0"/>
                      <a:pt x="1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sp>
        <p:nvSpPr>
          <p:cNvPr id="240" name="Freeform 239"/>
          <p:cNvSpPr>
            <a:spLocks noEditPoints="1"/>
          </p:cNvSpPr>
          <p:nvPr/>
        </p:nvSpPr>
        <p:spPr bwMode="auto">
          <a:xfrm>
            <a:off x="8352326" y="1382790"/>
            <a:ext cx="1670532" cy="915954"/>
          </a:xfrm>
          <a:custGeom>
            <a:avLst/>
            <a:gdLst>
              <a:gd name="T0" fmla="*/ 77 w 427"/>
              <a:gd name="T1" fmla="*/ 234 h 234"/>
              <a:gd name="T2" fmla="*/ 47 w 427"/>
              <a:gd name="T3" fmla="*/ 227 h 234"/>
              <a:gd name="T4" fmla="*/ 0 w 427"/>
              <a:gd name="T5" fmla="*/ 156 h 234"/>
              <a:gd name="T6" fmla="*/ 7 w 427"/>
              <a:gd name="T7" fmla="*/ 125 h 234"/>
              <a:gd name="T8" fmla="*/ 78 w 427"/>
              <a:gd name="T9" fmla="*/ 79 h 234"/>
              <a:gd name="T10" fmla="*/ 79 w 427"/>
              <a:gd name="T11" fmla="*/ 79 h 234"/>
              <a:gd name="T12" fmla="*/ 84 w 427"/>
              <a:gd name="T13" fmla="*/ 62 h 234"/>
              <a:gd name="T14" fmla="*/ 179 w 427"/>
              <a:gd name="T15" fmla="*/ 0 h 234"/>
              <a:gd name="T16" fmla="*/ 220 w 427"/>
              <a:gd name="T17" fmla="*/ 8 h 234"/>
              <a:gd name="T18" fmla="*/ 277 w 427"/>
              <a:gd name="T19" fmla="*/ 70 h 234"/>
              <a:gd name="T20" fmla="*/ 301 w 427"/>
              <a:gd name="T21" fmla="*/ 67 h 234"/>
              <a:gd name="T22" fmla="*/ 334 w 427"/>
              <a:gd name="T23" fmla="*/ 74 h 234"/>
              <a:gd name="T24" fmla="*/ 382 w 427"/>
              <a:gd name="T25" fmla="*/ 133 h 234"/>
              <a:gd name="T26" fmla="*/ 397 w 427"/>
              <a:gd name="T27" fmla="*/ 137 h 234"/>
              <a:gd name="T28" fmla="*/ 397 w 427"/>
              <a:gd name="T29" fmla="*/ 137 h 234"/>
              <a:gd name="T30" fmla="*/ 427 w 427"/>
              <a:gd name="T31" fmla="*/ 183 h 234"/>
              <a:gd name="T32" fmla="*/ 423 w 427"/>
              <a:gd name="T33" fmla="*/ 203 h 234"/>
              <a:gd name="T34" fmla="*/ 382 w 427"/>
              <a:gd name="T35" fmla="*/ 234 h 234"/>
              <a:gd name="T36" fmla="*/ 77 w 427"/>
              <a:gd name="T37" fmla="*/ 234 h 234"/>
              <a:gd name="T38" fmla="*/ 404 w 427"/>
              <a:gd name="T39" fmla="*/ 195 h 234"/>
              <a:gd name="T40" fmla="*/ 407 w 427"/>
              <a:gd name="T41" fmla="*/ 183 h 234"/>
              <a:gd name="T42" fmla="*/ 389 w 427"/>
              <a:gd name="T43" fmla="*/ 155 h 234"/>
              <a:gd name="T44" fmla="*/ 389 w 427"/>
              <a:gd name="T45" fmla="*/ 155 h 234"/>
              <a:gd name="T46" fmla="*/ 377 w 427"/>
              <a:gd name="T47" fmla="*/ 153 h 234"/>
              <a:gd name="T48" fmla="*/ 375 w 427"/>
              <a:gd name="T49" fmla="*/ 153 h 234"/>
              <a:gd name="T50" fmla="*/ 364 w 427"/>
              <a:gd name="T51" fmla="*/ 144 h 234"/>
              <a:gd name="T52" fmla="*/ 326 w 427"/>
              <a:gd name="T53" fmla="*/ 92 h 234"/>
              <a:gd name="T54" fmla="*/ 301 w 427"/>
              <a:gd name="T55" fmla="*/ 87 h 234"/>
              <a:gd name="T56" fmla="*/ 274 w 427"/>
              <a:gd name="T57" fmla="*/ 93 h 234"/>
              <a:gd name="T58" fmla="*/ 261 w 427"/>
              <a:gd name="T59" fmla="*/ 86 h 234"/>
              <a:gd name="T60" fmla="*/ 212 w 427"/>
              <a:gd name="T61" fmla="*/ 27 h 234"/>
              <a:gd name="T62" fmla="*/ 179 w 427"/>
              <a:gd name="T63" fmla="*/ 20 h 234"/>
              <a:gd name="T64" fmla="*/ 103 w 427"/>
              <a:gd name="T65" fmla="*/ 70 h 234"/>
              <a:gd name="T66" fmla="*/ 97 w 427"/>
              <a:gd name="T67" fmla="*/ 91 h 234"/>
              <a:gd name="T68" fmla="*/ 86 w 427"/>
              <a:gd name="T69" fmla="*/ 99 h 234"/>
              <a:gd name="T70" fmla="*/ 78 w 427"/>
              <a:gd name="T71" fmla="*/ 99 h 234"/>
              <a:gd name="T72" fmla="*/ 25 w 427"/>
              <a:gd name="T73" fmla="*/ 133 h 234"/>
              <a:gd name="T74" fmla="*/ 20 w 427"/>
              <a:gd name="T75" fmla="*/ 156 h 234"/>
              <a:gd name="T76" fmla="*/ 55 w 427"/>
              <a:gd name="T77" fmla="*/ 209 h 234"/>
              <a:gd name="T78" fmla="*/ 78 w 427"/>
              <a:gd name="T79" fmla="*/ 214 h 234"/>
              <a:gd name="T80" fmla="*/ 78 w 427"/>
              <a:gd name="T81" fmla="*/ 214 h 234"/>
              <a:gd name="T82" fmla="*/ 380 w 427"/>
              <a:gd name="T83" fmla="*/ 21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234">
                <a:moveTo>
                  <a:pt x="77" y="234"/>
                </a:moveTo>
                <a:cubicBezTo>
                  <a:pt x="77" y="234"/>
                  <a:pt x="77" y="234"/>
                  <a:pt x="77" y="234"/>
                </a:cubicBezTo>
                <a:cubicBezTo>
                  <a:pt x="67" y="234"/>
                  <a:pt x="57" y="231"/>
                  <a:pt x="47" y="227"/>
                </a:cubicBezTo>
                <a:cubicBezTo>
                  <a:pt x="47" y="227"/>
                  <a:pt x="47" y="227"/>
                  <a:pt x="47" y="227"/>
                </a:cubicBezTo>
                <a:cubicBezTo>
                  <a:pt x="18" y="215"/>
                  <a:pt x="0" y="186"/>
                  <a:pt x="0" y="156"/>
                </a:cubicBezTo>
                <a:cubicBezTo>
                  <a:pt x="0" y="156"/>
                  <a:pt x="0" y="156"/>
                  <a:pt x="0" y="156"/>
                </a:cubicBezTo>
                <a:cubicBezTo>
                  <a:pt x="0" y="146"/>
                  <a:pt x="2" y="135"/>
                  <a:pt x="7" y="125"/>
                </a:cubicBezTo>
                <a:cubicBezTo>
                  <a:pt x="7" y="125"/>
                  <a:pt x="7" y="125"/>
                  <a:pt x="7" y="125"/>
                </a:cubicBezTo>
                <a:cubicBezTo>
                  <a:pt x="19" y="96"/>
                  <a:pt x="48" y="79"/>
                  <a:pt x="78" y="79"/>
                </a:cubicBezTo>
                <a:cubicBezTo>
                  <a:pt x="78" y="79"/>
                  <a:pt x="78" y="79"/>
                  <a:pt x="78" y="79"/>
                </a:cubicBezTo>
                <a:cubicBezTo>
                  <a:pt x="78" y="79"/>
                  <a:pt x="78" y="79"/>
                  <a:pt x="79" y="79"/>
                </a:cubicBezTo>
                <a:cubicBezTo>
                  <a:pt x="79" y="79"/>
                  <a:pt x="79" y="79"/>
                  <a:pt x="79" y="79"/>
                </a:cubicBezTo>
                <a:cubicBezTo>
                  <a:pt x="80" y="73"/>
                  <a:pt x="82" y="67"/>
                  <a:pt x="84" y="62"/>
                </a:cubicBezTo>
                <a:cubicBezTo>
                  <a:pt x="84" y="62"/>
                  <a:pt x="84" y="62"/>
                  <a:pt x="84" y="62"/>
                </a:cubicBezTo>
                <a:cubicBezTo>
                  <a:pt x="101" y="23"/>
                  <a:pt x="139" y="0"/>
                  <a:pt x="179" y="0"/>
                </a:cubicBezTo>
                <a:cubicBezTo>
                  <a:pt x="179" y="0"/>
                  <a:pt x="179" y="0"/>
                  <a:pt x="179" y="0"/>
                </a:cubicBezTo>
                <a:cubicBezTo>
                  <a:pt x="193" y="0"/>
                  <a:pt x="207" y="2"/>
                  <a:pt x="220" y="8"/>
                </a:cubicBezTo>
                <a:cubicBezTo>
                  <a:pt x="220" y="8"/>
                  <a:pt x="220" y="8"/>
                  <a:pt x="220" y="8"/>
                </a:cubicBezTo>
                <a:cubicBezTo>
                  <a:pt x="248" y="20"/>
                  <a:pt x="268" y="43"/>
                  <a:pt x="277" y="70"/>
                </a:cubicBezTo>
                <a:cubicBezTo>
                  <a:pt x="277" y="70"/>
                  <a:pt x="277" y="70"/>
                  <a:pt x="277" y="70"/>
                </a:cubicBezTo>
                <a:cubicBezTo>
                  <a:pt x="285" y="68"/>
                  <a:pt x="293" y="67"/>
                  <a:pt x="301" y="67"/>
                </a:cubicBezTo>
                <a:cubicBezTo>
                  <a:pt x="301" y="67"/>
                  <a:pt x="301" y="67"/>
                  <a:pt x="301" y="67"/>
                </a:cubicBezTo>
                <a:cubicBezTo>
                  <a:pt x="312" y="67"/>
                  <a:pt x="323" y="69"/>
                  <a:pt x="334" y="74"/>
                </a:cubicBezTo>
                <a:cubicBezTo>
                  <a:pt x="334" y="74"/>
                  <a:pt x="334" y="74"/>
                  <a:pt x="334" y="74"/>
                </a:cubicBezTo>
                <a:cubicBezTo>
                  <a:pt x="360" y="85"/>
                  <a:pt x="377" y="108"/>
                  <a:pt x="382" y="133"/>
                </a:cubicBezTo>
                <a:cubicBezTo>
                  <a:pt x="382" y="133"/>
                  <a:pt x="382" y="133"/>
                  <a:pt x="382" y="133"/>
                </a:cubicBezTo>
                <a:cubicBezTo>
                  <a:pt x="387" y="134"/>
                  <a:pt x="392" y="135"/>
                  <a:pt x="397" y="137"/>
                </a:cubicBezTo>
                <a:cubicBezTo>
                  <a:pt x="397" y="137"/>
                  <a:pt x="397" y="137"/>
                  <a:pt x="397" y="137"/>
                </a:cubicBezTo>
                <a:cubicBezTo>
                  <a:pt x="397" y="137"/>
                  <a:pt x="397" y="137"/>
                  <a:pt x="397" y="137"/>
                </a:cubicBezTo>
                <a:cubicBezTo>
                  <a:pt x="397" y="137"/>
                  <a:pt x="397" y="137"/>
                  <a:pt x="397" y="137"/>
                </a:cubicBezTo>
                <a:cubicBezTo>
                  <a:pt x="416" y="145"/>
                  <a:pt x="427" y="164"/>
                  <a:pt x="427" y="183"/>
                </a:cubicBezTo>
                <a:cubicBezTo>
                  <a:pt x="427" y="183"/>
                  <a:pt x="427" y="183"/>
                  <a:pt x="427" y="183"/>
                </a:cubicBezTo>
                <a:cubicBezTo>
                  <a:pt x="427" y="190"/>
                  <a:pt x="426" y="196"/>
                  <a:pt x="423" y="203"/>
                </a:cubicBezTo>
                <a:cubicBezTo>
                  <a:pt x="423" y="203"/>
                  <a:pt x="423" y="203"/>
                  <a:pt x="423" y="203"/>
                </a:cubicBezTo>
                <a:cubicBezTo>
                  <a:pt x="415" y="220"/>
                  <a:pt x="400" y="232"/>
                  <a:pt x="382" y="234"/>
                </a:cubicBezTo>
                <a:cubicBezTo>
                  <a:pt x="382" y="234"/>
                  <a:pt x="382" y="234"/>
                  <a:pt x="382" y="234"/>
                </a:cubicBezTo>
                <a:cubicBezTo>
                  <a:pt x="381" y="234"/>
                  <a:pt x="381" y="234"/>
                  <a:pt x="381" y="234"/>
                </a:cubicBezTo>
                <a:cubicBezTo>
                  <a:pt x="77" y="234"/>
                  <a:pt x="77" y="234"/>
                  <a:pt x="77" y="234"/>
                </a:cubicBezTo>
                <a:close/>
                <a:moveTo>
                  <a:pt x="380" y="214"/>
                </a:moveTo>
                <a:cubicBezTo>
                  <a:pt x="390" y="213"/>
                  <a:pt x="400" y="205"/>
                  <a:pt x="404" y="195"/>
                </a:cubicBezTo>
                <a:cubicBezTo>
                  <a:pt x="404" y="195"/>
                  <a:pt x="404" y="195"/>
                  <a:pt x="404" y="195"/>
                </a:cubicBezTo>
                <a:cubicBezTo>
                  <a:pt x="406" y="191"/>
                  <a:pt x="407" y="187"/>
                  <a:pt x="407" y="183"/>
                </a:cubicBezTo>
                <a:cubicBezTo>
                  <a:pt x="407" y="183"/>
                  <a:pt x="407" y="183"/>
                  <a:pt x="407" y="183"/>
                </a:cubicBezTo>
                <a:cubicBezTo>
                  <a:pt x="407" y="171"/>
                  <a:pt x="400" y="160"/>
                  <a:pt x="389" y="155"/>
                </a:cubicBezTo>
                <a:cubicBezTo>
                  <a:pt x="389" y="155"/>
                  <a:pt x="389" y="155"/>
                  <a:pt x="389" y="155"/>
                </a:cubicBezTo>
                <a:cubicBezTo>
                  <a:pt x="389" y="155"/>
                  <a:pt x="389" y="155"/>
                  <a:pt x="389" y="155"/>
                </a:cubicBezTo>
                <a:cubicBezTo>
                  <a:pt x="385" y="154"/>
                  <a:pt x="381" y="153"/>
                  <a:pt x="377" y="153"/>
                </a:cubicBezTo>
                <a:cubicBezTo>
                  <a:pt x="377" y="153"/>
                  <a:pt x="377" y="153"/>
                  <a:pt x="377" y="153"/>
                </a:cubicBezTo>
                <a:cubicBezTo>
                  <a:pt x="376" y="153"/>
                  <a:pt x="375" y="153"/>
                  <a:pt x="375" y="153"/>
                </a:cubicBezTo>
                <a:cubicBezTo>
                  <a:pt x="375" y="153"/>
                  <a:pt x="375" y="153"/>
                  <a:pt x="375" y="153"/>
                </a:cubicBezTo>
                <a:cubicBezTo>
                  <a:pt x="365" y="154"/>
                  <a:pt x="365" y="154"/>
                  <a:pt x="365" y="154"/>
                </a:cubicBezTo>
                <a:cubicBezTo>
                  <a:pt x="364" y="144"/>
                  <a:pt x="364" y="144"/>
                  <a:pt x="364" y="144"/>
                </a:cubicBezTo>
                <a:cubicBezTo>
                  <a:pt x="362" y="122"/>
                  <a:pt x="348" y="102"/>
                  <a:pt x="326" y="92"/>
                </a:cubicBezTo>
                <a:cubicBezTo>
                  <a:pt x="326" y="92"/>
                  <a:pt x="326" y="92"/>
                  <a:pt x="326" y="92"/>
                </a:cubicBezTo>
                <a:cubicBezTo>
                  <a:pt x="318" y="88"/>
                  <a:pt x="309" y="87"/>
                  <a:pt x="301" y="87"/>
                </a:cubicBezTo>
                <a:cubicBezTo>
                  <a:pt x="301" y="87"/>
                  <a:pt x="301" y="87"/>
                  <a:pt x="301" y="87"/>
                </a:cubicBezTo>
                <a:cubicBezTo>
                  <a:pt x="292" y="87"/>
                  <a:pt x="283" y="89"/>
                  <a:pt x="274" y="93"/>
                </a:cubicBezTo>
                <a:cubicBezTo>
                  <a:pt x="274" y="93"/>
                  <a:pt x="274" y="93"/>
                  <a:pt x="274" y="93"/>
                </a:cubicBezTo>
                <a:cubicBezTo>
                  <a:pt x="263" y="98"/>
                  <a:pt x="263" y="98"/>
                  <a:pt x="263" y="98"/>
                </a:cubicBezTo>
                <a:cubicBezTo>
                  <a:pt x="261" y="86"/>
                  <a:pt x="261" y="86"/>
                  <a:pt x="261" y="86"/>
                </a:cubicBezTo>
                <a:cubicBezTo>
                  <a:pt x="255" y="60"/>
                  <a:pt x="238" y="38"/>
                  <a:pt x="212" y="27"/>
                </a:cubicBezTo>
                <a:cubicBezTo>
                  <a:pt x="212" y="27"/>
                  <a:pt x="212" y="27"/>
                  <a:pt x="212" y="27"/>
                </a:cubicBezTo>
                <a:cubicBezTo>
                  <a:pt x="201" y="22"/>
                  <a:pt x="190" y="20"/>
                  <a:pt x="179" y="20"/>
                </a:cubicBezTo>
                <a:cubicBezTo>
                  <a:pt x="179" y="20"/>
                  <a:pt x="179" y="20"/>
                  <a:pt x="179" y="20"/>
                </a:cubicBezTo>
                <a:cubicBezTo>
                  <a:pt x="147" y="20"/>
                  <a:pt x="116" y="38"/>
                  <a:pt x="103" y="70"/>
                </a:cubicBezTo>
                <a:cubicBezTo>
                  <a:pt x="103" y="70"/>
                  <a:pt x="103" y="70"/>
                  <a:pt x="103" y="70"/>
                </a:cubicBezTo>
                <a:cubicBezTo>
                  <a:pt x="100" y="77"/>
                  <a:pt x="98" y="84"/>
                  <a:pt x="97" y="91"/>
                </a:cubicBezTo>
                <a:cubicBezTo>
                  <a:pt x="97" y="91"/>
                  <a:pt x="97" y="91"/>
                  <a:pt x="97" y="91"/>
                </a:cubicBezTo>
                <a:cubicBezTo>
                  <a:pt x="95" y="100"/>
                  <a:pt x="95" y="100"/>
                  <a:pt x="95" y="100"/>
                </a:cubicBezTo>
                <a:cubicBezTo>
                  <a:pt x="86" y="99"/>
                  <a:pt x="86" y="99"/>
                  <a:pt x="86" y="99"/>
                </a:cubicBezTo>
                <a:cubicBezTo>
                  <a:pt x="83" y="99"/>
                  <a:pt x="80" y="99"/>
                  <a:pt x="78" y="99"/>
                </a:cubicBezTo>
                <a:cubicBezTo>
                  <a:pt x="78" y="99"/>
                  <a:pt x="78" y="99"/>
                  <a:pt x="78" y="99"/>
                </a:cubicBezTo>
                <a:cubicBezTo>
                  <a:pt x="56" y="99"/>
                  <a:pt x="35" y="112"/>
                  <a:pt x="25" y="133"/>
                </a:cubicBezTo>
                <a:cubicBezTo>
                  <a:pt x="25" y="133"/>
                  <a:pt x="25" y="133"/>
                  <a:pt x="25" y="133"/>
                </a:cubicBezTo>
                <a:cubicBezTo>
                  <a:pt x="22" y="141"/>
                  <a:pt x="20" y="148"/>
                  <a:pt x="20" y="156"/>
                </a:cubicBezTo>
                <a:cubicBezTo>
                  <a:pt x="20" y="156"/>
                  <a:pt x="20" y="156"/>
                  <a:pt x="20" y="156"/>
                </a:cubicBezTo>
                <a:cubicBezTo>
                  <a:pt x="20" y="178"/>
                  <a:pt x="33" y="200"/>
                  <a:pt x="55" y="209"/>
                </a:cubicBezTo>
                <a:cubicBezTo>
                  <a:pt x="55" y="209"/>
                  <a:pt x="55" y="209"/>
                  <a:pt x="55" y="209"/>
                </a:cubicBezTo>
                <a:cubicBezTo>
                  <a:pt x="62" y="212"/>
                  <a:pt x="70" y="214"/>
                  <a:pt x="78" y="214"/>
                </a:cubicBezTo>
                <a:cubicBezTo>
                  <a:pt x="78" y="214"/>
                  <a:pt x="78" y="214"/>
                  <a:pt x="78" y="214"/>
                </a:cubicBezTo>
                <a:cubicBezTo>
                  <a:pt x="78" y="214"/>
                  <a:pt x="78" y="214"/>
                  <a:pt x="78" y="214"/>
                </a:cubicBezTo>
                <a:cubicBezTo>
                  <a:pt x="78" y="214"/>
                  <a:pt x="78" y="214"/>
                  <a:pt x="78" y="214"/>
                </a:cubicBezTo>
                <a:cubicBezTo>
                  <a:pt x="78" y="214"/>
                  <a:pt x="78" y="214"/>
                  <a:pt x="78" y="214"/>
                </a:cubicBezTo>
                <a:cubicBezTo>
                  <a:pt x="380" y="214"/>
                  <a:pt x="380" y="214"/>
                  <a:pt x="380" y="214"/>
                </a:cubicBezTo>
                <a:close/>
              </a:path>
            </a:pathLst>
          </a:custGeom>
          <a:solidFill>
            <a:schemeClr val="accent4">
              <a:lumMod val="40000"/>
              <a:lumOff val="60000"/>
            </a:schemeClr>
          </a:solidFill>
          <a:ln>
            <a:noFill/>
          </a:ln>
        </p:spPr>
        <p:txBody>
          <a:bodyPr vert="horz" wrap="square" lIns="129909" tIns="64954" rIns="129909" bIns="64954"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259" name="Freeform 137"/>
          <p:cNvSpPr>
            <a:spLocks noChangeAspect="1"/>
          </p:cNvSpPr>
          <p:nvPr/>
        </p:nvSpPr>
        <p:spPr bwMode="auto">
          <a:xfrm>
            <a:off x="8563428" y="2043290"/>
            <a:ext cx="1691370" cy="910336"/>
          </a:xfrm>
          <a:custGeom>
            <a:avLst/>
            <a:gdLst>
              <a:gd name="T0" fmla="*/ 414 w 446"/>
              <a:gd name="T1" fmla="*/ 158 h 240"/>
              <a:gd name="T2" fmla="*/ 394 w 446"/>
              <a:gd name="T3" fmla="*/ 155 h 240"/>
              <a:gd name="T4" fmla="*/ 348 w 446"/>
              <a:gd name="T5" fmla="*/ 91 h 240"/>
              <a:gd name="T6" fmla="*/ 285 w 446"/>
              <a:gd name="T7" fmla="*/ 92 h 240"/>
              <a:gd name="T8" fmla="*/ 228 w 446"/>
              <a:gd name="T9" fmla="*/ 22 h 240"/>
              <a:gd name="T10" fmla="*/ 98 w 446"/>
              <a:gd name="T11" fmla="*/ 73 h 240"/>
              <a:gd name="T12" fmla="*/ 91 w 446"/>
              <a:gd name="T13" fmla="*/ 98 h 240"/>
              <a:gd name="T14" fmla="*/ 16 w 446"/>
              <a:gd name="T15" fmla="*/ 140 h 240"/>
              <a:gd name="T16" fmla="*/ 53 w 446"/>
              <a:gd name="T17" fmla="*/ 234 h 240"/>
              <a:gd name="T18" fmla="*/ 81 w 446"/>
              <a:gd name="T19" fmla="*/ 240 h 240"/>
              <a:gd name="T20" fmla="*/ 402 w 446"/>
              <a:gd name="T21" fmla="*/ 240 h 240"/>
              <a:gd name="T22" fmla="*/ 436 w 446"/>
              <a:gd name="T23" fmla="*/ 214 h 240"/>
              <a:gd name="T24" fmla="*/ 414 w 446"/>
              <a:gd name="T25" fmla="*/ 15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6" h="240">
                <a:moveTo>
                  <a:pt x="414" y="158"/>
                </a:moveTo>
                <a:cubicBezTo>
                  <a:pt x="408" y="155"/>
                  <a:pt x="401" y="154"/>
                  <a:pt x="394" y="155"/>
                </a:cubicBezTo>
                <a:cubicBezTo>
                  <a:pt x="392" y="128"/>
                  <a:pt x="375" y="103"/>
                  <a:pt x="348" y="91"/>
                </a:cubicBezTo>
                <a:cubicBezTo>
                  <a:pt x="327" y="82"/>
                  <a:pt x="304" y="83"/>
                  <a:pt x="285" y="92"/>
                </a:cubicBezTo>
                <a:cubicBezTo>
                  <a:pt x="278" y="61"/>
                  <a:pt x="258" y="35"/>
                  <a:pt x="228" y="22"/>
                </a:cubicBezTo>
                <a:cubicBezTo>
                  <a:pt x="178" y="0"/>
                  <a:pt x="120" y="23"/>
                  <a:pt x="98" y="73"/>
                </a:cubicBezTo>
                <a:cubicBezTo>
                  <a:pt x="94" y="81"/>
                  <a:pt x="92" y="89"/>
                  <a:pt x="91" y="98"/>
                </a:cubicBezTo>
                <a:cubicBezTo>
                  <a:pt x="60" y="94"/>
                  <a:pt x="29" y="110"/>
                  <a:pt x="16" y="140"/>
                </a:cubicBezTo>
                <a:cubicBezTo>
                  <a:pt x="0" y="176"/>
                  <a:pt x="17" y="218"/>
                  <a:pt x="53" y="234"/>
                </a:cubicBezTo>
                <a:cubicBezTo>
                  <a:pt x="62" y="238"/>
                  <a:pt x="72" y="240"/>
                  <a:pt x="81" y="240"/>
                </a:cubicBezTo>
                <a:cubicBezTo>
                  <a:pt x="402" y="240"/>
                  <a:pt x="402" y="240"/>
                  <a:pt x="402" y="240"/>
                </a:cubicBezTo>
                <a:cubicBezTo>
                  <a:pt x="417" y="238"/>
                  <a:pt x="430" y="228"/>
                  <a:pt x="436" y="214"/>
                </a:cubicBezTo>
                <a:cubicBezTo>
                  <a:pt x="446" y="192"/>
                  <a:pt x="436" y="167"/>
                  <a:pt x="414" y="158"/>
                </a:cubicBezTo>
              </a:path>
            </a:pathLst>
          </a:custGeom>
          <a:solidFill>
            <a:schemeClr val="accent4">
              <a:lumMod val="40000"/>
              <a:lumOff val="60000"/>
            </a:schemeClr>
          </a:solidFill>
          <a:ln>
            <a:noFill/>
          </a:ln>
        </p:spPr>
        <p:txBody>
          <a:bodyPr vert="horz" wrap="square" lIns="129909" tIns="64954" rIns="129909" bIns="64954" numCol="1" anchor="t" anchorCtr="0" compatLnSpc="1">
            <a:prstTxWarp prst="textNoShape">
              <a:avLst/>
            </a:prstTxWarp>
          </a:bodyPr>
          <a:lstStyle/>
          <a:p>
            <a:endParaRPr lang="en-US">
              <a:latin typeface="微软雅黑" pitchFamily="34" charset="-122"/>
              <a:ea typeface="微软雅黑" pitchFamily="34" charset="-122"/>
            </a:endParaRPr>
          </a:p>
        </p:txBody>
      </p:sp>
      <p:grpSp>
        <p:nvGrpSpPr>
          <p:cNvPr id="10" name="Group 9"/>
          <p:cNvGrpSpPr/>
          <p:nvPr/>
        </p:nvGrpSpPr>
        <p:grpSpPr>
          <a:xfrm>
            <a:off x="3828664" y="2045487"/>
            <a:ext cx="3576545" cy="438764"/>
            <a:chOff x="2696308" y="1438233"/>
            <a:chExt cx="2518755" cy="308506"/>
          </a:xfrm>
        </p:grpSpPr>
        <p:sp>
          <p:nvSpPr>
            <p:cNvPr id="295" name="Oval 294"/>
            <p:cNvSpPr/>
            <p:nvPr/>
          </p:nvSpPr>
          <p:spPr>
            <a:xfrm>
              <a:off x="5012582" y="1493414"/>
              <a:ext cx="202481" cy="198146"/>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微软雅黑" pitchFamily="34" charset="-122"/>
                <a:ea typeface="微软雅黑" pitchFamily="34" charset="-122"/>
              </a:endParaRPr>
            </a:p>
          </p:txBody>
        </p:sp>
        <p:sp>
          <p:nvSpPr>
            <p:cNvPr id="430" name="Right Arrow 429"/>
            <p:cNvSpPr/>
            <p:nvPr/>
          </p:nvSpPr>
          <p:spPr>
            <a:xfrm>
              <a:off x="2696308" y="1438233"/>
              <a:ext cx="2323540" cy="308506"/>
            </a:xfrm>
            <a:prstGeom prst="rightArrow">
              <a:avLst>
                <a:gd name="adj1" fmla="val 42593"/>
                <a:gd name="adj2" fmla="val 87037"/>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微软雅黑" pitchFamily="34" charset="-122"/>
                <a:ea typeface="微软雅黑" pitchFamily="34" charset="-122"/>
              </a:endParaRPr>
            </a:p>
          </p:txBody>
        </p:sp>
      </p:grpSp>
      <p:grpSp>
        <p:nvGrpSpPr>
          <p:cNvPr id="262" name="Group 261"/>
          <p:cNvGrpSpPr/>
          <p:nvPr/>
        </p:nvGrpSpPr>
        <p:grpSpPr>
          <a:xfrm>
            <a:off x="4719599" y="2015746"/>
            <a:ext cx="1857816" cy="452001"/>
            <a:chOff x="171035" y="954157"/>
            <a:chExt cx="390949" cy="387626"/>
          </a:xfrm>
        </p:grpSpPr>
        <p:sp>
          <p:nvSpPr>
            <p:cNvPr id="263" name="Round Diagonal Corner Rectangle 262"/>
            <p:cNvSpPr/>
            <p:nvPr/>
          </p:nvSpPr>
          <p:spPr>
            <a:xfrm flipV="1">
              <a:off x="171035" y="954157"/>
              <a:ext cx="387626" cy="387626"/>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dirty="0">
                <a:latin typeface="微软雅黑" pitchFamily="34" charset="-122"/>
                <a:ea typeface="微软雅黑" pitchFamily="34" charset="-122"/>
              </a:endParaRPr>
            </a:p>
          </p:txBody>
        </p:sp>
        <p:sp>
          <p:nvSpPr>
            <p:cNvPr id="264" name="Round Diagonal Corner Rectangle 263"/>
            <p:cNvSpPr/>
            <p:nvPr/>
          </p:nvSpPr>
          <p:spPr>
            <a:xfrm>
              <a:off x="174358" y="954157"/>
              <a:ext cx="387626" cy="387626"/>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2300" dirty="0">
                  <a:latin typeface="微软雅黑" pitchFamily="34" charset="-122"/>
                  <a:ea typeface="微软雅黑" pitchFamily="34" charset="-122"/>
                </a:rPr>
                <a:t>渗透</a:t>
              </a:r>
              <a:endParaRPr lang="en-US" sz="2300" dirty="0">
                <a:latin typeface="微软雅黑" pitchFamily="34" charset="-122"/>
                <a:ea typeface="微软雅黑" pitchFamily="34" charset="-122"/>
              </a:endParaRPr>
            </a:p>
          </p:txBody>
        </p:sp>
      </p:grpSp>
      <p:sp>
        <p:nvSpPr>
          <p:cNvPr id="271" name="Freeform 310"/>
          <p:cNvSpPr>
            <a:spLocks/>
          </p:cNvSpPr>
          <p:nvPr/>
        </p:nvSpPr>
        <p:spPr bwMode="auto">
          <a:xfrm>
            <a:off x="6794108" y="5042495"/>
            <a:ext cx="42505" cy="113734"/>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solidFill>
            <a:srgbClr val="000000"/>
          </a:solidFill>
          <a:ln w="9525">
            <a:noFill/>
            <a:round/>
            <a:headEnd/>
            <a:tailEnd/>
          </a:ln>
        </p:spPr>
        <p:txBody>
          <a:bodyPr lIns="129909" tIns="64954" rIns="129909" bIns="64954"/>
          <a:lstStyle/>
          <a:p>
            <a:endParaRPr lang="en-US" sz="2000" dirty="0">
              <a:latin typeface="微软雅黑" pitchFamily="34" charset="-122"/>
              <a:ea typeface="微软雅黑" pitchFamily="34" charset="-122"/>
            </a:endParaRPr>
          </a:p>
        </p:txBody>
      </p:sp>
      <p:grpSp>
        <p:nvGrpSpPr>
          <p:cNvPr id="268" name="Group 267"/>
          <p:cNvGrpSpPr/>
          <p:nvPr/>
        </p:nvGrpSpPr>
        <p:grpSpPr>
          <a:xfrm>
            <a:off x="6521830" y="4318883"/>
            <a:ext cx="1481740" cy="457879"/>
            <a:chOff x="161386" y="954156"/>
            <a:chExt cx="314542" cy="387627"/>
          </a:xfrm>
        </p:grpSpPr>
        <p:sp>
          <p:nvSpPr>
            <p:cNvPr id="269" name="Round Diagonal Corner Rectangle 268"/>
            <p:cNvSpPr/>
            <p:nvPr/>
          </p:nvSpPr>
          <p:spPr>
            <a:xfrm flipV="1">
              <a:off x="171035" y="954156"/>
              <a:ext cx="291924" cy="387626"/>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00" dirty="0">
                <a:latin typeface="微软雅黑" pitchFamily="34" charset="-122"/>
                <a:ea typeface="微软雅黑" pitchFamily="34" charset="-122"/>
              </a:endParaRPr>
            </a:p>
          </p:txBody>
        </p:sp>
        <p:sp>
          <p:nvSpPr>
            <p:cNvPr id="270" name="Round Diagonal Corner Rectangle 269"/>
            <p:cNvSpPr/>
            <p:nvPr/>
          </p:nvSpPr>
          <p:spPr>
            <a:xfrm>
              <a:off x="161386" y="954157"/>
              <a:ext cx="314542" cy="387626"/>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2300" dirty="0">
                  <a:latin typeface="微软雅黑" pitchFamily="34" charset="-122"/>
                  <a:ea typeface="微软雅黑" pitchFamily="34" charset="-122"/>
                </a:rPr>
                <a:t>捕获</a:t>
              </a:r>
              <a:endParaRPr lang="en-US" sz="2300" dirty="0">
                <a:latin typeface="微软雅黑" pitchFamily="34" charset="-122"/>
                <a:ea typeface="微软雅黑" pitchFamily="34" charset="-122"/>
              </a:endParaRPr>
            </a:p>
          </p:txBody>
        </p:sp>
      </p:grpSp>
      <p:grpSp>
        <p:nvGrpSpPr>
          <p:cNvPr id="9" name="Group 8"/>
          <p:cNvGrpSpPr/>
          <p:nvPr/>
        </p:nvGrpSpPr>
        <p:grpSpPr>
          <a:xfrm>
            <a:off x="4325899" y="4805243"/>
            <a:ext cx="2399571" cy="1062370"/>
            <a:chOff x="3046482" y="3378686"/>
            <a:chExt cx="1689880" cy="746979"/>
          </a:xfrm>
        </p:grpSpPr>
        <p:sp>
          <p:nvSpPr>
            <p:cNvPr id="292" name="Freeform 94"/>
            <p:cNvSpPr>
              <a:spLocks noEditPoints="1"/>
            </p:cNvSpPr>
            <p:nvPr/>
          </p:nvSpPr>
          <p:spPr bwMode="auto">
            <a:xfrm rot="4109834">
              <a:off x="3606505" y="2818663"/>
              <a:ext cx="569834" cy="1689880"/>
            </a:xfrm>
            <a:custGeom>
              <a:avLst/>
              <a:gdLst/>
              <a:ahLst/>
              <a:cxnLst>
                <a:cxn ang="0">
                  <a:pos x="360" y="3404"/>
                </a:cxn>
                <a:cxn ang="0">
                  <a:pos x="358" y="3462"/>
                </a:cxn>
                <a:cxn ang="0">
                  <a:pos x="268" y="3158"/>
                </a:cxn>
                <a:cxn ang="0">
                  <a:pos x="402" y="3008"/>
                </a:cxn>
                <a:cxn ang="0">
                  <a:pos x="388" y="3050"/>
                </a:cxn>
                <a:cxn ang="0">
                  <a:pos x="422" y="2898"/>
                </a:cxn>
                <a:cxn ang="0">
                  <a:pos x="370" y="2872"/>
                </a:cxn>
                <a:cxn ang="0">
                  <a:pos x="432" y="2780"/>
                </a:cxn>
                <a:cxn ang="0">
                  <a:pos x="360" y="2742"/>
                </a:cxn>
                <a:cxn ang="0">
                  <a:pos x="456" y="2520"/>
                </a:cxn>
                <a:cxn ang="0">
                  <a:pos x="492" y="2382"/>
                </a:cxn>
                <a:cxn ang="0">
                  <a:pos x="496" y="2344"/>
                </a:cxn>
                <a:cxn ang="0">
                  <a:pos x="514" y="2088"/>
                </a:cxn>
                <a:cxn ang="0">
                  <a:pos x="560" y="1948"/>
                </a:cxn>
                <a:cxn ang="0">
                  <a:pos x="634" y="1680"/>
                </a:cxn>
                <a:cxn ang="0">
                  <a:pos x="630" y="1696"/>
                </a:cxn>
                <a:cxn ang="0">
                  <a:pos x="662" y="1540"/>
                </a:cxn>
                <a:cxn ang="0">
                  <a:pos x="700" y="1450"/>
                </a:cxn>
                <a:cxn ang="0">
                  <a:pos x="726" y="1406"/>
                </a:cxn>
                <a:cxn ang="0">
                  <a:pos x="728" y="1314"/>
                </a:cxn>
                <a:cxn ang="0">
                  <a:pos x="812" y="1120"/>
                </a:cxn>
                <a:cxn ang="0">
                  <a:pos x="880" y="862"/>
                </a:cxn>
                <a:cxn ang="0">
                  <a:pos x="808" y="840"/>
                </a:cxn>
                <a:cxn ang="0">
                  <a:pos x="800" y="712"/>
                </a:cxn>
                <a:cxn ang="0">
                  <a:pos x="828" y="456"/>
                </a:cxn>
                <a:cxn ang="0">
                  <a:pos x="986" y="164"/>
                </a:cxn>
                <a:cxn ang="0">
                  <a:pos x="976" y="182"/>
                </a:cxn>
                <a:cxn ang="0">
                  <a:pos x="850" y="34"/>
                </a:cxn>
                <a:cxn ang="0">
                  <a:pos x="142" y="3294"/>
                </a:cxn>
                <a:cxn ang="0">
                  <a:pos x="158" y="3160"/>
                </a:cxn>
                <a:cxn ang="0">
                  <a:pos x="96" y="3144"/>
                </a:cxn>
                <a:cxn ang="0">
                  <a:pos x="90" y="2900"/>
                </a:cxn>
                <a:cxn ang="0">
                  <a:pos x="178" y="2918"/>
                </a:cxn>
                <a:cxn ang="0">
                  <a:pos x="208" y="2792"/>
                </a:cxn>
                <a:cxn ang="0">
                  <a:pos x="202" y="2600"/>
                </a:cxn>
                <a:cxn ang="0">
                  <a:pos x="220" y="2654"/>
                </a:cxn>
                <a:cxn ang="0">
                  <a:pos x="310" y="2342"/>
                </a:cxn>
                <a:cxn ang="0">
                  <a:pos x="358" y="2258"/>
                </a:cxn>
                <a:cxn ang="0">
                  <a:pos x="452" y="2116"/>
                </a:cxn>
                <a:cxn ang="0">
                  <a:pos x="468" y="2084"/>
                </a:cxn>
                <a:cxn ang="0">
                  <a:pos x="576" y="1812"/>
                </a:cxn>
                <a:cxn ang="0">
                  <a:pos x="588" y="1788"/>
                </a:cxn>
                <a:cxn ang="0">
                  <a:pos x="648" y="1678"/>
                </a:cxn>
                <a:cxn ang="0">
                  <a:pos x="708" y="1506"/>
                </a:cxn>
                <a:cxn ang="0">
                  <a:pos x="704" y="1520"/>
                </a:cxn>
                <a:cxn ang="0">
                  <a:pos x="796" y="1366"/>
                </a:cxn>
                <a:cxn ang="0">
                  <a:pos x="798" y="1298"/>
                </a:cxn>
                <a:cxn ang="0">
                  <a:pos x="902" y="1160"/>
                </a:cxn>
                <a:cxn ang="0">
                  <a:pos x="908" y="1110"/>
                </a:cxn>
                <a:cxn ang="0">
                  <a:pos x="986" y="988"/>
                </a:cxn>
                <a:cxn ang="0">
                  <a:pos x="974" y="986"/>
                </a:cxn>
                <a:cxn ang="0">
                  <a:pos x="1042" y="842"/>
                </a:cxn>
                <a:cxn ang="0">
                  <a:pos x="1028" y="850"/>
                </a:cxn>
                <a:cxn ang="0">
                  <a:pos x="1092" y="708"/>
                </a:cxn>
                <a:cxn ang="0">
                  <a:pos x="1062" y="702"/>
                </a:cxn>
                <a:cxn ang="0">
                  <a:pos x="1134" y="592"/>
                </a:cxn>
                <a:cxn ang="0">
                  <a:pos x="1072" y="562"/>
                </a:cxn>
                <a:cxn ang="0">
                  <a:pos x="1152" y="482"/>
                </a:cxn>
                <a:cxn ang="0">
                  <a:pos x="1060" y="438"/>
                </a:cxn>
                <a:cxn ang="0">
                  <a:pos x="1100" y="210"/>
                </a:cxn>
                <a:cxn ang="0">
                  <a:pos x="1176" y="90"/>
                </a:cxn>
                <a:cxn ang="0">
                  <a:pos x="1144" y="20"/>
                </a:cxn>
              </a:cxnLst>
              <a:rect l="0" t="0" r="r" b="b"/>
              <a:pathLst>
                <a:path w="1226" h="3488">
                  <a:moveTo>
                    <a:pt x="320" y="3396"/>
                  </a:moveTo>
                  <a:lnTo>
                    <a:pt x="320" y="3396"/>
                  </a:lnTo>
                  <a:lnTo>
                    <a:pt x="304" y="3398"/>
                  </a:lnTo>
                  <a:lnTo>
                    <a:pt x="290" y="3400"/>
                  </a:lnTo>
                  <a:lnTo>
                    <a:pt x="276" y="3404"/>
                  </a:lnTo>
                  <a:lnTo>
                    <a:pt x="266" y="3408"/>
                  </a:lnTo>
                  <a:lnTo>
                    <a:pt x="258" y="3416"/>
                  </a:lnTo>
                  <a:lnTo>
                    <a:pt x="252" y="3424"/>
                  </a:lnTo>
                  <a:lnTo>
                    <a:pt x="248" y="3432"/>
                  </a:lnTo>
                  <a:lnTo>
                    <a:pt x="248" y="3444"/>
                  </a:lnTo>
                  <a:lnTo>
                    <a:pt x="248" y="3444"/>
                  </a:lnTo>
                  <a:lnTo>
                    <a:pt x="248" y="3452"/>
                  </a:lnTo>
                  <a:lnTo>
                    <a:pt x="252" y="3462"/>
                  </a:lnTo>
                  <a:lnTo>
                    <a:pt x="258" y="3470"/>
                  </a:lnTo>
                  <a:lnTo>
                    <a:pt x="264" y="3476"/>
                  </a:lnTo>
                  <a:lnTo>
                    <a:pt x="274" y="3480"/>
                  </a:lnTo>
                  <a:lnTo>
                    <a:pt x="286" y="3484"/>
                  </a:lnTo>
                  <a:lnTo>
                    <a:pt x="300" y="3488"/>
                  </a:lnTo>
                  <a:lnTo>
                    <a:pt x="316" y="3488"/>
                  </a:lnTo>
                  <a:lnTo>
                    <a:pt x="316" y="3488"/>
                  </a:lnTo>
                  <a:lnTo>
                    <a:pt x="332" y="3488"/>
                  </a:lnTo>
                  <a:lnTo>
                    <a:pt x="346" y="3484"/>
                  </a:lnTo>
                  <a:lnTo>
                    <a:pt x="358" y="3480"/>
                  </a:lnTo>
                  <a:lnTo>
                    <a:pt x="368" y="3476"/>
                  </a:lnTo>
                  <a:lnTo>
                    <a:pt x="376" y="3468"/>
                  </a:lnTo>
                  <a:lnTo>
                    <a:pt x="382" y="3460"/>
                  </a:lnTo>
                  <a:lnTo>
                    <a:pt x="386" y="3452"/>
                  </a:lnTo>
                  <a:lnTo>
                    <a:pt x="386" y="3442"/>
                  </a:lnTo>
                  <a:lnTo>
                    <a:pt x="386" y="3442"/>
                  </a:lnTo>
                  <a:lnTo>
                    <a:pt x="386" y="3432"/>
                  </a:lnTo>
                  <a:lnTo>
                    <a:pt x="382" y="3422"/>
                  </a:lnTo>
                  <a:lnTo>
                    <a:pt x="378" y="3414"/>
                  </a:lnTo>
                  <a:lnTo>
                    <a:pt x="370" y="3408"/>
                  </a:lnTo>
                  <a:lnTo>
                    <a:pt x="360" y="3404"/>
                  </a:lnTo>
                  <a:lnTo>
                    <a:pt x="348" y="3400"/>
                  </a:lnTo>
                  <a:lnTo>
                    <a:pt x="336" y="3398"/>
                  </a:lnTo>
                  <a:lnTo>
                    <a:pt x="320" y="3396"/>
                  </a:lnTo>
                  <a:lnTo>
                    <a:pt x="320" y="3396"/>
                  </a:lnTo>
                  <a:close/>
                  <a:moveTo>
                    <a:pt x="316" y="3470"/>
                  </a:moveTo>
                  <a:lnTo>
                    <a:pt x="316" y="3470"/>
                  </a:lnTo>
                  <a:lnTo>
                    <a:pt x="292" y="3468"/>
                  </a:lnTo>
                  <a:lnTo>
                    <a:pt x="284" y="3466"/>
                  </a:lnTo>
                  <a:lnTo>
                    <a:pt x="276" y="3462"/>
                  </a:lnTo>
                  <a:lnTo>
                    <a:pt x="270" y="3458"/>
                  </a:lnTo>
                  <a:lnTo>
                    <a:pt x="266" y="3454"/>
                  </a:lnTo>
                  <a:lnTo>
                    <a:pt x="262" y="3448"/>
                  </a:lnTo>
                  <a:lnTo>
                    <a:pt x="262" y="3442"/>
                  </a:lnTo>
                  <a:lnTo>
                    <a:pt x="262" y="3442"/>
                  </a:lnTo>
                  <a:lnTo>
                    <a:pt x="262" y="3436"/>
                  </a:lnTo>
                  <a:lnTo>
                    <a:pt x="266" y="3430"/>
                  </a:lnTo>
                  <a:lnTo>
                    <a:pt x="270" y="3426"/>
                  </a:lnTo>
                  <a:lnTo>
                    <a:pt x="278" y="3422"/>
                  </a:lnTo>
                  <a:lnTo>
                    <a:pt x="286" y="3418"/>
                  </a:lnTo>
                  <a:lnTo>
                    <a:pt x="296" y="3416"/>
                  </a:lnTo>
                  <a:lnTo>
                    <a:pt x="318" y="3414"/>
                  </a:lnTo>
                  <a:lnTo>
                    <a:pt x="318" y="3414"/>
                  </a:lnTo>
                  <a:lnTo>
                    <a:pt x="340" y="3416"/>
                  </a:lnTo>
                  <a:lnTo>
                    <a:pt x="350" y="3418"/>
                  </a:lnTo>
                  <a:lnTo>
                    <a:pt x="358" y="3422"/>
                  </a:lnTo>
                  <a:lnTo>
                    <a:pt x="364" y="3426"/>
                  </a:lnTo>
                  <a:lnTo>
                    <a:pt x="370" y="3430"/>
                  </a:lnTo>
                  <a:lnTo>
                    <a:pt x="372" y="3436"/>
                  </a:lnTo>
                  <a:lnTo>
                    <a:pt x="372" y="3442"/>
                  </a:lnTo>
                  <a:lnTo>
                    <a:pt x="372" y="3442"/>
                  </a:lnTo>
                  <a:lnTo>
                    <a:pt x="372" y="3448"/>
                  </a:lnTo>
                  <a:lnTo>
                    <a:pt x="370" y="3454"/>
                  </a:lnTo>
                  <a:lnTo>
                    <a:pt x="364" y="3458"/>
                  </a:lnTo>
                  <a:lnTo>
                    <a:pt x="358" y="3462"/>
                  </a:lnTo>
                  <a:lnTo>
                    <a:pt x="350" y="3466"/>
                  </a:lnTo>
                  <a:lnTo>
                    <a:pt x="340" y="3468"/>
                  </a:lnTo>
                  <a:lnTo>
                    <a:pt x="316" y="3470"/>
                  </a:lnTo>
                  <a:lnTo>
                    <a:pt x="316" y="3470"/>
                  </a:lnTo>
                  <a:close/>
                  <a:moveTo>
                    <a:pt x="256" y="3310"/>
                  </a:moveTo>
                  <a:lnTo>
                    <a:pt x="372" y="3310"/>
                  </a:lnTo>
                  <a:lnTo>
                    <a:pt x="372" y="3310"/>
                  </a:lnTo>
                  <a:lnTo>
                    <a:pt x="372" y="3312"/>
                  </a:lnTo>
                  <a:lnTo>
                    <a:pt x="372" y="3312"/>
                  </a:lnTo>
                  <a:lnTo>
                    <a:pt x="358" y="3334"/>
                  </a:lnTo>
                  <a:lnTo>
                    <a:pt x="358" y="3334"/>
                  </a:lnTo>
                  <a:lnTo>
                    <a:pt x="372" y="3338"/>
                  </a:lnTo>
                  <a:lnTo>
                    <a:pt x="372" y="3338"/>
                  </a:lnTo>
                  <a:lnTo>
                    <a:pt x="388" y="3308"/>
                  </a:lnTo>
                  <a:lnTo>
                    <a:pt x="388" y="3308"/>
                  </a:lnTo>
                  <a:lnTo>
                    <a:pt x="388" y="3294"/>
                  </a:lnTo>
                  <a:lnTo>
                    <a:pt x="256" y="3294"/>
                  </a:lnTo>
                  <a:lnTo>
                    <a:pt x="256" y="3294"/>
                  </a:lnTo>
                  <a:lnTo>
                    <a:pt x="256" y="3310"/>
                  </a:lnTo>
                  <a:lnTo>
                    <a:pt x="256" y="3310"/>
                  </a:lnTo>
                  <a:close/>
                  <a:moveTo>
                    <a:pt x="266" y="3174"/>
                  </a:moveTo>
                  <a:lnTo>
                    <a:pt x="380" y="3174"/>
                  </a:lnTo>
                  <a:lnTo>
                    <a:pt x="380" y="3174"/>
                  </a:lnTo>
                  <a:lnTo>
                    <a:pt x="380" y="3176"/>
                  </a:lnTo>
                  <a:lnTo>
                    <a:pt x="380" y="3176"/>
                  </a:lnTo>
                  <a:lnTo>
                    <a:pt x="366" y="3198"/>
                  </a:lnTo>
                  <a:lnTo>
                    <a:pt x="366" y="3198"/>
                  </a:lnTo>
                  <a:lnTo>
                    <a:pt x="378" y="3202"/>
                  </a:lnTo>
                  <a:lnTo>
                    <a:pt x="378" y="3202"/>
                  </a:lnTo>
                  <a:lnTo>
                    <a:pt x="396" y="3172"/>
                  </a:lnTo>
                  <a:lnTo>
                    <a:pt x="396" y="3172"/>
                  </a:lnTo>
                  <a:lnTo>
                    <a:pt x="396" y="3158"/>
                  </a:lnTo>
                  <a:lnTo>
                    <a:pt x="268" y="3158"/>
                  </a:lnTo>
                  <a:lnTo>
                    <a:pt x="268" y="3158"/>
                  </a:lnTo>
                  <a:lnTo>
                    <a:pt x="266" y="3174"/>
                  </a:lnTo>
                  <a:lnTo>
                    <a:pt x="266" y="3174"/>
                  </a:lnTo>
                  <a:close/>
                  <a:moveTo>
                    <a:pt x="354" y="2988"/>
                  </a:moveTo>
                  <a:lnTo>
                    <a:pt x="354" y="2988"/>
                  </a:lnTo>
                  <a:lnTo>
                    <a:pt x="340" y="2990"/>
                  </a:lnTo>
                  <a:lnTo>
                    <a:pt x="326" y="2992"/>
                  </a:lnTo>
                  <a:lnTo>
                    <a:pt x="314" y="2996"/>
                  </a:lnTo>
                  <a:lnTo>
                    <a:pt x="304" y="3002"/>
                  </a:lnTo>
                  <a:lnTo>
                    <a:pt x="296" y="3008"/>
                  </a:lnTo>
                  <a:lnTo>
                    <a:pt x="290" y="3016"/>
                  </a:lnTo>
                  <a:lnTo>
                    <a:pt x="284" y="3026"/>
                  </a:lnTo>
                  <a:lnTo>
                    <a:pt x="282" y="3036"/>
                  </a:lnTo>
                  <a:lnTo>
                    <a:pt x="282" y="3036"/>
                  </a:lnTo>
                  <a:lnTo>
                    <a:pt x="282" y="3046"/>
                  </a:lnTo>
                  <a:lnTo>
                    <a:pt x="284" y="3054"/>
                  </a:lnTo>
                  <a:lnTo>
                    <a:pt x="288" y="3062"/>
                  </a:lnTo>
                  <a:lnTo>
                    <a:pt x="294" y="3068"/>
                  </a:lnTo>
                  <a:lnTo>
                    <a:pt x="304" y="3074"/>
                  </a:lnTo>
                  <a:lnTo>
                    <a:pt x="314" y="3078"/>
                  </a:lnTo>
                  <a:lnTo>
                    <a:pt x="326" y="3080"/>
                  </a:lnTo>
                  <a:lnTo>
                    <a:pt x="340" y="3080"/>
                  </a:lnTo>
                  <a:lnTo>
                    <a:pt x="340" y="3080"/>
                  </a:lnTo>
                  <a:lnTo>
                    <a:pt x="356" y="3080"/>
                  </a:lnTo>
                  <a:lnTo>
                    <a:pt x="368" y="3078"/>
                  </a:lnTo>
                  <a:lnTo>
                    <a:pt x="380" y="3074"/>
                  </a:lnTo>
                  <a:lnTo>
                    <a:pt x="390" y="3068"/>
                  </a:lnTo>
                  <a:lnTo>
                    <a:pt x="396" y="3060"/>
                  </a:lnTo>
                  <a:lnTo>
                    <a:pt x="402" y="3052"/>
                  </a:lnTo>
                  <a:lnTo>
                    <a:pt x="406" y="3044"/>
                  </a:lnTo>
                  <a:lnTo>
                    <a:pt x="408" y="3034"/>
                  </a:lnTo>
                  <a:lnTo>
                    <a:pt x="408" y="3034"/>
                  </a:lnTo>
                  <a:lnTo>
                    <a:pt x="408" y="3024"/>
                  </a:lnTo>
                  <a:lnTo>
                    <a:pt x="406" y="3014"/>
                  </a:lnTo>
                  <a:lnTo>
                    <a:pt x="402" y="3008"/>
                  </a:lnTo>
                  <a:lnTo>
                    <a:pt x="396" y="3000"/>
                  </a:lnTo>
                  <a:lnTo>
                    <a:pt x="388" y="2996"/>
                  </a:lnTo>
                  <a:lnTo>
                    <a:pt x="378" y="2992"/>
                  </a:lnTo>
                  <a:lnTo>
                    <a:pt x="366" y="2990"/>
                  </a:lnTo>
                  <a:lnTo>
                    <a:pt x="354" y="2988"/>
                  </a:lnTo>
                  <a:lnTo>
                    <a:pt x="354" y="2988"/>
                  </a:lnTo>
                  <a:close/>
                  <a:moveTo>
                    <a:pt x="342" y="3062"/>
                  </a:moveTo>
                  <a:lnTo>
                    <a:pt x="342" y="3062"/>
                  </a:lnTo>
                  <a:lnTo>
                    <a:pt x="322" y="3060"/>
                  </a:lnTo>
                  <a:lnTo>
                    <a:pt x="314" y="3058"/>
                  </a:lnTo>
                  <a:lnTo>
                    <a:pt x="306" y="3054"/>
                  </a:lnTo>
                  <a:lnTo>
                    <a:pt x="300" y="3050"/>
                  </a:lnTo>
                  <a:lnTo>
                    <a:pt x="298" y="3046"/>
                  </a:lnTo>
                  <a:lnTo>
                    <a:pt x="296" y="3040"/>
                  </a:lnTo>
                  <a:lnTo>
                    <a:pt x="296" y="3034"/>
                  </a:lnTo>
                  <a:lnTo>
                    <a:pt x="296" y="3034"/>
                  </a:lnTo>
                  <a:lnTo>
                    <a:pt x="298" y="3028"/>
                  </a:lnTo>
                  <a:lnTo>
                    <a:pt x="300" y="3022"/>
                  </a:lnTo>
                  <a:lnTo>
                    <a:pt x="306" y="3018"/>
                  </a:lnTo>
                  <a:lnTo>
                    <a:pt x="312" y="3014"/>
                  </a:lnTo>
                  <a:lnTo>
                    <a:pt x="330" y="3008"/>
                  </a:lnTo>
                  <a:lnTo>
                    <a:pt x="350" y="3008"/>
                  </a:lnTo>
                  <a:lnTo>
                    <a:pt x="350" y="3008"/>
                  </a:lnTo>
                  <a:lnTo>
                    <a:pt x="370" y="3008"/>
                  </a:lnTo>
                  <a:lnTo>
                    <a:pt x="378" y="3010"/>
                  </a:lnTo>
                  <a:lnTo>
                    <a:pt x="384" y="3014"/>
                  </a:lnTo>
                  <a:lnTo>
                    <a:pt x="390" y="3018"/>
                  </a:lnTo>
                  <a:lnTo>
                    <a:pt x="394" y="3022"/>
                  </a:lnTo>
                  <a:lnTo>
                    <a:pt x="396" y="3028"/>
                  </a:lnTo>
                  <a:lnTo>
                    <a:pt x="396" y="3034"/>
                  </a:lnTo>
                  <a:lnTo>
                    <a:pt x="396" y="3034"/>
                  </a:lnTo>
                  <a:lnTo>
                    <a:pt x="394" y="3040"/>
                  </a:lnTo>
                  <a:lnTo>
                    <a:pt x="392" y="3046"/>
                  </a:lnTo>
                  <a:lnTo>
                    <a:pt x="388" y="3050"/>
                  </a:lnTo>
                  <a:lnTo>
                    <a:pt x="382" y="3054"/>
                  </a:lnTo>
                  <a:lnTo>
                    <a:pt x="374" y="3058"/>
                  </a:lnTo>
                  <a:lnTo>
                    <a:pt x="364" y="3060"/>
                  </a:lnTo>
                  <a:lnTo>
                    <a:pt x="342" y="3062"/>
                  </a:lnTo>
                  <a:lnTo>
                    <a:pt x="342" y="3062"/>
                  </a:lnTo>
                  <a:close/>
                  <a:moveTo>
                    <a:pt x="374" y="2854"/>
                  </a:moveTo>
                  <a:lnTo>
                    <a:pt x="374" y="2854"/>
                  </a:lnTo>
                  <a:lnTo>
                    <a:pt x="360" y="2854"/>
                  </a:lnTo>
                  <a:lnTo>
                    <a:pt x="348" y="2856"/>
                  </a:lnTo>
                  <a:lnTo>
                    <a:pt x="336" y="2860"/>
                  </a:lnTo>
                  <a:lnTo>
                    <a:pt x="326" y="2866"/>
                  </a:lnTo>
                  <a:lnTo>
                    <a:pt x="318" y="2872"/>
                  </a:lnTo>
                  <a:lnTo>
                    <a:pt x="312" y="2880"/>
                  </a:lnTo>
                  <a:lnTo>
                    <a:pt x="308" y="2890"/>
                  </a:lnTo>
                  <a:lnTo>
                    <a:pt x="304" y="2900"/>
                  </a:lnTo>
                  <a:lnTo>
                    <a:pt x="304" y="2900"/>
                  </a:lnTo>
                  <a:lnTo>
                    <a:pt x="304" y="2910"/>
                  </a:lnTo>
                  <a:lnTo>
                    <a:pt x="306" y="2918"/>
                  </a:lnTo>
                  <a:lnTo>
                    <a:pt x="310" y="2926"/>
                  </a:lnTo>
                  <a:lnTo>
                    <a:pt x="316" y="2932"/>
                  </a:lnTo>
                  <a:lnTo>
                    <a:pt x="322" y="2938"/>
                  </a:lnTo>
                  <a:lnTo>
                    <a:pt x="332" y="2942"/>
                  </a:lnTo>
                  <a:lnTo>
                    <a:pt x="344" y="2944"/>
                  </a:lnTo>
                  <a:lnTo>
                    <a:pt x="358" y="2944"/>
                  </a:lnTo>
                  <a:lnTo>
                    <a:pt x="358" y="2944"/>
                  </a:lnTo>
                  <a:lnTo>
                    <a:pt x="372" y="2944"/>
                  </a:lnTo>
                  <a:lnTo>
                    <a:pt x="384" y="2942"/>
                  </a:lnTo>
                  <a:lnTo>
                    <a:pt x="394" y="2938"/>
                  </a:lnTo>
                  <a:lnTo>
                    <a:pt x="404" y="2932"/>
                  </a:lnTo>
                  <a:lnTo>
                    <a:pt x="410" y="2924"/>
                  </a:lnTo>
                  <a:lnTo>
                    <a:pt x="416" y="2916"/>
                  </a:lnTo>
                  <a:lnTo>
                    <a:pt x="420" y="2908"/>
                  </a:lnTo>
                  <a:lnTo>
                    <a:pt x="422" y="2898"/>
                  </a:lnTo>
                  <a:lnTo>
                    <a:pt x="422" y="2898"/>
                  </a:lnTo>
                  <a:lnTo>
                    <a:pt x="422" y="2888"/>
                  </a:lnTo>
                  <a:lnTo>
                    <a:pt x="420" y="2878"/>
                  </a:lnTo>
                  <a:lnTo>
                    <a:pt x="418" y="2872"/>
                  </a:lnTo>
                  <a:lnTo>
                    <a:pt x="412" y="2864"/>
                  </a:lnTo>
                  <a:lnTo>
                    <a:pt x="404" y="2860"/>
                  </a:lnTo>
                  <a:lnTo>
                    <a:pt x="396" y="2856"/>
                  </a:lnTo>
                  <a:lnTo>
                    <a:pt x="386" y="2854"/>
                  </a:lnTo>
                  <a:lnTo>
                    <a:pt x="374" y="2854"/>
                  </a:lnTo>
                  <a:lnTo>
                    <a:pt x="374" y="2854"/>
                  </a:lnTo>
                  <a:close/>
                  <a:moveTo>
                    <a:pt x="410" y="2898"/>
                  </a:moveTo>
                  <a:lnTo>
                    <a:pt x="410" y="2898"/>
                  </a:lnTo>
                  <a:lnTo>
                    <a:pt x="410" y="2904"/>
                  </a:lnTo>
                  <a:lnTo>
                    <a:pt x="406" y="2910"/>
                  </a:lnTo>
                  <a:lnTo>
                    <a:pt x="402" y="2914"/>
                  </a:lnTo>
                  <a:lnTo>
                    <a:pt x="396" y="2918"/>
                  </a:lnTo>
                  <a:lnTo>
                    <a:pt x="390" y="2922"/>
                  </a:lnTo>
                  <a:lnTo>
                    <a:pt x="382" y="2924"/>
                  </a:lnTo>
                  <a:lnTo>
                    <a:pt x="360" y="2926"/>
                  </a:lnTo>
                  <a:lnTo>
                    <a:pt x="360" y="2926"/>
                  </a:lnTo>
                  <a:lnTo>
                    <a:pt x="340" y="2924"/>
                  </a:lnTo>
                  <a:lnTo>
                    <a:pt x="332" y="2922"/>
                  </a:lnTo>
                  <a:lnTo>
                    <a:pt x="326" y="2920"/>
                  </a:lnTo>
                  <a:lnTo>
                    <a:pt x="322" y="2916"/>
                  </a:lnTo>
                  <a:lnTo>
                    <a:pt x="318" y="2910"/>
                  </a:lnTo>
                  <a:lnTo>
                    <a:pt x="316" y="2906"/>
                  </a:lnTo>
                  <a:lnTo>
                    <a:pt x="318" y="2900"/>
                  </a:lnTo>
                  <a:lnTo>
                    <a:pt x="318" y="2900"/>
                  </a:lnTo>
                  <a:lnTo>
                    <a:pt x="320" y="2892"/>
                  </a:lnTo>
                  <a:lnTo>
                    <a:pt x="322" y="2886"/>
                  </a:lnTo>
                  <a:lnTo>
                    <a:pt x="328" y="2882"/>
                  </a:lnTo>
                  <a:lnTo>
                    <a:pt x="334" y="2878"/>
                  </a:lnTo>
                  <a:lnTo>
                    <a:pt x="350" y="2874"/>
                  </a:lnTo>
                  <a:lnTo>
                    <a:pt x="370" y="2872"/>
                  </a:lnTo>
                  <a:lnTo>
                    <a:pt x="370" y="2872"/>
                  </a:lnTo>
                  <a:lnTo>
                    <a:pt x="388" y="2874"/>
                  </a:lnTo>
                  <a:lnTo>
                    <a:pt x="396" y="2876"/>
                  </a:lnTo>
                  <a:lnTo>
                    <a:pt x="402" y="2878"/>
                  </a:lnTo>
                  <a:lnTo>
                    <a:pt x="406" y="2882"/>
                  </a:lnTo>
                  <a:lnTo>
                    <a:pt x="408" y="2886"/>
                  </a:lnTo>
                  <a:lnTo>
                    <a:pt x="410" y="2892"/>
                  </a:lnTo>
                  <a:lnTo>
                    <a:pt x="410" y="2898"/>
                  </a:lnTo>
                  <a:lnTo>
                    <a:pt x="410" y="2898"/>
                  </a:lnTo>
                  <a:close/>
                  <a:moveTo>
                    <a:pt x="396" y="2718"/>
                  </a:moveTo>
                  <a:lnTo>
                    <a:pt x="396" y="2718"/>
                  </a:lnTo>
                  <a:lnTo>
                    <a:pt x="384" y="2718"/>
                  </a:lnTo>
                  <a:lnTo>
                    <a:pt x="372" y="2720"/>
                  </a:lnTo>
                  <a:lnTo>
                    <a:pt x="362" y="2724"/>
                  </a:lnTo>
                  <a:lnTo>
                    <a:pt x="354" y="2730"/>
                  </a:lnTo>
                  <a:lnTo>
                    <a:pt x="346" y="2736"/>
                  </a:lnTo>
                  <a:lnTo>
                    <a:pt x="340" y="2744"/>
                  </a:lnTo>
                  <a:lnTo>
                    <a:pt x="334" y="2754"/>
                  </a:lnTo>
                  <a:lnTo>
                    <a:pt x="332" y="2764"/>
                  </a:lnTo>
                  <a:lnTo>
                    <a:pt x="332" y="2764"/>
                  </a:lnTo>
                  <a:lnTo>
                    <a:pt x="330" y="2774"/>
                  </a:lnTo>
                  <a:lnTo>
                    <a:pt x="332" y="2782"/>
                  </a:lnTo>
                  <a:lnTo>
                    <a:pt x="334" y="2790"/>
                  </a:lnTo>
                  <a:lnTo>
                    <a:pt x="340" y="2796"/>
                  </a:lnTo>
                  <a:lnTo>
                    <a:pt x="346" y="2802"/>
                  </a:lnTo>
                  <a:lnTo>
                    <a:pt x="356" y="2806"/>
                  </a:lnTo>
                  <a:lnTo>
                    <a:pt x="366" y="2808"/>
                  </a:lnTo>
                  <a:lnTo>
                    <a:pt x="378" y="2810"/>
                  </a:lnTo>
                  <a:lnTo>
                    <a:pt x="378" y="2810"/>
                  </a:lnTo>
                  <a:lnTo>
                    <a:pt x="392" y="2808"/>
                  </a:lnTo>
                  <a:lnTo>
                    <a:pt x="402" y="2806"/>
                  </a:lnTo>
                  <a:lnTo>
                    <a:pt x="412" y="2802"/>
                  </a:lnTo>
                  <a:lnTo>
                    <a:pt x="420" y="2796"/>
                  </a:lnTo>
                  <a:lnTo>
                    <a:pt x="428" y="2790"/>
                  </a:lnTo>
                  <a:lnTo>
                    <a:pt x="432" y="2780"/>
                  </a:lnTo>
                  <a:lnTo>
                    <a:pt x="436" y="2772"/>
                  </a:lnTo>
                  <a:lnTo>
                    <a:pt x="438" y="2762"/>
                  </a:lnTo>
                  <a:lnTo>
                    <a:pt x="438" y="2762"/>
                  </a:lnTo>
                  <a:lnTo>
                    <a:pt x="438" y="2752"/>
                  </a:lnTo>
                  <a:lnTo>
                    <a:pt x="438" y="2744"/>
                  </a:lnTo>
                  <a:lnTo>
                    <a:pt x="434" y="2736"/>
                  </a:lnTo>
                  <a:lnTo>
                    <a:pt x="430" y="2728"/>
                  </a:lnTo>
                  <a:lnTo>
                    <a:pt x="424" y="2724"/>
                  </a:lnTo>
                  <a:lnTo>
                    <a:pt x="416" y="2720"/>
                  </a:lnTo>
                  <a:lnTo>
                    <a:pt x="408" y="2718"/>
                  </a:lnTo>
                  <a:lnTo>
                    <a:pt x="396" y="2718"/>
                  </a:lnTo>
                  <a:lnTo>
                    <a:pt x="396" y="2718"/>
                  </a:lnTo>
                  <a:close/>
                  <a:moveTo>
                    <a:pt x="428" y="2764"/>
                  </a:moveTo>
                  <a:lnTo>
                    <a:pt x="428" y="2764"/>
                  </a:lnTo>
                  <a:lnTo>
                    <a:pt x="426" y="2768"/>
                  </a:lnTo>
                  <a:lnTo>
                    <a:pt x="424" y="2774"/>
                  </a:lnTo>
                  <a:lnTo>
                    <a:pt x="420" y="2778"/>
                  </a:lnTo>
                  <a:lnTo>
                    <a:pt x="414" y="2782"/>
                  </a:lnTo>
                  <a:lnTo>
                    <a:pt x="408" y="2786"/>
                  </a:lnTo>
                  <a:lnTo>
                    <a:pt x="400" y="2788"/>
                  </a:lnTo>
                  <a:lnTo>
                    <a:pt x="382" y="2790"/>
                  </a:lnTo>
                  <a:lnTo>
                    <a:pt x="382" y="2790"/>
                  </a:lnTo>
                  <a:lnTo>
                    <a:pt x="364" y="2788"/>
                  </a:lnTo>
                  <a:lnTo>
                    <a:pt x="356" y="2786"/>
                  </a:lnTo>
                  <a:lnTo>
                    <a:pt x="350" y="2784"/>
                  </a:lnTo>
                  <a:lnTo>
                    <a:pt x="346" y="2780"/>
                  </a:lnTo>
                  <a:lnTo>
                    <a:pt x="344" y="2774"/>
                  </a:lnTo>
                  <a:lnTo>
                    <a:pt x="342" y="2770"/>
                  </a:lnTo>
                  <a:lnTo>
                    <a:pt x="342" y="2764"/>
                  </a:lnTo>
                  <a:lnTo>
                    <a:pt x="342" y="2764"/>
                  </a:lnTo>
                  <a:lnTo>
                    <a:pt x="346" y="2756"/>
                  </a:lnTo>
                  <a:lnTo>
                    <a:pt x="348" y="2752"/>
                  </a:lnTo>
                  <a:lnTo>
                    <a:pt x="354" y="2746"/>
                  </a:lnTo>
                  <a:lnTo>
                    <a:pt x="360" y="2742"/>
                  </a:lnTo>
                  <a:lnTo>
                    <a:pt x="374" y="2738"/>
                  </a:lnTo>
                  <a:lnTo>
                    <a:pt x="392" y="2736"/>
                  </a:lnTo>
                  <a:lnTo>
                    <a:pt x="392" y="2736"/>
                  </a:lnTo>
                  <a:lnTo>
                    <a:pt x="408" y="2738"/>
                  </a:lnTo>
                  <a:lnTo>
                    <a:pt x="416" y="2740"/>
                  </a:lnTo>
                  <a:lnTo>
                    <a:pt x="420" y="2742"/>
                  </a:lnTo>
                  <a:lnTo>
                    <a:pt x="424" y="2746"/>
                  </a:lnTo>
                  <a:lnTo>
                    <a:pt x="428" y="2750"/>
                  </a:lnTo>
                  <a:lnTo>
                    <a:pt x="428" y="2756"/>
                  </a:lnTo>
                  <a:lnTo>
                    <a:pt x="428" y="2764"/>
                  </a:lnTo>
                  <a:lnTo>
                    <a:pt x="428" y="2764"/>
                  </a:lnTo>
                  <a:close/>
                  <a:moveTo>
                    <a:pt x="362" y="2632"/>
                  </a:moveTo>
                  <a:lnTo>
                    <a:pt x="444" y="2632"/>
                  </a:lnTo>
                  <a:lnTo>
                    <a:pt x="444" y="2632"/>
                  </a:lnTo>
                  <a:lnTo>
                    <a:pt x="444" y="2632"/>
                  </a:lnTo>
                  <a:lnTo>
                    <a:pt x="444" y="2632"/>
                  </a:lnTo>
                  <a:lnTo>
                    <a:pt x="432" y="2656"/>
                  </a:lnTo>
                  <a:lnTo>
                    <a:pt x="432" y="2656"/>
                  </a:lnTo>
                  <a:lnTo>
                    <a:pt x="440" y="2660"/>
                  </a:lnTo>
                  <a:lnTo>
                    <a:pt x="440" y="2660"/>
                  </a:lnTo>
                  <a:lnTo>
                    <a:pt x="456" y="2630"/>
                  </a:lnTo>
                  <a:lnTo>
                    <a:pt x="456" y="2630"/>
                  </a:lnTo>
                  <a:lnTo>
                    <a:pt x="458" y="2614"/>
                  </a:lnTo>
                  <a:lnTo>
                    <a:pt x="368" y="2614"/>
                  </a:lnTo>
                  <a:lnTo>
                    <a:pt x="368" y="2614"/>
                  </a:lnTo>
                  <a:lnTo>
                    <a:pt x="362" y="2632"/>
                  </a:lnTo>
                  <a:lnTo>
                    <a:pt x="362" y="2632"/>
                  </a:lnTo>
                  <a:close/>
                  <a:moveTo>
                    <a:pt x="396" y="2496"/>
                  </a:moveTo>
                  <a:lnTo>
                    <a:pt x="468" y="2496"/>
                  </a:lnTo>
                  <a:lnTo>
                    <a:pt x="468" y="2496"/>
                  </a:lnTo>
                  <a:lnTo>
                    <a:pt x="468" y="2496"/>
                  </a:lnTo>
                  <a:lnTo>
                    <a:pt x="468" y="2496"/>
                  </a:lnTo>
                  <a:lnTo>
                    <a:pt x="456" y="2520"/>
                  </a:lnTo>
                  <a:lnTo>
                    <a:pt x="456" y="2520"/>
                  </a:lnTo>
                  <a:lnTo>
                    <a:pt x="464" y="2524"/>
                  </a:lnTo>
                  <a:lnTo>
                    <a:pt x="464" y="2524"/>
                  </a:lnTo>
                  <a:lnTo>
                    <a:pt x="476" y="2494"/>
                  </a:lnTo>
                  <a:lnTo>
                    <a:pt x="476" y="2494"/>
                  </a:lnTo>
                  <a:lnTo>
                    <a:pt x="480" y="2478"/>
                  </a:lnTo>
                  <a:lnTo>
                    <a:pt x="402" y="2478"/>
                  </a:lnTo>
                  <a:lnTo>
                    <a:pt x="402" y="2478"/>
                  </a:lnTo>
                  <a:lnTo>
                    <a:pt x="396" y="2496"/>
                  </a:lnTo>
                  <a:lnTo>
                    <a:pt x="396" y="2496"/>
                  </a:lnTo>
                  <a:close/>
                  <a:moveTo>
                    <a:pt x="482" y="2310"/>
                  </a:moveTo>
                  <a:lnTo>
                    <a:pt x="482" y="2310"/>
                  </a:lnTo>
                  <a:lnTo>
                    <a:pt x="474" y="2310"/>
                  </a:lnTo>
                  <a:lnTo>
                    <a:pt x="466" y="2312"/>
                  </a:lnTo>
                  <a:lnTo>
                    <a:pt x="460" y="2316"/>
                  </a:lnTo>
                  <a:lnTo>
                    <a:pt x="452" y="2322"/>
                  </a:lnTo>
                  <a:lnTo>
                    <a:pt x="446" y="2328"/>
                  </a:lnTo>
                  <a:lnTo>
                    <a:pt x="442" y="2336"/>
                  </a:lnTo>
                  <a:lnTo>
                    <a:pt x="436" y="2346"/>
                  </a:lnTo>
                  <a:lnTo>
                    <a:pt x="432" y="2356"/>
                  </a:lnTo>
                  <a:lnTo>
                    <a:pt x="432" y="2356"/>
                  </a:lnTo>
                  <a:lnTo>
                    <a:pt x="430" y="2366"/>
                  </a:lnTo>
                  <a:lnTo>
                    <a:pt x="430" y="2374"/>
                  </a:lnTo>
                  <a:lnTo>
                    <a:pt x="432" y="2382"/>
                  </a:lnTo>
                  <a:lnTo>
                    <a:pt x="434" y="2390"/>
                  </a:lnTo>
                  <a:lnTo>
                    <a:pt x="438" y="2394"/>
                  </a:lnTo>
                  <a:lnTo>
                    <a:pt x="444" y="2398"/>
                  </a:lnTo>
                  <a:lnTo>
                    <a:pt x="452" y="2400"/>
                  </a:lnTo>
                  <a:lnTo>
                    <a:pt x="460" y="2402"/>
                  </a:lnTo>
                  <a:lnTo>
                    <a:pt x="460" y="2402"/>
                  </a:lnTo>
                  <a:lnTo>
                    <a:pt x="468" y="2400"/>
                  </a:lnTo>
                  <a:lnTo>
                    <a:pt x="476" y="2398"/>
                  </a:lnTo>
                  <a:lnTo>
                    <a:pt x="482" y="2394"/>
                  </a:lnTo>
                  <a:lnTo>
                    <a:pt x="488" y="2388"/>
                  </a:lnTo>
                  <a:lnTo>
                    <a:pt x="492" y="2382"/>
                  </a:lnTo>
                  <a:lnTo>
                    <a:pt x="496" y="2374"/>
                  </a:lnTo>
                  <a:lnTo>
                    <a:pt x="500" y="2354"/>
                  </a:lnTo>
                  <a:lnTo>
                    <a:pt x="500" y="2354"/>
                  </a:lnTo>
                  <a:lnTo>
                    <a:pt x="502" y="2336"/>
                  </a:lnTo>
                  <a:lnTo>
                    <a:pt x="502" y="2328"/>
                  </a:lnTo>
                  <a:lnTo>
                    <a:pt x="500" y="2322"/>
                  </a:lnTo>
                  <a:lnTo>
                    <a:pt x="498" y="2316"/>
                  </a:lnTo>
                  <a:lnTo>
                    <a:pt x="494" y="2312"/>
                  </a:lnTo>
                  <a:lnTo>
                    <a:pt x="488" y="2310"/>
                  </a:lnTo>
                  <a:lnTo>
                    <a:pt x="482" y="2310"/>
                  </a:lnTo>
                  <a:lnTo>
                    <a:pt x="482" y="2310"/>
                  </a:lnTo>
                  <a:close/>
                  <a:moveTo>
                    <a:pt x="496" y="2356"/>
                  </a:moveTo>
                  <a:lnTo>
                    <a:pt x="496" y="2356"/>
                  </a:lnTo>
                  <a:lnTo>
                    <a:pt x="492" y="2366"/>
                  </a:lnTo>
                  <a:lnTo>
                    <a:pt x="486" y="2376"/>
                  </a:lnTo>
                  <a:lnTo>
                    <a:pt x="476" y="2382"/>
                  </a:lnTo>
                  <a:lnTo>
                    <a:pt x="464" y="2384"/>
                  </a:lnTo>
                  <a:lnTo>
                    <a:pt x="464" y="2384"/>
                  </a:lnTo>
                  <a:lnTo>
                    <a:pt x="452" y="2382"/>
                  </a:lnTo>
                  <a:lnTo>
                    <a:pt x="448" y="2378"/>
                  </a:lnTo>
                  <a:lnTo>
                    <a:pt x="444" y="2376"/>
                  </a:lnTo>
                  <a:lnTo>
                    <a:pt x="442" y="2372"/>
                  </a:lnTo>
                  <a:lnTo>
                    <a:pt x="440" y="2368"/>
                  </a:lnTo>
                  <a:lnTo>
                    <a:pt x="442" y="2356"/>
                  </a:lnTo>
                  <a:lnTo>
                    <a:pt x="442" y="2356"/>
                  </a:lnTo>
                  <a:lnTo>
                    <a:pt x="446" y="2344"/>
                  </a:lnTo>
                  <a:lnTo>
                    <a:pt x="454" y="2334"/>
                  </a:lnTo>
                  <a:lnTo>
                    <a:pt x="466" y="2330"/>
                  </a:lnTo>
                  <a:lnTo>
                    <a:pt x="476" y="2328"/>
                  </a:lnTo>
                  <a:lnTo>
                    <a:pt x="476" y="2328"/>
                  </a:lnTo>
                  <a:lnTo>
                    <a:pt x="486" y="2330"/>
                  </a:lnTo>
                  <a:lnTo>
                    <a:pt x="490" y="2332"/>
                  </a:lnTo>
                  <a:lnTo>
                    <a:pt x="494" y="2334"/>
                  </a:lnTo>
                  <a:lnTo>
                    <a:pt x="496" y="2344"/>
                  </a:lnTo>
                  <a:lnTo>
                    <a:pt x="496" y="2356"/>
                  </a:lnTo>
                  <a:lnTo>
                    <a:pt x="496" y="2356"/>
                  </a:lnTo>
                  <a:close/>
                  <a:moveTo>
                    <a:pt x="472" y="2224"/>
                  </a:moveTo>
                  <a:lnTo>
                    <a:pt x="518" y="2224"/>
                  </a:lnTo>
                  <a:lnTo>
                    <a:pt x="518" y="2224"/>
                  </a:lnTo>
                  <a:lnTo>
                    <a:pt x="518" y="2224"/>
                  </a:lnTo>
                  <a:lnTo>
                    <a:pt x="518" y="2224"/>
                  </a:lnTo>
                  <a:lnTo>
                    <a:pt x="510" y="2248"/>
                  </a:lnTo>
                  <a:lnTo>
                    <a:pt x="510" y="2248"/>
                  </a:lnTo>
                  <a:lnTo>
                    <a:pt x="514" y="2252"/>
                  </a:lnTo>
                  <a:lnTo>
                    <a:pt x="514" y="2252"/>
                  </a:lnTo>
                  <a:lnTo>
                    <a:pt x="524" y="2222"/>
                  </a:lnTo>
                  <a:lnTo>
                    <a:pt x="524" y="2222"/>
                  </a:lnTo>
                  <a:lnTo>
                    <a:pt x="526" y="2206"/>
                  </a:lnTo>
                  <a:lnTo>
                    <a:pt x="478" y="2206"/>
                  </a:lnTo>
                  <a:lnTo>
                    <a:pt x="478" y="2206"/>
                  </a:lnTo>
                  <a:lnTo>
                    <a:pt x="472" y="2224"/>
                  </a:lnTo>
                  <a:lnTo>
                    <a:pt x="472" y="2224"/>
                  </a:lnTo>
                  <a:close/>
                  <a:moveTo>
                    <a:pt x="514" y="2088"/>
                  </a:moveTo>
                  <a:lnTo>
                    <a:pt x="546" y="2088"/>
                  </a:lnTo>
                  <a:lnTo>
                    <a:pt x="546" y="2088"/>
                  </a:lnTo>
                  <a:lnTo>
                    <a:pt x="546" y="2088"/>
                  </a:lnTo>
                  <a:lnTo>
                    <a:pt x="546" y="2088"/>
                  </a:lnTo>
                  <a:lnTo>
                    <a:pt x="538" y="2112"/>
                  </a:lnTo>
                  <a:lnTo>
                    <a:pt x="538" y="2112"/>
                  </a:lnTo>
                  <a:lnTo>
                    <a:pt x="542" y="2116"/>
                  </a:lnTo>
                  <a:lnTo>
                    <a:pt x="542" y="2116"/>
                  </a:lnTo>
                  <a:lnTo>
                    <a:pt x="550" y="2086"/>
                  </a:lnTo>
                  <a:lnTo>
                    <a:pt x="550" y="2086"/>
                  </a:lnTo>
                  <a:lnTo>
                    <a:pt x="552" y="2070"/>
                  </a:lnTo>
                  <a:lnTo>
                    <a:pt x="518" y="2070"/>
                  </a:lnTo>
                  <a:lnTo>
                    <a:pt x="518" y="2070"/>
                  </a:lnTo>
                  <a:lnTo>
                    <a:pt x="514" y="2088"/>
                  </a:lnTo>
                  <a:lnTo>
                    <a:pt x="514" y="2088"/>
                  </a:lnTo>
                  <a:close/>
                  <a:moveTo>
                    <a:pt x="582" y="1902"/>
                  </a:moveTo>
                  <a:lnTo>
                    <a:pt x="582" y="1902"/>
                  </a:lnTo>
                  <a:lnTo>
                    <a:pt x="578" y="1906"/>
                  </a:lnTo>
                  <a:lnTo>
                    <a:pt x="570" y="1914"/>
                  </a:lnTo>
                  <a:lnTo>
                    <a:pt x="564" y="1930"/>
                  </a:lnTo>
                  <a:lnTo>
                    <a:pt x="556" y="1950"/>
                  </a:lnTo>
                  <a:lnTo>
                    <a:pt x="556" y="1950"/>
                  </a:lnTo>
                  <a:lnTo>
                    <a:pt x="552" y="1968"/>
                  </a:lnTo>
                  <a:lnTo>
                    <a:pt x="550" y="1982"/>
                  </a:lnTo>
                  <a:lnTo>
                    <a:pt x="554" y="1990"/>
                  </a:lnTo>
                  <a:lnTo>
                    <a:pt x="556" y="1994"/>
                  </a:lnTo>
                  <a:lnTo>
                    <a:pt x="558" y="1994"/>
                  </a:lnTo>
                  <a:lnTo>
                    <a:pt x="558" y="1994"/>
                  </a:lnTo>
                  <a:lnTo>
                    <a:pt x="562" y="1994"/>
                  </a:lnTo>
                  <a:lnTo>
                    <a:pt x="564" y="1990"/>
                  </a:lnTo>
                  <a:lnTo>
                    <a:pt x="570" y="1980"/>
                  </a:lnTo>
                  <a:lnTo>
                    <a:pt x="574" y="1966"/>
                  </a:lnTo>
                  <a:lnTo>
                    <a:pt x="576" y="1948"/>
                  </a:lnTo>
                  <a:lnTo>
                    <a:pt x="576" y="1948"/>
                  </a:lnTo>
                  <a:lnTo>
                    <a:pt x="584" y="1914"/>
                  </a:lnTo>
                  <a:lnTo>
                    <a:pt x="584" y="1906"/>
                  </a:lnTo>
                  <a:lnTo>
                    <a:pt x="584" y="1904"/>
                  </a:lnTo>
                  <a:lnTo>
                    <a:pt x="582" y="1902"/>
                  </a:lnTo>
                  <a:lnTo>
                    <a:pt x="582" y="1902"/>
                  </a:lnTo>
                  <a:close/>
                  <a:moveTo>
                    <a:pt x="576" y="1948"/>
                  </a:moveTo>
                  <a:lnTo>
                    <a:pt x="576" y="1948"/>
                  </a:lnTo>
                  <a:lnTo>
                    <a:pt x="572" y="1968"/>
                  </a:lnTo>
                  <a:lnTo>
                    <a:pt x="568" y="1974"/>
                  </a:lnTo>
                  <a:lnTo>
                    <a:pt x="564" y="1976"/>
                  </a:lnTo>
                  <a:lnTo>
                    <a:pt x="564" y="1976"/>
                  </a:lnTo>
                  <a:lnTo>
                    <a:pt x="560" y="1974"/>
                  </a:lnTo>
                  <a:lnTo>
                    <a:pt x="558" y="1968"/>
                  </a:lnTo>
                  <a:lnTo>
                    <a:pt x="558" y="1960"/>
                  </a:lnTo>
                  <a:lnTo>
                    <a:pt x="560" y="1948"/>
                  </a:lnTo>
                  <a:lnTo>
                    <a:pt x="560" y="1948"/>
                  </a:lnTo>
                  <a:lnTo>
                    <a:pt x="564" y="1936"/>
                  </a:lnTo>
                  <a:lnTo>
                    <a:pt x="570" y="1928"/>
                  </a:lnTo>
                  <a:lnTo>
                    <a:pt x="574" y="1922"/>
                  </a:lnTo>
                  <a:lnTo>
                    <a:pt x="578" y="1920"/>
                  </a:lnTo>
                  <a:lnTo>
                    <a:pt x="578" y="1920"/>
                  </a:lnTo>
                  <a:lnTo>
                    <a:pt x="580" y="1922"/>
                  </a:lnTo>
                  <a:lnTo>
                    <a:pt x="580" y="1928"/>
                  </a:lnTo>
                  <a:lnTo>
                    <a:pt x="576" y="1948"/>
                  </a:lnTo>
                  <a:lnTo>
                    <a:pt x="576" y="1948"/>
                  </a:lnTo>
                  <a:close/>
                  <a:moveTo>
                    <a:pt x="600" y="1840"/>
                  </a:moveTo>
                  <a:lnTo>
                    <a:pt x="600" y="1840"/>
                  </a:lnTo>
                  <a:lnTo>
                    <a:pt x="604" y="1818"/>
                  </a:lnTo>
                  <a:lnTo>
                    <a:pt x="604" y="1818"/>
                  </a:lnTo>
                  <a:lnTo>
                    <a:pt x="604" y="1816"/>
                  </a:lnTo>
                  <a:lnTo>
                    <a:pt x="602" y="1816"/>
                  </a:lnTo>
                  <a:lnTo>
                    <a:pt x="602" y="1816"/>
                  </a:lnTo>
                  <a:lnTo>
                    <a:pt x="598" y="1844"/>
                  </a:lnTo>
                  <a:lnTo>
                    <a:pt x="598" y="1844"/>
                  </a:lnTo>
                  <a:lnTo>
                    <a:pt x="600" y="1840"/>
                  </a:lnTo>
                  <a:lnTo>
                    <a:pt x="600" y="1840"/>
                  </a:lnTo>
                  <a:close/>
                  <a:moveTo>
                    <a:pt x="606" y="1800"/>
                  </a:moveTo>
                  <a:lnTo>
                    <a:pt x="604" y="1800"/>
                  </a:lnTo>
                  <a:lnTo>
                    <a:pt x="604" y="1800"/>
                  </a:lnTo>
                  <a:lnTo>
                    <a:pt x="598" y="1816"/>
                  </a:lnTo>
                  <a:lnTo>
                    <a:pt x="602" y="1816"/>
                  </a:lnTo>
                  <a:lnTo>
                    <a:pt x="602" y="1816"/>
                  </a:lnTo>
                  <a:lnTo>
                    <a:pt x="604" y="1814"/>
                  </a:lnTo>
                  <a:lnTo>
                    <a:pt x="604" y="1814"/>
                  </a:lnTo>
                  <a:lnTo>
                    <a:pt x="606" y="1800"/>
                  </a:lnTo>
                  <a:lnTo>
                    <a:pt x="606" y="1800"/>
                  </a:lnTo>
                  <a:close/>
                  <a:moveTo>
                    <a:pt x="634" y="1682"/>
                  </a:moveTo>
                  <a:lnTo>
                    <a:pt x="634" y="1682"/>
                  </a:lnTo>
                  <a:lnTo>
                    <a:pt x="634" y="1680"/>
                  </a:lnTo>
                  <a:lnTo>
                    <a:pt x="636" y="1680"/>
                  </a:lnTo>
                  <a:lnTo>
                    <a:pt x="636" y="1680"/>
                  </a:lnTo>
                  <a:lnTo>
                    <a:pt x="638" y="1676"/>
                  </a:lnTo>
                  <a:lnTo>
                    <a:pt x="638" y="1676"/>
                  </a:lnTo>
                  <a:lnTo>
                    <a:pt x="642" y="1664"/>
                  </a:lnTo>
                  <a:lnTo>
                    <a:pt x="634" y="1664"/>
                  </a:lnTo>
                  <a:lnTo>
                    <a:pt x="634" y="1664"/>
                  </a:lnTo>
                  <a:lnTo>
                    <a:pt x="630" y="1678"/>
                  </a:lnTo>
                  <a:lnTo>
                    <a:pt x="630" y="1678"/>
                  </a:lnTo>
                  <a:lnTo>
                    <a:pt x="630" y="1694"/>
                  </a:lnTo>
                  <a:lnTo>
                    <a:pt x="630" y="1694"/>
                  </a:lnTo>
                  <a:lnTo>
                    <a:pt x="634" y="1684"/>
                  </a:lnTo>
                  <a:lnTo>
                    <a:pt x="634" y="1684"/>
                  </a:lnTo>
                  <a:lnTo>
                    <a:pt x="634" y="1682"/>
                  </a:lnTo>
                  <a:lnTo>
                    <a:pt x="634" y="1682"/>
                  </a:lnTo>
                  <a:close/>
                  <a:moveTo>
                    <a:pt x="648" y="1664"/>
                  </a:moveTo>
                  <a:lnTo>
                    <a:pt x="642" y="1664"/>
                  </a:lnTo>
                  <a:lnTo>
                    <a:pt x="642" y="1664"/>
                  </a:lnTo>
                  <a:lnTo>
                    <a:pt x="638" y="1676"/>
                  </a:lnTo>
                  <a:lnTo>
                    <a:pt x="638" y="1676"/>
                  </a:lnTo>
                  <a:lnTo>
                    <a:pt x="636" y="1680"/>
                  </a:lnTo>
                  <a:lnTo>
                    <a:pt x="642" y="1680"/>
                  </a:lnTo>
                  <a:lnTo>
                    <a:pt x="642" y="1680"/>
                  </a:lnTo>
                  <a:lnTo>
                    <a:pt x="648" y="1664"/>
                  </a:lnTo>
                  <a:lnTo>
                    <a:pt x="648" y="1664"/>
                  </a:lnTo>
                  <a:close/>
                  <a:moveTo>
                    <a:pt x="630" y="1696"/>
                  </a:moveTo>
                  <a:lnTo>
                    <a:pt x="630" y="1696"/>
                  </a:lnTo>
                  <a:lnTo>
                    <a:pt x="628" y="1702"/>
                  </a:lnTo>
                  <a:lnTo>
                    <a:pt x="628" y="1702"/>
                  </a:lnTo>
                  <a:lnTo>
                    <a:pt x="632" y="1698"/>
                  </a:lnTo>
                  <a:lnTo>
                    <a:pt x="632" y="1698"/>
                  </a:lnTo>
                  <a:lnTo>
                    <a:pt x="634" y="1686"/>
                  </a:lnTo>
                  <a:lnTo>
                    <a:pt x="634" y="1686"/>
                  </a:lnTo>
                  <a:lnTo>
                    <a:pt x="630" y="1696"/>
                  </a:lnTo>
                  <a:lnTo>
                    <a:pt x="630" y="1696"/>
                  </a:lnTo>
                  <a:close/>
                  <a:moveTo>
                    <a:pt x="688" y="1494"/>
                  </a:moveTo>
                  <a:lnTo>
                    <a:pt x="688" y="1494"/>
                  </a:lnTo>
                  <a:lnTo>
                    <a:pt x="684" y="1496"/>
                  </a:lnTo>
                  <a:lnTo>
                    <a:pt x="680" y="1498"/>
                  </a:lnTo>
                  <a:lnTo>
                    <a:pt x="672" y="1506"/>
                  </a:lnTo>
                  <a:lnTo>
                    <a:pt x="664" y="1520"/>
                  </a:lnTo>
                  <a:lnTo>
                    <a:pt x="658" y="1540"/>
                  </a:lnTo>
                  <a:lnTo>
                    <a:pt x="658" y="1540"/>
                  </a:lnTo>
                  <a:lnTo>
                    <a:pt x="656" y="1558"/>
                  </a:lnTo>
                  <a:lnTo>
                    <a:pt x="656" y="1574"/>
                  </a:lnTo>
                  <a:lnTo>
                    <a:pt x="660" y="1584"/>
                  </a:lnTo>
                  <a:lnTo>
                    <a:pt x="662" y="1586"/>
                  </a:lnTo>
                  <a:lnTo>
                    <a:pt x="666" y="1586"/>
                  </a:lnTo>
                  <a:lnTo>
                    <a:pt x="666" y="1586"/>
                  </a:lnTo>
                  <a:lnTo>
                    <a:pt x="668" y="1586"/>
                  </a:lnTo>
                  <a:lnTo>
                    <a:pt x="670" y="1584"/>
                  </a:lnTo>
                  <a:lnTo>
                    <a:pt x="674" y="1574"/>
                  </a:lnTo>
                  <a:lnTo>
                    <a:pt x="686" y="1542"/>
                  </a:lnTo>
                  <a:lnTo>
                    <a:pt x="686" y="1542"/>
                  </a:lnTo>
                  <a:lnTo>
                    <a:pt x="692" y="1522"/>
                  </a:lnTo>
                  <a:lnTo>
                    <a:pt x="694" y="1508"/>
                  </a:lnTo>
                  <a:lnTo>
                    <a:pt x="694" y="1502"/>
                  </a:lnTo>
                  <a:lnTo>
                    <a:pt x="694" y="1498"/>
                  </a:lnTo>
                  <a:lnTo>
                    <a:pt x="692" y="1496"/>
                  </a:lnTo>
                  <a:lnTo>
                    <a:pt x="688" y="1494"/>
                  </a:lnTo>
                  <a:lnTo>
                    <a:pt x="688" y="1494"/>
                  </a:lnTo>
                  <a:close/>
                  <a:moveTo>
                    <a:pt x="670" y="1568"/>
                  </a:moveTo>
                  <a:lnTo>
                    <a:pt x="670" y="1568"/>
                  </a:lnTo>
                  <a:lnTo>
                    <a:pt x="666" y="1566"/>
                  </a:lnTo>
                  <a:lnTo>
                    <a:pt x="662" y="1560"/>
                  </a:lnTo>
                  <a:lnTo>
                    <a:pt x="662" y="1552"/>
                  </a:lnTo>
                  <a:lnTo>
                    <a:pt x="662" y="1540"/>
                  </a:lnTo>
                  <a:lnTo>
                    <a:pt x="662" y="1540"/>
                  </a:lnTo>
                  <a:lnTo>
                    <a:pt x="666" y="1528"/>
                  </a:lnTo>
                  <a:lnTo>
                    <a:pt x="672" y="1520"/>
                  </a:lnTo>
                  <a:lnTo>
                    <a:pt x="678" y="1514"/>
                  </a:lnTo>
                  <a:lnTo>
                    <a:pt x="684" y="1514"/>
                  </a:lnTo>
                  <a:lnTo>
                    <a:pt x="684" y="1514"/>
                  </a:lnTo>
                  <a:lnTo>
                    <a:pt x="688" y="1514"/>
                  </a:lnTo>
                  <a:lnTo>
                    <a:pt x="690" y="1520"/>
                  </a:lnTo>
                  <a:lnTo>
                    <a:pt x="688" y="1528"/>
                  </a:lnTo>
                  <a:lnTo>
                    <a:pt x="684" y="1540"/>
                  </a:lnTo>
                  <a:lnTo>
                    <a:pt x="684" y="1540"/>
                  </a:lnTo>
                  <a:lnTo>
                    <a:pt x="678" y="1560"/>
                  </a:lnTo>
                  <a:lnTo>
                    <a:pt x="674" y="1566"/>
                  </a:lnTo>
                  <a:lnTo>
                    <a:pt x="670" y="1568"/>
                  </a:lnTo>
                  <a:lnTo>
                    <a:pt x="670" y="1568"/>
                  </a:lnTo>
                  <a:close/>
                  <a:moveTo>
                    <a:pt x="722" y="1360"/>
                  </a:moveTo>
                  <a:lnTo>
                    <a:pt x="722" y="1360"/>
                  </a:lnTo>
                  <a:lnTo>
                    <a:pt x="716" y="1360"/>
                  </a:lnTo>
                  <a:lnTo>
                    <a:pt x="710" y="1362"/>
                  </a:lnTo>
                  <a:lnTo>
                    <a:pt x="706" y="1366"/>
                  </a:lnTo>
                  <a:lnTo>
                    <a:pt x="700" y="1370"/>
                  </a:lnTo>
                  <a:lnTo>
                    <a:pt x="694" y="1378"/>
                  </a:lnTo>
                  <a:lnTo>
                    <a:pt x="690" y="1384"/>
                  </a:lnTo>
                  <a:lnTo>
                    <a:pt x="686" y="1394"/>
                  </a:lnTo>
                  <a:lnTo>
                    <a:pt x="684" y="1404"/>
                  </a:lnTo>
                  <a:lnTo>
                    <a:pt x="684" y="1404"/>
                  </a:lnTo>
                  <a:lnTo>
                    <a:pt x="682" y="1414"/>
                  </a:lnTo>
                  <a:lnTo>
                    <a:pt x="682" y="1422"/>
                  </a:lnTo>
                  <a:lnTo>
                    <a:pt x="684" y="1430"/>
                  </a:lnTo>
                  <a:lnTo>
                    <a:pt x="686" y="1438"/>
                  </a:lnTo>
                  <a:lnTo>
                    <a:pt x="688" y="1444"/>
                  </a:lnTo>
                  <a:lnTo>
                    <a:pt x="692" y="1448"/>
                  </a:lnTo>
                  <a:lnTo>
                    <a:pt x="696" y="1450"/>
                  </a:lnTo>
                  <a:lnTo>
                    <a:pt x="700" y="1450"/>
                  </a:lnTo>
                  <a:lnTo>
                    <a:pt x="700" y="1450"/>
                  </a:lnTo>
                  <a:lnTo>
                    <a:pt x="704" y="1450"/>
                  </a:lnTo>
                  <a:lnTo>
                    <a:pt x="708" y="1448"/>
                  </a:lnTo>
                  <a:lnTo>
                    <a:pt x="716" y="1438"/>
                  </a:lnTo>
                  <a:lnTo>
                    <a:pt x="722" y="1424"/>
                  </a:lnTo>
                  <a:lnTo>
                    <a:pt x="728" y="1406"/>
                  </a:lnTo>
                  <a:lnTo>
                    <a:pt x="728" y="1406"/>
                  </a:lnTo>
                  <a:lnTo>
                    <a:pt x="734" y="1386"/>
                  </a:lnTo>
                  <a:lnTo>
                    <a:pt x="734" y="1372"/>
                  </a:lnTo>
                  <a:lnTo>
                    <a:pt x="734" y="1366"/>
                  </a:lnTo>
                  <a:lnTo>
                    <a:pt x="732" y="1362"/>
                  </a:lnTo>
                  <a:lnTo>
                    <a:pt x="728" y="1360"/>
                  </a:lnTo>
                  <a:lnTo>
                    <a:pt x="722" y="1360"/>
                  </a:lnTo>
                  <a:lnTo>
                    <a:pt x="722" y="1360"/>
                  </a:lnTo>
                  <a:close/>
                  <a:moveTo>
                    <a:pt x="726" y="1406"/>
                  </a:moveTo>
                  <a:lnTo>
                    <a:pt x="726" y="1406"/>
                  </a:lnTo>
                  <a:lnTo>
                    <a:pt x="722" y="1416"/>
                  </a:lnTo>
                  <a:lnTo>
                    <a:pt x="718" y="1426"/>
                  </a:lnTo>
                  <a:lnTo>
                    <a:pt x="712" y="1430"/>
                  </a:lnTo>
                  <a:lnTo>
                    <a:pt x="704" y="1432"/>
                  </a:lnTo>
                  <a:lnTo>
                    <a:pt x="704" y="1432"/>
                  </a:lnTo>
                  <a:lnTo>
                    <a:pt x="698" y="1430"/>
                  </a:lnTo>
                  <a:lnTo>
                    <a:pt x="692" y="1424"/>
                  </a:lnTo>
                  <a:lnTo>
                    <a:pt x="690" y="1416"/>
                  </a:lnTo>
                  <a:lnTo>
                    <a:pt x="690" y="1404"/>
                  </a:lnTo>
                  <a:lnTo>
                    <a:pt x="690" y="1404"/>
                  </a:lnTo>
                  <a:lnTo>
                    <a:pt x="694" y="1392"/>
                  </a:lnTo>
                  <a:lnTo>
                    <a:pt x="702" y="1384"/>
                  </a:lnTo>
                  <a:lnTo>
                    <a:pt x="710" y="1380"/>
                  </a:lnTo>
                  <a:lnTo>
                    <a:pt x="718" y="1378"/>
                  </a:lnTo>
                  <a:lnTo>
                    <a:pt x="718" y="1378"/>
                  </a:lnTo>
                  <a:lnTo>
                    <a:pt x="726" y="1380"/>
                  </a:lnTo>
                  <a:lnTo>
                    <a:pt x="728" y="1384"/>
                  </a:lnTo>
                  <a:lnTo>
                    <a:pt x="728" y="1392"/>
                  </a:lnTo>
                  <a:lnTo>
                    <a:pt x="726" y="1406"/>
                  </a:lnTo>
                  <a:lnTo>
                    <a:pt x="726" y="1406"/>
                  </a:lnTo>
                  <a:close/>
                  <a:moveTo>
                    <a:pt x="734" y="1316"/>
                  </a:moveTo>
                  <a:lnTo>
                    <a:pt x="734" y="1316"/>
                  </a:lnTo>
                  <a:lnTo>
                    <a:pt x="740" y="1314"/>
                  </a:lnTo>
                  <a:lnTo>
                    <a:pt x="746" y="1312"/>
                  </a:lnTo>
                  <a:lnTo>
                    <a:pt x="750" y="1308"/>
                  </a:lnTo>
                  <a:lnTo>
                    <a:pt x="756" y="1302"/>
                  </a:lnTo>
                  <a:lnTo>
                    <a:pt x="762" y="1288"/>
                  </a:lnTo>
                  <a:lnTo>
                    <a:pt x="770" y="1270"/>
                  </a:lnTo>
                  <a:lnTo>
                    <a:pt x="770" y="1270"/>
                  </a:lnTo>
                  <a:lnTo>
                    <a:pt x="774" y="1250"/>
                  </a:lnTo>
                  <a:lnTo>
                    <a:pt x="774" y="1242"/>
                  </a:lnTo>
                  <a:lnTo>
                    <a:pt x="774" y="1236"/>
                  </a:lnTo>
                  <a:lnTo>
                    <a:pt x="772" y="1230"/>
                  </a:lnTo>
                  <a:lnTo>
                    <a:pt x="768" y="1226"/>
                  </a:lnTo>
                  <a:lnTo>
                    <a:pt x="762" y="1224"/>
                  </a:lnTo>
                  <a:lnTo>
                    <a:pt x="756" y="1224"/>
                  </a:lnTo>
                  <a:lnTo>
                    <a:pt x="756" y="1224"/>
                  </a:lnTo>
                  <a:lnTo>
                    <a:pt x="748" y="1224"/>
                  </a:lnTo>
                  <a:lnTo>
                    <a:pt x="740" y="1226"/>
                  </a:lnTo>
                  <a:lnTo>
                    <a:pt x="734" y="1230"/>
                  </a:lnTo>
                  <a:lnTo>
                    <a:pt x="726" y="1234"/>
                  </a:lnTo>
                  <a:lnTo>
                    <a:pt x="720" y="1242"/>
                  </a:lnTo>
                  <a:lnTo>
                    <a:pt x="716" y="1248"/>
                  </a:lnTo>
                  <a:lnTo>
                    <a:pt x="712" y="1258"/>
                  </a:lnTo>
                  <a:lnTo>
                    <a:pt x="708" y="1268"/>
                  </a:lnTo>
                  <a:lnTo>
                    <a:pt x="708" y="1268"/>
                  </a:lnTo>
                  <a:lnTo>
                    <a:pt x="708" y="1278"/>
                  </a:lnTo>
                  <a:lnTo>
                    <a:pt x="708" y="1286"/>
                  </a:lnTo>
                  <a:lnTo>
                    <a:pt x="710" y="1296"/>
                  </a:lnTo>
                  <a:lnTo>
                    <a:pt x="714" y="1302"/>
                  </a:lnTo>
                  <a:lnTo>
                    <a:pt x="718" y="1308"/>
                  </a:lnTo>
                  <a:lnTo>
                    <a:pt x="722" y="1312"/>
                  </a:lnTo>
                  <a:lnTo>
                    <a:pt x="728" y="1314"/>
                  </a:lnTo>
                  <a:lnTo>
                    <a:pt x="734" y="1316"/>
                  </a:lnTo>
                  <a:lnTo>
                    <a:pt x="734" y="1316"/>
                  </a:lnTo>
                  <a:close/>
                  <a:moveTo>
                    <a:pt x="718" y="1270"/>
                  </a:moveTo>
                  <a:lnTo>
                    <a:pt x="718" y="1270"/>
                  </a:lnTo>
                  <a:lnTo>
                    <a:pt x="720" y="1262"/>
                  </a:lnTo>
                  <a:lnTo>
                    <a:pt x="722" y="1256"/>
                  </a:lnTo>
                  <a:lnTo>
                    <a:pt x="730" y="1248"/>
                  </a:lnTo>
                  <a:lnTo>
                    <a:pt x="740" y="1244"/>
                  </a:lnTo>
                  <a:lnTo>
                    <a:pt x="752" y="1242"/>
                  </a:lnTo>
                  <a:lnTo>
                    <a:pt x="752" y="1242"/>
                  </a:lnTo>
                  <a:lnTo>
                    <a:pt x="762" y="1244"/>
                  </a:lnTo>
                  <a:lnTo>
                    <a:pt x="764" y="1246"/>
                  </a:lnTo>
                  <a:lnTo>
                    <a:pt x="766" y="1248"/>
                  </a:lnTo>
                  <a:lnTo>
                    <a:pt x="768" y="1258"/>
                  </a:lnTo>
                  <a:lnTo>
                    <a:pt x="766" y="1270"/>
                  </a:lnTo>
                  <a:lnTo>
                    <a:pt x="766" y="1270"/>
                  </a:lnTo>
                  <a:lnTo>
                    <a:pt x="762" y="1280"/>
                  </a:lnTo>
                  <a:lnTo>
                    <a:pt x="756" y="1290"/>
                  </a:lnTo>
                  <a:lnTo>
                    <a:pt x="748" y="1294"/>
                  </a:lnTo>
                  <a:lnTo>
                    <a:pt x="738" y="1296"/>
                  </a:lnTo>
                  <a:lnTo>
                    <a:pt x="738" y="1296"/>
                  </a:lnTo>
                  <a:lnTo>
                    <a:pt x="728" y="1294"/>
                  </a:lnTo>
                  <a:lnTo>
                    <a:pt x="722" y="1288"/>
                  </a:lnTo>
                  <a:lnTo>
                    <a:pt x="718" y="1280"/>
                  </a:lnTo>
                  <a:lnTo>
                    <a:pt x="718" y="1270"/>
                  </a:lnTo>
                  <a:lnTo>
                    <a:pt x="718" y="1270"/>
                  </a:lnTo>
                  <a:close/>
                  <a:moveTo>
                    <a:pt x="750" y="1162"/>
                  </a:moveTo>
                  <a:lnTo>
                    <a:pt x="750" y="1162"/>
                  </a:lnTo>
                  <a:lnTo>
                    <a:pt x="746" y="1138"/>
                  </a:lnTo>
                  <a:lnTo>
                    <a:pt x="746" y="1138"/>
                  </a:lnTo>
                  <a:lnTo>
                    <a:pt x="746" y="1138"/>
                  </a:lnTo>
                  <a:lnTo>
                    <a:pt x="806" y="1138"/>
                  </a:lnTo>
                  <a:lnTo>
                    <a:pt x="806" y="1138"/>
                  </a:lnTo>
                  <a:lnTo>
                    <a:pt x="812" y="1120"/>
                  </a:lnTo>
                  <a:lnTo>
                    <a:pt x="738" y="1120"/>
                  </a:lnTo>
                  <a:lnTo>
                    <a:pt x="738" y="1120"/>
                  </a:lnTo>
                  <a:lnTo>
                    <a:pt x="734" y="1136"/>
                  </a:lnTo>
                  <a:lnTo>
                    <a:pt x="734" y="1136"/>
                  </a:lnTo>
                  <a:lnTo>
                    <a:pt x="740" y="1166"/>
                  </a:lnTo>
                  <a:lnTo>
                    <a:pt x="740" y="1166"/>
                  </a:lnTo>
                  <a:lnTo>
                    <a:pt x="750" y="1162"/>
                  </a:lnTo>
                  <a:lnTo>
                    <a:pt x="750" y="1162"/>
                  </a:lnTo>
                  <a:close/>
                  <a:moveTo>
                    <a:pt x="776" y="1026"/>
                  </a:moveTo>
                  <a:lnTo>
                    <a:pt x="776" y="1026"/>
                  </a:lnTo>
                  <a:lnTo>
                    <a:pt x="772" y="1002"/>
                  </a:lnTo>
                  <a:lnTo>
                    <a:pt x="772" y="1002"/>
                  </a:lnTo>
                  <a:lnTo>
                    <a:pt x="772" y="1002"/>
                  </a:lnTo>
                  <a:lnTo>
                    <a:pt x="844" y="1002"/>
                  </a:lnTo>
                  <a:lnTo>
                    <a:pt x="844" y="1002"/>
                  </a:lnTo>
                  <a:lnTo>
                    <a:pt x="848" y="984"/>
                  </a:lnTo>
                  <a:lnTo>
                    <a:pt x="760" y="984"/>
                  </a:lnTo>
                  <a:lnTo>
                    <a:pt x="760" y="984"/>
                  </a:lnTo>
                  <a:lnTo>
                    <a:pt x="758" y="1000"/>
                  </a:lnTo>
                  <a:lnTo>
                    <a:pt x="758" y="1000"/>
                  </a:lnTo>
                  <a:lnTo>
                    <a:pt x="766" y="1030"/>
                  </a:lnTo>
                  <a:lnTo>
                    <a:pt x="766" y="1030"/>
                  </a:lnTo>
                  <a:lnTo>
                    <a:pt x="776" y="1026"/>
                  </a:lnTo>
                  <a:lnTo>
                    <a:pt x="776" y="1026"/>
                  </a:lnTo>
                  <a:close/>
                  <a:moveTo>
                    <a:pt x="826" y="908"/>
                  </a:moveTo>
                  <a:lnTo>
                    <a:pt x="826" y="908"/>
                  </a:lnTo>
                  <a:lnTo>
                    <a:pt x="838" y="906"/>
                  </a:lnTo>
                  <a:lnTo>
                    <a:pt x="848" y="904"/>
                  </a:lnTo>
                  <a:lnTo>
                    <a:pt x="856" y="900"/>
                  </a:lnTo>
                  <a:lnTo>
                    <a:pt x="862" y="896"/>
                  </a:lnTo>
                  <a:lnTo>
                    <a:pt x="868" y="888"/>
                  </a:lnTo>
                  <a:lnTo>
                    <a:pt x="872" y="880"/>
                  </a:lnTo>
                  <a:lnTo>
                    <a:pt x="876" y="872"/>
                  </a:lnTo>
                  <a:lnTo>
                    <a:pt x="880" y="862"/>
                  </a:lnTo>
                  <a:lnTo>
                    <a:pt x="880" y="862"/>
                  </a:lnTo>
                  <a:lnTo>
                    <a:pt x="882" y="852"/>
                  </a:lnTo>
                  <a:lnTo>
                    <a:pt x="882" y="842"/>
                  </a:lnTo>
                  <a:lnTo>
                    <a:pt x="880" y="834"/>
                  </a:lnTo>
                  <a:lnTo>
                    <a:pt x="878" y="828"/>
                  </a:lnTo>
                  <a:lnTo>
                    <a:pt x="872" y="822"/>
                  </a:lnTo>
                  <a:lnTo>
                    <a:pt x="864" y="818"/>
                  </a:lnTo>
                  <a:lnTo>
                    <a:pt x="856" y="816"/>
                  </a:lnTo>
                  <a:lnTo>
                    <a:pt x="844" y="816"/>
                  </a:lnTo>
                  <a:lnTo>
                    <a:pt x="844" y="816"/>
                  </a:lnTo>
                  <a:lnTo>
                    <a:pt x="832" y="816"/>
                  </a:lnTo>
                  <a:lnTo>
                    <a:pt x="820" y="818"/>
                  </a:lnTo>
                  <a:lnTo>
                    <a:pt x="810" y="822"/>
                  </a:lnTo>
                  <a:lnTo>
                    <a:pt x="800" y="828"/>
                  </a:lnTo>
                  <a:lnTo>
                    <a:pt x="792" y="834"/>
                  </a:lnTo>
                  <a:lnTo>
                    <a:pt x="784" y="842"/>
                  </a:lnTo>
                  <a:lnTo>
                    <a:pt x="780" y="850"/>
                  </a:lnTo>
                  <a:lnTo>
                    <a:pt x="776" y="860"/>
                  </a:lnTo>
                  <a:lnTo>
                    <a:pt x="776" y="860"/>
                  </a:lnTo>
                  <a:lnTo>
                    <a:pt x="776" y="870"/>
                  </a:lnTo>
                  <a:lnTo>
                    <a:pt x="778" y="880"/>
                  </a:lnTo>
                  <a:lnTo>
                    <a:pt x="782" y="888"/>
                  </a:lnTo>
                  <a:lnTo>
                    <a:pt x="788" y="894"/>
                  </a:lnTo>
                  <a:lnTo>
                    <a:pt x="796" y="900"/>
                  </a:lnTo>
                  <a:lnTo>
                    <a:pt x="806" y="904"/>
                  </a:lnTo>
                  <a:lnTo>
                    <a:pt x="816" y="906"/>
                  </a:lnTo>
                  <a:lnTo>
                    <a:pt x="826" y="908"/>
                  </a:lnTo>
                  <a:lnTo>
                    <a:pt x="826" y="908"/>
                  </a:lnTo>
                  <a:close/>
                  <a:moveTo>
                    <a:pt x="790" y="862"/>
                  </a:moveTo>
                  <a:lnTo>
                    <a:pt x="790" y="862"/>
                  </a:lnTo>
                  <a:lnTo>
                    <a:pt x="792" y="854"/>
                  </a:lnTo>
                  <a:lnTo>
                    <a:pt x="796" y="850"/>
                  </a:lnTo>
                  <a:lnTo>
                    <a:pt x="802" y="844"/>
                  </a:lnTo>
                  <a:lnTo>
                    <a:pt x="808" y="840"/>
                  </a:lnTo>
                  <a:lnTo>
                    <a:pt x="822" y="836"/>
                  </a:lnTo>
                  <a:lnTo>
                    <a:pt x="840" y="834"/>
                  </a:lnTo>
                  <a:lnTo>
                    <a:pt x="840" y="834"/>
                  </a:lnTo>
                  <a:lnTo>
                    <a:pt x="856" y="836"/>
                  </a:lnTo>
                  <a:lnTo>
                    <a:pt x="862" y="838"/>
                  </a:lnTo>
                  <a:lnTo>
                    <a:pt x="868" y="840"/>
                  </a:lnTo>
                  <a:lnTo>
                    <a:pt x="870" y="844"/>
                  </a:lnTo>
                  <a:lnTo>
                    <a:pt x="872" y="850"/>
                  </a:lnTo>
                  <a:lnTo>
                    <a:pt x="872" y="856"/>
                  </a:lnTo>
                  <a:lnTo>
                    <a:pt x="872" y="862"/>
                  </a:lnTo>
                  <a:lnTo>
                    <a:pt x="872" y="862"/>
                  </a:lnTo>
                  <a:lnTo>
                    <a:pt x="868" y="874"/>
                  </a:lnTo>
                  <a:lnTo>
                    <a:pt x="858" y="882"/>
                  </a:lnTo>
                  <a:lnTo>
                    <a:pt x="854" y="884"/>
                  </a:lnTo>
                  <a:lnTo>
                    <a:pt x="846" y="888"/>
                  </a:lnTo>
                  <a:lnTo>
                    <a:pt x="830" y="890"/>
                  </a:lnTo>
                  <a:lnTo>
                    <a:pt x="830" y="890"/>
                  </a:lnTo>
                  <a:lnTo>
                    <a:pt x="814" y="888"/>
                  </a:lnTo>
                  <a:lnTo>
                    <a:pt x="806" y="884"/>
                  </a:lnTo>
                  <a:lnTo>
                    <a:pt x="800" y="882"/>
                  </a:lnTo>
                  <a:lnTo>
                    <a:pt x="796" y="878"/>
                  </a:lnTo>
                  <a:lnTo>
                    <a:pt x="792" y="872"/>
                  </a:lnTo>
                  <a:lnTo>
                    <a:pt x="790" y="868"/>
                  </a:lnTo>
                  <a:lnTo>
                    <a:pt x="790" y="862"/>
                  </a:lnTo>
                  <a:lnTo>
                    <a:pt x="790" y="862"/>
                  </a:lnTo>
                  <a:close/>
                  <a:moveTo>
                    <a:pt x="824" y="754"/>
                  </a:moveTo>
                  <a:lnTo>
                    <a:pt x="824" y="754"/>
                  </a:lnTo>
                  <a:lnTo>
                    <a:pt x="816" y="730"/>
                  </a:lnTo>
                  <a:lnTo>
                    <a:pt x="816" y="730"/>
                  </a:lnTo>
                  <a:lnTo>
                    <a:pt x="816" y="730"/>
                  </a:lnTo>
                  <a:lnTo>
                    <a:pt x="908" y="730"/>
                  </a:lnTo>
                  <a:lnTo>
                    <a:pt x="908" y="730"/>
                  </a:lnTo>
                  <a:lnTo>
                    <a:pt x="912" y="712"/>
                  </a:lnTo>
                  <a:lnTo>
                    <a:pt x="800" y="712"/>
                  </a:lnTo>
                  <a:lnTo>
                    <a:pt x="800" y="712"/>
                  </a:lnTo>
                  <a:lnTo>
                    <a:pt x="798" y="728"/>
                  </a:lnTo>
                  <a:lnTo>
                    <a:pt x="798" y="728"/>
                  </a:lnTo>
                  <a:lnTo>
                    <a:pt x="810" y="758"/>
                  </a:lnTo>
                  <a:lnTo>
                    <a:pt x="810" y="758"/>
                  </a:lnTo>
                  <a:lnTo>
                    <a:pt x="824" y="754"/>
                  </a:lnTo>
                  <a:lnTo>
                    <a:pt x="824" y="754"/>
                  </a:lnTo>
                  <a:close/>
                  <a:moveTo>
                    <a:pt x="844" y="618"/>
                  </a:moveTo>
                  <a:lnTo>
                    <a:pt x="844" y="618"/>
                  </a:lnTo>
                  <a:lnTo>
                    <a:pt x="834" y="594"/>
                  </a:lnTo>
                  <a:lnTo>
                    <a:pt x="834" y="594"/>
                  </a:lnTo>
                  <a:lnTo>
                    <a:pt x="834" y="594"/>
                  </a:lnTo>
                  <a:lnTo>
                    <a:pt x="934" y="594"/>
                  </a:lnTo>
                  <a:lnTo>
                    <a:pt x="934" y="594"/>
                  </a:lnTo>
                  <a:lnTo>
                    <a:pt x="938" y="576"/>
                  </a:lnTo>
                  <a:lnTo>
                    <a:pt x="816" y="576"/>
                  </a:lnTo>
                  <a:lnTo>
                    <a:pt x="816" y="576"/>
                  </a:lnTo>
                  <a:lnTo>
                    <a:pt x="814" y="592"/>
                  </a:lnTo>
                  <a:lnTo>
                    <a:pt x="814" y="592"/>
                  </a:lnTo>
                  <a:lnTo>
                    <a:pt x="828" y="622"/>
                  </a:lnTo>
                  <a:lnTo>
                    <a:pt x="828" y="622"/>
                  </a:lnTo>
                  <a:lnTo>
                    <a:pt x="844" y="618"/>
                  </a:lnTo>
                  <a:lnTo>
                    <a:pt x="844" y="618"/>
                  </a:lnTo>
                  <a:close/>
                  <a:moveTo>
                    <a:pt x="860" y="482"/>
                  </a:moveTo>
                  <a:lnTo>
                    <a:pt x="860" y="482"/>
                  </a:lnTo>
                  <a:lnTo>
                    <a:pt x="848" y="458"/>
                  </a:lnTo>
                  <a:lnTo>
                    <a:pt x="848" y="458"/>
                  </a:lnTo>
                  <a:lnTo>
                    <a:pt x="848" y="458"/>
                  </a:lnTo>
                  <a:lnTo>
                    <a:pt x="958" y="458"/>
                  </a:lnTo>
                  <a:lnTo>
                    <a:pt x="958" y="458"/>
                  </a:lnTo>
                  <a:lnTo>
                    <a:pt x="960" y="440"/>
                  </a:lnTo>
                  <a:lnTo>
                    <a:pt x="830" y="440"/>
                  </a:lnTo>
                  <a:lnTo>
                    <a:pt x="830" y="440"/>
                  </a:lnTo>
                  <a:lnTo>
                    <a:pt x="828" y="456"/>
                  </a:lnTo>
                  <a:lnTo>
                    <a:pt x="828" y="456"/>
                  </a:lnTo>
                  <a:lnTo>
                    <a:pt x="844" y="486"/>
                  </a:lnTo>
                  <a:lnTo>
                    <a:pt x="844" y="486"/>
                  </a:lnTo>
                  <a:lnTo>
                    <a:pt x="860" y="482"/>
                  </a:lnTo>
                  <a:lnTo>
                    <a:pt x="860" y="482"/>
                  </a:lnTo>
                  <a:close/>
                  <a:moveTo>
                    <a:pt x="874" y="346"/>
                  </a:moveTo>
                  <a:lnTo>
                    <a:pt x="874" y="346"/>
                  </a:lnTo>
                  <a:lnTo>
                    <a:pt x="860" y="324"/>
                  </a:lnTo>
                  <a:lnTo>
                    <a:pt x="860" y="324"/>
                  </a:lnTo>
                  <a:lnTo>
                    <a:pt x="860" y="322"/>
                  </a:lnTo>
                  <a:lnTo>
                    <a:pt x="974" y="322"/>
                  </a:lnTo>
                  <a:lnTo>
                    <a:pt x="974" y="322"/>
                  </a:lnTo>
                  <a:lnTo>
                    <a:pt x="976" y="304"/>
                  </a:lnTo>
                  <a:lnTo>
                    <a:pt x="840" y="304"/>
                  </a:lnTo>
                  <a:lnTo>
                    <a:pt x="840" y="304"/>
                  </a:lnTo>
                  <a:lnTo>
                    <a:pt x="840" y="320"/>
                  </a:lnTo>
                  <a:lnTo>
                    <a:pt x="840" y="320"/>
                  </a:lnTo>
                  <a:lnTo>
                    <a:pt x="856" y="350"/>
                  </a:lnTo>
                  <a:lnTo>
                    <a:pt x="856" y="350"/>
                  </a:lnTo>
                  <a:lnTo>
                    <a:pt x="874" y="346"/>
                  </a:lnTo>
                  <a:lnTo>
                    <a:pt x="874" y="346"/>
                  </a:lnTo>
                  <a:close/>
                  <a:moveTo>
                    <a:pt x="922" y="228"/>
                  </a:moveTo>
                  <a:lnTo>
                    <a:pt x="922" y="228"/>
                  </a:lnTo>
                  <a:lnTo>
                    <a:pt x="938" y="228"/>
                  </a:lnTo>
                  <a:lnTo>
                    <a:pt x="952" y="226"/>
                  </a:lnTo>
                  <a:lnTo>
                    <a:pt x="962" y="222"/>
                  </a:lnTo>
                  <a:lnTo>
                    <a:pt x="972" y="216"/>
                  </a:lnTo>
                  <a:lnTo>
                    <a:pt x="978" y="210"/>
                  </a:lnTo>
                  <a:lnTo>
                    <a:pt x="984" y="202"/>
                  </a:lnTo>
                  <a:lnTo>
                    <a:pt x="988" y="194"/>
                  </a:lnTo>
                  <a:lnTo>
                    <a:pt x="988" y="184"/>
                  </a:lnTo>
                  <a:lnTo>
                    <a:pt x="988" y="184"/>
                  </a:lnTo>
                  <a:lnTo>
                    <a:pt x="988" y="174"/>
                  </a:lnTo>
                  <a:lnTo>
                    <a:pt x="986" y="164"/>
                  </a:lnTo>
                  <a:lnTo>
                    <a:pt x="982" y="156"/>
                  </a:lnTo>
                  <a:lnTo>
                    <a:pt x="976" y="148"/>
                  </a:lnTo>
                  <a:lnTo>
                    <a:pt x="968" y="144"/>
                  </a:lnTo>
                  <a:lnTo>
                    <a:pt x="956" y="140"/>
                  </a:lnTo>
                  <a:lnTo>
                    <a:pt x="942" y="138"/>
                  </a:lnTo>
                  <a:lnTo>
                    <a:pt x="926" y="136"/>
                  </a:lnTo>
                  <a:lnTo>
                    <a:pt x="926" y="136"/>
                  </a:lnTo>
                  <a:lnTo>
                    <a:pt x="910" y="138"/>
                  </a:lnTo>
                  <a:lnTo>
                    <a:pt x="894" y="140"/>
                  </a:lnTo>
                  <a:lnTo>
                    <a:pt x="880" y="144"/>
                  </a:lnTo>
                  <a:lnTo>
                    <a:pt x="868" y="148"/>
                  </a:lnTo>
                  <a:lnTo>
                    <a:pt x="858" y="154"/>
                  </a:lnTo>
                  <a:lnTo>
                    <a:pt x="850" y="162"/>
                  </a:lnTo>
                  <a:lnTo>
                    <a:pt x="846" y="172"/>
                  </a:lnTo>
                  <a:lnTo>
                    <a:pt x="844" y="182"/>
                  </a:lnTo>
                  <a:lnTo>
                    <a:pt x="844" y="182"/>
                  </a:lnTo>
                  <a:lnTo>
                    <a:pt x="844" y="192"/>
                  </a:lnTo>
                  <a:lnTo>
                    <a:pt x="850" y="200"/>
                  </a:lnTo>
                  <a:lnTo>
                    <a:pt x="856" y="208"/>
                  </a:lnTo>
                  <a:lnTo>
                    <a:pt x="866" y="216"/>
                  </a:lnTo>
                  <a:lnTo>
                    <a:pt x="878" y="220"/>
                  </a:lnTo>
                  <a:lnTo>
                    <a:pt x="892" y="226"/>
                  </a:lnTo>
                  <a:lnTo>
                    <a:pt x="906" y="228"/>
                  </a:lnTo>
                  <a:lnTo>
                    <a:pt x="922" y="228"/>
                  </a:lnTo>
                  <a:lnTo>
                    <a:pt x="922" y="228"/>
                  </a:lnTo>
                  <a:close/>
                  <a:moveTo>
                    <a:pt x="926" y="156"/>
                  </a:moveTo>
                  <a:lnTo>
                    <a:pt x="926" y="156"/>
                  </a:lnTo>
                  <a:lnTo>
                    <a:pt x="950" y="156"/>
                  </a:lnTo>
                  <a:lnTo>
                    <a:pt x="958" y="158"/>
                  </a:lnTo>
                  <a:lnTo>
                    <a:pt x="966" y="162"/>
                  </a:lnTo>
                  <a:lnTo>
                    <a:pt x="970" y="166"/>
                  </a:lnTo>
                  <a:lnTo>
                    <a:pt x="974" y="170"/>
                  </a:lnTo>
                  <a:lnTo>
                    <a:pt x="976" y="176"/>
                  </a:lnTo>
                  <a:lnTo>
                    <a:pt x="976" y="182"/>
                  </a:lnTo>
                  <a:lnTo>
                    <a:pt x="976" y="182"/>
                  </a:lnTo>
                  <a:lnTo>
                    <a:pt x="976" y="188"/>
                  </a:lnTo>
                  <a:lnTo>
                    <a:pt x="974" y="194"/>
                  </a:lnTo>
                  <a:lnTo>
                    <a:pt x="970" y="198"/>
                  </a:lnTo>
                  <a:lnTo>
                    <a:pt x="964" y="202"/>
                  </a:lnTo>
                  <a:lnTo>
                    <a:pt x="956" y="206"/>
                  </a:lnTo>
                  <a:lnTo>
                    <a:pt x="948" y="208"/>
                  </a:lnTo>
                  <a:lnTo>
                    <a:pt x="924" y="210"/>
                  </a:lnTo>
                  <a:lnTo>
                    <a:pt x="924" y="210"/>
                  </a:lnTo>
                  <a:lnTo>
                    <a:pt x="898" y="208"/>
                  </a:lnTo>
                  <a:lnTo>
                    <a:pt x="888" y="206"/>
                  </a:lnTo>
                  <a:lnTo>
                    <a:pt x="880" y="202"/>
                  </a:lnTo>
                  <a:lnTo>
                    <a:pt x="872" y="198"/>
                  </a:lnTo>
                  <a:lnTo>
                    <a:pt x="866" y="194"/>
                  </a:lnTo>
                  <a:lnTo>
                    <a:pt x="862" y="188"/>
                  </a:lnTo>
                  <a:lnTo>
                    <a:pt x="862" y="182"/>
                  </a:lnTo>
                  <a:lnTo>
                    <a:pt x="862" y="182"/>
                  </a:lnTo>
                  <a:lnTo>
                    <a:pt x="864" y="176"/>
                  </a:lnTo>
                  <a:lnTo>
                    <a:pt x="868" y="170"/>
                  </a:lnTo>
                  <a:lnTo>
                    <a:pt x="874" y="166"/>
                  </a:lnTo>
                  <a:lnTo>
                    <a:pt x="882" y="162"/>
                  </a:lnTo>
                  <a:lnTo>
                    <a:pt x="902" y="156"/>
                  </a:lnTo>
                  <a:lnTo>
                    <a:pt x="926" y="156"/>
                  </a:lnTo>
                  <a:lnTo>
                    <a:pt x="926" y="156"/>
                  </a:lnTo>
                  <a:close/>
                  <a:moveTo>
                    <a:pt x="888" y="74"/>
                  </a:moveTo>
                  <a:lnTo>
                    <a:pt x="888" y="74"/>
                  </a:lnTo>
                  <a:lnTo>
                    <a:pt x="872" y="52"/>
                  </a:lnTo>
                  <a:lnTo>
                    <a:pt x="872" y="52"/>
                  </a:lnTo>
                  <a:lnTo>
                    <a:pt x="872" y="52"/>
                  </a:lnTo>
                  <a:lnTo>
                    <a:pt x="992" y="52"/>
                  </a:lnTo>
                  <a:lnTo>
                    <a:pt x="992" y="52"/>
                  </a:lnTo>
                  <a:lnTo>
                    <a:pt x="992" y="34"/>
                  </a:lnTo>
                  <a:lnTo>
                    <a:pt x="850" y="34"/>
                  </a:lnTo>
                  <a:lnTo>
                    <a:pt x="850" y="34"/>
                  </a:lnTo>
                  <a:lnTo>
                    <a:pt x="850" y="48"/>
                  </a:lnTo>
                  <a:lnTo>
                    <a:pt x="850" y="48"/>
                  </a:lnTo>
                  <a:lnTo>
                    <a:pt x="870" y="78"/>
                  </a:lnTo>
                  <a:lnTo>
                    <a:pt x="870" y="78"/>
                  </a:lnTo>
                  <a:lnTo>
                    <a:pt x="888" y="74"/>
                  </a:lnTo>
                  <a:lnTo>
                    <a:pt x="888" y="74"/>
                  </a:lnTo>
                  <a:close/>
                  <a:moveTo>
                    <a:pt x="0" y="3446"/>
                  </a:moveTo>
                  <a:lnTo>
                    <a:pt x="118" y="3446"/>
                  </a:lnTo>
                  <a:lnTo>
                    <a:pt x="118" y="3446"/>
                  </a:lnTo>
                  <a:lnTo>
                    <a:pt x="118" y="3446"/>
                  </a:lnTo>
                  <a:lnTo>
                    <a:pt x="118" y="3446"/>
                  </a:lnTo>
                  <a:lnTo>
                    <a:pt x="106" y="3470"/>
                  </a:lnTo>
                  <a:lnTo>
                    <a:pt x="106" y="3470"/>
                  </a:lnTo>
                  <a:lnTo>
                    <a:pt x="118" y="3474"/>
                  </a:lnTo>
                  <a:lnTo>
                    <a:pt x="118" y="3474"/>
                  </a:lnTo>
                  <a:lnTo>
                    <a:pt x="136" y="3444"/>
                  </a:lnTo>
                  <a:lnTo>
                    <a:pt x="136" y="3444"/>
                  </a:lnTo>
                  <a:lnTo>
                    <a:pt x="136" y="3428"/>
                  </a:lnTo>
                  <a:lnTo>
                    <a:pt x="0" y="3428"/>
                  </a:lnTo>
                  <a:lnTo>
                    <a:pt x="0" y="3428"/>
                  </a:lnTo>
                  <a:lnTo>
                    <a:pt x="0" y="3446"/>
                  </a:lnTo>
                  <a:lnTo>
                    <a:pt x="0" y="3446"/>
                  </a:lnTo>
                  <a:close/>
                  <a:moveTo>
                    <a:pt x="8" y="3310"/>
                  </a:moveTo>
                  <a:lnTo>
                    <a:pt x="124" y="3310"/>
                  </a:lnTo>
                  <a:lnTo>
                    <a:pt x="124" y="3310"/>
                  </a:lnTo>
                  <a:lnTo>
                    <a:pt x="124" y="3312"/>
                  </a:lnTo>
                  <a:lnTo>
                    <a:pt x="124" y="3312"/>
                  </a:lnTo>
                  <a:lnTo>
                    <a:pt x="110" y="3334"/>
                  </a:lnTo>
                  <a:lnTo>
                    <a:pt x="110" y="3334"/>
                  </a:lnTo>
                  <a:lnTo>
                    <a:pt x="124" y="3338"/>
                  </a:lnTo>
                  <a:lnTo>
                    <a:pt x="124" y="3338"/>
                  </a:lnTo>
                  <a:lnTo>
                    <a:pt x="142" y="3308"/>
                  </a:lnTo>
                  <a:lnTo>
                    <a:pt x="142" y="3308"/>
                  </a:lnTo>
                  <a:lnTo>
                    <a:pt x="142" y="3294"/>
                  </a:lnTo>
                  <a:lnTo>
                    <a:pt x="10" y="3294"/>
                  </a:lnTo>
                  <a:lnTo>
                    <a:pt x="10" y="3294"/>
                  </a:lnTo>
                  <a:lnTo>
                    <a:pt x="8" y="3310"/>
                  </a:lnTo>
                  <a:lnTo>
                    <a:pt x="8" y="3310"/>
                  </a:lnTo>
                  <a:close/>
                  <a:moveTo>
                    <a:pt x="100" y="3124"/>
                  </a:moveTo>
                  <a:lnTo>
                    <a:pt x="100" y="3124"/>
                  </a:lnTo>
                  <a:lnTo>
                    <a:pt x="84" y="3126"/>
                  </a:lnTo>
                  <a:lnTo>
                    <a:pt x="72" y="3128"/>
                  </a:lnTo>
                  <a:lnTo>
                    <a:pt x="60" y="3132"/>
                  </a:lnTo>
                  <a:lnTo>
                    <a:pt x="48" y="3138"/>
                  </a:lnTo>
                  <a:lnTo>
                    <a:pt x="40" y="3144"/>
                  </a:lnTo>
                  <a:lnTo>
                    <a:pt x="34" y="3152"/>
                  </a:lnTo>
                  <a:lnTo>
                    <a:pt x="28" y="3162"/>
                  </a:lnTo>
                  <a:lnTo>
                    <a:pt x="26" y="3172"/>
                  </a:lnTo>
                  <a:lnTo>
                    <a:pt x="26" y="3172"/>
                  </a:lnTo>
                  <a:lnTo>
                    <a:pt x="26" y="3182"/>
                  </a:lnTo>
                  <a:lnTo>
                    <a:pt x="28" y="3190"/>
                  </a:lnTo>
                  <a:lnTo>
                    <a:pt x="32" y="3198"/>
                  </a:lnTo>
                  <a:lnTo>
                    <a:pt x="38" y="3204"/>
                  </a:lnTo>
                  <a:lnTo>
                    <a:pt x="46" y="3210"/>
                  </a:lnTo>
                  <a:lnTo>
                    <a:pt x="56" y="3214"/>
                  </a:lnTo>
                  <a:lnTo>
                    <a:pt x="70" y="3216"/>
                  </a:lnTo>
                  <a:lnTo>
                    <a:pt x="84" y="3216"/>
                  </a:lnTo>
                  <a:lnTo>
                    <a:pt x="84" y="3216"/>
                  </a:lnTo>
                  <a:lnTo>
                    <a:pt x="100" y="3216"/>
                  </a:lnTo>
                  <a:lnTo>
                    <a:pt x="114" y="3214"/>
                  </a:lnTo>
                  <a:lnTo>
                    <a:pt x="126" y="3208"/>
                  </a:lnTo>
                  <a:lnTo>
                    <a:pt x="136" y="3204"/>
                  </a:lnTo>
                  <a:lnTo>
                    <a:pt x="146" y="3196"/>
                  </a:lnTo>
                  <a:lnTo>
                    <a:pt x="152" y="3188"/>
                  </a:lnTo>
                  <a:lnTo>
                    <a:pt x="156" y="3180"/>
                  </a:lnTo>
                  <a:lnTo>
                    <a:pt x="158" y="3170"/>
                  </a:lnTo>
                  <a:lnTo>
                    <a:pt x="158" y="3170"/>
                  </a:lnTo>
                  <a:lnTo>
                    <a:pt x="158" y="3160"/>
                  </a:lnTo>
                  <a:lnTo>
                    <a:pt x="156" y="3150"/>
                  </a:lnTo>
                  <a:lnTo>
                    <a:pt x="152" y="3142"/>
                  </a:lnTo>
                  <a:lnTo>
                    <a:pt x="146" y="3136"/>
                  </a:lnTo>
                  <a:lnTo>
                    <a:pt x="138" y="3132"/>
                  </a:lnTo>
                  <a:lnTo>
                    <a:pt x="126" y="3128"/>
                  </a:lnTo>
                  <a:lnTo>
                    <a:pt x="114" y="3126"/>
                  </a:lnTo>
                  <a:lnTo>
                    <a:pt x="100" y="3124"/>
                  </a:lnTo>
                  <a:lnTo>
                    <a:pt x="100" y="3124"/>
                  </a:lnTo>
                  <a:close/>
                  <a:moveTo>
                    <a:pt x="144" y="3170"/>
                  </a:moveTo>
                  <a:lnTo>
                    <a:pt x="144" y="3170"/>
                  </a:lnTo>
                  <a:lnTo>
                    <a:pt x="144" y="3176"/>
                  </a:lnTo>
                  <a:lnTo>
                    <a:pt x="140" y="3182"/>
                  </a:lnTo>
                  <a:lnTo>
                    <a:pt x="134" y="3186"/>
                  </a:lnTo>
                  <a:lnTo>
                    <a:pt x="128" y="3190"/>
                  </a:lnTo>
                  <a:lnTo>
                    <a:pt x="120" y="3194"/>
                  </a:lnTo>
                  <a:lnTo>
                    <a:pt x="110" y="3196"/>
                  </a:lnTo>
                  <a:lnTo>
                    <a:pt x="86" y="3198"/>
                  </a:lnTo>
                  <a:lnTo>
                    <a:pt x="86" y="3198"/>
                  </a:lnTo>
                  <a:lnTo>
                    <a:pt x="64" y="3196"/>
                  </a:lnTo>
                  <a:lnTo>
                    <a:pt x="56" y="3194"/>
                  </a:lnTo>
                  <a:lnTo>
                    <a:pt x="50" y="3190"/>
                  </a:lnTo>
                  <a:lnTo>
                    <a:pt x="44" y="3186"/>
                  </a:lnTo>
                  <a:lnTo>
                    <a:pt x="40" y="3182"/>
                  </a:lnTo>
                  <a:lnTo>
                    <a:pt x="38" y="3176"/>
                  </a:lnTo>
                  <a:lnTo>
                    <a:pt x="40" y="3170"/>
                  </a:lnTo>
                  <a:lnTo>
                    <a:pt x="40" y="3170"/>
                  </a:lnTo>
                  <a:lnTo>
                    <a:pt x="42" y="3164"/>
                  </a:lnTo>
                  <a:lnTo>
                    <a:pt x="44" y="3158"/>
                  </a:lnTo>
                  <a:lnTo>
                    <a:pt x="50" y="3154"/>
                  </a:lnTo>
                  <a:lnTo>
                    <a:pt x="56" y="3150"/>
                  </a:lnTo>
                  <a:lnTo>
                    <a:pt x="64" y="3146"/>
                  </a:lnTo>
                  <a:lnTo>
                    <a:pt x="74" y="3144"/>
                  </a:lnTo>
                  <a:lnTo>
                    <a:pt x="96" y="3144"/>
                  </a:lnTo>
                  <a:lnTo>
                    <a:pt x="96" y="3144"/>
                  </a:lnTo>
                  <a:lnTo>
                    <a:pt x="118" y="3144"/>
                  </a:lnTo>
                  <a:lnTo>
                    <a:pt x="126" y="3146"/>
                  </a:lnTo>
                  <a:lnTo>
                    <a:pt x="134" y="3150"/>
                  </a:lnTo>
                  <a:lnTo>
                    <a:pt x="138" y="3154"/>
                  </a:lnTo>
                  <a:lnTo>
                    <a:pt x="142" y="3158"/>
                  </a:lnTo>
                  <a:lnTo>
                    <a:pt x="144" y="3164"/>
                  </a:lnTo>
                  <a:lnTo>
                    <a:pt x="144" y="3170"/>
                  </a:lnTo>
                  <a:lnTo>
                    <a:pt x="144" y="3170"/>
                  </a:lnTo>
                  <a:close/>
                  <a:moveTo>
                    <a:pt x="56" y="3040"/>
                  </a:moveTo>
                  <a:lnTo>
                    <a:pt x="162" y="3040"/>
                  </a:lnTo>
                  <a:lnTo>
                    <a:pt x="162" y="3040"/>
                  </a:lnTo>
                  <a:lnTo>
                    <a:pt x="162" y="3040"/>
                  </a:lnTo>
                  <a:lnTo>
                    <a:pt x="162" y="3040"/>
                  </a:lnTo>
                  <a:lnTo>
                    <a:pt x="146" y="3062"/>
                  </a:lnTo>
                  <a:lnTo>
                    <a:pt x="146" y="3062"/>
                  </a:lnTo>
                  <a:lnTo>
                    <a:pt x="158" y="3066"/>
                  </a:lnTo>
                  <a:lnTo>
                    <a:pt x="158" y="3066"/>
                  </a:lnTo>
                  <a:lnTo>
                    <a:pt x="178" y="3036"/>
                  </a:lnTo>
                  <a:lnTo>
                    <a:pt x="178" y="3036"/>
                  </a:lnTo>
                  <a:lnTo>
                    <a:pt x="180" y="3022"/>
                  </a:lnTo>
                  <a:lnTo>
                    <a:pt x="60" y="3022"/>
                  </a:lnTo>
                  <a:lnTo>
                    <a:pt x="60" y="3022"/>
                  </a:lnTo>
                  <a:lnTo>
                    <a:pt x="56" y="3040"/>
                  </a:lnTo>
                  <a:lnTo>
                    <a:pt x="56" y="3040"/>
                  </a:lnTo>
                  <a:close/>
                  <a:moveTo>
                    <a:pt x="162" y="2854"/>
                  </a:moveTo>
                  <a:lnTo>
                    <a:pt x="162" y="2854"/>
                  </a:lnTo>
                  <a:lnTo>
                    <a:pt x="148" y="2854"/>
                  </a:lnTo>
                  <a:lnTo>
                    <a:pt x="136" y="2856"/>
                  </a:lnTo>
                  <a:lnTo>
                    <a:pt x="124" y="2860"/>
                  </a:lnTo>
                  <a:lnTo>
                    <a:pt x="116" y="2866"/>
                  </a:lnTo>
                  <a:lnTo>
                    <a:pt x="106" y="2872"/>
                  </a:lnTo>
                  <a:lnTo>
                    <a:pt x="100" y="2880"/>
                  </a:lnTo>
                  <a:lnTo>
                    <a:pt x="94" y="2890"/>
                  </a:lnTo>
                  <a:lnTo>
                    <a:pt x="90" y="2900"/>
                  </a:lnTo>
                  <a:lnTo>
                    <a:pt x="90" y="2900"/>
                  </a:lnTo>
                  <a:lnTo>
                    <a:pt x="88" y="2910"/>
                  </a:lnTo>
                  <a:lnTo>
                    <a:pt x="88" y="2918"/>
                  </a:lnTo>
                  <a:lnTo>
                    <a:pt x="92" y="2926"/>
                  </a:lnTo>
                  <a:lnTo>
                    <a:pt x="96" y="2932"/>
                  </a:lnTo>
                  <a:lnTo>
                    <a:pt x="102" y="2938"/>
                  </a:lnTo>
                  <a:lnTo>
                    <a:pt x="112" y="2942"/>
                  </a:lnTo>
                  <a:lnTo>
                    <a:pt x="122" y="2944"/>
                  </a:lnTo>
                  <a:lnTo>
                    <a:pt x="136" y="2944"/>
                  </a:lnTo>
                  <a:lnTo>
                    <a:pt x="136" y="2944"/>
                  </a:lnTo>
                  <a:lnTo>
                    <a:pt x="150" y="2944"/>
                  </a:lnTo>
                  <a:lnTo>
                    <a:pt x="162" y="2942"/>
                  </a:lnTo>
                  <a:lnTo>
                    <a:pt x="174" y="2938"/>
                  </a:lnTo>
                  <a:lnTo>
                    <a:pt x="184" y="2932"/>
                  </a:lnTo>
                  <a:lnTo>
                    <a:pt x="192" y="2924"/>
                  </a:lnTo>
                  <a:lnTo>
                    <a:pt x="200" y="2916"/>
                  </a:lnTo>
                  <a:lnTo>
                    <a:pt x="206" y="2908"/>
                  </a:lnTo>
                  <a:lnTo>
                    <a:pt x="208" y="2898"/>
                  </a:lnTo>
                  <a:lnTo>
                    <a:pt x="208" y="2898"/>
                  </a:lnTo>
                  <a:lnTo>
                    <a:pt x="210" y="2888"/>
                  </a:lnTo>
                  <a:lnTo>
                    <a:pt x="208" y="2878"/>
                  </a:lnTo>
                  <a:lnTo>
                    <a:pt x="206" y="2872"/>
                  </a:lnTo>
                  <a:lnTo>
                    <a:pt x="200" y="2864"/>
                  </a:lnTo>
                  <a:lnTo>
                    <a:pt x="194" y="2860"/>
                  </a:lnTo>
                  <a:lnTo>
                    <a:pt x="184" y="2856"/>
                  </a:lnTo>
                  <a:lnTo>
                    <a:pt x="174" y="2854"/>
                  </a:lnTo>
                  <a:lnTo>
                    <a:pt x="162" y="2854"/>
                  </a:lnTo>
                  <a:lnTo>
                    <a:pt x="162" y="2854"/>
                  </a:lnTo>
                  <a:close/>
                  <a:moveTo>
                    <a:pt x="196" y="2898"/>
                  </a:moveTo>
                  <a:lnTo>
                    <a:pt x="196" y="2898"/>
                  </a:lnTo>
                  <a:lnTo>
                    <a:pt x="194" y="2904"/>
                  </a:lnTo>
                  <a:lnTo>
                    <a:pt x="190" y="2910"/>
                  </a:lnTo>
                  <a:lnTo>
                    <a:pt x="184" y="2914"/>
                  </a:lnTo>
                  <a:lnTo>
                    <a:pt x="178" y="2918"/>
                  </a:lnTo>
                  <a:lnTo>
                    <a:pt x="170" y="2922"/>
                  </a:lnTo>
                  <a:lnTo>
                    <a:pt x="162" y="2924"/>
                  </a:lnTo>
                  <a:lnTo>
                    <a:pt x="140" y="2926"/>
                  </a:lnTo>
                  <a:lnTo>
                    <a:pt x="140" y="2926"/>
                  </a:lnTo>
                  <a:lnTo>
                    <a:pt x="120" y="2924"/>
                  </a:lnTo>
                  <a:lnTo>
                    <a:pt x="114" y="2922"/>
                  </a:lnTo>
                  <a:lnTo>
                    <a:pt x="108" y="2920"/>
                  </a:lnTo>
                  <a:lnTo>
                    <a:pt x="104" y="2916"/>
                  </a:lnTo>
                  <a:lnTo>
                    <a:pt x="102" y="2910"/>
                  </a:lnTo>
                  <a:lnTo>
                    <a:pt x="100" y="2906"/>
                  </a:lnTo>
                  <a:lnTo>
                    <a:pt x="102" y="2900"/>
                  </a:lnTo>
                  <a:lnTo>
                    <a:pt x="102" y="2900"/>
                  </a:lnTo>
                  <a:lnTo>
                    <a:pt x="104" y="2892"/>
                  </a:lnTo>
                  <a:lnTo>
                    <a:pt x="108" y="2886"/>
                  </a:lnTo>
                  <a:lnTo>
                    <a:pt x="114" y="2882"/>
                  </a:lnTo>
                  <a:lnTo>
                    <a:pt x="120" y="2878"/>
                  </a:lnTo>
                  <a:lnTo>
                    <a:pt x="136" y="2874"/>
                  </a:lnTo>
                  <a:lnTo>
                    <a:pt x="156" y="2872"/>
                  </a:lnTo>
                  <a:lnTo>
                    <a:pt x="156" y="2872"/>
                  </a:lnTo>
                  <a:lnTo>
                    <a:pt x="174" y="2874"/>
                  </a:lnTo>
                  <a:lnTo>
                    <a:pt x="182" y="2876"/>
                  </a:lnTo>
                  <a:lnTo>
                    <a:pt x="188" y="2878"/>
                  </a:lnTo>
                  <a:lnTo>
                    <a:pt x="192" y="2882"/>
                  </a:lnTo>
                  <a:lnTo>
                    <a:pt x="196" y="2886"/>
                  </a:lnTo>
                  <a:lnTo>
                    <a:pt x="196" y="2892"/>
                  </a:lnTo>
                  <a:lnTo>
                    <a:pt x="196" y="2898"/>
                  </a:lnTo>
                  <a:lnTo>
                    <a:pt x="196" y="2898"/>
                  </a:lnTo>
                  <a:close/>
                  <a:moveTo>
                    <a:pt x="134" y="2768"/>
                  </a:moveTo>
                  <a:lnTo>
                    <a:pt x="226" y="2768"/>
                  </a:lnTo>
                  <a:lnTo>
                    <a:pt x="226" y="2768"/>
                  </a:lnTo>
                  <a:lnTo>
                    <a:pt x="224" y="2768"/>
                  </a:lnTo>
                  <a:lnTo>
                    <a:pt x="224" y="2768"/>
                  </a:lnTo>
                  <a:lnTo>
                    <a:pt x="208" y="2792"/>
                  </a:lnTo>
                  <a:lnTo>
                    <a:pt x="208" y="2792"/>
                  </a:lnTo>
                  <a:lnTo>
                    <a:pt x="218" y="2794"/>
                  </a:lnTo>
                  <a:lnTo>
                    <a:pt x="218" y="2794"/>
                  </a:lnTo>
                  <a:lnTo>
                    <a:pt x="240" y="2766"/>
                  </a:lnTo>
                  <a:lnTo>
                    <a:pt x="240" y="2766"/>
                  </a:lnTo>
                  <a:lnTo>
                    <a:pt x="244" y="2750"/>
                  </a:lnTo>
                  <a:lnTo>
                    <a:pt x="140" y="2750"/>
                  </a:lnTo>
                  <a:lnTo>
                    <a:pt x="140" y="2750"/>
                  </a:lnTo>
                  <a:lnTo>
                    <a:pt x="134" y="2768"/>
                  </a:lnTo>
                  <a:lnTo>
                    <a:pt x="134" y="2768"/>
                  </a:lnTo>
                  <a:close/>
                  <a:moveTo>
                    <a:pt x="214" y="2674"/>
                  </a:moveTo>
                  <a:lnTo>
                    <a:pt x="214" y="2674"/>
                  </a:lnTo>
                  <a:lnTo>
                    <a:pt x="226" y="2672"/>
                  </a:lnTo>
                  <a:lnTo>
                    <a:pt x="238" y="2670"/>
                  </a:lnTo>
                  <a:lnTo>
                    <a:pt x="248" y="2666"/>
                  </a:lnTo>
                  <a:lnTo>
                    <a:pt x="256" y="2660"/>
                  </a:lnTo>
                  <a:lnTo>
                    <a:pt x="264" y="2654"/>
                  </a:lnTo>
                  <a:lnTo>
                    <a:pt x="272" y="2646"/>
                  </a:lnTo>
                  <a:lnTo>
                    <a:pt x="278" y="2636"/>
                  </a:lnTo>
                  <a:lnTo>
                    <a:pt x="280" y="2626"/>
                  </a:lnTo>
                  <a:lnTo>
                    <a:pt x="280" y="2626"/>
                  </a:lnTo>
                  <a:lnTo>
                    <a:pt x="284" y="2616"/>
                  </a:lnTo>
                  <a:lnTo>
                    <a:pt x="284" y="2608"/>
                  </a:lnTo>
                  <a:lnTo>
                    <a:pt x="282" y="2600"/>
                  </a:lnTo>
                  <a:lnTo>
                    <a:pt x="278" y="2594"/>
                  </a:lnTo>
                  <a:lnTo>
                    <a:pt x="272" y="2588"/>
                  </a:lnTo>
                  <a:lnTo>
                    <a:pt x="266" y="2584"/>
                  </a:lnTo>
                  <a:lnTo>
                    <a:pt x="258" y="2582"/>
                  </a:lnTo>
                  <a:lnTo>
                    <a:pt x="248" y="2582"/>
                  </a:lnTo>
                  <a:lnTo>
                    <a:pt x="248" y="2582"/>
                  </a:lnTo>
                  <a:lnTo>
                    <a:pt x="236" y="2582"/>
                  </a:lnTo>
                  <a:lnTo>
                    <a:pt x="226" y="2584"/>
                  </a:lnTo>
                  <a:lnTo>
                    <a:pt x="218" y="2588"/>
                  </a:lnTo>
                  <a:lnTo>
                    <a:pt x="210" y="2594"/>
                  </a:lnTo>
                  <a:lnTo>
                    <a:pt x="202" y="2600"/>
                  </a:lnTo>
                  <a:lnTo>
                    <a:pt x="196" y="2608"/>
                  </a:lnTo>
                  <a:lnTo>
                    <a:pt x="190" y="2618"/>
                  </a:lnTo>
                  <a:lnTo>
                    <a:pt x="184" y="2628"/>
                  </a:lnTo>
                  <a:lnTo>
                    <a:pt x="184" y="2628"/>
                  </a:lnTo>
                  <a:lnTo>
                    <a:pt x="182" y="2638"/>
                  </a:lnTo>
                  <a:lnTo>
                    <a:pt x="180" y="2646"/>
                  </a:lnTo>
                  <a:lnTo>
                    <a:pt x="182" y="2654"/>
                  </a:lnTo>
                  <a:lnTo>
                    <a:pt x="184" y="2660"/>
                  </a:lnTo>
                  <a:lnTo>
                    <a:pt x="188" y="2666"/>
                  </a:lnTo>
                  <a:lnTo>
                    <a:pt x="196" y="2670"/>
                  </a:lnTo>
                  <a:lnTo>
                    <a:pt x="204" y="2672"/>
                  </a:lnTo>
                  <a:lnTo>
                    <a:pt x="214" y="2674"/>
                  </a:lnTo>
                  <a:lnTo>
                    <a:pt x="214" y="2674"/>
                  </a:lnTo>
                  <a:close/>
                  <a:moveTo>
                    <a:pt x="194" y="2628"/>
                  </a:moveTo>
                  <a:lnTo>
                    <a:pt x="194" y="2628"/>
                  </a:lnTo>
                  <a:lnTo>
                    <a:pt x="200" y="2616"/>
                  </a:lnTo>
                  <a:lnTo>
                    <a:pt x="212" y="2606"/>
                  </a:lnTo>
                  <a:lnTo>
                    <a:pt x="224" y="2602"/>
                  </a:lnTo>
                  <a:lnTo>
                    <a:pt x="240" y="2600"/>
                  </a:lnTo>
                  <a:lnTo>
                    <a:pt x="240" y="2600"/>
                  </a:lnTo>
                  <a:lnTo>
                    <a:pt x="256" y="2602"/>
                  </a:lnTo>
                  <a:lnTo>
                    <a:pt x="262" y="2604"/>
                  </a:lnTo>
                  <a:lnTo>
                    <a:pt x="266" y="2606"/>
                  </a:lnTo>
                  <a:lnTo>
                    <a:pt x="270" y="2610"/>
                  </a:lnTo>
                  <a:lnTo>
                    <a:pt x="272" y="2614"/>
                  </a:lnTo>
                  <a:lnTo>
                    <a:pt x="272" y="2620"/>
                  </a:lnTo>
                  <a:lnTo>
                    <a:pt x="270" y="2628"/>
                  </a:lnTo>
                  <a:lnTo>
                    <a:pt x="270" y="2628"/>
                  </a:lnTo>
                  <a:lnTo>
                    <a:pt x="268" y="2634"/>
                  </a:lnTo>
                  <a:lnTo>
                    <a:pt x="264" y="2638"/>
                  </a:lnTo>
                  <a:lnTo>
                    <a:pt x="254" y="2648"/>
                  </a:lnTo>
                  <a:lnTo>
                    <a:pt x="238" y="2652"/>
                  </a:lnTo>
                  <a:lnTo>
                    <a:pt x="220" y="2654"/>
                  </a:lnTo>
                  <a:lnTo>
                    <a:pt x="220" y="2654"/>
                  </a:lnTo>
                  <a:lnTo>
                    <a:pt x="206" y="2652"/>
                  </a:lnTo>
                  <a:lnTo>
                    <a:pt x="200" y="2650"/>
                  </a:lnTo>
                  <a:lnTo>
                    <a:pt x="196" y="2648"/>
                  </a:lnTo>
                  <a:lnTo>
                    <a:pt x="192" y="2644"/>
                  </a:lnTo>
                  <a:lnTo>
                    <a:pt x="192" y="2638"/>
                  </a:lnTo>
                  <a:lnTo>
                    <a:pt x="192" y="2634"/>
                  </a:lnTo>
                  <a:lnTo>
                    <a:pt x="194" y="2628"/>
                  </a:lnTo>
                  <a:lnTo>
                    <a:pt x="194" y="2628"/>
                  </a:lnTo>
                  <a:close/>
                  <a:moveTo>
                    <a:pt x="310" y="2496"/>
                  </a:moveTo>
                  <a:lnTo>
                    <a:pt x="310" y="2496"/>
                  </a:lnTo>
                  <a:lnTo>
                    <a:pt x="294" y="2520"/>
                  </a:lnTo>
                  <a:lnTo>
                    <a:pt x="294" y="2520"/>
                  </a:lnTo>
                  <a:lnTo>
                    <a:pt x="302" y="2524"/>
                  </a:lnTo>
                  <a:lnTo>
                    <a:pt x="302" y="2524"/>
                  </a:lnTo>
                  <a:lnTo>
                    <a:pt x="322" y="2494"/>
                  </a:lnTo>
                  <a:lnTo>
                    <a:pt x="322" y="2494"/>
                  </a:lnTo>
                  <a:lnTo>
                    <a:pt x="326" y="2478"/>
                  </a:lnTo>
                  <a:lnTo>
                    <a:pt x="248" y="2478"/>
                  </a:lnTo>
                  <a:lnTo>
                    <a:pt x="248" y="2478"/>
                  </a:lnTo>
                  <a:lnTo>
                    <a:pt x="240" y="2496"/>
                  </a:lnTo>
                  <a:lnTo>
                    <a:pt x="310" y="2496"/>
                  </a:lnTo>
                  <a:lnTo>
                    <a:pt x="310" y="2496"/>
                  </a:lnTo>
                  <a:lnTo>
                    <a:pt x="310" y="2496"/>
                  </a:lnTo>
                  <a:lnTo>
                    <a:pt x="310" y="2496"/>
                  </a:lnTo>
                  <a:close/>
                  <a:moveTo>
                    <a:pt x="358" y="2360"/>
                  </a:moveTo>
                  <a:lnTo>
                    <a:pt x="358" y="2360"/>
                  </a:lnTo>
                  <a:lnTo>
                    <a:pt x="342" y="2384"/>
                  </a:lnTo>
                  <a:lnTo>
                    <a:pt x="342" y="2384"/>
                  </a:lnTo>
                  <a:lnTo>
                    <a:pt x="350" y="2388"/>
                  </a:lnTo>
                  <a:lnTo>
                    <a:pt x="350" y="2388"/>
                  </a:lnTo>
                  <a:lnTo>
                    <a:pt x="368" y="2358"/>
                  </a:lnTo>
                  <a:lnTo>
                    <a:pt x="368" y="2358"/>
                  </a:lnTo>
                  <a:lnTo>
                    <a:pt x="374" y="2342"/>
                  </a:lnTo>
                  <a:lnTo>
                    <a:pt x="310" y="2342"/>
                  </a:lnTo>
                  <a:lnTo>
                    <a:pt x="310" y="2342"/>
                  </a:lnTo>
                  <a:lnTo>
                    <a:pt x="302" y="2360"/>
                  </a:lnTo>
                  <a:lnTo>
                    <a:pt x="358" y="2360"/>
                  </a:lnTo>
                  <a:lnTo>
                    <a:pt x="358" y="2360"/>
                  </a:lnTo>
                  <a:lnTo>
                    <a:pt x="358" y="2360"/>
                  </a:lnTo>
                  <a:lnTo>
                    <a:pt x="358" y="2360"/>
                  </a:lnTo>
                  <a:close/>
                  <a:moveTo>
                    <a:pt x="370" y="2266"/>
                  </a:moveTo>
                  <a:lnTo>
                    <a:pt x="370" y="2266"/>
                  </a:lnTo>
                  <a:lnTo>
                    <a:pt x="378" y="2264"/>
                  </a:lnTo>
                  <a:lnTo>
                    <a:pt x="386" y="2262"/>
                  </a:lnTo>
                  <a:lnTo>
                    <a:pt x="392" y="2258"/>
                  </a:lnTo>
                  <a:lnTo>
                    <a:pt x="400" y="2252"/>
                  </a:lnTo>
                  <a:lnTo>
                    <a:pt x="412" y="2238"/>
                  </a:lnTo>
                  <a:lnTo>
                    <a:pt x="422" y="2218"/>
                  </a:lnTo>
                  <a:lnTo>
                    <a:pt x="422" y="2218"/>
                  </a:lnTo>
                  <a:lnTo>
                    <a:pt x="426" y="2200"/>
                  </a:lnTo>
                  <a:lnTo>
                    <a:pt x="426" y="2192"/>
                  </a:lnTo>
                  <a:lnTo>
                    <a:pt x="426" y="2186"/>
                  </a:lnTo>
                  <a:lnTo>
                    <a:pt x="424" y="2180"/>
                  </a:lnTo>
                  <a:lnTo>
                    <a:pt x="420" y="2178"/>
                  </a:lnTo>
                  <a:lnTo>
                    <a:pt x="416" y="2174"/>
                  </a:lnTo>
                  <a:lnTo>
                    <a:pt x="410" y="2174"/>
                  </a:lnTo>
                  <a:lnTo>
                    <a:pt x="410" y="2174"/>
                  </a:lnTo>
                  <a:lnTo>
                    <a:pt x="404" y="2174"/>
                  </a:lnTo>
                  <a:lnTo>
                    <a:pt x="400" y="2178"/>
                  </a:lnTo>
                  <a:lnTo>
                    <a:pt x="394" y="2182"/>
                  </a:lnTo>
                  <a:lnTo>
                    <a:pt x="388" y="2186"/>
                  </a:lnTo>
                  <a:lnTo>
                    <a:pt x="378" y="2202"/>
                  </a:lnTo>
                  <a:lnTo>
                    <a:pt x="366" y="2222"/>
                  </a:lnTo>
                  <a:lnTo>
                    <a:pt x="366" y="2222"/>
                  </a:lnTo>
                  <a:lnTo>
                    <a:pt x="360" y="2240"/>
                  </a:lnTo>
                  <a:lnTo>
                    <a:pt x="358" y="2246"/>
                  </a:lnTo>
                  <a:lnTo>
                    <a:pt x="356" y="2254"/>
                  </a:lnTo>
                  <a:lnTo>
                    <a:pt x="358" y="2258"/>
                  </a:lnTo>
                  <a:lnTo>
                    <a:pt x="360" y="2262"/>
                  </a:lnTo>
                  <a:lnTo>
                    <a:pt x="364" y="2264"/>
                  </a:lnTo>
                  <a:lnTo>
                    <a:pt x="370" y="2266"/>
                  </a:lnTo>
                  <a:lnTo>
                    <a:pt x="370" y="2266"/>
                  </a:lnTo>
                  <a:close/>
                  <a:moveTo>
                    <a:pt x="372" y="2220"/>
                  </a:moveTo>
                  <a:lnTo>
                    <a:pt x="372" y="2220"/>
                  </a:lnTo>
                  <a:lnTo>
                    <a:pt x="378" y="2208"/>
                  </a:lnTo>
                  <a:lnTo>
                    <a:pt x="386" y="2200"/>
                  </a:lnTo>
                  <a:lnTo>
                    <a:pt x="394" y="2194"/>
                  </a:lnTo>
                  <a:lnTo>
                    <a:pt x="402" y="2192"/>
                  </a:lnTo>
                  <a:lnTo>
                    <a:pt x="402" y="2192"/>
                  </a:lnTo>
                  <a:lnTo>
                    <a:pt x="410" y="2194"/>
                  </a:lnTo>
                  <a:lnTo>
                    <a:pt x="414" y="2196"/>
                  </a:lnTo>
                  <a:lnTo>
                    <a:pt x="416" y="2198"/>
                  </a:lnTo>
                  <a:lnTo>
                    <a:pt x="418" y="2208"/>
                  </a:lnTo>
                  <a:lnTo>
                    <a:pt x="414" y="2220"/>
                  </a:lnTo>
                  <a:lnTo>
                    <a:pt x="414" y="2220"/>
                  </a:lnTo>
                  <a:lnTo>
                    <a:pt x="408" y="2230"/>
                  </a:lnTo>
                  <a:lnTo>
                    <a:pt x="400" y="2240"/>
                  </a:lnTo>
                  <a:lnTo>
                    <a:pt x="390" y="2246"/>
                  </a:lnTo>
                  <a:lnTo>
                    <a:pt x="378" y="2248"/>
                  </a:lnTo>
                  <a:lnTo>
                    <a:pt x="378" y="2248"/>
                  </a:lnTo>
                  <a:lnTo>
                    <a:pt x="374" y="2246"/>
                  </a:lnTo>
                  <a:lnTo>
                    <a:pt x="370" y="2246"/>
                  </a:lnTo>
                  <a:lnTo>
                    <a:pt x="368" y="2244"/>
                  </a:lnTo>
                  <a:lnTo>
                    <a:pt x="366" y="2240"/>
                  </a:lnTo>
                  <a:lnTo>
                    <a:pt x="366" y="2232"/>
                  </a:lnTo>
                  <a:lnTo>
                    <a:pt x="372" y="2220"/>
                  </a:lnTo>
                  <a:lnTo>
                    <a:pt x="372" y="2220"/>
                  </a:lnTo>
                  <a:close/>
                  <a:moveTo>
                    <a:pt x="430" y="2130"/>
                  </a:moveTo>
                  <a:lnTo>
                    <a:pt x="430" y="2130"/>
                  </a:lnTo>
                  <a:lnTo>
                    <a:pt x="436" y="2130"/>
                  </a:lnTo>
                  <a:lnTo>
                    <a:pt x="442" y="2126"/>
                  </a:lnTo>
                  <a:lnTo>
                    <a:pt x="452" y="2116"/>
                  </a:lnTo>
                  <a:lnTo>
                    <a:pt x="464" y="2102"/>
                  </a:lnTo>
                  <a:lnTo>
                    <a:pt x="474" y="2082"/>
                  </a:lnTo>
                  <a:lnTo>
                    <a:pt x="474" y="2082"/>
                  </a:lnTo>
                  <a:lnTo>
                    <a:pt x="480" y="2064"/>
                  </a:lnTo>
                  <a:lnTo>
                    <a:pt x="480" y="2050"/>
                  </a:lnTo>
                  <a:lnTo>
                    <a:pt x="480" y="2044"/>
                  </a:lnTo>
                  <a:lnTo>
                    <a:pt x="478" y="2042"/>
                  </a:lnTo>
                  <a:lnTo>
                    <a:pt x="474" y="2038"/>
                  </a:lnTo>
                  <a:lnTo>
                    <a:pt x="472" y="2038"/>
                  </a:lnTo>
                  <a:lnTo>
                    <a:pt x="472" y="2038"/>
                  </a:lnTo>
                  <a:lnTo>
                    <a:pt x="468" y="2038"/>
                  </a:lnTo>
                  <a:lnTo>
                    <a:pt x="462" y="2042"/>
                  </a:lnTo>
                  <a:lnTo>
                    <a:pt x="454" y="2050"/>
                  </a:lnTo>
                  <a:lnTo>
                    <a:pt x="444" y="2066"/>
                  </a:lnTo>
                  <a:lnTo>
                    <a:pt x="434" y="2086"/>
                  </a:lnTo>
                  <a:lnTo>
                    <a:pt x="434" y="2086"/>
                  </a:lnTo>
                  <a:lnTo>
                    <a:pt x="426" y="2104"/>
                  </a:lnTo>
                  <a:lnTo>
                    <a:pt x="422" y="2118"/>
                  </a:lnTo>
                  <a:lnTo>
                    <a:pt x="422" y="2122"/>
                  </a:lnTo>
                  <a:lnTo>
                    <a:pt x="422" y="2126"/>
                  </a:lnTo>
                  <a:lnTo>
                    <a:pt x="426" y="2130"/>
                  </a:lnTo>
                  <a:lnTo>
                    <a:pt x="430" y="2130"/>
                  </a:lnTo>
                  <a:lnTo>
                    <a:pt x="430" y="2130"/>
                  </a:lnTo>
                  <a:close/>
                  <a:moveTo>
                    <a:pt x="438" y="2084"/>
                  </a:moveTo>
                  <a:lnTo>
                    <a:pt x="438" y="2084"/>
                  </a:lnTo>
                  <a:lnTo>
                    <a:pt x="444" y="2072"/>
                  </a:lnTo>
                  <a:lnTo>
                    <a:pt x="450" y="2064"/>
                  </a:lnTo>
                  <a:lnTo>
                    <a:pt x="456" y="2058"/>
                  </a:lnTo>
                  <a:lnTo>
                    <a:pt x="462" y="2056"/>
                  </a:lnTo>
                  <a:lnTo>
                    <a:pt x="462" y="2056"/>
                  </a:lnTo>
                  <a:lnTo>
                    <a:pt x="468" y="2058"/>
                  </a:lnTo>
                  <a:lnTo>
                    <a:pt x="472" y="2064"/>
                  </a:lnTo>
                  <a:lnTo>
                    <a:pt x="472" y="2072"/>
                  </a:lnTo>
                  <a:lnTo>
                    <a:pt x="468" y="2084"/>
                  </a:lnTo>
                  <a:lnTo>
                    <a:pt x="468" y="2084"/>
                  </a:lnTo>
                  <a:lnTo>
                    <a:pt x="462" y="2096"/>
                  </a:lnTo>
                  <a:lnTo>
                    <a:pt x="454" y="2104"/>
                  </a:lnTo>
                  <a:lnTo>
                    <a:pt x="446" y="2110"/>
                  </a:lnTo>
                  <a:lnTo>
                    <a:pt x="438" y="2112"/>
                  </a:lnTo>
                  <a:lnTo>
                    <a:pt x="438" y="2112"/>
                  </a:lnTo>
                  <a:lnTo>
                    <a:pt x="434" y="2112"/>
                  </a:lnTo>
                  <a:lnTo>
                    <a:pt x="432" y="2110"/>
                  </a:lnTo>
                  <a:lnTo>
                    <a:pt x="430" y="2104"/>
                  </a:lnTo>
                  <a:lnTo>
                    <a:pt x="432" y="2096"/>
                  </a:lnTo>
                  <a:lnTo>
                    <a:pt x="438" y="2084"/>
                  </a:lnTo>
                  <a:lnTo>
                    <a:pt x="438" y="2084"/>
                  </a:lnTo>
                  <a:close/>
                  <a:moveTo>
                    <a:pt x="520" y="1952"/>
                  </a:moveTo>
                  <a:lnTo>
                    <a:pt x="520" y="1952"/>
                  </a:lnTo>
                  <a:lnTo>
                    <a:pt x="508" y="1976"/>
                  </a:lnTo>
                  <a:lnTo>
                    <a:pt x="508" y="1976"/>
                  </a:lnTo>
                  <a:lnTo>
                    <a:pt x="510" y="1980"/>
                  </a:lnTo>
                  <a:lnTo>
                    <a:pt x="510" y="1980"/>
                  </a:lnTo>
                  <a:lnTo>
                    <a:pt x="526" y="1950"/>
                  </a:lnTo>
                  <a:lnTo>
                    <a:pt x="526" y="1950"/>
                  </a:lnTo>
                  <a:lnTo>
                    <a:pt x="532" y="1934"/>
                  </a:lnTo>
                  <a:lnTo>
                    <a:pt x="512" y="1934"/>
                  </a:lnTo>
                  <a:lnTo>
                    <a:pt x="512" y="1934"/>
                  </a:lnTo>
                  <a:lnTo>
                    <a:pt x="502" y="1952"/>
                  </a:lnTo>
                  <a:lnTo>
                    <a:pt x="520" y="1952"/>
                  </a:lnTo>
                  <a:lnTo>
                    <a:pt x="520" y="1952"/>
                  </a:lnTo>
                  <a:lnTo>
                    <a:pt x="520" y="1952"/>
                  </a:lnTo>
                  <a:lnTo>
                    <a:pt x="520" y="1952"/>
                  </a:lnTo>
                  <a:close/>
                  <a:moveTo>
                    <a:pt x="588" y="1788"/>
                  </a:moveTo>
                  <a:lnTo>
                    <a:pt x="588" y="1788"/>
                  </a:lnTo>
                  <a:lnTo>
                    <a:pt x="588" y="1784"/>
                  </a:lnTo>
                  <a:lnTo>
                    <a:pt x="588" y="1784"/>
                  </a:lnTo>
                  <a:lnTo>
                    <a:pt x="584" y="1792"/>
                  </a:lnTo>
                  <a:lnTo>
                    <a:pt x="576" y="1812"/>
                  </a:lnTo>
                  <a:lnTo>
                    <a:pt x="576" y="1812"/>
                  </a:lnTo>
                  <a:lnTo>
                    <a:pt x="566" y="1830"/>
                  </a:lnTo>
                  <a:lnTo>
                    <a:pt x="562" y="1840"/>
                  </a:lnTo>
                  <a:lnTo>
                    <a:pt x="562" y="1840"/>
                  </a:lnTo>
                  <a:lnTo>
                    <a:pt x="576" y="1814"/>
                  </a:lnTo>
                  <a:lnTo>
                    <a:pt x="576" y="1814"/>
                  </a:lnTo>
                  <a:lnTo>
                    <a:pt x="588" y="1788"/>
                  </a:lnTo>
                  <a:lnTo>
                    <a:pt x="588" y="1788"/>
                  </a:lnTo>
                  <a:close/>
                  <a:moveTo>
                    <a:pt x="588" y="1788"/>
                  </a:moveTo>
                  <a:lnTo>
                    <a:pt x="588" y="1788"/>
                  </a:lnTo>
                  <a:lnTo>
                    <a:pt x="586" y="1798"/>
                  </a:lnTo>
                  <a:lnTo>
                    <a:pt x="580" y="1812"/>
                  </a:lnTo>
                  <a:lnTo>
                    <a:pt x="580" y="1812"/>
                  </a:lnTo>
                  <a:lnTo>
                    <a:pt x="574" y="1824"/>
                  </a:lnTo>
                  <a:lnTo>
                    <a:pt x="570" y="1832"/>
                  </a:lnTo>
                  <a:lnTo>
                    <a:pt x="564" y="1838"/>
                  </a:lnTo>
                  <a:lnTo>
                    <a:pt x="562" y="1840"/>
                  </a:lnTo>
                  <a:lnTo>
                    <a:pt x="562" y="1840"/>
                  </a:lnTo>
                  <a:lnTo>
                    <a:pt x="562" y="1840"/>
                  </a:lnTo>
                  <a:lnTo>
                    <a:pt x="562" y="1840"/>
                  </a:lnTo>
                  <a:lnTo>
                    <a:pt x="554" y="1854"/>
                  </a:lnTo>
                  <a:lnTo>
                    <a:pt x="552" y="1856"/>
                  </a:lnTo>
                  <a:lnTo>
                    <a:pt x="554" y="1858"/>
                  </a:lnTo>
                  <a:lnTo>
                    <a:pt x="554" y="1858"/>
                  </a:lnTo>
                  <a:lnTo>
                    <a:pt x="558" y="1854"/>
                  </a:lnTo>
                  <a:lnTo>
                    <a:pt x="566" y="1846"/>
                  </a:lnTo>
                  <a:lnTo>
                    <a:pt x="574" y="1830"/>
                  </a:lnTo>
                  <a:lnTo>
                    <a:pt x="582" y="1812"/>
                  </a:lnTo>
                  <a:lnTo>
                    <a:pt x="582" y="1812"/>
                  </a:lnTo>
                  <a:lnTo>
                    <a:pt x="590" y="1792"/>
                  </a:lnTo>
                  <a:lnTo>
                    <a:pt x="594" y="1778"/>
                  </a:lnTo>
                  <a:lnTo>
                    <a:pt x="596" y="1766"/>
                  </a:lnTo>
                  <a:lnTo>
                    <a:pt x="596" y="1766"/>
                  </a:lnTo>
                  <a:lnTo>
                    <a:pt x="588" y="1788"/>
                  </a:lnTo>
                  <a:lnTo>
                    <a:pt x="588" y="1788"/>
                  </a:lnTo>
                  <a:close/>
                  <a:moveTo>
                    <a:pt x="660" y="1630"/>
                  </a:moveTo>
                  <a:lnTo>
                    <a:pt x="660" y="1630"/>
                  </a:lnTo>
                  <a:lnTo>
                    <a:pt x="656" y="1632"/>
                  </a:lnTo>
                  <a:lnTo>
                    <a:pt x="654" y="1638"/>
                  </a:lnTo>
                  <a:lnTo>
                    <a:pt x="646" y="1656"/>
                  </a:lnTo>
                  <a:lnTo>
                    <a:pt x="646" y="1656"/>
                  </a:lnTo>
                  <a:lnTo>
                    <a:pt x="648" y="1650"/>
                  </a:lnTo>
                  <a:lnTo>
                    <a:pt x="650" y="1650"/>
                  </a:lnTo>
                  <a:lnTo>
                    <a:pt x="650" y="1650"/>
                  </a:lnTo>
                  <a:lnTo>
                    <a:pt x="652" y="1650"/>
                  </a:lnTo>
                  <a:lnTo>
                    <a:pt x="652" y="1656"/>
                  </a:lnTo>
                  <a:lnTo>
                    <a:pt x="650" y="1664"/>
                  </a:lnTo>
                  <a:lnTo>
                    <a:pt x="646" y="1676"/>
                  </a:lnTo>
                  <a:lnTo>
                    <a:pt x="646" y="1676"/>
                  </a:lnTo>
                  <a:lnTo>
                    <a:pt x="638" y="1688"/>
                  </a:lnTo>
                  <a:lnTo>
                    <a:pt x="632" y="1698"/>
                  </a:lnTo>
                  <a:lnTo>
                    <a:pt x="632" y="1698"/>
                  </a:lnTo>
                  <a:lnTo>
                    <a:pt x="630" y="1704"/>
                  </a:lnTo>
                  <a:lnTo>
                    <a:pt x="630" y="1704"/>
                  </a:lnTo>
                  <a:lnTo>
                    <a:pt x="628" y="1708"/>
                  </a:lnTo>
                  <a:lnTo>
                    <a:pt x="628" y="1708"/>
                  </a:lnTo>
                  <a:lnTo>
                    <a:pt x="628" y="1702"/>
                  </a:lnTo>
                  <a:lnTo>
                    <a:pt x="628" y="1702"/>
                  </a:lnTo>
                  <a:lnTo>
                    <a:pt x="626" y="1704"/>
                  </a:lnTo>
                  <a:lnTo>
                    <a:pt x="626" y="1704"/>
                  </a:lnTo>
                  <a:lnTo>
                    <a:pt x="626" y="1704"/>
                  </a:lnTo>
                  <a:lnTo>
                    <a:pt x="626" y="1704"/>
                  </a:lnTo>
                  <a:lnTo>
                    <a:pt x="616" y="1722"/>
                  </a:lnTo>
                  <a:lnTo>
                    <a:pt x="616" y="1722"/>
                  </a:lnTo>
                  <a:lnTo>
                    <a:pt x="628" y="1710"/>
                  </a:lnTo>
                  <a:lnTo>
                    <a:pt x="638" y="1696"/>
                  </a:lnTo>
                  <a:lnTo>
                    <a:pt x="648" y="1678"/>
                  </a:lnTo>
                  <a:lnTo>
                    <a:pt x="648" y="1678"/>
                  </a:lnTo>
                  <a:lnTo>
                    <a:pt x="656" y="1658"/>
                  </a:lnTo>
                  <a:lnTo>
                    <a:pt x="662" y="1644"/>
                  </a:lnTo>
                  <a:lnTo>
                    <a:pt x="662" y="1634"/>
                  </a:lnTo>
                  <a:lnTo>
                    <a:pt x="660" y="1632"/>
                  </a:lnTo>
                  <a:lnTo>
                    <a:pt x="660" y="1630"/>
                  </a:lnTo>
                  <a:lnTo>
                    <a:pt x="660" y="1630"/>
                  </a:lnTo>
                  <a:close/>
                  <a:moveTo>
                    <a:pt x="630" y="1694"/>
                  </a:moveTo>
                  <a:lnTo>
                    <a:pt x="630" y="1694"/>
                  </a:lnTo>
                  <a:lnTo>
                    <a:pt x="626" y="1704"/>
                  </a:lnTo>
                  <a:lnTo>
                    <a:pt x="626" y="1704"/>
                  </a:lnTo>
                  <a:lnTo>
                    <a:pt x="630" y="1696"/>
                  </a:lnTo>
                  <a:lnTo>
                    <a:pt x="630" y="1696"/>
                  </a:lnTo>
                  <a:lnTo>
                    <a:pt x="630" y="1694"/>
                  </a:lnTo>
                  <a:lnTo>
                    <a:pt x="630" y="1694"/>
                  </a:lnTo>
                  <a:close/>
                  <a:moveTo>
                    <a:pt x="646" y="1656"/>
                  </a:moveTo>
                  <a:lnTo>
                    <a:pt x="646" y="1656"/>
                  </a:lnTo>
                  <a:lnTo>
                    <a:pt x="642" y="1664"/>
                  </a:lnTo>
                  <a:lnTo>
                    <a:pt x="642" y="1664"/>
                  </a:lnTo>
                  <a:lnTo>
                    <a:pt x="642" y="1664"/>
                  </a:lnTo>
                  <a:lnTo>
                    <a:pt x="646" y="1656"/>
                  </a:lnTo>
                  <a:lnTo>
                    <a:pt x="646" y="1656"/>
                  </a:lnTo>
                  <a:close/>
                  <a:moveTo>
                    <a:pt x="636" y="1680"/>
                  </a:moveTo>
                  <a:lnTo>
                    <a:pt x="636" y="1680"/>
                  </a:lnTo>
                  <a:lnTo>
                    <a:pt x="634" y="1684"/>
                  </a:lnTo>
                  <a:lnTo>
                    <a:pt x="634" y="1684"/>
                  </a:lnTo>
                  <a:lnTo>
                    <a:pt x="634" y="1686"/>
                  </a:lnTo>
                  <a:lnTo>
                    <a:pt x="634" y="1686"/>
                  </a:lnTo>
                  <a:lnTo>
                    <a:pt x="636" y="1680"/>
                  </a:lnTo>
                  <a:lnTo>
                    <a:pt x="636" y="1680"/>
                  </a:lnTo>
                  <a:close/>
                  <a:moveTo>
                    <a:pt x="722" y="1494"/>
                  </a:moveTo>
                  <a:lnTo>
                    <a:pt x="722" y="1494"/>
                  </a:lnTo>
                  <a:lnTo>
                    <a:pt x="718" y="1496"/>
                  </a:lnTo>
                  <a:lnTo>
                    <a:pt x="714" y="1498"/>
                  </a:lnTo>
                  <a:lnTo>
                    <a:pt x="708" y="1506"/>
                  </a:lnTo>
                  <a:lnTo>
                    <a:pt x="700" y="1520"/>
                  </a:lnTo>
                  <a:lnTo>
                    <a:pt x="692" y="1540"/>
                  </a:lnTo>
                  <a:lnTo>
                    <a:pt x="692" y="1540"/>
                  </a:lnTo>
                  <a:lnTo>
                    <a:pt x="680" y="1574"/>
                  </a:lnTo>
                  <a:lnTo>
                    <a:pt x="678" y="1584"/>
                  </a:lnTo>
                  <a:lnTo>
                    <a:pt x="678" y="1586"/>
                  </a:lnTo>
                  <a:lnTo>
                    <a:pt x="680" y="1586"/>
                  </a:lnTo>
                  <a:lnTo>
                    <a:pt x="680" y="1586"/>
                  </a:lnTo>
                  <a:lnTo>
                    <a:pt x="686" y="1584"/>
                  </a:lnTo>
                  <a:lnTo>
                    <a:pt x="696" y="1574"/>
                  </a:lnTo>
                  <a:lnTo>
                    <a:pt x="708" y="1560"/>
                  </a:lnTo>
                  <a:lnTo>
                    <a:pt x="720" y="1542"/>
                  </a:lnTo>
                  <a:lnTo>
                    <a:pt x="720" y="1542"/>
                  </a:lnTo>
                  <a:lnTo>
                    <a:pt x="728" y="1522"/>
                  </a:lnTo>
                  <a:lnTo>
                    <a:pt x="730" y="1508"/>
                  </a:lnTo>
                  <a:lnTo>
                    <a:pt x="730" y="1502"/>
                  </a:lnTo>
                  <a:lnTo>
                    <a:pt x="728" y="1498"/>
                  </a:lnTo>
                  <a:lnTo>
                    <a:pt x="724" y="1496"/>
                  </a:lnTo>
                  <a:lnTo>
                    <a:pt x="722" y="1494"/>
                  </a:lnTo>
                  <a:lnTo>
                    <a:pt x="722" y="1494"/>
                  </a:lnTo>
                  <a:close/>
                  <a:moveTo>
                    <a:pt x="714" y="1540"/>
                  </a:moveTo>
                  <a:lnTo>
                    <a:pt x="714" y="1540"/>
                  </a:lnTo>
                  <a:lnTo>
                    <a:pt x="708" y="1552"/>
                  </a:lnTo>
                  <a:lnTo>
                    <a:pt x="700" y="1560"/>
                  </a:lnTo>
                  <a:lnTo>
                    <a:pt x="694" y="1566"/>
                  </a:lnTo>
                  <a:lnTo>
                    <a:pt x="688" y="1568"/>
                  </a:lnTo>
                  <a:lnTo>
                    <a:pt x="688" y="1568"/>
                  </a:lnTo>
                  <a:lnTo>
                    <a:pt x="686" y="1568"/>
                  </a:lnTo>
                  <a:lnTo>
                    <a:pt x="686" y="1566"/>
                  </a:lnTo>
                  <a:lnTo>
                    <a:pt x="686" y="1560"/>
                  </a:lnTo>
                  <a:lnTo>
                    <a:pt x="694" y="1540"/>
                  </a:lnTo>
                  <a:lnTo>
                    <a:pt x="694" y="1540"/>
                  </a:lnTo>
                  <a:lnTo>
                    <a:pt x="700" y="1528"/>
                  </a:lnTo>
                  <a:lnTo>
                    <a:pt x="704" y="1520"/>
                  </a:lnTo>
                  <a:lnTo>
                    <a:pt x="708" y="1514"/>
                  </a:lnTo>
                  <a:lnTo>
                    <a:pt x="714" y="1514"/>
                  </a:lnTo>
                  <a:lnTo>
                    <a:pt x="714" y="1514"/>
                  </a:lnTo>
                  <a:lnTo>
                    <a:pt x="718" y="1514"/>
                  </a:lnTo>
                  <a:lnTo>
                    <a:pt x="720" y="1520"/>
                  </a:lnTo>
                  <a:lnTo>
                    <a:pt x="720" y="1528"/>
                  </a:lnTo>
                  <a:lnTo>
                    <a:pt x="714" y="1540"/>
                  </a:lnTo>
                  <a:lnTo>
                    <a:pt x="714" y="1540"/>
                  </a:lnTo>
                  <a:close/>
                  <a:moveTo>
                    <a:pt x="782" y="1360"/>
                  </a:moveTo>
                  <a:lnTo>
                    <a:pt x="782" y="1360"/>
                  </a:lnTo>
                  <a:lnTo>
                    <a:pt x="778" y="1360"/>
                  </a:lnTo>
                  <a:lnTo>
                    <a:pt x="772" y="1362"/>
                  </a:lnTo>
                  <a:lnTo>
                    <a:pt x="764" y="1370"/>
                  </a:lnTo>
                  <a:lnTo>
                    <a:pt x="756" y="1384"/>
                  </a:lnTo>
                  <a:lnTo>
                    <a:pt x="746" y="1404"/>
                  </a:lnTo>
                  <a:lnTo>
                    <a:pt x="746" y="1404"/>
                  </a:lnTo>
                  <a:lnTo>
                    <a:pt x="740" y="1422"/>
                  </a:lnTo>
                  <a:lnTo>
                    <a:pt x="736" y="1438"/>
                  </a:lnTo>
                  <a:lnTo>
                    <a:pt x="736" y="1444"/>
                  </a:lnTo>
                  <a:lnTo>
                    <a:pt x="736" y="1448"/>
                  </a:lnTo>
                  <a:lnTo>
                    <a:pt x="738" y="1450"/>
                  </a:lnTo>
                  <a:lnTo>
                    <a:pt x="742" y="1450"/>
                  </a:lnTo>
                  <a:lnTo>
                    <a:pt x="742" y="1450"/>
                  </a:lnTo>
                  <a:lnTo>
                    <a:pt x="746" y="1450"/>
                  </a:lnTo>
                  <a:lnTo>
                    <a:pt x="752" y="1448"/>
                  </a:lnTo>
                  <a:lnTo>
                    <a:pt x="764" y="1438"/>
                  </a:lnTo>
                  <a:lnTo>
                    <a:pt x="778" y="1424"/>
                  </a:lnTo>
                  <a:lnTo>
                    <a:pt x="790" y="1406"/>
                  </a:lnTo>
                  <a:lnTo>
                    <a:pt x="790" y="1406"/>
                  </a:lnTo>
                  <a:lnTo>
                    <a:pt x="794" y="1396"/>
                  </a:lnTo>
                  <a:lnTo>
                    <a:pt x="796" y="1386"/>
                  </a:lnTo>
                  <a:lnTo>
                    <a:pt x="798" y="1378"/>
                  </a:lnTo>
                  <a:lnTo>
                    <a:pt x="798" y="1372"/>
                  </a:lnTo>
                  <a:lnTo>
                    <a:pt x="796" y="1366"/>
                  </a:lnTo>
                  <a:lnTo>
                    <a:pt x="792" y="1362"/>
                  </a:lnTo>
                  <a:lnTo>
                    <a:pt x="788" y="1360"/>
                  </a:lnTo>
                  <a:lnTo>
                    <a:pt x="782" y="1360"/>
                  </a:lnTo>
                  <a:lnTo>
                    <a:pt x="782" y="1360"/>
                  </a:lnTo>
                  <a:close/>
                  <a:moveTo>
                    <a:pt x="784" y="1406"/>
                  </a:moveTo>
                  <a:lnTo>
                    <a:pt x="784" y="1406"/>
                  </a:lnTo>
                  <a:lnTo>
                    <a:pt x="776" y="1416"/>
                  </a:lnTo>
                  <a:lnTo>
                    <a:pt x="768" y="1426"/>
                  </a:lnTo>
                  <a:lnTo>
                    <a:pt x="758" y="1430"/>
                  </a:lnTo>
                  <a:lnTo>
                    <a:pt x="750" y="1432"/>
                  </a:lnTo>
                  <a:lnTo>
                    <a:pt x="750" y="1432"/>
                  </a:lnTo>
                  <a:lnTo>
                    <a:pt x="748" y="1432"/>
                  </a:lnTo>
                  <a:lnTo>
                    <a:pt x="746" y="1430"/>
                  </a:lnTo>
                  <a:lnTo>
                    <a:pt x="744" y="1424"/>
                  </a:lnTo>
                  <a:lnTo>
                    <a:pt x="746" y="1416"/>
                  </a:lnTo>
                  <a:lnTo>
                    <a:pt x="750" y="1404"/>
                  </a:lnTo>
                  <a:lnTo>
                    <a:pt x="750" y="1404"/>
                  </a:lnTo>
                  <a:lnTo>
                    <a:pt x="754" y="1392"/>
                  </a:lnTo>
                  <a:lnTo>
                    <a:pt x="760" y="1384"/>
                  </a:lnTo>
                  <a:lnTo>
                    <a:pt x="768" y="1380"/>
                  </a:lnTo>
                  <a:lnTo>
                    <a:pt x="774" y="1378"/>
                  </a:lnTo>
                  <a:lnTo>
                    <a:pt x="774" y="1378"/>
                  </a:lnTo>
                  <a:lnTo>
                    <a:pt x="782" y="1380"/>
                  </a:lnTo>
                  <a:lnTo>
                    <a:pt x="784" y="1382"/>
                  </a:lnTo>
                  <a:lnTo>
                    <a:pt x="786" y="1384"/>
                  </a:lnTo>
                  <a:lnTo>
                    <a:pt x="788" y="1388"/>
                  </a:lnTo>
                  <a:lnTo>
                    <a:pt x="788" y="1392"/>
                  </a:lnTo>
                  <a:lnTo>
                    <a:pt x="784" y="1406"/>
                  </a:lnTo>
                  <a:lnTo>
                    <a:pt x="784" y="1406"/>
                  </a:lnTo>
                  <a:close/>
                  <a:moveTo>
                    <a:pt x="798" y="1272"/>
                  </a:moveTo>
                  <a:lnTo>
                    <a:pt x="798" y="1272"/>
                  </a:lnTo>
                  <a:lnTo>
                    <a:pt x="792" y="1300"/>
                  </a:lnTo>
                  <a:lnTo>
                    <a:pt x="792" y="1300"/>
                  </a:lnTo>
                  <a:lnTo>
                    <a:pt x="798" y="1298"/>
                  </a:lnTo>
                  <a:lnTo>
                    <a:pt x="798" y="1298"/>
                  </a:lnTo>
                  <a:lnTo>
                    <a:pt x="802" y="1274"/>
                  </a:lnTo>
                  <a:lnTo>
                    <a:pt x="802" y="1274"/>
                  </a:lnTo>
                  <a:lnTo>
                    <a:pt x="802" y="1274"/>
                  </a:lnTo>
                  <a:lnTo>
                    <a:pt x="854" y="1274"/>
                  </a:lnTo>
                  <a:lnTo>
                    <a:pt x="854" y="1274"/>
                  </a:lnTo>
                  <a:lnTo>
                    <a:pt x="862" y="1256"/>
                  </a:lnTo>
                  <a:lnTo>
                    <a:pt x="804" y="1256"/>
                  </a:lnTo>
                  <a:lnTo>
                    <a:pt x="804" y="1256"/>
                  </a:lnTo>
                  <a:lnTo>
                    <a:pt x="798" y="1272"/>
                  </a:lnTo>
                  <a:lnTo>
                    <a:pt x="798" y="1272"/>
                  </a:lnTo>
                  <a:close/>
                  <a:moveTo>
                    <a:pt x="898" y="1088"/>
                  </a:moveTo>
                  <a:lnTo>
                    <a:pt x="898" y="1088"/>
                  </a:lnTo>
                  <a:lnTo>
                    <a:pt x="888" y="1088"/>
                  </a:lnTo>
                  <a:lnTo>
                    <a:pt x="882" y="1090"/>
                  </a:lnTo>
                  <a:lnTo>
                    <a:pt x="874" y="1094"/>
                  </a:lnTo>
                  <a:lnTo>
                    <a:pt x="868" y="1100"/>
                  </a:lnTo>
                  <a:lnTo>
                    <a:pt x="862" y="1106"/>
                  </a:lnTo>
                  <a:lnTo>
                    <a:pt x="858" y="1114"/>
                  </a:lnTo>
                  <a:lnTo>
                    <a:pt x="850" y="1132"/>
                  </a:lnTo>
                  <a:lnTo>
                    <a:pt x="850" y="1132"/>
                  </a:lnTo>
                  <a:lnTo>
                    <a:pt x="844" y="1152"/>
                  </a:lnTo>
                  <a:lnTo>
                    <a:pt x="842" y="1160"/>
                  </a:lnTo>
                  <a:lnTo>
                    <a:pt x="844" y="1166"/>
                  </a:lnTo>
                  <a:lnTo>
                    <a:pt x="846" y="1172"/>
                  </a:lnTo>
                  <a:lnTo>
                    <a:pt x="848" y="1176"/>
                  </a:lnTo>
                  <a:lnTo>
                    <a:pt x="854" y="1178"/>
                  </a:lnTo>
                  <a:lnTo>
                    <a:pt x="860" y="1180"/>
                  </a:lnTo>
                  <a:lnTo>
                    <a:pt x="860" y="1180"/>
                  </a:lnTo>
                  <a:lnTo>
                    <a:pt x="868" y="1178"/>
                  </a:lnTo>
                  <a:lnTo>
                    <a:pt x="878" y="1176"/>
                  </a:lnTo>
                  <a:lnTo>
                    <a:pt x="886" y="1172"/>
                  </a:lnTo>
                  <a:lnTo>
                    <a:pt x="894" y="1166"/>
                  </a:lnTo>
                  <a:lnTo>
                    <a:pt x="902" y="1160"/>
                  </a:lnTo>
                  <a:lnTo>
                    <a:pt x="910" y="1152"/>
                  </a:lnTo>
                  <a:lnTo>
                    <a:pt x="916" y="1144"/>
                  </a:lnTo>
                  <a:lnTo>
                    <a:pt x="922" y="1134"/>
                  </a:lnTo>
                  <a:lnTo>
                    <a:pt x="922" y="1134"/>
                  </a:lnTo>
                  <a:lnTo>
                    <a:pt x="926" y="1124"/>
                  </a:lnTo>
                  <a:lnTo>
                    <a:pt x="928" y="1114"/>
                  </a:lnTo>
                  <a:lnTo>
                    <a:pt x="926" y="1106"/>
                  </a:lnTo>
                  <a:lnTo>
                    <a:pt x="924" y="1100"/>
                  </a:lnTo>
                  <a:lnTo>
                    <a:pt x="920" y="1094"/>
                  </a:lnTo>
                  <a:lnTo>
                    <a:pt x="914" y="1090"/>
                  </a:lnTo>
                  <a:lnTo>
                    <a:pt x="906" y="1088"/>
                  </a:lnTo>
                  <a:lnTo>
                    <a:pt x="898" y="1088"/>
                  </a:lnTo>
                  <a:lnTo>
                    <a:pt x="898" y="1088"/>
                  </a:lnTo>
                  <a:close/>
                  <a:moveTo>
                    <a:pt x="912" y="1134"/>
                  </a:moveTo>
                  <a:lnTo>
                    <a:pt x="912" y="1134"/>
                  </a:lnTo>
                  <a:lnTo>
                    <a:pt x="904" y="1144"/>
                  </a:lnTo>
                  <a:lnTo>
                    <a:pt x="894" y="1154"/>
                  </a:lnTo>
                  <a:lnTo>
                    <a:pt x="882" y="1158"/>
                  </a:lnTo>
                  <a:lnTo>
                    <a:pt x="868" y="1160"/>
                  </a:lnTo>
                  <a:lnTo>
                    <a:pt x="868" y="1160"/>
                  </a:lnTo>
                  <a:lnTo>
                    <a:pt x="862" y="1160"/>
                  </a:lnTo>
                  <a:lnTo>
                    <a:pt x="858" y="1158"/>
                  </a:lnTo>
                  <a:lnTo>
                    <a:pt x="854" y="1156"/>
                  </a:lnTo>
                  <a:lnTo>
                    <a:pt x="852" y="1154"/>
                  </a:lnTo>
                  <a:lnTo>
                    <a:pt x="852" y="1144"/>
                  </a:lnTo>
                  <a:lnTo>
                    <a:pt x="854" y="1134"/>
                  </a:lnTo>
                  <a:lnTo>
                    <a:pt x="854" y="1134"/>
                  </a:lnTo>
                  <a:lnTo>
                    <a:pt x="860" y="1120"/>
                  </a:lnTo>
                  <a:lnTo>
                    <a:pt x="868" y="1112"/>
                  </a:lnTo>
                  <a:lnTo>
                    <a:pt x="878" y="1108"/>
                  </a:lnTo>
                  <a:lnTo>
                    <a:pt x="890" y="1106"/>
                  </a:lnTo>
                  <a:lnTo>
                    <a:pt x="890" y="1106"/>
                  </a:lnTo>
                  <a:lnTo>
                    <a:pt x="902" y="1108"/>
                  </a:lnTo>
                  <a:lnTo>
                    <a:pt x="908" y="1110"/>
                  </a:lnTo>
                  <a:lnTo>
                    <a:pt x="912" y="1112"/>
                  </a:lnTo>
                  <a:lnTo>
                    <a:pt x="914" y="1116"/>
                  </a:lnTo>
                  <a:lnTo>
                    <a:pt x="916" y="1122"/>
                  </a:lnTo>
                  <a:lnTo>
                    <a:pt x="914" y="1126"/>
                  </a:lnTo>
                  <a:lnTo>
                    <a:pt x="912" y="1134"/>
                  </a:lnTo>
                  <a:lnTo>
                    <a:pt x="912" y="1134"/>
                  </a:lnTo>
                  <a:close/>
                  <a:moveTo>
                    <a:pt x="950" y="952"/>
                  </a:moveTo>
                  <a:lnTo>
                    <a:pt x="950" y="952"/>
                  </a:lnTo>
                  <a:lnTo>
                    <a:pt x="940" y="952"/>
                  </a:lnTo>
                  <a:lnTo>
                    <a:pt x="930" y="954"/>
                  </a:lnTo>
                  <a:lnTo>
                    <a:pt x="922" y="958"/>
                  </a:lnTo>
                  <a:lnTo>
                    <a:pt x="916" y="964"/>
                  </a:lnTo>
                  <a:lnTo>
                    <a:pt x="910" y="970"/>
                  </a:lnTo>
                  <a:lnTo>
                    <a:pt x="904" y="978"/>
                  </a:lnTo>
                  <a:lnTo>
                    <a:pt x="896" y="996"/>
                  </a:lnTo>
                  <a:lnTo>
                    <a:pt x="896" y="996"/>
                  </a:lnTo>
                  <a:lnTo>
                    <a:pt x="892" y="1016"/>
                  </a:lnTo>
                  <a:lnTo>
                    <a:pt x="892" y="1024"/>
                  </a:lnTo>
                  <a:lnTo>
                    <a:pt x="892" y="1030"/>
                  </a:lnTo>
                  <a:lnTo>
                    <a:pt x="896" y="1036"/>
                  </a:lnTo>
                  <a:lnTo>
                    <a:pt x="900" y="1040"/>
                  </a:lnTo>
                  <a:lnTo>
                    <a:pt x="906" y="1042"/>
                  </a:lnTo>
                  <a:lnTo>
                    <a:pt x="916" y="1044"/>
                  </a:lnTo>
                  <a:lnTo>
                    <a:pt x="916" y="1044"/>
                  </a:lnTo>
                  <a:lnTo>
                    <a:pt x="926" y="1042"/>
                  </a:lnTo>
                  <a:lnTo>
                    <a:pt x="936" y="1040"/>
                  </a:lnTo>
                  <a:lnTo>
                    <a:pt x="946" y="1036"/>
                  </a:lnTo>
                  <a:lnTo>
                    <a:pt x="954" y="1030"/>
                  </a:lnTo>
                  <a:lnTo>
                    <a:pt x="964" y="1024"/>
                  </a:lnTo>
                  <a:lnTo>
                    <a:pt x="972" y="1016"/>
                  </a:lnTo>
                  <a:lnTo>
                    <a:pt x="978" y="1008"/>
                  </a:lnTo>
                  <a:lnTo>
                    <a:pt x="984" y="998"/>
                  </a:lnTo>
                  <a:lnTo>
                    <a:pt x="984" y="998"/>
                  </a:lnTo>
                  <a:lnTo>
                    <a:pt x="986" y="988"/>
                  </a:lnTo>
                  <a:lnTo>
                    <a:pt x="988" y="978"/>
                  </a:lnTo>
                  <a:lnTo>
                    <a:pt x="986" y="970"/>
                  </a:lnTo>
                  <a:lnTo>
                    <a:pt x="982" y="964"/>
                  </a:lnTo>
                  <a:lnTo>
                    <a:pt x="976" y="958"/>
                  </a:lnTo>
                  <a:lnTo>
                    <a:pt x="968" y="954"/>
                  </a:lnTo>
                  <a:lnTo>
                    <a:pt x="960" y="952"/>
                  </a:lnTo>
                  <a:lnTo>
                    <a:pt x="950" y="952"/>
                  </a:lnTo>
                  <a:lnTo>
                    <a:pt x="950" y="952"/>
                  </a:lnTo>
                  <a:close/>
                  <a:moveTo>
                    <a:pt x="972" y="998"/>
                  </a:moveTo>
                  <a:lnTo>
                    <a:pt x="972" y="998"/>
                  </a:lnTo>
                  <a:lnTo>
                    <a:pt x="968" y="1004"/>
                  </a:lnTo>
                  <a:lnTo>
                    <a:pt x="964" y="1008"/>
                  </a:lnTo>
                  <a:lnTo>
                    <a:pt x="952" y="1018"/>
                  </a:lnTo>
                  <a:lnTo>
                    <a:pt x="938" y="1024"/>
                  </a:lnTo>
                  <a:lnTo>
                    <a:pt x="922" y="1026"/>
                  </a:lnTo>
                  <a:lnTo>
                    <a:pt x="922" y="1026"/>
                  </a:lnTo>
                  <a:lnTo>
                    <a:pt x="916" y="1024"/>
                  </a:lnTo>
                  <a:lnTo>
                    <a:pt x="910" y="1024"/>
                  </a:lnTo>
                  <a:lnTo>
                    <a:pt x="906" y="1020"/>
                  </a:lnTo>
                  <a:lnTo>
                    <a:pt x="902" y="1018"/>
                  </a:lnTo>
                  <a:lnTo>
                    <a:pt x="900" y="1014"/>
                  </a:lnTo>
                  <a:lnTo>
                    <a:pt x="900" y="1008"/>
                  </a:lnTo>
                  <a:lnTo>
                    <a:pt x="902" y="998"/>
                  </a:lnTo>
                  <a:lnTo>
                    <a:pt x="902" y="998"/>
                  </a:lnTo>
                  <a:lnTo>
                    <a:pt x="908" y="986"/>
                  </a:lnTo>
                  <a:lnTo>
                    <a:pt x="918" y="976"/>
                  </a:lnTo>
                  <a:lnTo>
                    <a:pt x="928" y="972"/>
                  </a:lnTo>
                  <a:lnTo>
                    <a:pt x="942" y="970"/>
                  </a:lnTo>
                  <a:lnTo>
                    <a:pt x="942" y="970"/>
                  </a:lnTo>
                  <a:lnTo>
                    <a:pt x="958" y="972"/>
                  </a:lnTo>
                  <a:lnTo>
                    <a:pt x="964" y="974"/>
                  </a:lnTo>
                  <a:lnTo>
                    <a:pt x="968" y="976"/>
                  </a:lnTo>
                  <a:lnTo>
                    <a:pt x="972" y="980"/>
                  </a:lnTo>
                  <a:lnTo>
                    <a:pt x="974" y="986"/>
                  </a:lnTo>
                  <a:lnTo>
                    <a:pt x="974" y="992"/>
                  </a:lnTo>
                  <a:lnTo>
                    <a:pt x="972" y="998"/>
                  </a:lnTo>
                  <a:lnTo>
                    <a:pt x="972" y="998"/>
                  </a:lnTo>
                  <a:close/>
                  <a:moveTo>
                    <a:pt x="996" y="816"/>
                  </a:moveTo>
                  <a:lnTo>
                    <a:pt x="996" y="816"/>
                  </a:lnTo>
                  <a:lnTo>
                    <a:pt x="986" y="816"/>
                  </a:lnTo>
                  <a:lnTo>
                    <a:pt x="976" y="818"/>
                  </a:lnTo>
                  <a:lnTo>
                    <a:pt x="968" y="822"/>
                  </a:lnTo>
                  <a:lnTo>
                    <a:pt x="960" y="828"/>
                  </a:lnTo>
                  <a:lnTo>
                    <a:pt x="952" y="834"/>
                  </a:lnTo>
                  <a:lnTo>
                    <a:pt x="948" y="842"/>
                  </a:lnTo>
                  <a:lnTo>
                    <a:pt x="942" y="850"/>
                  </a:lnTo>
                  <a:lnTo>
                    <a:pt x="940" y="860"/>
                  </a:lnTo>
                  <a:lnTo>
                    <a:pt x="940" y="860"/>
                  </a:lnTo>
                  <a:lnTo>
                    <a:pt x="936" y="870"/>
                  </a:lnTo>
                  <a:lnTo>
                    <a:pt x="936" y="880"/>
                  </a:lnTo>
                  <a:lnTo>
                    <a:pt x="936" y="888"/>
                  </a:lnTo>
                  <a:lnTo>
                    <a:pt x="938" y="894"/>
                  </a:lnTo>
                  <a:lnTo>
                    <a:pt x="942" y="900"/>
                  </a:lnTo>
                  <a:lnTo>
                    <a:pt x="948" y="904"/>
                  </a:lnTo>
                  <a:lnTo>
                    <a:pt x="956" y="906"/>
                  </a:lnTo>
                  <a:lnTo>
                    <a:pt x="966" y="908"/>
                  </a:lnTo>
                  <a:lnTo>
                    <a:pt x="966" y="908"/>
                  </a:lnTo>
                  <a:lnTo>
                    <a:pt x="978" y="906"/>
                  </a:lnTo>
                  <a:lnTo>
                    <a:pt x="988" y="904"/>
                  </a:lnTo>
                  <a:lnTo>
                    <a:pt x="1000" y="900"/>
                  </a:lnTo>
                  <a:lnTo>
                    <a:pt x="1010" y="896"/>
                  </a:lnTo>
                  <a:lnTo>
                    <a:pt x="1020" y="888"/>
                  </a:lnTo>
                  <a:lnTo>
                    <a:pt x="1028" y="880"/>
                  </a:lnTo>
                  <a:lnTo>
                    <a:pt x="1034" y="872"/>
                  </a:lnTo>
                  <a:lnTo>
                    <a:pt x="1040" y="862"/>
                  </a:lnTo>
                  <a:lnTo>
                    <a:pt x="1040" y="862"/>
                  </a:lnTo>
                  <a:lnTo>
                    <a:pt x="1042" y="852"/>
                  </a:lnTo>
                  <a:lnTo>
                    <a:pt x="1042" y="842"/>
                  </a:lnTo>
                  <a:lnTo>
                    <a:pt x="1040" y="834"/>
                  </a:lnTo>
                  <a:lnTo>
                    <a:pt x="1034" y="828"/>
                  </a:lnTo>
                  <a:lnTo>
                    <a:pt x="1028" y="822"/>
                  </a:lnTo>
                  <a:lnTo>
                    <a:pt x="1020" y="818"/>
                  </a:lnTo>
                  <a:lnTo>
                    <a:pt x="1008" y="816"/>
                  </a:lnTo>
                  <a:lnTo>
                    <a:pt x="996" y="816"/>
                  </a:lnTo>
                  <a:lnTo>
                    <a:pt x="996" y="816"/>
                  </a:lnTo>
                  <a:close/>
                  <a:moveTo>
                    <a:pt x="1026" y="862"/>
                  </a:moveTo>
                  <a:lnTo>
                    <a:pt x="1026" y="862"/>
                  </a:lnTo>
                  <a:lnTo>
                    <a:pt x="1024" y="868"/>
                  </a:lnTo>
                  <a:lnTo>
                    <a:pt x="1018" y="874"/>
                  </a:lnTo>
                  <a:lnTo>
                    <a:pt x="1006" y="882"/>
                  </a:lnTo>
                  <a:lnTo>
                    <a:pt x="990" y="888"/>
                  </a:lnTo>
                  <a:lnTo>
                    <a:pt x="974" y="890"/>
                  </a:lnTo>
                  <a:lnTo>
                    <a:pt x="974" y="890"/>
                  </a:lnTo>
                  <a:lnTo>
                    <a:pt x="964" y="888"/>
                  </a:lnTo>
                  <a:lnTo>
                    <a:pt x="958" y="888"/>
                  </a:lnTo>
                  <a:lnTo>
                    <a:pt x="952" y="884"/>
                  </a:lnTo>
                  <a:lnTo>
                    <a:pt x="948" y="882"/>
                  </a:lnTo>
                  <a:lnTo>
                    <a:pt x="946" y="878"/>
                  </a:lnTo>
                  <a:lnTo>
                    <a:pt x="946" y="872"/>
                  </a:lnTo>
                  <a:lnTo>
                    <a:pt x="946" y="862"/>
                  </a:lnTo>
                  <a:lnTo>
                    <a:pt x="946" y="862"/>
                  </a:lnTo>
                  <a:lnTo>
                    <a:pt x="952" y="850"/>
                  </a:lnTo>
                  <a:lnTo>
                    <a:pt x="958" y="844"/>
                  </a:lnTo>
                  <a:lnTo>
                    <a:pt x="962" y="840"/>
                  </a:lnTo>
                  <a:lnTo>
                    <a:pt x="976" y="836"/>
                  </a:lnTo>
                  <a:lnTo>
                    <a:pt x="992" y="834"/>
                  </a:lnTo>
                  <a:lnTo>
                    <a:pt x="992" y="834"/>
                  </a:lnTo>
                  <a:lnTo>
                    <a:pt x="1008" y="836"/>
                  </a:lnTo>
                  <a:lnTo>
                    <a:pt x="1016" y="838"/>
                  </a:lnTo>
                  <a:lnTo>
                    <a:pt x="1020" y="840"/>
                  </a:lnTo>
                  <a:lnTo>
                    <a:pt x="1024" y="844"/>
                  </a:lnTo>
                  <a:lnTo>
                    <a:pt x="1028" y="850"/>
                  </a:lnTo>
                  <a:lnTo>
                    <a:pt x="1028" y="856"/>
                  </a:lnTo>
                  <a:lnTo>
                    <a:pt x="1026" y="862"/>
                  </a:lnTo>
                  <a:lnTo>
                    <a:pt x="1026" y="862"/>
                  </a:lnTo>
                  <a:close/>
                  <a:moveTo>
                    <a:pt x="1038" y="680"/>
                  </a:moveTo>
                  <a:lnTo>
                    <a:pt x="1038" y="680"/>
                  </a:lnTo>
                  <a:lnTo>
                    <a:pt x="1026" y="680"/>
                  </a:lnTo>
                  <a:lnTo>
                    <a:pt x="1016" y="682"/>
                  </a:lnTo>
                  <a:lnTo>
                    <a:pt x="1006" y="686"/>
                  </a:lnTo>
                  <a:lnTo>
                    <a:pt x="998" y="692"/>
                  </a:lnTo>
                  <a:lnTo>
                    <a:pt x="992" y="698"/>
                  </a:lnTo>
                  <a:lnTo>
                    <a:pt x="986" y="706"/>
                  </a:lnTo>
                  <a:lnTo>
                    <a:pt x="982" y="714"/>
                  </a:lnTo>
                  <a:lnTo>
                    <a:pt x="978" y="724"/>
                  </a:lnTo>
                  <a:lnTo>
                    <a:pt x="978" y="724"/>
                  </a:lnTo>
                  <a:lnTo>
                    <a:pt x="976" y="734"/>
                  </a:lnTo>
                  <a:lnTo>
                    <a:pt x="976" y="744"/>
                  </a:lnTo>
                  <a:lnTo>
                    <a:pt x="976" y="752"/>
                  </a:lnTo>
                  <a:lnTo>
                    <a:pt x="980" y="758"/>
                  </a:lnTo>
                  <a:lnTo>
                    <a:pt x="984" y="764"/>
                  </a:lnTo>
                  <a:lnTo>
                    <a:pt x="992" y="768"/>
                  </a:lnTo>
                  <a:lnTo>
                    <a:pt x="1000" y="770"/>
                  </a:lnTo>
                  <a:lnTo>
                    <a:pt x="1012" y="772"/>
                  </a:lnTo>
                  <a:lnTo>
                    <a:pt x="1012" y="772"/>
                  </a:lnTo>
                  <a:lnTo>
                    <a:pt x="1026" y="770"/>
                  </a:lnTo>
                  <a:lnTo>
                    <a:pt x="1038" y="768"/>
                  </a:lnTo>
                  <a:lnTo>
                    <a:pt x="1050" y="764"/>
                  </a:lnTo>
                  <a:lnTo>
                    <a:pt x="1060" y="760"/>
                  </a:lnTo>
                  <a:lnTo>
                    <a:pt x="1070" y="752"/>
                  </a:lnTo>
                  <a:lnTo>
                    <a:pt x="1078" y="746"/>
                  </a:lnTo>
                  <a:lnTo>
                    <a:pt x="1086" y="736"/>
                  </a:lnTo>
                  <a:lnTo>
                    <a:pt x="1090" y="726"/>
                  </a:lnTo>
                  <a:lnTo>
                    <a:pt x="1090" y="726"/>
                  </a:lnTo>
                  <a:lnTo>
                    <a:pt x="1092" y="716"/>
                  </a:lnTo>
                  <a:lnTo>
                    <a:pt x="1092" y="708"/>
                  </a:lnTo>
                  <a:lnTo>
                    <a:pt x="1088" y="698"/>
                  </a:lnTo>
                  <a:lnTo>
                    <a:pt x="1082" y="692"/>
                  </a:lnTo>
                  <a:lnTo>
                    <a:pt x="1074" y="686"/>
                  </a:lnTo>
                  <a:lnTo>
                    <a:pt x="1064" y="684"/>
                  </a:lnTo>
                  <a:lnTo>
                    <a:pt x="1052" y="680"/>
                  </a:lnTo>
                  <a:lnTo>
                    <a:pt x="1038" y="680"/>
                  </a:lnTo>
                  <a:lnTo>
                    <a:pt x="1038" y="680"/>
                  </a:lnTo>
                  <a:close/>
                  <a:moveTo>
                    <a:pt x="1076" y="726"/>
                  </a:moveTo>
                  <a:lnTo>
                    <a:pt x="1076" y="726"/>
                  </a:lnTo>
                  <a:lnTo>
                    <a:pt x="1072" y="732"/>
                  </a:lnTo>
                  <a:lnTo>
                    <a:pt x="1068" y="738"/>
                  </a:lnTo>
                  <a:lnTo>
                    <a:pt x="1062" y="742"/>
                  </a:lnTo>
                  <a:lnTo>
                    <a:pt x="1056" y="746"/>
                  </a:lnTo>
                  <a:lnTo>
                    <a:pt x="1038" y="752"/>
                  </a:lnTo>
                  <a:lnTo>
                    <a:pt x="1018" y="754"/>
                  </a:lnTo>
                  <a:lnTo>
                    <a:pt x="1018" y="754"/>
                  </a:lnTo>
                  <a:lnTo>
                    <a:pt x="1008" y="752"/>
                  </a:lnTo>
                  <a:lnTo>
                    <a:pt x="1000" y="752"/>
                  </a:lnTo>
                  <a:lnTo>
                    <a:pt x="994" y="748"/>
                  </a:lnTo>
                  <a:lnTo>
                    <a:pt x="990" y="746"/>
                  </a:lnTo>
                  <a:lnTo>
                    <a:pt x="988" y="742"/>
                  </a:lnTo>
                  <a:lnTo>
                    <a:pt x="986" y="736"/>
                  </a:lnTo>
                  <a:lnTo>
                    <a:pt x="986" y="732"/>
                  </a:lnTo>
                  <a:lnTo>
                    <a:pt x="986" y="726"/>
                  </a:lnTo>
                  <a:lnTo>
                    <a:pt x="986" y="726"/>
                  </a:lnTo>
                  <a:lnTo>
                    <a:pt x="990" y="720"/>
                  </a:lnTo>
                  <a:lnTo>
                    <a:pt x="992" y="714"/>
                  </a:lnTo>
                  <a:lnTo>
                    <a:pt x="998" y="708"/>
                  </a:lnTo>
                  <a:lnTo>
                    <a:pt x="1002" y="704"/>
                  </a:lnTo>
                  <a:lnTo>
                    <a:pt x="1016" y="700"/>
                  </a:lnTo>
                  <a:lnTo>
                    <a:pt x="1034" y="698"/>
                  </a:lnTo>
                  <a:lnTo>
                    <a:pt x="1034" y="698"/>
                  </a:lnTo>
                  <a:lnTo>
                    <a:pt x="1054" y="700"/>
                  </a:lnTo>
                  <a:lnTo>
                    <a:pt x="1062" y="702"/>
                  </a:lnTo>
                  <a:lnTo>
                    <a:pt x="1068" y="706"/>
                  </a:lnTo>
                  <a:lnTo>
                    <a:pt x="1072" y="708"/>
                  </a:lnTo>
                  <a:lnTo>
                    <a:pt x="1076" y="714"/>
                  </a:lnTo>
                  <a:lnTo>
                    <a:pt x="1076" y="720"/>
                  </a:lnTo>
                  <a:lnTo>
                    <a:pt x="1076" y="726"/>
                  </a:lnTo>
                  <a:lnTo>
                    <a:pt x="1076" y="726"/>
                  </a:lnTo>
                  <a:close/>
                  <a:moveTo>
                    <a:pt x="1076" y="544"/>
                  </a:moveTo>
                  <a:lnTo>
                    <a:pt x="1076" y="544"/>
                  </a:lnTo>
                  <a:lnTo>
                    <a:pt x="1062" y="544"/>
                  </a:lnTo>
                  <a:lnTo>
                    <a:pt x="1050" y="548"/>
                  </a:lnTo>
                  <a:lnTo>
                    <a:pt x="1040" y="550"/>
                  </a:lnTo>
                  <a:lnTo>
                    <a:pt x="1032" y="556"/>
                  </a:lnTo>
                  <a:lnTo>
                    <a:pt x="1024" y="562"/>
                  </a:lnTo>
                  <a:lnTo>
                    <a:pt x="1020" y="570"/>
                  </a:lnTo>
                  <a:lnTo>
                    <a:pt x="1014" y="578"/>
                  </a:lnTo>
                  <a:lnTo>
                    <a:pt x="1012" y="588"/>
                  </a:lnTo>
                  <a:lnTo>
                    <a:pt x="1012" y="588"/>
                  </a:lnTo>
                  <a:lnTo>
                    <a:pt x="1010" y="598"/>
                  </a:lnTo>
                  <a:lnTo>
                    <a:pt x="1010" y="608"/>
                  </a:lnTo>
                  <a:lnTo>
                    <a:pt x="1012" y="616"/>
                  </a:lnTo>
                  <a:lnTo>
                    <a:pt x="1016" y="622"/>
                  </a:lnTo>
                  <a:lnTo>
                    <a:pt x="1022" y="628"/>
                  </a:lnTo>
                  <a:lnTo>
                    <a:pt x="1030" y="632"/>
                  </a:lnTo>
                  <a:lnTo>
                    <a:pt x="1040" y="636"/>
                  </a:lnTo>
                  <a:lnTo>
                    <a:pt x="1054" y="636"/>
                  </a:lnTo>
                  <a:lnTo>
                    <a:pt x="1054" y="636"/>
                  </a:lnTo>
                  <a:lnTo>
                    <a:pt x="1066" y="636"/>
                  </a:lnTo>
                  <a:lnTo>
                    <a:pt x="1080" y="632"/>
                  </a:lnTo>
                  <a:lnTo>
                    <a:pt x="1092" y="628"/>
                  </a:lnTo>
                  <a:lnTo>
                    <a:pt x="1104" y="624"/>
                  </a:lnTo>
                  <a:lnTo>
                    <a:pt x="1114" y="616"/>
                  </a:lnTo>
                  <a:lnTo>
                    <a:pt x="1124" y="610"/>
                  </a:lnTo>
                  <a:lnTo>
                    <a:pt x="1130" y="600"/>
                  </a:lnTo>
                  <a:lnTo>
                    <a:pt x="1134" y="592"/>
                  </a:lnTo>
                  <a:lnTo>
                    <a:pt x="1134" y="592"/>
                  </a:lnTo>
                  <a:lnTo>
                    <a:pt x="1136" y="580"/>
                  </a:lnTo>
                  <a:lnTo>
                    <a:pt x="1134" y="572"/>
                  </a:lnTo>
                  <a:lnTo>
                    <a:pt x="1130" y="564"/>
                  </a:lnTo>
                  <a:lnTo>
                    <a:pt x="1122" y="556"/>
                  </a:lnTo>
                  <a:lnTo>
                    <a:pt x="1114" y="552"/>
                  </a:lnTo>
                  <a:lnTo>
                    <a:pt x="1102" y="548"/>
                  </a:lnTo>
                  <a:lnTo>
                    <a:pt x="1090" y="544"/>
                  </a:lnTo>
                  <a:lnTo>
                    <a:pt x="1076" y="544"/>
                  </a:lnTo>
                  <a:lnTo>
                    <a:pt x="1076" y="544"/>
                  </a:lnTo>
                  <a:close/>
                  <a:moveTo>
                    <a:pt x="1118" y="590"/>
                  </a:moveTo>
                  <a:lnTo>
                    <a:pt x="1118" y="590"/>
                  </a:lnTo>
                  <a:lnTo>
                    <a:pt x="1116" y="596"/>
                  </a:lnTo>
                  <a:lnTo>
                    <a:pt x="1112" y="602"/>
                  </a:lnTo>
                  <a:lnTo>
                    <a:pt x="1106" y="606"/>
                  </a:lnTo>
                  <a:lnTo>
                    <a:pt x="1098" y="610"/>
                  </a:lnTo>
                  <a:lnTo>
                    <a:pt x="1080" y="616"/>
                  </a:lnTo>
                  <a:lnTo>
                    <a:pt x="1058" y="618"/>
                  </a:lnTo>
                  <a:lnTo>
                    <a:pt x="1058" y="618"/>
                  </a:lnTo>
                  <a:lnTo>
                    <a:pt x="1048" y="618"/>
                  </a:lnTo>
                  <a:lnTo>
                    <a:pt x="1038" y="616"/>
                  </a:lnTo>
                  <a:lnTo>
                    <a:pt x="1032" y="614"/>
                  </a:lnTo>
                  <a:lnTo>
                    <a:pt x="1026" y="610"/>
                  </a:lnTo>
                  <a:lnTo>
                    <a:pt x="1024" y="606"/>
                  </a:lnTo>
                  <a:lnTo>
                    <a:pt x="1022" y="602"/>
                  </a:lnTo>
                  <a:lnTo>
                    <a:pt x="1020" y="596"/>
                  </a:lnTo>
                  <a:lnTo>
                    <a:pt x="1022" y="590"/>
                  </a:lnTo>
                  <a:lnTo>
                    <a:pt x="1022" y="590"/>
                  </a:lnTo>
                  <a:lnTo>
                    <a:pt x="1024" y="584"/>
                  </a:lnTo>
                  <a:lnTo>
                    <a:pt x="1028" y="578"/>
                  </a:lnTo>
                  <a:lnTo>
                    <a:pt x="1032" y="572"/>
                  </a:lnTo>
                  <a:lnTo>
                    <a:pt x="1038" y="570"/>
                  </a:lnTo>
                  <a:lnTo>
                    <a:pt x="1052" y="564"/>
                  </a:lnTo>
                  <a:lnTo>
                    <a:pt x="1072" y="562"/>
                  </a:lnTo>
                  <a:lnTo>
                    <a:pt x="1072" y="562"/>
                  </a:lnTo>
                  <a:lnTo>
                    <a:pt x="1092" y="564"/>
                  </a:lnTo>
                  <a:lnTo>
                    <a:pt x="1100" y="566"/>
                  </a:lnTo>
                  <a:lnTo>
                    <a:pt x="1108" y="570"/>
                  </a:lnTo>
                  <a:lnTo>
                    <a:pt x="1114" y="574"/>
                  </a:lnTo>
                  <a:lnTo>
                    <a:pt x="1118" y="578"/>
                  </a:lnTo>
                  <a:lnTo>
                    <a:pt x="1120" y="584"/>
                  </a:lnTo>
                  <a:lnTo>
                    <a:pt x="1118" y="590"/>
                  </a:lnTo>
                  <a:lnTo>
                    <a:pt x="1118" y="590"/>
                  </a:lnTo>
                  <a:close/>
                  <a:moveTo>
                    <a:pt x="1104" y="408"/>
                  </a:moveTo>
                  <a:lnTo>
                    <a:pt x="1104" y="408"/>
                  </a:lnTo>
                  <a:lnTo>
                    <a:pt x="1090" y="410"/>
                  </a:lnTo>
                  <a:lnTo>
                    <a:pt x="1078" y="412"/>
                  </a:lnTo>
                  <a:lnTo>
                    <a:pt x="1068" y="414"/>
                  </a:lnTo>
                  <a:lnTo>
                    <a:pt x="1060" y="420"/>
                  </a:lnTo>
                  <a:lnTo>
                    <a:pt x="1052" y="426"/>
                  </a:lnTo>
                  <a:lnTo>
                    <a:pt x="1046" y="434"/>
                  </a:lnTo>
                  <a:lnTo>
                    <a:pt x="1042" y="442"/>
                  </a:lnTo>
                  <a:lnTo>
                    <a:pt x="1040" y="454"/>
                  </a:lnTo>
                  <a:lnTo>
                    <a:pt x="1040" y="454"/>
                  </a:lnTo>
                  <a:lnTo>
                    <a:pt x="1038" y="462"/>
                  </a:lnTo>
                  <a:lnTo>
                    <a:pt x="1040" y="472"/>
                  </a:lnTo>
                  <a:lnTo>
                    <a:pt x="1042" y="480"/>
                  </a:lnTo>
                  <a:lnTo>
                    <a:pt x="1046" y="486"/>
                  </a:lnTo>
                  <a:lnTo>
                    <a:pt x="1054" y="492"/>
                  </a:lnTo>
                  <a:lnTo>
                    <a:pt x="1062" y="496"/>
                  </a:lnTo>
                  <a:lnTo>
                    <a:pt x="1074" y="500"/>
                  </a:lnTo>
                  <a:lnTo>
                    <a:pt x="1088" y="500"/>
                  </a:lnTo>
                  <a:lnTo>
                    <a:pt x="1088" y="500"/>
                  </a:lnTo>
                  <a:lnTo>
                    <a:pt x="1102" y="500"/>
                  </a:lnTo>
                  <a:lnTo>
                    <a:pt x="1116" y="496"/>
                  </a:lnTo>
                  <a:lnTo>
                    <a:pt x="1130" y="492"/>
                  </a:lnTo>
                  <a:lnTo>
                    <a:pt x="1142" y="488"/>
                  </a:lnTo>
                  <a:lnTo>
                    <a:pt x="1152" y="482"/>
                  </a:lnTo>
                  <a:lnTo>
                    <a:pt x="1160" y="474"/>
                  </a:lnTo>
                  <a:lnTo>
                    <a:pt x="1166" y="464"/>
                  </a:lnTo>
                  <a:lnTo>
                    <a:pt x="1170" y="456"/>
                  </a:lnTo>
                  <a:lnTo>
                    <a:pt x="1170" y="456"/>
                  </a:lnTo>
                  <a:lnTo>
                    <a:pt x="1172" y="444"/>
                  </a:lnTo>
                  <a:lnTo>
                    <a:pt x="1170" y="436"/>
                  </a:lnTo>
                  <a:lnTo>
                    <a:pt x="1164" y="428"/>
                  </a:lnTo>
                  <a:lnTo>
                    <a:pt x="1156" y="420"/>
                  </a:lnTo>
                  <a:lnTo>
                    <a:pt x="1146" y="416"/>
                  </a:lnTo>
                  <a:lnTo>
                    <a:pt x="1134" y="412"/>
                  </a:lnTo>
                  <a:lnTo>
                    <a:pt x="1120" y="410"/>
                  </a:lnTo>
                  <a:lnTo>
                    <a:pt x="1104" y="408"/>
                  </a:lnTo>
                  <a:lnTo>
                    <a:pt x="1104" y="408"/>
                  </a:lnTo>
                  <a:close/>
                  <a:moveTo>
                    <a:pt x="1154" y="454"/>
                  </a:moveTo>
                  <a:lnTo>
                    <a:pt x="1154" y="454"/>
                  </a:lnTo>
                  <a:lnTo>
                    <a:pt x="1152" y="460"/>
                  </a:lnTo>
                  <a:lnTo>
                    <a:pt x="1146" y="466"/>
                  </a:lnTo>
                  <a:lnTo>
                    <a:pt x="1140" y="470"/>
                  </a:lnTo>
                  <a:lnTo>
                    <a:pt x="1134" y="474"/>
                  </a:lnTo>
                  <a:lnTo>
                    <a:pt x="1114" y="480"/>
                  </a:lnTo>
                  <a:lnTo>
                    <a:pt x="1092" y="482"/>
                  </a:lnTo>
                  <a:lnTo>
                    <a:pt x="1092" y="482"/>
                  </a:lnTo>
                  <a:lnTo>
                    <a:pt x="1080" y="482"/>
                  </a:lnTo>
                  <a:lnTo>
                    <a:pt x="1070" y="480"/>
                  </a:lnTo>
                  <a:lnTo>
                    <a:pt x="1062" y="478"/>
                  </a:lnTo>
                  <a:lnTo>
                    <a:pt x="1058" y="474"/>
                  </a:lnTo>
                  <a:lnTo>
                    <a:pt x="1054" y="470"/>
                  </a:lnTo>
                  <a:lnTo>
                    <a:pt x="1050" y="466"/>
                  </a:lnTo>
                  <a:lnTo>
                    <a:pt x="1050" y="460"/>
                  </a:lnTo>
                  <a:lnTo>
                    <a:pt x="1050" y="454"/>
                  </a:lnTo>
                  <a:lnTo>
                    <a:pt x="1050" y="454"/>
                  </a:lnTo>
                  <a:lnTo>
                    <a:pt x="1052" y="448"/>
                  </a:lnTo>
                  <a:lnTo>
                    <a:pt x="1056" y="442"/>
                  </a:lnTo>
                  <a:lnTo>
                    <a:pt x="1060" y="438"/>
                  </a:lnTo>
                  <a:lnTo>
                    <a:pt x="1066" y="434"/>
                  </a:lnTo>
                  <a:lnTo>
                    <a:pt x="1072" y="430"/>
                  </a:lnTo>
                  <a:lnTo>
                    <a:pt x="1082" y="428"/>
                  </a:lnTo>
                  <a:lnTo>
                    <a:pt x="1102" y="426"/>
                  </a:lnTo>
                  <a:lnTo>
                    <a:pt x="1102" y="426"/>
                  </a:lnTo>
                  <a:lnTo>
                    <a:pt x="1124" y="428"/>
                  </a:lnTo>
                  <a:lnTo>
                    <a:pt x="1134" y="430"/>
                  </a:lnTo>
                  <a:lnTo>
                    <a:pt x="1142" y="434"/>
                  </a:lnTo>
                  <a:lnTo>
                    <a:pt x="1148" y="438"/>
                  </a:lnTo>
                  <a:lnTo>
                    <a:pt x="1152" y="442"/>
                  </a:lnTo>
                  <a:lnTo>
                    <a:pt x="1154" y="448"/>
                  </a:lnTo>
                  <a:lnTo>
                    <a:pt x="1154" y="454"/>
                  </a:lnTo>
                  <a:lnTo>
                    <a:pt x="1154" y="454"/>
                  </a:lnTo>
                  <a:close/>
                  <a:moveTo>
                    <a:pt x="1062" y="320"/>
                  </a:moveTo>
                  <a:lnTo>
                    <a:pt x="1062" y="320"/>
                  </a:lnTo>
                  <a:lnTo>
                    <a:pt x="1070" y="350"/>
                  </a:lnTo>
                  <a:lnTo>
                    <a:pt x="1070" y="350"/>
                  </a:lnTo>
                  <a:lnTo>
                    <a:pt x="1084" y="346"/>
                  </a:lnTo>
                  <a:lnTo>
                    <a:pt x="1084" y="346"/>
                  </a:lnTo>
                  <a:lnTo>
                    <a:pt x="1076" y="324"/>
                  </a:lnTo>
                  <a:lnTo>
                    <a:pt x="1076" y="324"/>
                  </a:lnTo>
                  <a:lnTo>
                    <a:pt x="1076" y="322"/>
                  </a:lnTo>
                  <a:lnTo>
                    <a:pt x="1196" y="322"/>
                  </a:lnTo>
                  <a:lnTo>
                    <a:pt x="1196" y="322"/>
                  </a:lnTo>
                  <a:lnTo>
                    <a:pt x="1198" y="304"/>
                  </a:lnTo>
                  <a:lnTo>
                    <a:pt x="1064" y="304"/>
                  </a:lnTo>
                  <a:lnTo>
                    <a:pt x="1064" y="304"/>
                  </a:lnTo>
                  <a:lnTo>
                    <a:pt x="1062" y="320"/>
                  </a:lnTo>
                  <a:lnTo>
                    <a:pt x="1062" y="320"/>
                  </a:lnTo>
                  <a:close/>
                  <a:moveTo>
                    <a:pt x="1078" y="184"/>
                  </a:moveTo>
                  <a:lnTo>
                    <a:pt x="1078" y="184"/>
                  </a:lnTo>
                  <a:lnTo>
                    <a:pt x="1088" y="214"/>
                  </a:lnTo>
                  <a:lnTo>
                    <a:pt x="1088" y="214"/>
                  </a:lnTo>
                  <a:lnTo>
                    <a:pt x="1100" y="210"/>
                  </a:lnTo>
                  <a:lnTo>
                    <a:pt x="1100" y="210"/>
                  </a:lnTo>
                  <a:lnTo>
                    <a:pt x="1092" y="188"/>
                  </a:lnTo>
                  <a:lnTo>
                    <a:pt x="1092" y="188"/>
                  </a:lnTo>
                  <a:lnTo>
                    <a:pt x="1092" y="186"/>
                  </a:lnTo>
                  <a:lnTo>
                    <a:pt x="1092" y="186"/>
                  </a:lnTo>
                  <a:lnTo>
                    <a:pt x="1214" y="186"/>
                  </a:lnTo>
                  <a:lnTo>
                    <a:pt x="1214" y="186"/>
                  </a:lnTo>
                  <a:lnTo>
                    <a:pt x="1216" y="170"/>
                  </a:lnTo>
                  <a:lnTo>
                    <a:pt x="1078" y="170"/>
                  </a:lnTo>
                  <a:lnTo>
                    <a:pt x="1078" y="170"/>
                  </a:lnTo>
                  <a:lnTo>
                    <a:pt x="1078" y="184"/>
                  </a:lnTo>
                  <a:lnTo>
                    <a:pt x="1078" y="184"/>
                  </a:lnTo>
                  <a:close/>
                  <a:moveTo>
                    <a:pt x="1144" y="0"/>
                  </a:moveTo>
                  <a:lnTo>
                    <a:pt x="1144" y="0"/>
                  </a:lnTo>
                  <a:lnTo>
                    <a:pt x="1130" y="2"/>
                  </a:lnTo>
                  <a:lnTo>
                    <a:pt x="1116" y="4"/>
                  </a:lnTo>
                  <a:lnTo>
                    <a:pt x="1106" y="8"/>
                  </a:lnTo>
                  <a:lnTo>
                    <a:pt x="1098" y="12"/>
                  </a:lnTo>
                  <a:lnTo>
                    <a:pt x="1090" y="18"/>
                  </a:lnTo>
                  <a:lnTo>
                    <a:pt x="1086" y="26"/>
                  </a:lnTo>
                  <a:lnTo>
                    <a:pt x="1084" y="36"/>
                  </a:lnTo>
                  <a:lnTo>
                    <a:pt x="1082" y="46"/>
                  </a:lnTo>
                  <a:lnTo>
                    <a:pt x="1082" y="46"/>
                  </a:lnTo>
                  <a:lnTo>
                    <a:pt x="1082" y="56"/>
                  </a:lnTo>
                  <a:lnTo>
                    <a:pt x="1086" y="64"/>
                  </a:lnTo>
                  <a:lnTo>
                    <a:pt x="1090" y="72"/>
                  </a:lnTo>
                  <a:lnTo>
                    <a:pt x="1096" y="80"/>
                  </a:lnTo>
                  <a:lnTo>
                    <a:pt x="1104" y="86"/>
                  </a:lnTo>
                  <a:lnTo>
                    <a:pt x="1116" y="90"/>
                  </a:lnTo>
                  <a:lnTo>
                    <a:pt x="1128" y="92"/>
                  </a:lnTo>
                  <a:lnTo>
                    <a:pt x="1144" y="92"/>
                  </a:lnTo>
                  <a:lnTo>
                    <a:pt x="1144" y="92"/>
                  </a:lnTo>
                  <a:lnTo>
                    <a:pt x="1160" y="92"/>
                  </a:lnTo>
                  <a:lnTo>
                    <a:pt x="1176" y="90"/>
                  </a:lnTo>
                  <a:lnTo>
                    <a:pt x="1190" y="86"/>
                  </a:lnTo>
                  <a:lnTo>
                    <a:pt x="1202" y="80"/>
                  </a:lnTo>
                  <a:lnTo>
                    <a:pt x="1212" y="74"/>
                  </a:lnTo>
                  <a:lnTo>
                    <a:pt x="1220" y="66"/>
                  </a:lnTo>
                  <a:lnTo>
                    <a:pt x="1224" y="58"/>
                  </a:lnTo>
                  <a:lnTo>
                    <a:pt x="1226" y="48"/>
                  </a:lnTo>
                  <a:lnTo>
                    <a:pt x="1226" y="48"/>
                  </a:lnTo>
                  <a:lnTo>
                    <a:pt x="1226" y="38"/>
                  </a:lnTo>
                  <a:lnTo>
                    <a:pt x="1220" y="28"/>
                  </a:lnTo>
                  <a:lnTo>
                    <a:pt x="1214" y="20"/>
                  </a:lnTo>
                  <a:lnTo>
                    <a:pt x="1204" y="14"/>
                  </a:lnTo>
                  <a:lnTo>
                    <a:pt x="1190" y="8"/>
                  </a:lnTo>
                  <a:lnTo>
                    <a:pt x="1176" y="4"/>
                  </a:lnTo>
                  <a:lnTo>
                    <a:pt x="1162" y="2"/>
                  </a:lnTo>
                  <a:lnTo>
                    <a:pt x="1144" y="0"/>
                  </a:lnTo>
                  <a:lnTo>
                    <a:pt x="1144" y="0"/>
                  </a:lnTo>
                  <a:close/>
                  <a:moveTo>
                    <a:pt x="1146" y="74"/>
                  </a:moveTo>
                  <a:lnTo>
                    <a:pt x="1146" y="74"/>
                  </a:lnTo>
                  <a:lnTo>
                    <a:pt x="1132" y="74"/>
                  </a:lnTo>
                  <a:lnTo>
                    <a:pt x="1122" y="72"/>
                  </a:lnTo>
                  <a:lnTo>
                    <a:pt x="1112" y="70"/>
                  </a:lnTo>
                  <a:lnTo>
                    <a:pt x="1106" y="66"/>
                  </a:lnTo>
                  <a:lnTo>
                    <a:pt x="1100" y="62"/>
                  </a:lnTo>
                  <a:lnTo>
                    <a:pt x="1096" y="58"/>
                  </a:lnTo>
                  <a:lnTo>
                    <a:pt x="1094" y="52"/>
                  </a:lnTo>
                  <a:lnTo>
                    <a:pt x="1094" y="46"/>
                  </a:lnTo>
                  <a:lnTo>
                    <a:pt x="1094" y="46"/>
                  </a:lnTo>
                  <a:lnTo>
                    <a:pt x="1094" y="40"/>
                  </a:lnTo>
                  <a:lnTo>
                    <a:pt x="1098" y="34"/>
                  </a:lnTo>
                  <a:lnTo>
                    <a:pt x="1102" y="30"/>
                  </a:lnTo>
                  <a:lnTo>
                    <a:pt x="1106" y="26"/>
                  </a:lnTo>
                  <a:lnTo>
                    <a:pt x="1114" y="22"/>
                  </a:lnTo>
                  <a:lnTo>
                    <a:pt x="1122" y="20"/>
                  </a:lnTo>
                  <a:lnTo>
                    <a:pt x="1144" y="20"/>
                  </a:lnTo>
                  <a:lnTo>
                    <a:pt x="1144" y="20"/>
                  </a:lnTo>
                  <a:lnTo>
                    <a:pt x="1170" y="20"/>
                  </a:lnTo>
                  <a:lnTo>
                    <a:pt x="1180" y="24"/>
                  </a:lnTo>
                  <a:lnTo>
                    <a:pt x="1190" y="26"/>
                  </a:lnTo>
                  <a:lnTo>
                    <a:pt x="1198" y="30"/>
                  </a:lnTo>
                  <a:lnTo>
                    <a:pt x="1204" y="34"/>
                  </a:lnTo>
                  <a:lnTo>
                    <a:pt x="1208" y="40"/>
                  </a:lnTo>
                  <a:lnTo>
                    <a:pt x="1208" y="46"/>
                  </a:lnTo>
                  <a:lnTo>
                    <a:pt x="1208" y="46"/>
                  </a:lnTo>
                  <a:lnTo>
                    <a:pt x="1206" y="52"/>
                  </a:lnTo>
                  <a:lnTo>
                    <a:pt x="1204" y="58"/>
                  </a:lnTo>
                  <a:lnTo>
                    <a:pt x="1198" y="62"/>
                  </a:lnTo>
                  <a:lnTo>
                    <a:pt x="1190" y="66"/>
                  </a:lnTo>
                  <a:lnTo>
                    <a:pt x="1170" y="72"/>
                  </a:lnTo>
                  <a:lnTo>
                    <a:pt x="1146" y="74"/>
                  </a:lnTo>
                  <a:lnTo>
                    <a:pt x="1146" y="74"/>
                  </a:lnTo>
                  <a:close/>
                </a:path>
              </a:pathLst>
            </a:custGeom>
            <a:solidFill>
              <a:srgbClr val="000000"/>
            </a:solidFill>
            <a:ln w="9525">
              <a:solidFill>
                <a:srgbClr val="000000"/>
              </a:solidFill>
              <a:round/>
              <a:headEnd/>
              <a:tailEnd/>
            </a:ln>
          </p:spPr>
          <p:txBody>
            <a:bodyPr/>
            <a:lstStyle/>
            <a:p>
              <a:endParaRPr lang="en-US" sz="2000" dirty="0">
                <a:latin typeface="微软雅黑" pitchFamily="34" charset="-122"/>
                <a:ea typeface="微软雅黑" pitchFamily="34" charset="-122"/>
              </a:endParaRPr>
            </a:p>
          </p:txBody>
        </p:sp>
        <p:grpSp>
          <p:nvGrpSpPr>
            <p:cNvPr id="258" name="Group 257"/>
            <p:cNvGrpSpPr/>
            <p:nvPr/>
          </p:nvGrpSpPr>
          <p:grpSpPr>
            <a:xfrm>
              <a:off x="3340173" y="3803720"/>
              <a:ext cx="1296987" cy="321945"/>
              <a:chOff x="171035" y="954157"/>
              <a:chExt cx="390949" cy="387626"/>
            </a:xfrm>
          </p:grpSpPr>
          <p:sp>
            <p:nvSpPr>
              <p:cNvPr id="260" name="Round Diagonal Corner Rectangle 259"/>
              <p:cNvSpPr/>
              <p:nvPr/>
            </p:nvSpPr>
            <p:spPr>
              <a:xfrm flipV="1">
                <a:off x="171035" y="954157"/>
                <a:ext cx="387626" cy="387626"/>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dirty="0">
                  <a:latin typeface="微软雅黑" pitchFamily="34" charset="-122"/>
                  <a:ea typeface="微软雅黑" pitchFamily="34" charset="-122"/>
                </a:endParaRPr>
              </a:p>
            </p:txBody>
          </p:sp>
          <p:sp>
            <p:nvSpPr>
              <p:cNvPr id="261" name="Round Diagonal Corner Rectangle 260"/>
              <p:cNvSpPr/>
              <p:nvPr/>
            </p:nvSpPr>
            <p:spPr>
              <a:xfrm>
                <a:off x="174358" y="954157"/>
                <a:ext cx="387626" cy="387626"/>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2300" dirty="0">
                    <a:latin typeface="微软雅黑" pitchFamily="34" charset="-122"/>
                    <a:ea typeface="微软雅黑" pitchFamily="34" charset="-122"/>
                  </a:rPr>
                  <a:t>外泄</a:t>
                </a:r>
                <a:endParaRPr lang="en-US" sz="2300" dirty="0">
                  <a:latin typeface="微软雅黑" pitchFamily="34" charset="-122"/>
                  <a:ea typeface="微软雅黑" pitchFamily="34" charset="-122"/>
                </a:endParaRPr>
              </a:p>
            </p:txBody>
          </p:sp>
        </p:grpSp>
      </p:grpSp>
      <p:grpSp>
        <p:nvGrpSpPr>
          <p:cNvPr id="207" name="Group 206"/>
          <p:cNvGrpSpPr/>
          <p:nvPr/>
        </p:nvGrpSpPr>
        <p:grpSpPr>
          <a:xfrm>
            <a:off x="2464160" y="1236387"/>
            <a:ext cx="2812559" cy="763129"/>
            <a:chOff x="270108" y="3859212"/>
            <a:chExt cx="1980724" cy="536575"/>
          </a:xfrm>
        </p:grpSpPr>
        <p:sp>
          <p:nvSpPr>
            <p:cNvPr id="208" name="Round Diagonal Corner Rectangle 207"/>
            <p:cNvSpPr/>
            <p:nvPr/>
          </p:nvSpPr>
          <p:spPr>
            <a:xfrm flipV="1">
              <a:off x="270108" y="3859212"/>
              <a:ext cx="1840046" cy="536575"/>
            </a:xfrm>
            <a:prstGeom prst="round2Diag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00" dirty="0">
                <a:solidFill>
                  <a:srgbClr val="000000"/>
                </a:solidFill>
                <a:latin typeface="微软雅黑" pitchFamily="34" charset="-122"/>
                <a:ea typeface="微软雅黑" pitchFamily="34" charset="-122"/>
              </a:endParaRPr>
            </a:p>
          </p:txBody>
        </p:sp>
        <p:sp>
          <p:nvSpPr>
            <p:cNvPr id="209" name="Round Diagonal Corner Rectangle 208"/>
            <p:cNvSpPr/>
            <p:nvPr/>
          </p:nvSpPr>
          <p:spPr>
            <a:xfrm>
              <a:off x="281355" y="3912208"/>
              <a:ext cx="1969477" cy="430585"/>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zh-CN" altLang="en-US" sz="2300" dirty="0">
                  <a:solidFill>
                    <a:srgbClr val="000000"/>
                  </a:solidFill>
                  <a:latin typeface="微软雅黑" pitchFamily="34" charset="-122"/>
                  <a:ea typeface="微软雅黑" pitchFamily="34" charset="-122"/>
                </a:rPr>
                <a:t>安全情报研究</a:t>
              </a:r>
              <a:endParaRPr lang="en-US" sz="2300" dirty="0">
                <a:solidFill>
                  <a:srgbClr val="000000"/>
                </a:solidFill>
                <a:latin typeface="微软雅黑" pitchFamily="34" charset="-122"/>
                <a:ea typeface="微软雅黑" pitchFamily="34" charset="-122"/>
              </a:endParaRPr>
            </a:p>
          </p:txBody>
        </p:sp>
      </p:grpSp>
      <p:grpSp>
        <p:nvGrpSpPr>
          <p:cNvPr id="210" name="Group 209"/>
          <p:cNvGrpSpPr/>
          <p:nvPr/>
        </p:nvGrpSpPr>
        <p:grpSpPr>
          <a:xfrm>
            <a:off x="3969976" y="1916701"/>
            <a:ext cx="2812559" cy="763129"/>
            <a:chOff x="270108" y="3859212"/>
            <a:chExt cx="1980724" cy="536575"/>
          </a:xfrm>
        </p:grpSpPr>
        <p:sp>
          <p:nvSpPr>
            <p:cNvPr id="211" name="Round Diagonal Corner Rectangle 210"/>
            <p:cNvSpPr/>
            <p:nvPr/>
          </p:nvSpPr>
          <p:spPr>
            <a:xfrm flipV="1">
              <a:off x="270108" y="3859212"/>
              <a:ext cx="1840046" cy="536575"/>
            </a:xfrm>
            <a:prstGeom prst="round2Diag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00" dirty="0">
                <a:solidFill>
                  <a:srgbClr val="000000"/>
                </a:solidFill>
                <a:latin typeface="微软雅黑" pitchFamily="34" charset="-122"/>
                <a:ea typeface="微软雅黑" pitchFamily="34" charset="-122"/>
              </a:endParaRPr>
            </a:p>
          </p:txBody>
        </p:sp>
        <p:sp>
          <p:nvSpPr>
            <p:cNvPr id="212" name="Round Diagonal Corner Rectangle 211"/>
            <p:cNvSpPr/>
            <p:nvPr/>
          </p:nvSpPr>
          <p:spPr>
            <a:xfrm>
              <a:off x="281355" y="3912208"/>
              <a:ext cx="1969477" cy="430585"/>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zh-CN" altLang="en-US" sz="2300" dirty="0">
                  <a:solidFill>
                    <a:srgbClr val="000000"/>
                  </a:solidFill>
                  <a:latin typeface="微软雅黑" pitchFamily="34" charset="-122"/>
                  <a:ea typeface="微软雅黑" pitchFamily="34" charset="-122"/>
                </a:rPr>
                <a:t>阻断访问</a:t>
              </a:r>
              <a:endParaRPr lang="en-US" sz="2300" dirty="0">
                <a:solidFill>
                  <a:srgbClr val="000000"/>
                </a:solidFill>
                <a:latin typeface="微软雅黑" pitchFamily="34" charset="-122"/>
                <a:ea typeface="微软雅黑" pitchFamily="34" charset="-122"/>
              </a:endParaRPr>
            </a:p>
          </p:txBody>
        </p:sp>
      </p:grpSp>
      <p:grpSp>
        <p:nvGrpSpPr>
          <p:cNvPr id="213" name="Group 212"/>
          <p:cNvGrpSpPr/>
          <p:nvPr/>
        </p:nvGrpSpPr>
        <p:grpSpPr>
          <a:xfrm>
            <a:off x="5988164" y="2716802"/>
            <a:ext cx="2812559" cy="792654"/>
            <a:chOff x="270108" y="3859210"/>
            <a:chExt cx="1980724" cy="536575"/>
          </a:xfrm>
        </p:grpSpPr>
        <p:sp>
          <p:nvSpPr>
            <p:cNvPr id="214" name="Round Diagonal Corner Rectangle 213"/>
            <p:cNvSpPr/>
            <p:nvPr/>
          </p:nvSpPr>
          <p:spPr>
            <a:xfrm flipV="1">
              <a:off x="270108" y="3859210"/>
              <a:ext cx="1840046" cy="536575"/>
            </a:xfrm>
            <a:prstGeom prst="round2Diag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00" dirty="0">
                <a:solidFill>
                  <a:srgbClr val="000000"/>
                </a:solidFill>
                <a:latin typeface="微软雅黑" pitchFamily="34" charset="-122"/>
                <a:ea typeface="微软雅黑" pitchFamily="34" charset="-122"/>
              </a:endParaRPr>
            </a:p>
          </p:txBody>
        </p:sp>
        <p:sp>
          <p:nvSpPr>
            <p:cNvPr id="215" name="Round Diagonal Corner Rectangle 214"/>
            <p:cNvSpPr/>
            <p:nvPr/>
          </p:nvSpPr>
          <p:spPr>
            <a:xfrm>
              <a:off x="281355" y="3912208"/>
              <a:ext cx="1969477" cy="430585"/>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zh-CN" altLang="en-US" sz="2300" dirty="0">
                  <a:solidFill>
                    <a:srgbClr val="000000"/>
                  </a:solidFill>
                  <a:latin typeface="微软雅黑" pitchFamily="34" charset="-122"/>
                  <a:ea typeface="微软雅黑" pitchFamily="34" charset="-122"/>
                </a:rPr>
                <a:t>发现异常</a:t>
              </a:r>
              <a:endParaRPr lang="en-US" sz="2300" dirty="0">
                <a:solidFill>
                  <a:srgbClr val="000000"/>
                </a:solidFill>
                <a:latin typeface="微软雅黑" pitchFamily="34" charset="-122"/>
                <a:ea typeface="微软雅黑" pitchFamily="34" charset="-122"/>
              </a:endParaRPr>
            </a:p>
          </p:txBody>
        </p:sp>
      </p:grpSp>
      <p:grpSp>
        <p:nvGrpSpPr>
          <p:cNvPr id="272" name="Group 271"/>
          <p:cNvGrpSpPr/>
          <p:nvPr/>
        </p:nvGrpSpPr>
        <p:grpSpPr>
          <a:xfrm>
            <a:off x="5843559" y="4221523"/>
            <a:ext cx="2812559" cy="763129"/>
            <a:chOff x="270108" y="3859212"/>
            <a:chExt cx="1980724" cy="536575"/>
          </a:xfrm>
        </p:grpSpPr>
        <p:sp>
          <p:nvSpPr>
            <p:cNvPr id="273" name="Round Diagonal Corner Rectangle 272"/>
            <p:cNvSpPr/>
            <p:nvPr/>
          </p:nvSpPr>
          <p:spPr>
            <a:xfrm flipV="1">
              <a:off x="270108" y="3859212"/>
              <a:ext cx="1840046" cy="536575"/>
            </a:xfrm>
            <a:prstGeom prst="round2Diag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00" dirty="0">
                <a:solidFill>
                  <a:srgbClr val="000000"/>
                </a:solidFill>
                <a:latin typeface="微软雅黑" pitchFamily="34" charset="-122"/>
                <a:ea typeface="微软雅黑" pitchFamily="34" charset="-122"/>
              </a:endParaRPr>
            </a:p>
          </p:txBody>
        </p:sp>
        <p:sp>
          <p:nvSpPr>
            <p:cNvPr id="274" name="Round Diagonal Corner Rectangle 273"/>
            <p:cNvSpPr/>
            <p:nvPr/>
          </p:nvSpPr>
          <p:spPr>
            <a:xfrm>
              <a:off x="281355" y="3912208"/>
              <a:ext cx="1969477" cy="430585"/>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zh-CN" altLang="en-US" sz="2300" dirty="0">
                  <a:solidFill>
                    <a:srgbClr val="000000"/>
                  </a:solidFill>
                  <a:latin typeface="微软雅黑" pitchFamily="34" charset="-122"/>
                  <a:ea typeface="微软雅黑" pitchFamily="34" charset="-122"/>
                </a:rPr>
                <a:t>保护目标资产</a:t>
              </a:r>
              <a:endParaRPr lang="en-US" sz="2300" dirty="0">
                <a:solidFill>
                  <a:srgbClr val="000000"/>
                </a:solidFill>
                <a:latin typeface="微软雅黑" pitchFamily="34" charset="-122"/>
                <a:ea typeface="微软雅黑" pitchFamily="34" charset="-122"/>
              </a:endParaRPr>
            </a:p>
          </p:txBody>
        </p:sp>
      </p:grpSp>
      <p:grpSp>
        <p:nvGrpSpPr>
          <p:cNvPr id="275" name="Group 274"/>
          <p:cNvGrpSpPr/>
          <p:nvPr/>
        </p:nvGrpSpPr>
        <p:grpSpPr>
          <a:xfrm>
            <a:off x="4278800" y="5138529"/>
            <a:ext cx="2812559" cy="763129"/>
            <a:chOff x="270108" y="3859212"/>
            <a:chExt cx="1980724" cy="536575"/>
          </a:xfrm>
        </p:grpSpPr>
        <p:sp>
          <p:nvSpPr>
            <p:cNvPr id="276" name="Round Diagonal Corner Rectangle 275"/>
            <p:cNvSpPr/>
            <p:nvPr/>
          </p:nvSpPr>
          <p:spPr>
            <a:xfrm flipV="1">
              <a:off x="270108" y="3859212"/>
              <a:ext cx="1840046" cy="536575"/>
            </a:xfrm>
            <a:prstGeom prst="round2Diag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00" dirty="0">
                <a:solidFill>
                  <a:srgbClr val="000000"/>
                </a:solidFill>
                <a:latin typeface="微软雅黑" pitchFamily="34" charset="-122"/>
                <a:ea typeface="微软雅黑" pitchFamily="34" charset="-122"/>
              </a:endParaRPr>
            </a:p>
          </p:txBody>
        </p:sp>
        <p:sp>
          <p:nvSpPr>
            <p:cNvPr id="277" name="Round Diagonal Corner Rectangle 276"/>
            <p:cNvSpPr/>
            <p:nvPr/>
          </p:nvSpPr>
          <p:spPr>
            <a:xfrm>
              <a:off x="281355" y="3912208"/>
              <a:ext cx="1969477" cy="430585"/>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zh-CN" altLang="en-US" sz="2300" dirty="0">
                  <a:solidFill>
                    <a:srgbClr val="000000"/>
                  </a:solidFill>
                  <a:latin typeface="微软雅黑" pitchFamily="34" charset="-122"/>
                  <a:ea typeface="微软雅黑" pitchFamily="34" charset="-122"/>
                </a:rPr>
                <a:t>降低损失</a:t>
              </a:r>
              <a:endParaRPr lang="en-US" sz="2300" dirty="0">
                <a:solidFill>
                  <a:srgbClr val="000000"/>
                </a:solidFill>
                <a:latin typeface="微软雅黑" pitchFamily="34" charset="-122"/>
                <a:ea typeface="微软雅黑" pitchFamily="34" charset="-122"/>
              </a:endParaRPr>
            </a:p>
          </p:txBody>
        </p:sp>
      </p:grpSp>
    </p:spTree>
    <p:extLst>
      <p:ext uri="{BB962C8B-B14F-4D97-AF65-F5344CB8AC3E}">
        <p14:creationId xmlns:p14="http://schemas.microsoft.com/office/powerpoint/2010/main" val="2835616481"/>
      </p:ext>
    </p:extLst>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262"/>
                                        </p:tgtEl>
                                        <p:attrNameLst>
                                          <p:attrName>style.visibility</p:attrName>
                                        </p:attrNameLst>
                                      </p:cBhvr>
                                      <p:to>
                                        <p:strVal val="visible"/>
                                      </p:to>
                                    </p:set>
                                    <p:animEffect transition="in" filter="fade">
                                      <p:cBhvr>
                                        <p:cTn id="10" dur="500"/>
                                        <p:tgtEl>
                                          <p:spTgt spid="262"/>
                                        </p:tgtEl>
                                      </p:cBhvr>
                                    </p:animEffect>
                                  </p:childTnLst>
                                </p:cTn>
                              </p:par>
                              <p:par>
                                <p:cTn id="11" presetID="22" presetClass="entr" presetSubtype="8"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wipe(left)">
                                      <p:cBhvr>
                                        <p:cTn id="13" dur="500"/>
                                        <p:tgtEl>
                                          <p:spTgt spid="10"/>
                                        </p:tgtEl>
                                      </p:cBhvr>
                                    </p:animEffect>
                                  </p:childTnLst>
                                </p:cTn>
                              </p:par>
                              <p:par>
                                <p:cTn id="14" presetID="22" presetClass="entr" presetSubtype="1"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wipe(up)">
                                      <p:cBhvr>
                                        <p:cTn id="16" dur="500"/>
                                        <p:tgtEl>
                                          <p:spTgt spid="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71"/>
                                        </p:tgtEl>
                                        <p:attrNameLst>
                                          <p:attrName>style.visibility</p:attrName>
                                        </p:attrNameLst>
                                      </p:cBhvr>
                                      <p:to>
                                        <p:strVal val="visible"/>
                                      </p:to>
                                    </p:set>
                                    <p:animEffect transition="in" filter="fade">
                                      <p:cBhvr>
                                        <p:cTn id="19" dur="250"/>
                                        <p:tgtEl>
                                          <p:spTgt spid="271"/>
                                        </p:tgtEl>
                                      </p:cBhvr>
                                    </p:animEffect>
                                  </p:childTnLst>
                                </p:cTn>
                              </p:par>
                              <p:par>
                                <p:cTn id="20" presetID="10" presetClass="entr" presetSubtype="0" fill="hold" nodeType="withEffect">
                                  <p:stCondLst>
                                    <p:cond delay="0"/>
                                  </p:stCondLst>
                                  <p:childTnLst>
                                    <p:set>
                                      <p:cBhvr>
                                        <p:cTn id="21" dur="1" fill="hold">
                                          <p:stCondLst>
                                            <p:cond delay="0"/>
                                          </p:stCondLst>
                                        </p:cTn>
                                        <p:tgtEl>
                                          <p:spTgt spid="268"/>
                                        </p:tgtEl>
                                        <p:attrNameLst>
                                          <p:attrName>style.visibility</p:attrName>
                                        </p:attrNameLst>
                                      </p:cBhvr>
                                      <p:to>
                                        <p:strVal val="visible"/>
                                      </p:to>
                                    </p:set>
                                    <p:animEffect transition="in" filter="fade">
                                      <p:cBhvr>
                                        <p:cTn id="22" dur="500"/>
                                        <p:tgtEl>
                                          <p:spTgt spid="268"/>
                                        </p:tgtEl>
                                      </p:cBhvr>
                                    </p:animEffect>
                                  </p:childTnLst>
                                </p:cTn>
                              </p:par>
                              <p:par>
                                <p:cTn id="23" presetID="22" presetClass="entr" presetSubtype="2" fill="hold" nodeType="withEffect">
                                  <p:stCondLst>
                                    <p:cond delay="0"/>
                                  </p:stCondLst>
                                  <p:childTnLst>
                                    <p:set>
                                      <p:cBhvr>
                                        <p:cTn id="24" dur="1" fill="hold">
                                          <p:stCondLst>
                                            <p:cond delay="0"/>
                                          </p:stCondLst>
                                        </p:cTn>
                                        <p:tgtEl>
                                          <p:spTgt spid="9"/>
                                        </p:tgtEl>
                                        <p:attrNameLst>
                                          <p:attrName>style.visibility</p:attrName>
                                        </p:attrNameLst>
                                      </p:cBhvr>
                                      <p:to>
                                        <p:strVal val="visible"/>
                                      </p:to>
                                    </p:set>
                                    <p:animEffect transition="in" filter="wipe(right)">
                                      <p:cBhvr>
                                        <p:cTn id="25" dur="500"/>
                                        <p:tgtEl>
                                          <p:spTgt spid="9"/>
                                        </p:tgtEl>
                                      </p:cBhvr>
                                    </p:animEffect>
                                  </p:childTnLst>
                                </p:cTn>
                              </p:par>
                              <p:par>
                                <p:cTn id="26" presetID="10" presetClass="entr" presetSubtype="0" fill="hold" nodeType="withEffect">
                                  <p:stCondLst>
                                    <p:cond delay="0"/>
                                  </p:stCondLst>
                                  <p:childTnLst>
                                    <p:set>
                                      <p:cBhvr>
                                        <p:cTn id="27" dur="1" fill="hold">
                                          <p:stCondLst>
                                            <p:cond delay="0"/>
                                          </p:stCondLst>
                                        </p:cTn>
                                        <p:tgtEl>
                                          <p:spTgt spid="452"/>
                                        </p:tgtEl>
                                        <p:attrNameLst>
                                          <p:attrName>style.visibility</p:attrName>
                                        </p:attrNameLst>
                                      </p:cBhvr>
                                      <p:to>
                                        <p:strVal val="visible"/>
                                      </p:to>
                                    </p:set>
                                    <p:animEffect transition="in" filter="fade">
                                      <p:cBhvr>
                                        <p:cTn id="28" dur="500"/>
                                        <p:tgtEl>
                                          <p:spTgt spid="452"/>
                                        </p:tgtEl>
                                      </p:cBhvr>
                                    </p:animEffect>
                                  </p:childTnLst>
                                </p:cTn>
                              </p:par>
                              <p:par>
                                <p:cTn id="29" presetID="10" presetClass="entr" presetSubtype="0" fill="hold" nodeType="withEffect">
                                  <p:stCondLst>
                                    <p:cond delay="0"/>
                                  </p:stCondLst>
                                  <p:childTnLst>
                                    <p:set>
                                      <p:cBhvr>
                                        <p:cTn id="30" dur="1" fill="hold">
                                          <p:stCondLst>
                                            <p:cond delay="0"/>
                                          </p:stCondLst>
                                        </p:cTn>
                                        <p:tgtEl>
                                          <p:spTgt spid="432"/>
                                        </p:tgtEl>
                                        <p:attrNameLst>
                                          <p:attrName>style.visibility</p:attrName>
                                        </p:attrNameLst>
                                      </p:cBhvr>
                                      <p:to>
                                        <p:strVal val="visible"/>
                                      </p:to>
                                    </p:set>
                                    <p:animEffect transition="in" filter="fade">
                                      <p:cBhvr>
                                        <p:cTn id="31" dur="500"/>
                                        <p:tgtEl>
                                          <p:spTgt spid="432"/>
                                        </p:tgtEl>
                                      </p:cBhvr>
                                    </p:animEffect>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nodeType="clickEffect">
                                  <p:stCondLst>
                                    <p:cond delay="0"/>
                                  </p:stCondLst>
                                  <p:childTnLst>
                                    <p:set>
                                      <p:cBhvr>
                                        <p:cTn id="35" dur="1" fill="hold">
                                          <p:stCondLst>
                                            <p:cond delay="0"/>
                                          </p:stCondLst>
                                        </p:cTn>
                                        <p:tgtEl>
                                          <p:spTgt spid="207"/>
                                        </p:tgtEl>
                                        <p:attrNameLst>
                                          <p:attrName>style.visibility</p:attrName>
                                        </p:attrNameLst>
                                      </p:cBhvr>
                                      <p:to>
                                        <p:strVal val="visible"/>
                                      </p:to>
                                    </p:se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210"/>
                                        </p:tgtEl>
                                        <p:attrNameLst>
                                          <p:attrName>style.visibility</p:attrName>
                                        </p:attrNameLst>
                                      </p:cBhvr>
                                      <p:to>
                                        <p:strVal val="visible"/>
                                      </p:to>
                                    </p:set>
                                    <p:animEffect transition="in" filter="fade">
                                      <p:cBhvr>
                                        <p:cTn id="40" dur="500"/>
                                        <p:tgtEl>
                                          <p:spTgt spid="210"/>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213"/>
                                        </p:tgtEl>
                                        <p:attrNameLst>
                                          <p:attrName>style.visibility</p:attrName>
                                        </p:attrNameLst>
                                      </p:cBhvr>
                                      <p:to>
                                        <p:strVal val="visible"/>
                                      </p:to>
                                    </p:set>
                                    <p:animEffect transition="in" filter="fade">
                                      <p:cBhvr>
                                        <p:cTn id="45" dur="500"/>
                                        <p:tgtEl>
                                          <p:spTgt spid="213"/>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272"/>
                                        </p:tgtEl>
                                        <p:attrNameLst>
                                          <p:attrName>style.visibility</p:attrName>
                                        </p:attrNameLst>
                                      </p:cBhvr>
                                      <p:to>
                                        <p:strVal val="visible"/>
                                      </p:to>
                                    </p:set>
                                    <p:animEffect transition="in" filter="fade">
                                      <p:cBhvr>
                                        <p:cTn id="50" dur="500"/>
                                        <p:tgtEl>
                                          <p:spTgt spid="272"/>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275"/>
                                        </p:tgtEl>
                                        <p:attrNameLst>
                                          <p:attrName>style.visibility</p:attrName>
                                        </p:attrNameLst>
                                      </p:cBhvr>
                                      <p:to>
                                        <p:strVal val="visible"/>
                                      </p:to>
                                    </p:set>
                                    <p:animEffect transition="in" filter="fade">
                                      <p:cBhvr>
                                        <p:cTn id="55" dur="500"/>
                                        <p:tgtEl>
                                          <p:spTgt spid="2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1"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CN" altLang="en-US" dirty="0" smtClean="0">
                <a:solidFill>
                  <a:srgbClr val="C00000"/>
                </a:solidFill>
                <a:latin typeface="微软雅黑" pitchFamily="34" charset="-122"/>
                <a:ea typeface="微软雅黑" pitchFamily="34" charset="-122"/>
              </a:rPr>
              <a:t>惠普</a:t>
            </a:r>
            <a:r>
              <a:rPr lang="en-US" altLang="zh-CN" dirty="0" smtClean="0">
                <a:solidFill>
                  <a:srgbClr val="C00000"/>
                </a:solidFill>
                <a:latin typeface="微软雅黑" pitchFamily="34" charset="-122"/>
                <a:ea typeface="微软雅黑" pitchFamily="34" charset="-122"/>
              </a:rPr>
              <a:t>+</a:t>
            </a:r>
            <a:r>
              <a:rPr lang="zh-CN" altLang="en-US" dirty="0" smtClean="0">
                <a:solidFill>
                  <a:srgbClr val="C00000"/>
                </a:solidFill>
                <a:latin typeface="微软雅黑" pitchFamily="34" charset="-122"/>
                <a:ea typeface="微软雅黑" pitchFamily="34" charset="-122"/>
              </a:rPr>
              <a:t>趋势科技</a:t>
            </a:r>
            <a:endParaRPr lang="en-US" dirty="0">
              <a:solidFill>
                <a:srgbClr val="C00000"/>
              </a:solidFill>
              <a:latin typeface="微软雅黑" pitchFamily="34" charset="-122"/>
              <a:ea typeface="微软雅黑" pitchFamily="34" charset="-122"/>
            </a:endParaRPr>
          </a:p>
        </p:txBody>
      </p:sp>
      <p:cxnSp>
        <p:nvCxnSpPr>
          <p:cNvPr id="20" name="Straight Connector 19"/>
          <p:cNvCxnSpPr>
            <a:stCxn id="17" idx="0"/>
            <a:endCxn id="5" idx="1"/>
          </p:cNvCxnSpPr>
          <p:nvPr/>
        </p:nvCxnSpPr>
        <p:spPr>
          <a:xfrm flipH="1" flipV="1">
            <a:off x="5986541" y="2065335"/>
            <a:ext cx="11400" cy="1382962"/>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5" name="Cloud 4"/>
          <p:cNvSpPr/>
          <p:nvPr/>
        </p:nvSpPr>
        <p:spPr>
          <a:xfrm>
            <a:off x="4795594" y="945931"/>
            <a:ext cx="2381894" cy="1120598"/>
          </a:xfrm>
          <a:prstGeom prst="cloud">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9909" tIns="64954" rIns="129909" bIns="64954" rtlCol="0" anchor="ctr"/>
          <a:lstStyle/>
          <a:p>
            <a:pPr algn="ctr"/>
            <a:r>
              <a:rPr lang="en-US" sz="2000" dirty="0" smtClean="0">
                <a:solidFill>
                  <a:prstClr val="white"/>
                </a:solidFill>
                <a:latin typeface="微软雅黑" pitchFamily="34" charset="-122"/>
                <a:ea typeface="微软雅黑" pitchFamily="34" charset="-122"/>
              </a:rPr>
              <a:t>internet</a:t>
            </a:r>
            <a:endParaRPr lang="en-US" sz="2000" dirty="0">
              <a:solidFill>
                <a:prstClr val="white"/>
              </a:solidFill>
              <a:latin typeface="微软雅黑" pitchFamily="34" charset="-122"/>
              <a:ea typeface="微软雅黑" pitchFamily="34" charset="-122"/>
            </a:endParaRPr>
          </a:p>
        </p:txBody>
      </p:sp>
      <p:sp>
        <p:nvSpPr>
          <p:cNvPr id="6" name="Oval 5"/>
          <p:cNvSpPr/>
          <p:nvPr/>
        </p:nvSpPr>
        <p:spPr>
          <a:xfrm>
            <a:off x="8722030" y="971555"/>
            <a:ext cx="1041384" cy="1069346"/>
          </a:xfrm>
          <a:prstGeom prst="ellipse">
            <a:avLst/>
          </a:prstGeom>
          <a:blipFill rotWithShape="1">
            <a:blip r:embed="rId2" cstate="print">
              <a:extLst>
                <a:ext uri="{28A0092B-C50C-407E-A947-70E740481C1C}">
                  <a14:useLocalDpi xmlns:a14="http://schemas.microsoft.com/office/drawing/2010/main"/>
                </a:ext>
              </a:extLst>
            </a:blip>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cxnSp>
        <p:nvCxnSpPr>
          <p:cNvPr id="7" name="Straight Connector 6"/>
          <p:cNvCxnSpPr>
            <a:stCxn id="5" idx="0"/>
            <a:endCxn id="6" idx="2"/>
          </p:cNvCxnSpPr>
          <p:nvPr/>
        </p:nvCxnSpPr>
        <p:spPr>
          <a:xfrm flipV="1">
            <a:off x="7175503" y="1506228"/>
            <a:ext cx="1546527" cy="2"/>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11" name="TextBox 98"/>
          <p:cNvSpPr txBox="1"/>
          <p:nvPr/>
        </p:nvSpPr>
        <p:spPr bwMode="auto">
          <a:xfrm>
            <a:off x="6240249" y="2249064"/>
            <a:ext cx="1503810" cy="447900"/>
          </a:xfrm>
          <a:prstGeom prst="rect">
            <a:avLst/>
          </a:prstGeom>
          <a:noFill/>
          <a:effectLst/>
        </p:spPr>
        <p:txBody>
          <a:bodyPr wrap="none" lIns="129909" tIns="64954" rIns="129909" bIns="64954">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kern="0" dirty="0">
                <a:solidFill>
                  <a:prstClr val="black"/>
                </a:solidFill>
                <a:latin typeface="微软雅黑" pitchFamily="34" charset="-122"/>
                <a:ea typeface="微软雅黑" pitchFamily="34" charset="-122"/>
              </a:rPr>
              <a:t>Perimeter</a:t>
            </a:r>
          </a:p>
        </p:txBody>
      </p:sp>
      <p:pic>
        <p:nvPicPr>
          <p:cNvPr id="12" name="Content Placeholder 18" descr="IPS"/>
          <p:cNvPicPr>
            <a:picLocks noChangeAspect="1" noChangeArrowheads="1"/>
          </p:cNvPicPr>
          <p:nvPr/>
        </p:nvPicPr>
        <p:blipFill>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rot="21285884">
            <a:off x="5597818" y="2220798"/>
            <a:ext cx="738139" cy="371626"/>
          </a:xfrm>
          <a:prstGeom prst="rect">
            <a:avLst/>
          </a:prstGeom>
          <a:noFill/>
          <a:ln w="9525">
            <a:noFill/>
            <a:miter lim="800000"/>
            <a:headEnd/>
            <a:tailEnd/>
          </a:ln>
        </p:spPr>
      </p:pic>
      <p:pic>
        <p:nvPicPr>
          <p:cNvPr id="13" name="Picture 12" descr="IPS"/>
          <p:cNvPicPr>
            <a:picLocks noChangeAspect="1" noChangeArrowheads="1"/>
          </p:cNvPicPr>
          <p:nvPr/>
        </p:nvPicPr>
        <p:blipFill>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rot="21285884">
            <a:off x="5586781" y="2798037"/>
            <a:ext cx="731761" cy="364306"/>
          </a:xfrm>
          <a:prstGeom prst="rect">
            <a:avLst/>
          </a:prstGeom>
          <a:noFill/>
          <a:ln w="9525">
            <a:noFill/>
            <a:miter lim="800000"/>
            <a:headEnd/>
            <a:tailEnd/>
          </a:ln>
        </p:spPr>
      </p:pic>
      <p:pic>
        <p:nvPicPr>
          <p:cNvPr id="15" name="Picture 16" descr="https://encrypted-tbn1.gstatic.com/images?q=tbn:ANd9GcSCIKz7WhaoIAh_DFwPTQNT0KlJeZIYGiDo8dwdlPL_pKdDJip6zg"/>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880317" y="2741187"/>
            <a:ext cx="1867330" cy="507671"/>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3"/>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339841" y="2683783"/>
            <a:ext cx="1350671" cy="4647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 name="Picture 16" descr="SW_8814"/>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flipH="1">
            <a:off x="5549878" y="3448298"/>
            <a:ext cx="896128" cy="891104"/>
          </a:xfrm>
          <a:prstGeom prst="rect">
            <a:avLst/>
          </a:prstGeom>
          <a:noFill/>
          <a:ln w="9525">
            <a:noFill/>
            <a:miter lim="800000"/>
            <a:headEnd/>
            <a:tailEnd/>
          </a:ln>
        </p:spPr>
      </p:pic>
      <p:cxnSp>
        <p:nvCxnSpPr>
          <p:cNvPr id="18" name="Straight Connector 17"/>
          <p:cNvCxnSpPr>
            <a:stCxn id="15" idx="3"/>
            <a:endCxn id="17" idx="3"/>
          </p:cNvCxnSpPr>
          <p:nvPr/>
        </p:nvCxnSpPr>
        <p:spPr>
          <a:xfrm>
            <a:off x="3747647" y="2995023"/>
            <a:ext cx="1802231" cy="898827"/>
          </a:xfrm>
          <a:prstGeom prst="line">
            <a:avLst/>
          </a:prstGeom>
          <a:ln w="19050">
            <a:solidFill>
              <a:schemeClr val="accent4"/>
            </a:solidFill>
            <a:prstDash val="sysDash"/>
          </a:ln>
        </p:spPr>
        <p:style>
          <a:lnRef idx="1">
            <a:schemeClr val="accent1"/>
          </a:lnRef>
          <a:fillRef idx="0">
            <a:schemeClr val="accent1"/>
          </a:fillRef>
          <a:effectRef idx="0">
            <a:schemeClr val="accent1"/>
          </a:effectRef>
          <a:fontRef idx="minor">
            <a:schemeClr val="tx1"/>
          </a:fontRef>
        </p:style>
      </p:cxnSp>
      <p:pic>
        <p:nvPicPr>
          <p:cNvPr id="24" name="Picture 23" descr="computer2"/>
          <p:cNvPicPr>
            <a:picLocks noChangeAspect="1" noChangeArrowheads="1"/>
          </p:cNvPicPr>
          <p:nvPr/>
        </p:nvPicPr>
        <p:blipFill>
          <a:blip r:embed="rId7"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0352334" y="3225897"/>
            <a:ext cx="531779" cy="440804"/>
          </a:xfrm>
          <a:prstGeom prst="rect">
            <a:avLst/>
          </a:prstGeom>
          <a:noFill/>
          <a:ln w="9525">
            <a:noFill/>
            <a:miter lim="800000"/>
            <a:headEnd/>
            <a:tailEnd/>
          </a:ln>
        </p:spPr>
      </p:pic>
      <p:pic>
        <p:nvPicPr>
          <p:cNvPr id="25" name="Picture 24" descr="computer2"/>
          <p:cNvPicPr>
            <a:picLocks noChangeAspect="1" noChangeArrowheads="1"/>
          </p:cNvPicPr>
          <p:nvPr/>
        </p:nvPicPr>
        <p:blipFill>
          <a:blip r:embed="rId7"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0709125" y="3294136"/>
            <a:ext cx="531779" cy="440804"/>
          </a:xfrm>
          <a:prstGeom prst="rect">
            <a:avLst/>
          </a:prstGeom>
          <a:noFill/>
          <a:ln w="9525">
            <a:noFill/>
            <a:miter lim="800000"/>
            <a:headEnd/>
            <a:tailEnd/>
          </a:ln>
        </p:spPr>
      </p:pic>
      <p:pic>
        <p:nvPicPr>
          <p:cNvPr id="26" name="Picture 25" descr="computer2"/>
          <p:cNvPicPr>
            <a:picLocks noChangeAspect="1" noChangeArrowheads="1"/>
          </p:cNvPicPr>
          <p:nvPr/>
        </p:nvPicPr>
        <p:blipFill>
          <a:blip r:embed="rId7"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947560" y="3477418"/>
            <a:ext cx="531779" cy="440804"/>
          </a:xfrm>
          <a:prstGeom prst="rect">
            <a:avLst/>
          </a:prstGeom>
          <a:noFill/>
          <a:ln w="9525">
            <a:noFill/>
            <a:miter lim="800000"/>
            <a:headEnd/>
            <a:tailEnd/>
          </a:ln>
        </p:spPr>
      </p:pic>
      <p:pic>
        <p:nvPicPr>
          <p:cNvPr id="27" name="Picture 26" descr="computer2"/>
          <p:cNvPicPr>
            <a:picLocks noChangeAspect="1" noChangeArrowheads="1"/>
          </p:cNvPicPr>
          <p:nvPr/>
        </p:nvPicPr>
        <p:blipFill>
          <a:blip r:embed="rId7"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0287810" y="3562645"/>
            <a:ext cx="531779" cy="440804"/>
          </a:xfrm>
          <a:prstGeom prst="rect">
            <a:avLst/>
          </a:prstGeom>
          <a:noFill/>
          <a:ln w="9525">
            <a:noFill/>
            <a:miter lim="800000"/>
            <a:headEnd/>
            <a:tailEnd/>
          </a:ln>
        </p:spPr>
      </p:pic>
      <p:sp>
        <p:nvSpPr>
          <p:cNvPr id="28" name="TextBox 98"/>
          <p:cNvSpPr txBox="1"/>
          <p:nvPr/>
        </p:nvSpPr>
        <p:spPr bwMode="auto">
          <a:xfrm>
            <a:off x="8658471" y="3675891"/>
            <a:ext cx="810799" cy="447900"/>
          </a:xfrm>
          <a:prstGeom prst="rect">
            <a:avLst/>
          </a:prstGeom>
          <a:noFill/>
          <a:effectLst/>
        </p:spPr>
        <p:txBody>
          <a:bodyPr wrap="none" lIns="129909" tIns="64954" rIns="129909" bIns="64954">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kern="0" dirty="0">
                <a:solidFill>
                  <a:prstClr val="black"/>
                </a:solidFill>
                <a:latin typeface="微软雅黑" pitchFamily="34" charset="-122"/>
                <a:ea typeface="微软雅黑" pitchFamily="34" charset="-122"/>
              </a:rPr>
              <a:t>LAN</a:t>
            </a:r>
          </a:p>
        </p:txBody>
      </p:sp>
      <p:pic>
        <p:nvPicPr>
          <p:cNvPr id="29" name="Picture 28" descr="IPS"/>
          <p:cNvPicPr>
            <a:picLocks noChangeAspect="1" noChangeArrowheads="1"/>
          </p:cNvPicPr>
          <p:nvPr/>
        </p:nvPicPr>
        <p:blipFill>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rot="21285884">
            <a:off x="7671338" y="4074351"/>
            <a:ext cx="885431" cy="440811"/>
          </a:xfrm>
          <a:prstGeom prst="rect">
            <a:avLst/>
          </a:prstGeom>
          <a:noFill/>
          <a:ln w="9525">
            <a:noFill/>
            <a:miter lim="800000"/>
            <a:headEnd/>
            <a:tailEnd/>
          </a:ln>
        </p:spPr>
      </p:pic>
      <p:pic>
        <p:nvPicPr>
          <p:cNvPr id="30" name="Picture 4" descr="https://encrypted-tbn0.gstatic.com/images?q=tbn:ANd9GcTdBDk4Ch1FVU1wf2EDNnPTtXhC11sKKx1aoYUuyyIuh4iFGja17Q"/>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10585182" y="3476285"/>
            <a:ext cx="383005" cy="356698"/>
          </a:xfrm>
          <a:prstGeom prst="rect">
            <a:avLst/>
          </a:prstGeom>
          <a:noFill/>
          <a:extLst>
            <a:ext uri="{909E8E84-426E-40DD-AFC4-6F175D3DCCD1}">
              <a14:hiddenFill xmlns:a14="http://schemas.microsoft.com/office/drawing/2010/main">
                <a:solidFill>
                  <a:srgbClr val="FFFFFF"/>
                </a:solidFill>
              </a14:hiddenFill>
            </a:ext>
          </a:extLst>
        </p:spPr>
      </p:pic>
      <p:cxnSp>
        <p:nvCxnSpPr>
          <p:cNvPr id="32" name="Straight Connector 31"/>
          <p:cNvCxnSpPr>
            <a:stCxn id="17" idx="1"/>
            <a:endCxn id="29" idx="1"/>
          </p:cNvCxnSpPr>
          <p:nvPr/>
        </p:nvCxnSpPr>
        <p:spPr>
          <a:xfrm>
            <a:off x="6446006" y="3893850"/>
            <a:ext cx="1227179" cy="441303"/>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a:endCxn id="29" idx="3"/>
          </p:cNvCxnSpPr>
          <p:nvPr/>
        </p:nvCxnSpPr>
        <p:spPr>
          <a:xfrm flipH="1">
            <a:off x="8554922" y="3892191"/>
            <a:ext cx="1332314" cy="36217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pic>
        <p:nvPicPr>
          <p:cNvPr id="39" name="Picture 26" descr="https://encrypted-tbn0.gstatic.com/images?q=tbn:ANd9GcRf_0hx2vPjiCYgQWrcn_8xtLzXf77XX3g89A4EucUlnr2biEn13Q"/>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1837217" y="3097789"/>
            <a:ext cx="1935887" cy="1988282"/>
          </a:xfrm>
          <a:prstGeom prst="rect">
            <a:avLst/>
          </a:prstGeom>
          <a:noFill/>
          <a:extLst>
            <a:ext uri="{909E8E84-426E-40DD-AFC4-6F175D3DCCD1}">
              <a14:hiddenFill xmlns:a14="http://schemas.microsoft.com/office/drawing/2010/main">
                <a:solidFill>
                  <a:srgbClr val="FFFFFF"/>
                </a:solidFill>
              </a14:hiddenFill>
            </a:ext>
          </a:extLst>
        </p:spPr>
      </p:pic>
      <p:grpSp>
        <p:nvGrpSpPr>
          <p:cNvPr id="46" name="Group 45"/>
          <p:cNvGrpSpPr/>
          <p:nvPr/>
        </p:nvGrpSpPr>
        <p:grpSpPr>
          <a:xfrm>
            <a:off x="252250" y="3883347"/>
            <a:ext cx="1516197" cy="390659"/>
            <a:chOff x="2323573" y="2766217"/>
            <a:chExt cx="764180" cy="226795"/>
          </a:xfrm>
        </p:grpSpPr>
        <p:pic>
          <p:nvPicPr>
            <p:cNvPr id="40" name="Picture 39"/>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2482147" y="2789603"/>
              <a:ext cx="605606" cy="203409"/>
            </a:xfrm>
            <a:prstGeom prst="rect">
              <a:avLst/>
            </a:prstGeom>
            <a:effectLst/>
          </p:spPr>
        </p:pic>
        <p:pic>
          <p:nvPicPr>
            <p:cNvPr id="41" name="Picture 40"/>
            <p:cNvPicPr>
              <a:picLocks noChangeAspect="1"/>
            </p:cNvPicPr>
            <p:nvPr/>
          </p:nvPicPr>
          <p:blipFill>
            <a:blip r:embed="rId11"/>
            <a:stretch>
              <a:fillRect/>
            </a:stretch>
          </p:blipFill>
          <p:spPr>
            <a:xfrm>
              <a:off x="2323573" y="2766217"/>
              <a:ext cx="139800" cy="190301"/>
            </a:xfrm>
            <a:prstGeom prst="rect">
              <a:avLst/>
            </a:prstGeom>
          </p:spPr>
        </p:pic>
      </p:grpSp>
      <p:grpSp>
        <p:nvGrpSpPr>
          <p:cNvPr id="47" name="Group 46"/>
          <p:cNvGrpSpPr/>
          <p:nvPr/>
        </p:nvGrpSpPr>
        <p:grpSpPr>
          <a:xfrm>
            <a:off x="6551955" y="2723133"/>
            <a:ext cx="1618186" cy="388135"/>
            <a:chOff x="6528489" y="4170728"/>
            <a:chExt cx="1102979" cy="250176"/>
          </a:xfrm>
        </p:grpSpPr>
        <p:pic>
          <p:nvPicPr>
            <p:cNvPr id="48" name="Picture 47"/>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6785080" y="4172876"/>
              <a:ext cx="846388" cy="215444"/>
            </a:xfrm>
            <a:prstGeom prst="rect">
              <a:avLst/>
            </a:prstGeom>
          </p:spPr>
        </p:pic>
        <p:pic>
          <p:nvPicPr>
            <p:cNvPr id="49" name="Picture 48"/>
            <p:cNvPicPr>
              <a:picLocks noChangeAspect="1"/>
            </p:cNvPicPr>
            <p:nvPr/>
          </p:nvPicPr>
          <p:blipFill>
            <a:blip r:embed="rId11"/>
            <a:stretch>
              <a:fillRect/>
            </a:stretch>
          </p:blipFill>
          <p:spPr>
            <a:xfrm>
              <a:off x="6528489" y="4170728"/>
              <a:ext cx="256591" cy="250176"/>
            </a:xfrm>
            <a:prstGeom prst="rect">
              <a:avLst/>
            </a:prstGeom>
          </p:spPr>
        </p:pic>
      </p:grpSp>
      <p:pic>
        <p:nvPicPr>
          <p:cNvPr id="50" name="Picture 24" descr="Large Photo"/>
          <p:cNvPicPr>
            <a:picLocks noChangeAspect="1"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3166561" y="5176268"/>
            <a:ext cx="1757675" cy="830413"/>
          </a:xfrm>
          <a:prstGeom prst="rect">
            <a:avLst/>
          </a:prstGeom>
          <a:noFill/>
          <a:extLst>
            <a:ext uri="{909E8E84-426E-40DD-AFC4-6F175D3DCCD1}">
              <a14:hiddenFill xmlns:a14="http://schemas.microsoft.com/office/drawing/2010/main">
                <a:solidFill>
                  <a:srgbClr val="FFFFFF"/>
                </a:solidFill>
              </a14:hiddenFill>
            </a:ext>
          </a:extLst>
        </p:spPr>
      </p:pic>
      <p:cxnSp>
        <p:nvCxnSpPr>
          <p:cNvPr id="54" name="Straight Connector 53"/>
          <p:cNvCxnSpPr>
            <a:stCxn id="39" idx="3"/>
            <a:endCxn id="17" idx="3"/>
          </p:cNvCxnSpPr>
          <p:nvPr/>
        </p:nvCxnSpPr>
        <p:spPr>
          <a:xfrm flipV="1">
            <a:off x="3773104" y="3893850"/>
            <a:ext cx="1776774" cy="19808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a:endCxn id="17" idx="2"/>
          </p:cNvCxnSpPr>
          <p:nvPr/>
        </p:nvCxnSpPr>
        <p:spPr>
          <a:xfrm flipV="1">
            <a:off x="4763251" y="4339401"/>
            <a:ext cx="1234690" cy="1060153"/>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65" name="TextBox 98"/>
          <p:cNvSpPr txBox="1"/>
          <p:nvPr/>
        </p:nvSpPr>
        <p:spPr bwMode="auto">
          <a:xfrm>
            <a:off x="3741871" y="5872435"/>
            <a:ext cx="778522" cy="408176"/>
          </a:xfrm>
          <a:prstGeom prst="rect">
            <a:avLst/>
          </a:prstGeom>
          <a:noFill/>
          <a:effectLst/>
        </p:spPr>
        <p:txBody>
          <a:bodyPr wrap="none" lIns="129909" tIns="64954" rIns="129909" bIns="64954">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kern="0" dirty="0">
                <a:solidFill>
                  <a:srgbClr val="0096D6"/>
                </a:solidFill>
                <a:latin typeface="微软雅黑" pitchFamily="34" charset="-122"/>
                <a:ea typeface="微软雅黑" pitchFamily="34" charset="-122"/>
              </a:rPr>
              <a:t>SMS</a:t>
            </a:r>
          </a:p>
        </p:txBody>
      </p:sp>
      <p:pic>
        <p:nvPicPr>
          <p:cNvPr id="66" name="Picture 65" descr="SW_8814"/>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flipH="1">
            <a:off x="8252503" y="5413444"/>
            <a:ext cx="1084315" cy="1078235"/>
          </a:xfrm>
          <a:prstGeom prst="rect">
            <a:avLst/>
          </a:prstGeom>
          <a:noFill/>
          <a:ln w="9525">
            <a:noFill/>
            <a:miter lim="800000"/>
            <a:headEnd/>
            <a:tailEnd/>
          </a:ln>
        </p:spPr>
      </p:pic>
      <p:pic>
        <p:nvPicPr>
          <p:cNvPr id="70" name="Picture 69" descr="IPS"/>
          <p:cNvPicPr>
            <a:picLocks noChangeAspect="1" noChangeArrowheads="1"/>
          </p:cNvPicPr>
          <p:nvPr/>
        </p:nvPicPr>
        <p:blipFill>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rot="21285884">
            <a:off x="6652927" y="5416585"/>
            <a:ext cx="973974" cy="484892"/>
          </a:xfrm>
          <a:prstGeom prst="rect">
            <a:avLst/>
          </a:prstGeom>
          <a:noFill/>
          <a:ln w="9525">
            <a:noFill/>
            <a:miter lim="800000"/>
            <a:headEnd/>
            <a:tailEnd/>
          </a:ln>
        </p:spPr>
      </p:pic>
      <p:cxnSp>
        <p:nvCxnSpPr>
          <p:cNvPr id="74" name="Straight Connector 73"/>
          <p:cNvCxnSpPr>
            <a:stCxn id="70" idx="0"/>
            <a:endCxn id="17" idx="2"/>
          </p:cNvCxnSpPr>
          <p:nvPr/>
        </p:nvCxnSpPr>
        <p:spPr>
          <a:xfrm flipH="1" flipV="1">
            <a:off x="5997942" y="4339402"/>
            <a:ext cx="1119850" cy="1078194"/>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a:stCxn id="66" idx="3"/>
          </p:cNvCxnSpPr>
          <p:nvPr/>
        </p:nvCxnSpPr>
        <p:spPr>
          <a:xfrm flipH="1" flipV="1">
            <a:off x="7445298" y="5669240"/>
            <a:ext cx="807205" cy="283322"/>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82" name="Picture 81" descr="server"/>
          <p:cNvPicPr>
            <a:picLocks noChangeAspect="1" noChangeArrowheads="1"/>
          </p:cNvPicPr>
          <p:nvPr/>
        </p:nvPicPr>
        <p:blipFill>
          <a:blip r:embed="rId14"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0287236" y="5669799"/>
            <a:ext cx="553138" cy="582577"/>
          </a:xfrm>
          <a:prstGeom prst="rect">
            <a:avLst/>
          </a:prstGeom>
          <a:noFill/>
          <a:ln w="9525">
            <a:noFill/>
            <a:miter lim="800000"/>
            <a:headEnd/>
            <a:tailEnd/>
          </a:ln>
        </p:spPr>
      </p:pic>
      <p:pic>
        <p:nvPicPr>
          <p:cNvPr id="83" name="Picture 82" descr="server"/>
          <p:cNvPicPr>
            <a:picLocks noChangeAspect="1" noChangeArrowheads="1"/>
          </p:cNvPicPr>
          <p:nvPr/>
        </p:nvPicPr>
        <p:blipFill>
          <a:blip r:embed="rId14"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0575438" y="5786627"/>
            <a:ext cx="553138" cy="582577"/>
          </a:xfrm>
          <a:prstGeom prst="rect">
            <a:avLst/>
          </a:prstGeom>
          <a:noFill/>
          <a:ln w="9525">
            <a:noFill/>
            <a:miter lim="800000"/>
            <a:headEnd/>
            <a:tailEnd/>
          </a:ln>
        </p:spPr>
      </p:pic>
      <p:cxnSp>
        <p:nvCxnSpPr>
          <p:cNvPr id="93" name="Straight Connector 92"/>
          <p:cNvCxnSpPr>
            <a:stCxn id="82" idx="1"/>
            <a:endCxn id="66" idx="1"/>
          </p:cNvCxnSpPr>
          <p:nvPr/>
        </p:nvCxnSpPr>
        <p:spPr>
          <a:xfrm flipH="1" flipV="1">
            <a:off x="9336818" y="5952562"/>
            <a:ext cx="950418" cy="8526"/>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95" name="Picture 94" descr="server"/>
          <p:cNvPicPr>
            <a:picLocks noChangeAspect="1" noChangeArrowheads="1"/>
          </p:cNvPicPr>
          <p:nvPr/>
        </p:nvPicPr>
        <p:blipFill>
          <a:blip r:embed="rId14"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0557831" y="5349000"/>
            <a:ext cx="553138" cy="582577"/>
          </a:xfrm>
          <a:prstGeom prst="rect">
            <a:avLst/>
          </a:prstGeom>
          <a:noFill/>
          <a:ln w="9525">
            <a:noFill/>
            <a:miter lim="800000"/>
            <a:headEnd/>
            <a:tailEnd/>
          </a:ln>
        </p:spPr>
      </p:pic>
      <p:pic>
        <p:nvPicPr>
          <p:cNvPr id="96" name="Picture 95" descr="server"/>
          <p:cNvPicPr>
            <a:picLocks noChangeAspect="1" noChangeArrowheads="1"/>
          </p:cNvPicPr>
          <p:nvPr/>
        </p:nvPicPr>
        <p:blipFill>
          <a:blip r:embed="rId14"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0846033" y="5465828"/>
            <a:ext cx="553138" cy="582577"/>
          </a:xfrm>
          <a:prstGeom prst="rect">
            <a:avLst/>
          </a:prstGeom>
          <a:noFill/>
          <a:ln w="9525">
            <a:noFill/>
            <a:miter lim="800000"/>
            <a:headEnd/>
            <a:tailEnd/>
          </a:ln>
        </p:spPr>
      </p:pic>
      <p:sp>
        <p:nvSpPr>
          <p:cNvPr id="107" name="TextBox 98"/>
          <p:cNvSpPr txBox="1"/>
          <p:nvPr/>
        </p:nvSpPr>
        <p:spPr bwMode="auto">
          <a:xfrm>
            <a:off x="10372126" y="3964797"/>
            <a:ext cx="808792" cy="492690"/>
          </a:xfrm>
          <a:prstGeom prst="rect">
            <a:avLst/>
          </a:prstGeom>
          <a:noFill/>
          <a:effectLst/>
        </p:spPr>
        <p:txBody>
          <a:bodyPr wrap="none" lIns="129909" tIns="64954" rIns="129909" bIns="64954">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kern="0" dirty="0">
                <a:solidFill>
                  <a:prstClr val="black"/>
                </a:solidFill>
                <a:latin typeface="微软雅黑" pitchFamily="34" charset="-122"/>
                <a:ea typeface="微软雅黑" pitchFamily="34" charset="-122"/>
              </a:rPr>
              <a:t>OA</a:t>
            </a:r>
          </a:p>
        </p:txBody>
      </p:sp>
      <p:sp>
        <p:nvSpPr>
          <p:cNvPr id="108" name="TextBox 98"/>
          <p:cNvSpPr txBox="1"/>
          <p:nvPr/>
        </p:nvSpPr>
        <p:spPr bwMode="auto">
          <a:xfrm>
            <a:off x="10228005" y="6358726"/>
            <a:ext cx="891420" cy="447900"/>
          </a:xfrm>
          <a:prstGeom prst="rect">
            <a:avLst/>
          </a:prstGeom>
          <a:noFill/>
          <a:effectLst/>
        </p:spPr>
        <p:txBody>
          <a:bodyPr wrap="none" lIns="129909" tIns="64954" rIns="129909" bIns="64954">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kern="0" dirty="0">
                <a:solidFill>
                  <a:prstClr val="black"/>
                </a:solidFill>
                <a:latin typeface="微软雅黑" pitchFamily="34" charset="-122"/>
                <a:ea typeface="微软雅黑" pitchFamily="34" charset="-122"/>
              </a:rPr>
              <a:t>DMZ</a:t>
            </a:r>
          </a:p>
        </p:txBody>
      </p:sp>
      <p:cxnSp>
        <p:nvCxnSpPr>
          <p:cNvPr id="109" name="Straight Arrow Connector 108"/>
          <p:cNvCxnSpPr/>
          <p:nvPr/>
        </p:nvCxnSpPr>
        <p:spPr>
          <a:xfrm>
            <a:off x="2776243" y="3163984"/>
            <a:ext cx="5054" cy="78465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11" name="Straight Arrow Connector 110"/>
          <p:cNvCxnSpPr>
            <a:endCxn id="50" idx="0"/>
          </p:cNvCxnSpPr>
          <p:nvPr/>
        </p:nvCxnSpPr>
        <p:spPr>
          <a:xfrm>
            <a:off x="2836977" y="4294755"/>
            <a:ext cx="1208422" cy="88151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14" name="Straight Arrow Connector 113"/>
          <p:cNvCxnSpPr/>
          <p:nvPr/>
        </p:nvCxnSpPr>
        <p:spPr>
          <a:xfrm flipV="1">
            <a:off x="4925957" y="5632834"/>
            <a:ext cx="1677276" cy="1353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16" name="Straight Arrow Connector 115"/>
          <p:cNvCxnSpPr/>
          <p:nvPr/>
        </p:nvCxnSpPr>
        <p:spPr>
          <a:xfrm flipV="1">
            <a:off x="4925957" y="4454284"/>
            <a:ext cx="2435091" cy="119208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0" name="Straight Arrow Connector 119"/>
          <p:cNvCxnSpPr>
            <a:endCxn id="13" idx="2"/>
          </p:cNvCxnSpPr>
          <p:nvPr/>
        </p:nvCxnSpPr>
        <p:spPr>
          <a:xfrm flipV="1">
            <a:off x="4993394" y="3161583"/>
            <a:ext cx="975451" cy="2465179"/>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23" name="&quot;No&quot; Symbol 122"/>
          <p:cNvSpPr/>
          <p:nvPr/>
        </p:nvSpPr>
        <p:spPr>
          <a:xfrm>
            <a:off x="7425041" y="4120010"/>
            <a:ext cx="273512" cy="280914"/>
          </a:xfrm>
          <a:prstGeom prst="noSmoking">
            <a:avLst/>
          </a:prstGeom>
          <a:solidFill>
            <a:schemeClr val="accent2"/>
          </a:solidFill>
          <a:ln>
            <a:solidFill>
              <a:srgbClr val="FF0000"/>
            </a:solidFill>
          </a:ln>
          <a:effectLst/>
        </p:spPr>
        <p:style>
          <a:lnRef idx="1">
            <a:schemeClr val="accent1"/>
          </a:lnRef>
          <a:fillRef idx="3">
            <a:schemeClr val="accent1"/>
          </a:fillRef>
          <a:effectRef idx="2">
            <a:schemeClr val="accent1"/>
          </a:effectRef>
          <a:fontRef idx="minor">
            <a:schemeClr val="lt1"/>
          </a:fontRef>
        </p:style>
        <p:txBody>
          <a:bodyPr lIns="129909" tIns="64954" rIns="129909" bIns="64954" rtlCol="0" anchor="ctr"/>
          <a:lstStyle/>
          <a:p>
            <a:pPr algn="ctr"/>
            <a:endParaRPr lang="en-US" sz="2000">
              <a:solidFill>
                <a:schemeClr val="tx1"/>
              </a:solidFill>
              <a:latin typeface="微软雅黑" pitchFamily="34" charset="-122"/>
              <a:ea typeface="微软雅黑" pitchFamily="34" charset="-122"/>
            </a:endParaRPr>
          </a:p>
        </p:txBody>
      </p:sp>
      <p:sp>
        <p:nvSpPr>
          <p:cNvPr id="126" name="&quot;No&quot; Symbol 125"/>
          <p:cNvSpPr/>
          <p:nvPr/>
        </p:nvSpPr>
        <p:spPr>
          <a:xfrm>
            <a:off x="6855399" y="5182665"/>
            <a:ext cx="273512" cy="280914"/>
          </a:xfrm>
          <a:prstGeom prst="noSmoking">
            <a:avLst/>
          </a:prstGeom>
          <a:solidFill>
            <a:schemeClr val="accent2"/>
          </a:solidFill>
          <a:ln>
            <a:solidFill>
              <a:srgbClr val="FF0000"/>
            </a:solidFill>
          </a:ln>
          <a:effectLst/>
        </p:spPr>
        <p:style>
          <a:lnRef idx="1">
            <a:schemeClr val="accent1"/>
          </a:lnRef>
          <a:fillRef idx="3">
            <a:schemeClr val="accent1"/>
          </a:fillRef>
          <a:effectRef idx="2">
            <a:schemeClr val="accent1"/>
          </a:effectRef>
          <a:fontRef idx="minor">
            <a:schemeClr val="lt1"/>
          </a:fontRef>
        </p:style>
        <p:txBody>
          <a:bodyPr lIns="129909" tIns="64954" rIns="129909" bIns="64954" rtlCol="0" anchor="ctr"/>
          <a:lstStyle/>
          <a:p>
            <a:pPr algn="ctr"/>
            <a:endParaRPr lang="en-US" sz="2000">
              <a:solidFill>
                <a:schemeClr val="tx1"/>
              </a:solidFill>
              <a:latin typeface="微软雅黑" pitchFamily="34" charset="-122"/>
              <a:ea typeface="微软雅黑" pitchFamily="34" charset="-122"/>
            </a:endParaRPr>
          </a:p>
        </p:txBody>
      </p:sp>
      <p:sp>
        <p:nvSpPr>
          <p:cNvPr id="127" name="&quot;No&quot; Symbol 126"/>
          <p:cNvSpPr/>
          <p:nvPr/>
        </p:nvSpPr>
        <p:spPr>
          <a:xfrm>
            <a:off x="5864862" y="2632309"/>
            <a:ext cx="273512" cy="280914"/>
          </a:xfrm>
          <a:prstGeom prst="noSmoking">
            <a:avLst/>
          </a:prstGeom>
          <a:solidFill>
            <a:schemeClr val="accent2"/>
          </a:solidFill>
          <a:ln>
            <a:solidFill>
              <a:srgbClr val="FF0000"/>
            </a:solidFill>
          </a:ln>
          <a:effectLst/>
        </p:spPr>
        <p:style>
          <a:lnRef idx="1">
            <a:schemeClr val="accent1"/>
          </a:lnRef>
          <a:fillRef idx="3">
            <a:schemeClr val="accent1"/>
          </a:fillRef>
          <a:effectRef idx="2">
            <a:schemeClr val="accent1"/>
          </a:effectRef>
          <a:fontRef idx="minor">
            <a:schemeClr val="lt1"/>
          </a:fontRef>
        </p:style>
        <p:txBody>
          <a:bodyPr lIns="129909" tIns="64954" rIns="129909" bIns="64954" rtlCol="0" anchor="ctr"/>
          <a:lstStyle/>
          <a:p>
            <a:pPr algn="ctr"/>
            <a:endParaRPr lang="en-US" sz="2000">
              <a:solidFill>
                <a:schemeClr val="tx1"/>
              </a:solidFill>
              <a:latin typeface="微软雅黑" pitchFamily="34" charset="-122"/>
              <a:ea typeface="微软雅黑" pitchFamily="34" charset="-122"/>
            </a:endParaRPr>
          </a:p>
        </p:txBody>
      </p:sp>
      <p:grpSp>
        <p:nvGrpSpPr>
          <p:cNvPr id="130" name="Group 129"/>
          <p:cNvGrpSpPr/>
          <p:nvPr/>
        </p:nvGrpSpPr>
        <p:grpSpPr>
          <a:xfrm>
            <a:off x="8139170" y="4389015"/>
            <a:ext cx="1618186" cy="388135"/>
            <a:chOff x="6528489" y="4170728"/>
            <a:chExt cx="1102979" cy="250176"/>
          </a:xfrm>
        </p:grpSpPr>
        <p:pic>
          <p:nvPicPr>
            <p:cNvPr id="131" name="Picture 130"/>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6785080" y="4172876"/>
              <a:ext cx="846388" cy="215444"/>
            </a:xfrm>
            <a:prstGeom prst="rect">
              <a:avLst/>
            </a:prstGeom>
          </p:spPr>
        </p:pic>
        <p:pic>
          <p:nvPicPr>
            <p:cNvPr id="132" name="Picture 131"/>
            <p:cNvPicPr>
              <a:picLocks noChangeAspect="1"/>
            </p:cNvPicPr>
            <p:nvPr/>
          </p:nvPicPr>
          <p:blipFill>
            <a:blip r:embed="rId11"/>
            <a:stretch>
              <a:fillRect/>
            </a:stretch>
          </p:blipFill>
          <p:spPr>
            <a:xfrm>
              <a:off x="6528489" y="4170728"/>
              <a:ext cx="256591" cy="250176"/>
            </a:xfrm>
            <a:prstGeom prst="rect">
              <a:avLst/>
            </a:prstGeom>
          </p:spPr>
        </p:pic>
      </p:grpSp>
      <p:pic>
        <p:nvPicPr>
          <p:cNvPr id="135" name="Picture 134"/>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880317" y="5480902"/>
            <a:ext cx="1128854" cy="303863"/>
          </a:xfrm>
          <a:prstGeom prst="rect">
            <a:avLst/>
          </a:prstGeom>
        </p:spPr>
      </p:pic>
      <p:pic>
        <p:nvPicPr>
          <p:cNvPr id="136" name="Picture 135"/>
          <p:cNvPicPr>
            <a:picLocks noChangeAspect="1"/>
          </p:cNvPicPr>
          <p:nvPr/>
        </p:nvPicPr>
        <p:blipFill>
          <a:blip r:embed="rId11"/>
          <a:stretch>
            <a:fillRect/>
          </a:stretch>
        </p:blipFill>
        <p:spPr>
          <a:xfrm>
            <a:off x="1554568" y="5458050"/>
            <a:ext cx="342224" cy="352850"/>
          </a:xfrm>
          <a:prstGeom prst="rect">
            <a:avLst/>
          </a:prstGeom>
        </p:spPr>
      </p:pic>
      <p:pic>
        <p:nvPicPr>
          <p:cNvPr id="137" name="Picture 136"/>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6759378" y="5915720"/>
            <a:ext cx="1026231" cy="276239"/>
          </a:xfrm>
          <a:prstGeom prst="rect">
            <a:avLst/>
          </a:prstGeom>
        </p:spPr>
      </p:pic>
      <p:pic>
        <p:nvPicPr>
          <p:cNvPr id="138" name="Picture 137"/>
          <p:cNvPicPr>
            <a:picLocks noChangeAspect="1"/>
          </p:cNvPicPr>
          <p:nvPr/>
        </p:nvPicPr>
        <p:blipFill>
          <a:blip r:embed="rId11"/>
          <a:stretch>
            <a:fillRect/>
          </a:stretch>
        </p:blipFill>
        <p:spPr>
          <a:xfrm>
            <a:off x="6448264" y="5912965"/>
            <a:ext cx="311113" cy="320773"/>
          </a:xfrm>
          <a:prstGeom prst="rect">
            <a:avLst/>
          </a:prstGeom>
        </p:spPr>
      </p:pic>
    </p:spTree>
    <p:extLst>
      <p:ext uri="{BB962C8B-B14F-4D97-AF65-F5344CB8AC3E}">
        <p14:creationId xmlns:p14="http://schemas.microsoft.com/office/powerpoint/2010/main" val="241226884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custDataLst>
              <p:tags r:id="rId1"/>
            </p:custDataLst>
          </p:nvPr>
        </p:nvSpPr>
        <p:spPr bwMode="black">
          <a:xfrm>
            <a:off x="456037" y="35090"/>
            <a:ext cx="11503025"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5992" tIns="57996" rIns="115992" bIns="57996" numCol="1" anchor="t" anchorCtr="0" compatLnSpc="1">
            <a:prstTxWarp prst="textNoShape">
              <a:avLst/>
            </a:prstTxWarp>
            <a:noAutofit/>
          </a:bodyPr>
          <a:lstStyle>
            <a:lvl1pPr algn="l" defTabSz="1160463" rtl="0" eaLnBrk="1" fontAlgn="base" hangingPunct="1">
              <a:lnSpc>
                <a:spcPct val="90000"/>
              </a:lnSpc>
              <a:spcBef>
                <a:spcPct val="0"/>
              </a:spcBef>
              <a:spcAft>
                <a:spcPct val="0"/>
              </a:spcAft>
              <a:defRPr kumimoji="1" sz="4100" b="1" i="0">
                <a:solidFill>
                  <a:srgbClr val="000000"/>
                </a:solidFill>
                <a:latin typeface="HP Simplified" pitchFamily="34" charset="0"/>
                <a:ea typeface="宋体" charset="0"/>
                <a:cs typeface="HP Simplified" pitchFamily="34" charset="0"/>
              </a:defRPr>
            </a:lvl1pPr>
            <a:lvl2pPr algn="l" defTabSz="1160463" rtl="0" eaLnBrk="1" fontAlgn="base" hangingPunct="1">
              <a:lnSpc>
                <a:spcPct val="90000"/>
              </a:lnSpc>
              <a:spcBef>
                <a:spcPct val="0"/>
              </a:spcBef>
              <a:spcAft>
                <a:spcPct val="0"/>
              </a:spcAft>
              <a:defRPr kumimoji="1" sz="4100">
                <a:solidFill>
                  <a:schemeClr val="tx2"/>
                </a:solidFill>
                <a:latin typeface="Arial" charset="0"/>
                <a:ea typeface="宋体" charset="0"/>
                <a:cs typeface="Arial" charset="0"/>
              </a:defRPr>
            </a:lvl2pPr>
            <a:lvl3pPr algn="l" defTabSz="1160463" rtl="0" eaLnBrk="1" fontAlgn="base" hangingPunct="1">
              <a:lnSpc>
                <a:spcPct val="90000"/>
              </a:lnSpc>
              <a:spcBef>
                <a:spcPct val="0"/>
              </a:spcBef>
              <a:spcAft>
                <a:spcPct val="0"/>
              </a:spcAft>
              <a:defRPr kumimoji="1" sz="4100">
                <a:solidFill>
                  <a:schemeClr val="tx2"/>
                </a:solidFill>
                <a:latin typeface="Arial" charset="0"/>
                <a:ea typeface="宋体" charset="0"/>
                <a:cs typeface="Arial" charset="0"/>
              </a:defRPr>
            </a:lvl3pPr>
            <a:lvl4pPr algn="l" defTabSz="1160463" rtl="0" eaLnBrk="1" fontAlgn="base" hangingPunct="1">
              <a:lnSpc>
                <a:spcPct val="90000"/>
              </a:lnSpc>
              <a:spcBef>
                <a:spcPct val="0"/>
              </a:spcBef>
              <a:spcAft>
                <a:spcPct val="0"/>
              </a:spcAft>
              <a:defRPr kumimoji="1" sz="4100">
                <a:solidFill>
                  <a:schemeClr val="tx2"/>
                </a:solidFill>
                <a:latin typeface="Arial" charset="0"/>
                <a:ea typeface="宋体" charset="0"/>
                <a:cs typeface="Arial" charset="0"/>
              </a:defRPr>
            </a:lvl4pPr>
            <a:lvl5pPr algn="l" defTabSz="1160463" rtl="0" eaLnBrk="1" fontAlgn="base" hangingPunct="1">
              <a:lnSpc>
                <a:spcPct val="90000"/>
              </a:lnSpc>
              <a:spcBef>
                <a:spcPct val="0"/>
              </a:spcBef>
              <a:spcAft>
                <a:spcPct val="0"/>
              </a:spcAft>
              <a:defRPr kumimoji="1" sz="4100">
                <a:solidFill>
                  <a:schemeClr val="tx2"/>
                </a:solidFill>
                <a:latin typeface="Arial" charset="0"/>
                <a:ea typeface="宋体" charset="0"/>
                <a:cs typeface="Arial" charset="0"/>
              </a:defRPr>
            </a:lvl5pPr>
            <a:lvl6pPr marL="457200" algn="l" rtl="0" eaLnBrk="1" fontAlgn="base" hangingPunct="1">
              <a:lnSpc>
                <a:spcPct val="90000"/>
              </a:lnSpc>
              <a:spcBef>
                <a:spcPct val="0"/>
              </a:spcBef>
              <a:spcAft>
                <a:spcPct val="0"/>
              </a:spcAft>
              <a:defRPr sz="2800" b="1">
                <a:solidFill>
                  <a:schemeClr val="tx2"/>
                </a:solidFill>
                <a:latin typeface="Arial" charset="0"/>
                <a:cs typeface="Arial" charset="0"/>
              </a:defRPr>
            </a:lvl6pPr>
            <a:lvl7pPr marL="914400" algn="l" rtl="0" eaLnBrk="1" fontAlgn="base" hangingPunct="1">
              <a:lnSpc>
                <a:spcPct val="90000"/>
              </a:lnSpc>
              <a:spcBef>
                <a:spcPct val="0"/>
              </a:spcBef>
              <a:spcAft>
                <a:spcPct val="0"/>
              </a:spcAft>
              <a:defRPr sz="2800" b="1">
                <a:solidFill>
                  <a:schemeClr val="tx2"/>
                </a:solidFill>
                <a:latin typeface="Arial" charset="0"/>
                <a:cs typeface="Arial" charset="0"/>
              </a:defRPr>
            </a:lvl7pPr>
            <a:lvl8pPr marL="1371600" algn="l" rtl="0" eaLnBrk="1" fontAlgn="base" hangingPunct="1">
              <a:lnSpc>
                <a:spcPct val="90000"/>
              </a:lnSpc>
              <a:spcBef>
                <a:spcPct val="0"/>
              </a:spcBef>
              <a:spcAft>
                <a:spcPct val="0"/>
              </a:spcAft>
              <a:defRPr sz="2800" b="1">
                <a:solidFill>
                  <a:schemeClr val="tx2"/>
                </a:solidFill>
                <a:latin typeface="Arial" charset="0"/>
                <a:cs typeface="Arial" charset="0"/>
              </a:defRPr>
            </a:lvl8pPr>
            <a:lvl9pPr marL="1828800" algn="l" rtl="0" eaLnBrk="1" fontAlgn="base" hangingPunct="1">
              <a:lnSpc>
                <a:spcPct val="90000"/>
              </a:lnSpc>
              <a:spcBef>
                <a:spcPct val="0"/>
              </a:spcBef>
              <a:spcAft>
                <a:spcPct val="0"/>
              </a:spcAft>
              <a:defRPr sz="2800" b="1">
                <a:solidFill>
                  <a:schemeClr val="tx2"/>
                </a:solidFill>
                <a:latin typeface="Arial" charset="0"/>
                <a:cs typeface="Arial" charset="0"/>
              </a:defRPr>
            </a:lvl9pPr>
          </a:lstStyle>
          <a:p>
            <a:r>
              <a:rPr lang="en-US" dirty="0" smtClean="0">
                <a:solidFill>
                  <a:srgbClr val="C00000"/>
                </a:solidFill>
                <a:latin typeface="微软雅黑" pitchFamily="34" charset="-122"/>
                <a:ea typeface="微软雅黑" pitchFamily="34" charset="-122"/>
              </a:rPr>
              <a:t>HP </a:t>
            </a:r>
            <a:r>
              <a:rPr lang="zh-CN" altLang="en-US" dirty="0" smtClean="0">
                <a:solidFill>
                  <a:srgbClr val="C00000"/>
                </a:solidFill>
                <a:latin typeface="微软雅黑" pitchFamily="34" charset="-122"/>
                <a:ea typeface="微软雅黑" pitchFamily="34" charset="-122"/>
              </a:rPr>
              <a:t>安全</a:t>
            </a:r>
            <a:r>
              <a:rPr lang="en-US" dirty="0" smtClean="0">
                <a:solidFill>
                  <a:srgbClr val="C00000"/>
                </a:solidFill>
                <a:latin typeface="微软雅黑" pitchFamily="34" charset="-122"/>
                <a:ea typeface="微软雅黑" pitchFamily="34" charset="-122"/>
              </a:rPr>
              <a:t>  - </a:t>
            </a:r>
            <a:r>
              <a:rPr lang="zh-CN" altLang="en-US" dirty="0" smtClean="0">
                <a:solidFill>
                  <a:srgbClr val="C00000"/>
                </a:solidFill>
                <a:latin typeface="微软雅黑" pitchFamily="34" charset="-122"/>
                <a:ea typeface="微软雅黑" pitchFamily="34" charset="-122"/>
              </a:rPr>
              <a:t>这些数据让您信赖</a:t>
            </a:r>
            <a:endParaRPr lang="en-US" dirty="0">
              <a:solidFill>
                <a:srgbClr val="C00000"/>
              </a:solidFill>
              <a:latin typeface="微软雅黑" pitchFamily="34" charset="-122"/>
              <a:ea typeface="微软雅黑" pitchFamily="34" charset="-122"/>
            </a:endParaRPr>
          </a:p>
        </p:txBody>
      </p:sp>
      <p:grpSp>
        <p:nvGrpSpPr>
          <p:cNvPr id="6" name="Group 5"/>
          <p:cNvGrpSpPr/>
          <p:nvPr>
            <p:custDataLst>
              <p:tags r:id="rId2"/>
            </p:custDataLst>
          </p:nvPr>
        </p:nvGrpSpPr>
        <p:grpSpPr>
          <a:xfrm>
            <a:off x="3170217" y="1704979"/>
            <a:ext cx="3647447" cy="1731645"/>
            <a:chOff x="12314" y="1085734"/>
            <a:chExt cx="2568688" cy="1217563"/>
          </a:xfrm>
        </p:grpSpPr>
        <p:grpSp>
          <p:nvGrpSpPr>
            <p:cNvPr id="7" name="Group 6"/>
            <p:cNvGrpSpPr/>
            <p:nvPr/>
          </p:nvGrpSpPr>
          <p:grpSpPr>
            <a:xfrm>
              <a:off x="12314" y="1085734"/>
              <a:ext cx="2534083" cy="1217563"/>
              <a:chOff x="12314" y="1085734"/>
              <a:chExt cx="2534083" cy="1217563"/>
            </a:xfrm>
          </p:grpSpPr>
          <p:sp>
            <p:nvSpPr>
              <p:cNvPr id="9" name="TextBox 8"/>
              <p:cNvSpPr txBox="1"/>
              <p:nvPr/>
            </p:nvSpPr>
            <p:spPr>
              <a:xfrm>
                <a:off x="373112" y="1085734"/>
                <a:ext cx="1395324" cy="259687"/>
              </a:xfrm>
              <a:prstGeom prst="rect">
                <a:avLst/>
              </a:prstGeom>
              <a:noFill/>
            </p:spPr>
            <p:txBody>
              <a:bodyPr wrap="none" lIns="0" tIns="0" rIns="0" bIns="0" rtlCol="0">
                <a:spAutoFit/>
              </a:bodyPr>
              <a:lstStyle/>
              <a:p>
                <a:pPr algn="ctr" defTabSz="1299088" fontAlgn="auto">
                  <a:spcBef>
                    <a:spcPts val="0"/>
                  </a:spcBef>
                  <a:spcAft>
                    <a:spcPts val="0"/>
                  </a:spcAft>
                  <a:buSzPct val="100000"/>
                  <a:defRPr/>
                </a:pPr>
                <a:r>
                  <a:rPr lang="en-US" sz="2400" kern="0" dirty="0">
                    <a:solidFill>
                      <a:schemeClr val="accent4">
                        <a:lumMod val="60000"/>
                        <a:lumOff val="40000"/>
                      </a:schemeClr>
                    </a:solidFill>
                    <a:latin typeface="微软雅黑" pitchFamily="34" charset="-122"/>
                    <a:ea typeface="微软雅黑" pitchFamily="34" charset="-122"/>
                  </a:rPr>
                  <a:t>HP </a:t>
                </a:r>
                <a:r>
                  <a:rPr lang="zh-CN" altLang="en-US" sz="2400" kern="0" dirty="0">
                    <a:solidFill>
                      <a:schemeClr val="accent4">
                        <a:lumMod val="60000"/>
                        <a:lumOff val="40000"/>
                      </a:schemeClr>
                    </a:solidFill>
                    <a:latin typeface="微软雅黑" pitchFamily="34" charset="-122"/>
                    <a:ea typeface="微软雅黑" pitchFamily="34" charset="-122"/>
                  </a:rPr>
                  <a:t>安全</a:t>
                </a:r>
                <a:r>
                  <a:rPr lang="en-US" sz="2400" kern="0" dirty="0">
                    <a:solidFill>
                      <a:schemeClr val="accent4">
                        <a:lumMod val="60000"/>
                        <a:lumOff val="40000"/>
                      </a:schemeClr>
                    </a:solidFill>
                    <a:latin typeface="微软雅黑" pitchFamily="34" charset="-122"/>
                    <a:ea typeface="微软雅黑" pitchFamily="34" charset="-122"/>
                  </a:rPr>
                  <a:t> SaaS</a:t>
                </a:r>
              </a:p>
            </p:txBody>
          </p:sp>
          <p:grpSp>
            <p:nvGrpSpPr>
              <p:cNvPr id="10" name="Group 9"/>
              <p:cNvGrpSpPr/>
              <p:nvPr/>
            </p:nvGrpSpPr>
            <p:grpSpPr>
              <a:xfrm>
                <a:off x="12314" y="1567519"/>
                <a:ext cx="2534083" cy="735778"/>
                <a:chOff x="328764" y="2107508"/>
                <a:chExt cx="2668752" cy="774881"/>
              </a:xfrm>
            </p:grpSpPr>
            <p:sp>
              <p:nvSpPr>
                <p:cNvPr id="11" name="TextBox 10"/>
                <p:cNvSpPr txBox="1"/>
                <p:nvPr/>
              </p:nvSpPr>
              <p:spPr>
                <a:xfrm>
                  <a:off x="328764" y="2107508"/>
                  <a:ext cx="1423109" cy="774881"/>
                </a:xfrm>
                <a:prstGeom prst="rect">
                  <a:avLst/>
                </a:prstGeom>
                <a:noFill/>
              </p:spPr>
              <p:txBody>
                <a:bodyPr wrap="none" lIns="0" tIns="0" rIns="0" bIns="0" rtlCol="0" anchor="ctr" anchorCtr="0">
                  <a:spAutoFit/>
                </a:bodyPr>
                <a:lstStyle/>
                <a:p>
                  <a:pPr algn="ctr" defTabSz="1299088" fontAlgn="auto">
                    <a:spcBef>
                      <a:spcPts val="0"/>
                    </a:spcBef>
                    <a:spcAft>
                      <a:spcPts val="0"/>
                    </a:spcAft>
                    <a:defRPr/>
                  </a:pPr>
                  <a:r>
                    <a:rPr lang="en-US" sz="6800" kern="0" dirty="0">
                      <a:solidFill>
                        <a:srgbClr val="0096D6"/>
                      </a:solidFill>
                      <a:latin typeface="微软雅黑" pitchFamily="34" charset="-122"/>
                      <a:ea typeface="微软雅黑" pitchFamily="34" charset="-122"/>
                    </a:rPr>
                    <a:t>2.5B</a:t>
                  </a:r>
                </a:p>
              </p:txBody>
            </p:sp>
            <p:sp>
              <p:nvSpPr>
                <p:cNvPr id="12" name="TextBox 11"/>
                <p:cNvSpPr txBox="1"/>
                <p:nvPr/>
              </p:nvSpPr>
              <p:spPr>
                <a:xfrm>
                  <a:off x="1856175" y="2263100"/>
                  <a:ext cx="1141341" cy="455812"/>
                </a:xfrm>
                <a:prstGeom prst="rect">
                  <a:avLst/>
                </a:prstGeom>
                <a:noFill/>
              </p:spPr>
              <p:txBody>
                <a:bodyPr wrap="none" lIns="0" tIns="0" rIns="0" bIns="0" rtlCol="0" anchor="b" anchorCtr="0">
                  <a:spAutoFit/>
                </a:bodyPr>
                <a:lstStyle/>
                <a:p>
                  <a:pPr defTabSz="1299088" fontAlgn="auto">
                    <a:spcBef>
                      <a:spcPts val="0"/>
                    </a:spcBef>
                    <a:spcAft>
                      <a:spcPts val="0"/>
                    </a:spcAft>
                    <a:defRPr/>
                  </a:pPr>
                  <a:r>
                    <a:rPr lang="zh-CN" altLang="en-US" sz="2000" kern="0" dirty="0">
                      <a:solidFill>
                        <a:schemeClr val="accent6">
                          <a:lumMod val="90000"/>
                          <a:lumOff val="10000"/>
                        </a:schemeClr>
                      </a:solidFill>
                      <a:latin typeface="微软雅黑" pitchFamily="34" charset="-122"/>
                      <a:ea typeface="微软雅黑" pitchFamily="34" charset="-122"/>
                    </a:rPr>
                    <a:t>行的代码通过</a:t>
                  </a:r>
                  <a:endParaRPr lang="en-US" altLang="zh-CN" sz="2000" kern="0" dirty="0">
                    <a:solidFill>
                      <a:schemeClr val="accent6">
                        <a:lumMod val="90000"/>
                        <a:lumOff val="10000"/>
                      </a:schemeClr>
                    </a:solidFill>
                    <a:latin typeface="微软雅黑" pitchFamily="34" charset="-122"/>
                    <a:ea typeface="微软雅黑" pitchFamily="34" charset="-122"/>
                  </a:endParaRPr>
                </a:p>
                <a:p>
                  <a:pPr defTabSz="1299088" fontAlgn="auto">
                    <a:spcBef>
                      <a:spcPts val="0"/>
                    </a:spcBef>
                    <a:spcAft>
                      <a:spcPts val="0"/>
                    </a:spcAft>
                    <a:defRPr/>
                  </a:pPr>
                  <a:r>
                    <a:rPr lang="en-US" sz="2000" kern="0" dirty="0" err="1">
                      <a:solidFill>
                        <a:schemeClr val="accent6">
                          <a:lumMod val="90000"/>
                          <a:lumOff val="10000"/>
                        </a:schemeClr>
                      </a:solidFill>
                      <a:latin typeface="微软雅黑" pitchFamily="34" charset="-122"/>
                      <a:ea typeface="微软雅黑" pitchFamily="34" charset="-122"/>
                    </a:rPr>
                    <a:t>SaaS</a:t>
                  </a:r>
                  <a:r>
                    <a:rPr lang="en-US" sz="2000" kern="0" dirty="0">
                      <a:solidFill>
                        <a:schemeClr val="accent6">
                          <a:lumMod val="90000"/>
                          <a:lumOff val="10000"/>
                        </a:schemeClr>
                      </a:solidFill>
                      <a:latin typeface="微软雅黑" pitchFamily="34" charset="-122"/>
                      <a:ea typeface="微软雅黑" pitchFamily="34" charset="-122"/>
                    </a:rPr>
                    <a:t> </a:t>
                  </a:r>
                  <a:r>
                    <a:rPr lang="zh-CN" altLang="en-US" sz="2000" kern="0" dirty="0">
                      <a:solidFill>
                        <a:schemeClr val="accent6">
                          <a:lumMod val="90000"/>
                          <a:lumOff val="10000"/>
                        </a:schemeClr>
                      </a:solidFill>
                      <a:latin typeface="微软雅黑" pitchFamily="34" charset="-122"/>
                      <a:ea typeface="微软雅黑" pitchFamily="34" charset="-122"/>
                    </a:rPr>
                    <a:t>模式</a:t>
                  </a:r>
                  <a:endParaRPr lang="en-US" sz="2800" kern="0" dirty="0">
                    <a:solidFill>
                      <a:schemeClr val="accent6">
                        <a:lumMod val="90000"/>
                        <a:lumOff val="10000"/>
                      </a:schemeClr>
                    </a:solidFill>
                    <a:latin typeface="微软雅黑" pitchFamily="34" charset="-122"/>
                    <a:ea typeface="微软雅黑" pitchFamily="34" charset="-122"/>
                  </a:endParaRPr>
                </a:p>
              </p:txBody>
            </p:sp>
          </p:grpSp>
        </p:grpSp>
        <p:cxnSp>
          <p:nvCxnSpPr>
            <p:cNvPr id="8" name="Straight Connector 7"/>
            <p:cNvCxnSpPr/>
            <p:nvPr/>
          </p:nvCxnSpPr>
          <p:spPr>
            <a:xfrm>
              <a:off x="2581002" y="1085734"/>
              <a:ext cx="0" cy="1189579"/>
            </a:xfrm>
            <a:prstGeom prst="line">
              <a:avLst/>
            </a:prstGeom>
            <a:noFill/>
            <a:ln w="6350" cap="rnd" cmpd="sng" algn="ctr">
              <a:solidFill>
                <a:srgbClr val="B9B8BB">
                  <a:lumMod val="50000"/>
                </a:srgbClr>
              </a:solidFill>
              <a:prstDash val="solid"/>
            </a:ln>
            <a:effectLst/>
          </p:spPr>
        </p:cxnSp>
      </p:grpSp>
      <p:grpSp>
        <p:nvGrpSpPr>
          <p:cNvPr id="13" name="Group 12"/>
          <p:cNvGrpSpPr/>
          <p:nvPr/>
        </p:nvGrpSpPr>
        <p:grpSpPr>
          <a:xfrm>
            <a:off x="7142519" y="1721726"/>
            <a:ext cx="2642156" cy="1745799"/>
            <a:chOff x="5030066" y="1048663"/>
            <a:chExt cx="1860719" cy="1227515"/>
          </a:xfrm>
        </p:grpSpPr>
        <p:sp>
          <p:nvSpPr>
            <p:cNvPr id="14" name="TextBox 13"/>
            <p:cNvSpPr txBox="1"/>
            <p:nvPr/>
          </p:nvSpPr>
          <p:spPr>
            <a:xfrm>
              <a:off x="5124694" y="1048663"/>
              <a:ext cx="1685453" cy="259687"/>
            </a:xfrm>
            <a:prstGeom prst="rect">
              <a:avLst/>
            </a:prstGeom>
            <a:noFill/>
          </p:spPr>
          <p:txBody>
            <a:bodyPr wrap="none" lIns="0" tIns="0" rIns="0" bIns="0" rtlCol="0">
              <a:spAutoFit/>
            </a:bodyPr>
            <a:lstStyle/>
            <a:p>
              <a:pPr algn="ctr" defTabSz="611204" fontAlgn="auto">
                <a:spcBef>
                  <a:spcPts val="0"/>
                </a:spcBef>
                <a:spcAft>
                  <a:spcPts val="568"/>
                </a:spcAft>
                <a:buSzPct val="100000"/>
                <a:defRPr/>
              </a:pPr>
              <a:r>
                <a:rPr lang="en-US" sz="2400" kern="0" dirty="0">
                  <a:solidFill>
                    <a:schemeClr val="accent4">
                      <a:lumMod val="60000"/>
                      <a:lumOff val="40000"/>
                    </a:schemeClr>
                  </a:solidFill>
                  <a:latin typeface="微软雅黑" pitchFamily="34" charset="-122"/>
                  <a:ea typeface="微软雅黑" pitchFamily="34" charset="-122"/>
                </a:rPr>
                <a:t>HP </a:t>
              </a:r>
              <a:r>
                <a:rPr lang="zh-CN" altLang="en-US" sz="2400" kern="0" dirty="0">
                  <a:solidFill>
                    <a:schemeClr val="accent4">
                      <a:lumMod val="60000"/>
                      <a:lumOff val="40000"/>
                    </a:schemeClr>
                  </a:solidFill>
                  <a:latin typeface="微软雅黑" pitchFamily="34" charset="-122"/>
                  <a:ea typeface="微软雅黑" pitchFamily="34" charset="-122"/>
                </a:rPr>
                <a:t>企业安全客户</a:t>
              </a:r>
              <a:endParaRPr lang="en-US" sz="2400" kern="0" dirty="0">
                <a:solidFill>
                  <a:schemeClr val="accent4">
                    <a:lumMod val="60000"/>
                    <a:lumOff val="40000"/>
                  </a:schemeClr>
                </a:solidFill>
                <a:latin typeface="微软雅黑" pitchFamily="34" charset="-122"/>
                <a:ea typeface="微软雅黑" pitchFamily="34" charset="-122"/>
              </a:endParaRPr>
            </a:p>
          </p:txBody>
        </p:sp>
        <p:grpSp>
          <p:nvGrpSpPr>
            <p:cNvPr id="15" name="Group 14"/>
            <p:cNvGrpSpPr/>
            <p:nvPr/>
          </p:nvGrpSpPr>
          <p:grpSpPr>
            <a:xfrm>
              <a:off x="5030066" y="1514930"/>
              <a:ext cx="1860719" cy="761248"/>
              <a:chOff x="5667766" y="2052128"/>
              <a:chExt cx="1959598" cy="801706"/>
            </a:xfrm>
          </p:grpSpPr>
          <p:sp>
            <p:nvSpPr>
              <p:cNvPr id="16" name="TextBox 15"/>
              <p:cNvSpPr txBox="1"/>
              <p:nvPr/>
            </p:nvSpPr>
            <p:spPr>
              <a:xfrm>
                <a:off x="5667766" y="2398021"/>
                <a:ext cx="992726" cy="455813"/>
              </a:xfrm>
              <a:prstGeom prst="rect">
                <a:avLst/>
              </a:prstGeom>
              <a:noFill/>
            </p:spPr>
            <p:txBody>
              <a:bodyPr wrap="none" lIns="0" tIns="0" rIns="0" bIns="0" rtlCol="0" anchor="b" anchorCtr="0">
                <a:spAutoFit/>
              </a:bodyPr>
              <a:lstStyle/>
              <a:p>
                <a:pPr algn="ctr" defTabSz="611204" fontAlgn="auto">
                  <a:spcBef>
                    <a:spcPts val="0"/>
                  </a:spcBef>
                  <a:spcAft>
                    <a:spcPts val="568"/>
                  </a:spcAft>
                  <a:buSzPct val="100000"/>
                  <a:defRPr/>
                </a:pPr>
                <a:r>
                  <a:rPr lang="en-US" sz="4000" kern="0" dirty="0">
                    <a:solidFill>
                      <a:srgbClr val="0096D6"/>
                    </a:solidFill>
                    <a:latin typeface="微软雅黑" pitchFamily="34" charset="-122"/>
                    <a:ea typeface="微软雅黑" pitchFamily="34" charset="-122"/>
                    <a:cs typeface="HP Simplified" pitchFamily="34" charset="0"/>
                  </a:rPr>
                  <a:t>900+</a:t>
                </a:r>
                <a:endParaRPr lang="en-US" sz="4000" kern="0" dirty="0">
                  <a:solidFill>
                    <a:sysClr val="windowText" lastClr="000000"/>
                  </a:solidFill>
                  <a:latin typeface="微软雅黑" pitchFamily="34" charset="-122"/>
                  <a:ea typeface="微软雅黑" pitchFamily="34" charset="-122"/>
                </a:endParaRPr>
              </a:p>
            </p:txBody>
          </p:sp>
          <p:sp>
            <p:nvSpPr>
              <p:cNvPr id="17" name="TextBox 16"/>
              <p:cNvSpPr txBox="1"/>
              <p:nvPr/>
            </p:nvSpPr>
            <p:spPr>
              <a:xfrm>
                <a:off x="7246917" y="2052128"/>
                <a:ext cx="380447" cy="227907"/>
              </a:xfrm>
              <a:prstGeom prst="rect">
                <a:avLst/>
              </a:prstGeom>
              <a:noFill/>
            </p:spPr>
            <p:txBody>
              <a:bodyPr wrap="none" lIns="0" tIns="0" rIns="0" bIns="0" rtlCol="0">
                <a:spAutoFit/>
              </a:bodyPr>
              <a:lstStyle/>
              <a:p>
                <a:pPr algn="ctr" defTabSz="611204" fontAlgn="auto">
                  <a:spcBef>
                    <a:spcPts val="0"/>
                  </a:spcBef>
                  <a:spcAft>
                    <a:spcPts val="568"/>
                  </a:spcAft>
                  <a:buSzPct val="100000"/>
                  <a:defRPr/>
                </a:pPr>
                <a:r>
                  <a:rPr lang="zh-CN" altLang="en-US" sz="2000" kern="0" dirty="0">
                    <a:solidFill>
                      <a:schemeClr val="accent6">
                        <a:lumMod val="90000"/>
                        <a:lumOff val="10000"/>
                      </a:schemeClr>
                    </a:solidFill>
                    <a:latin typeface="微软雅黑" pitchFamily="34" charset="-122"/>
                    <a:ea typeface="微软雅黑" pitchFamily="34" charset="-122"/>
                  </a:rPr>
                  <a:t>客户</a:t>
                </a:r>
                <a:endParaRPr lang="en-US" sz="2000" kern="0" dirty="0">
                  <a:solidFill>
                    <a:schemeClr val="accent6">
                      <a:lumMod val="90000"/>
                      <a:lumOff val="10000"/>
                    </a:schemeClr>
                  </a:solidFill>
                  <a:latin typeface="微软雅黑" pitchFamily="34" charset="-122"/>
                  <a:ea typeface="微软雅黑" pitchFamily="34" charset="-122"/>
                </a:endParaRPr>
              </a:p>
            </p:txBody>
          </p:sp>
        </p:grpSp>
      </p:grpSp>
      <p:grpSp>
        <p:nvGrpSpPr>
          <p:cNvPr id="18" name="Group 17"/>
          <p:cNvGrpSpPr/>
          <p:nvPr>
            <p:custDataLst>
              <p:tags r:id="rId3"/>
            </p:custDataLst>
          </p:nvPr>
        </p:nvGrpSpPr>
        <p:grpSpPr>
          <a:xfrm>
            <a:off x="2184074" y="4551010"/>
            <a:ext cx="1992533" cy="744848"/>
            <a:chOff x="975261" y="3526328"/>
            <a:chExt cx="1477798" cy="551555"/>
          </a:xfrm>
        </p:grpSpPr>
        <p:sp>
          <p:nvSpPr>
            <p:cNvPr id="19" name="TextBox 8"/>
            <p:cNvSpPr txBox="1">
              <a:spLocks noChangeArrowheads="1"/>
            </p:cNvSpPr>
            <p:nvPr/>
          </p:nvSpPr>
          <p:spPr bwMode="auto">
            <a:xfrm>
              <a:off x="975261" y="3526328"/>
              <a:ext cx="1477798" cy="3190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nchorCtr="0">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defTabSz="1299088" eaLnBrk="1" fontAlgn="auto" hangingPunct="1">
                <a:spcBef>
                  <a:spcPts val="2557"/>
                </a:spcBef>
                <a:spcAft>
                  <a:spcPts val="0"/>
                </a:spcAft>
                <a:defRPr/>
              </a:pPr>
              <a:r>
                <a:rPr lang="en-US" sz="2800" kern="0" dirty="0">
                  <a:solidFill>
                    <a:srgbClr val="0096D6"/>
                  </a:solidFill>
                  <a:latin typeface="微软雅黑" pitchFamily="34" charset="-122"/>
                  <a:ea typeface="微软雅黑" pitchFamily="34" charset="-122"/>
                </a:rPr>
                <a:t>9 out of 10</a:t>
              </a:r>
              <a:endParaRPr lang="en-US" sz="1100" kern="0" dirty="0">
                <a:solidFill>
                  <a:srgbClr val="000000"/>
                </a:solidFill>
                <a:latin typeface="微软雅黑" pitchFamily="34" charset="-122"/>
                <a:ea typeface="微软雅黑" pitchFamily="34" charset="-122"/>
              </a:endParaRPr>
            </a:p>
          </p:txBody>
        </p:sp>
        <p:sp>
          <p:nvSpPr>
            <p:cNvPr id="20" name="TextBox 8"/>
            <p:cNvSpPr txBox="1">
              <a:spLocks noChangeArrowheads="1"/>
            </p:cNvSpPr>
            <p:nvPr/>
          </p:nvSpPr>
          <p:spPr bwMode="auto">
            <a:xfrm>
              <a:off x="1107036" y="3872767"/>
              <a:ext cx="760894" cy="205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defTabSz="1299088" eaLnBrk="1" fontAlgn="auto" hangingPunct="1">
                <a:lnSpc>
                  <a:spcPct val="90000"/>
                </a:lnSpc>
                <a:spcBef>
                  <a:spcPts val="0"/>
                </a:spcBef>
                <a:spcAft>
                  <a:spcPts val="0"/>
                </a:spcAft>
                <a:defRPr/>
              </a:pPr>
              <a:r>
                <a:rPr lang="zh-CN" altLang="en-US" sz="2000" kern="0" dirty="0">
                  <a:solidFill>
                    <a:schemeClr val="accent5">
                      <a:lumMod val="50000"/>
                    </a:schemeClr>
                  </a:solidFill>
                  <a:latin typeface="微软雅黑" pitchFamily="34" charset="-122"/>
                  <a:ea typeface="微软雅黑" pitchFamily="34" charset="-122"/>
                </a:rPr>
                <a:t>重要银行</a:t>
              </a:r>
              <a:endParaRPr lang="en-US" sz="1400" kern="0" dirty="0">
                <a:solidFill>
                  <a:schemeClr val="accent5">
                    <a:lumMod val="50000"/>
                  </a:schemeClr>
                </a:solidFill>
                <a:latin typeface="微软雅黑" pitchFamily="34" charset="-122"/>
                <a:ea typeface="微软雅黑" pitchFamily="34" charset="-122"/>
              </a:endParaRPr>
            </a:p>
          </p:txBody>
        </p:sp>
      </p:grpSp>
      <p:grpSp>
        <p:nvGrpSpPr>
          <p:cNvPr id="21" name="Group 20"/>
          <p:cNvGrpSpPr/>
          <p:nvPr>
            <p:custDataLst>
              <p:tags r:id="rId4"/>
            </p:custDataLst>
          </p:nvPr>
        </p:nvGrpSpPr>
        <p:grpSpPr>
          <a:xfrm>
            <a:off x="4755417" y="4522896"/>
            <a:ext cx="2894475" cy="787278"/>
            <a:chOff x="2039300" y="2766391"/>
            <a:chExt cx="2038413" cy="553555"/>
          </a:xfrm>
        </p:grpSpPr>
        <p:cxnSp>
          <p:nvCxnSpPr>
            <p:cNvPr id="22" name="Straight Connector 21"/>
            <p:cNvCxnSpPr/>
            <p:nvPr/>
          </p:nvCxnSpPr>
          <p:spPr>
            <a:xfrm>
              <a:off x="2039300" y="2766391"/>
              <a:ext cx="0" cy="516752"/>
            </a:xfrm>
            <a:prstGeom prst="line">
              <a:avLst/>
            </a:prstGeom>
            <a:noFill/>
            <a:ln w="6350" cap="rnd" cmpd="sng" algn="ctr">
              <a:solidFill>
                <a:srgbClr val="B9B8BB">
                  <a:lumMod val="50000"/>
                </a:srgbClr>
              </a:solidFill>
              <a:prstDash val="solid"/>
            </a:ln>
            <a:effectLst/>
          </p:spPr>
        </p:cxnSp>
        <p:grpSp>
          <p:nvGrpSpPr>
            <p:cNvPr id="23" name="Group 22"/>
            <p:cNvGrpSpPr/>
            <p:nvPr/>
          </p:nvGrpSpPr>
          <p:grpSpPr>
            <a:xfrm>
              <a:off x="2472371" y="2796227"/>
              <a:ext cx="1605342" cy="523719"/>
              <a:chOff x="2959391" y="3526333"/>
              <a:chExt cx="1690654" cy="551552"/>
            </a:xfrm>
          </p:grpSpPr>
          <p:sp>
            <p:nvSpPr>
              <p:cNvPr id="24" name="TextBox 9"/>
              <p:cNvSpPr txBox="1">
                <a:spLocks noChangeArrowheads="1"/>
              </p:cNvSpPr>
              <p:nvPr/>
            </p:nvSpPr>
            <p:spPr bwMode="auto">
              <a:xfrm>
                <a:off x="3172247" y="3526333"/>
                <a:ext cx="1477798" cy="3190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nchorCtr="0">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defTabSz="1299088" eaLnBrk="1" fontAlgn="auto" hangingPunct="1">
                  <a:spcBef>
                    <a:spcPts val="2557"/>
                  </a:spcBef>
                  <a:spcAft>
                    <a:spcPts val="0"/>
                  </a:spcAft>
                  <a:defRPr/>
                </a:pPr>
                <a:r>
                  <a:rPr lang="en-US" sz="2800" kern="0" dirty="0">
                    <a:solidFill>
                      <a:srgbClr val="0096D6"/>
                    </a:solidFill>
                    <a:latin typeface="微软雅黑" pitchFamily="34" charset="-122"/>
                    <a:ea typeface="微软雅黑" pitchFamily="34" charset="-122"/>
                  </a:rPr>
                  <a:t>9 out of 10</a:t>
                </a:r>
                <a:endParaRPr lang="en-US" sz="1700" kern="0" dirty="0">
                  <a:solidFill>
                    <a:srgbClr val="000000"/>
                  </a:solidFill>
                  <a:latin typeface="微软雅黑" pitchFamily="34" charset="-122"/>
                  <a:ea typeface="微软雅黑" pitchFamily="34" charset="-122"/>
                </a:endParaRPr>
              </a:p>
            </p:txBody>
          </p:sp>
          <p:sp>
            <p:nvSpPr>
              <p:cNvPr id="25" name="TextBox 9"/>
              <p:cNvSpPr txBox="1">
                <a:spLocks noChangeArrowheads="1"/>
              </p:cNvSpPr>
              <p:nvPr/>
            </p:nvSpPr>
            <p:spPr bwMode="auto">
              <a:xfrm>
                <a:off x="2959391" y="3872769"/>
                <a:ext cx="1141340" cy="205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defTabSz="1299088" eaLnBrk="1" fontAlgn="auto" hangingPunct="1">
                  <a:lnSpc>
                    <a:spcPct val="90000"/>
                  </a:lnSpc>
                  <a:spcBef>
                    <a:spcPts val="0"/>
                  </a:spcBef>
                  <a:spcAft>
                    <a:spcPts val="0"/>
                  </a:spcAft>
                  <a:defRPr/>
                </a:pPr>
                <a:r>
                  <a:rPr lang="zh-CN" altLang="en-US" sz="2000" kern="0" dirty="0">
                    <a:solidFill>
                      <a:schemeClr val="accent5">
                        <a:lumMod val="50000"/>
                      </a:schemeClr>
                    </a:solidFill>
                    <a:latin typeface="微软雅黑" pitchFamily="34" charset="-122"/>
                    <a:ea typeface="微软雅黑" pitchFamily="34" charset="-122"/>
                  </a:rPr>
                  <a:t>领先软件公司</a:t>
                </a:r>
                <a:endParaRPr lang="en-US" sz="2000" kern="0" dirty="0">
                  <a:solidFill>
                    <a:schemeClr val="accent5">
                      <a:lumMod val="50000"/>
                    </a:schemeClr>
                  </a:solidFill>
                  <a:latin typeface="微软雅黑" pitchFamily="34" charset="-122"/>
                  <a:ea typeface="微软雅黑" pitchFamily="34" charset="-122"/>
                </a:endParaRPr>
              </a:p>
            </p:txBody>
          </p:sp>
        </p:grpSp>
      </p:grpSp>
      <p:grpSp>
        <p:nvGrpSpPr>
          <p:cNvPr id="26" name="Group 25"/>
          <p:cNvGrpSpPr/>
          <p:nvPr>
            <p:custDataLst>
              <p:tags r:id="rId5"/>
            </p:custDataLst>
          </p:nvPr>
        </p:nvGrpSpPr>
        <p:grpSpPr>
          <a:xfrm>
            <a:off x="8387656" y="4503805"/>
            <a:ext cx="2194825" cy="787277"/>
            <a:chOff x="4463561" y="2766391"/>
            <a:chExt cx="1545688" cy="553555"/>
          </a:xfrm>
        </p:grpSpPr>
        <p:cxnSp>
          <p:nvCxnSpPr>
            <p:cNvPr id="27" name="Straight Connector 26"/>
            <p:cNvCxnSpPr/>
            <p:nvPr/>
          </p:nvCxnSpPr>
          <p:spPr>
            <a:xfrm>
              <a:off x="4463561" y="2766391"/>
              <a:ext cx="0" cy="516752"/>
            </a:xfrm>
            <a:prstGeom prst="line">
              <a:avLst/>
            </a:prstGeom>
            <a:noFill/>
            <a:ln w="6350" cap="rnd" cmpd="sng" algn="ctr">
              <a:solidFill>
                <a:srgbClr val="B9B8BB">
                  <a:lumMod val="50000"/>
                </a:srgbClr>
              </a:solidFill>
              <a:prstDash val="solid"/>
            </a:ln>
            <a:effectLst/>
          </p:spPr>
        </p:cxnSp>
        <p:grpSp>
          <p:nvGrpSpPr>
            <p:cNvPr id="28" name="Group 27"/>
            <p:cNvGrpSpPr/>
            <p:nvPr/>
          </p:nvGrpSpPr>
          <p:grpSpPr>
            <a:xfrm>
              <a:off x="4896627" y="2796227"/>
              <a:ext cx="1112622" cy="523719"/>
              <a:chOff x="5513558" y="3526333"/>
              <a:chExt cx="1171750" cy="551552"/>
            </a:xfrm>
          </p:grpSpPr>
          <p:sp>
            <p:nvSpPr>
              <p:cNvPr id="29" name="TextBox 10"/>
              <p:cNvSpPr txBox="1">
                <a:spLocks noChangeArrowheads="1"/>
              </p:cNvSpPr>
              <p:nvPr/>
            </p:nvSpPr>
            <p:spPr bwMode="auto">
              <a:xfrm>
                <a:off x="5513558" y="3526333"/>
                <a:ext cx="1098540" cy="3190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nchorCtr="0">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defTabSz="1299088" eaLnBrk="1" fontAlgn="auto" hangingPunct="1">
                  <a:spcBef>
                    <a:spcPts val="2557"/>
                  </a:spcBef>
                  <a:spcAft>
                    <a:spcPts val="0"/>
                  </a:spcAft>
                  <a:defRPr/>
                </a:pPr>
                <a:r>
                  <a:rPr lang="en-US" sz="2800" kern="0" dirty="0">
                    <a:solidFill>
                      <a:srgbClr val="0096D6"/>
                    </a:solidFill>
                    <a:latin typeface="微软雅黑" pitchFamily="34" charset="-122"/>
                    <a:ea typeface="微软雅黑" pitchFamily="34" charset="-122"/>
                  </a:rPr>
                  <a:t>10 of 10</a:t>
                </a:r>
                <a:endParaRPr lang="en-US" sz="1700" kern="0" dirty="0">
                  <a:solidFill>
                    <a:srgbClr val="000000"/>
                  </a:solidFill>
                  <a:latin typeface="微软雅黑" pitchFamily="34" charset="-122"/>
                  <a:ea typeface="微软雅黑" pitchFamily="34" charset="-122"/>
                </a:endParaRPr>
              </a:p>
            </p:txBody>
          </p:sp>
          <p:sp>
            <p:nvSpPr>
              <p:cNvPr id="30" name="TextBox 10"/>
              <p:cNvSpPr txBox="1">
                <a:spLocks noChangeArrowheads="1"/>
              </p:cNvSpPr>
              <p:nvPr/>
            </p:nvSpPr>
            <p:spPr bwMode="auto">
              <a:xfrm>
                <a:off x="5543968" y="3872769"/>
                <a:ext cx="1141340" cy="205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defTabSz="1299088" eaLnBrk="1" fontAlgn="auto" hangingPunct="1">
                  <a:lnSpc>
                    <a:spcPct val="90000"/>
                  </a:lnSpc>
                  <a:spcBef>
                    <a:spcPts val="0"/>
                  </a:spcBef>
                  <a:spcAft>
                    <a:spcPts val="0"/>
                  </a:spcAft>
                  <a:defRPr/>
                </a:pPr>
                <a:r>
                  <a:rPr lang="zh-CN" altLang="en-US" sz="2000" kern="0" dirty="0">
                    <a:solidFill>
                      <a:schemeClr val="accent5">
                        <a:lumMod val="50000"/>
                      </a:schemeClr>
                    </a:solidFill>
                    <a:latin typeface="微软雅黑" pitchFamily="34" charset="-122"/>
                    <a:ea typeface="微软雅黑" pitchFamily="34" charset="-122"/>
                  </a:rPr>
                  <a:t>领先电信公司</a:t>
                </a:r>
                <a:endParaRPr lang="en-US" sz="2000" kern="0" dirty="0">
                  <a:solidFill>
                    <a:schemeClr val="accent5">
                      <a:lumMod val="50000"/>
                    </a:schemeClr>
                  </a:solidFill>
                  <a:latin typeface="微软雅黑" pitchFamily="34" charset="-122"/>
                  <a:ea typeface="微软雅黑" pitchFamily="34" charset="-122"/>
                </a:endParaRPr>
              </a:p>
            </p:txBody>
          </p:sp>
        </p:grpSp>
      </p:grpSp>
      <p:cxnSp>
        <p:nvCxnSpPr>
          <p:cNvPr id="31" name="Straight Connector 30"/>
          <p:cNvCxnSpPr/>
          <p:nvPr>
            <p:custDataLst>
              <p:tags r:id="rId6"/>
            </p:custDataLst>
          </p:nvPr>
        </p:nvCxnSpPr>
        <p:spPr>
          <a:xfrm>
            <a:off x="267080" y="3925087"/>
            <a:ext cx="12426039" cy="0"/>
          </a:xfrm>
          <a:prstGeom prst="line">
            <a:avLst/>
          </a:prstGeom>
          <a:noFill/>
          <a:ln w="19050" cap="rnd" cmpd="sng" algn="ctr">
            <a:solidFill>
              <a:schemeClr val="bg1">
                <a:lumMod val="75000"/>
              </a:schemeClr>
            </a:solidFill>
            <a:prstDash val="solid"/>
          </a:ln>
          <a:effectLst/>
        </p:spPr>
      </p:cxnSp>
      <p:cxnSp>
        <p:nvCxnSpPr>
          <p:cNvPr id="32" name="Straight Connector 31"/>
          <p:cNvCxnSpPr/>
          <p:nvPr>
            <p:custDataLst>
              <p:tags r:id="rId7"/>
            </p:custDataLst>
          </p:nvPr>
        </p:nvCxnSpPr>
        <p:spPr>
          <a:xfrm>
            <a:off x="267079" y="5473506"/>
            <a:ext cx="12426039" cy="0"/>
          </a:xfrm>
          <a:prstGeom prst="line">
            <a:avLst/>
          </a:prstGeom>
          <a:noFill/>
          <a:ln w="38100" cap="rnd" cmpd="sng" algn="ctr">
            <a:solidFill>
              <a:schemeClr val="bg1">
                <a:lumMod val="50000"/>
              </a:schemeClr>
            </a:solidFill>
            <a:prstDash val="solid"/>
          </a:ln>
          <a:effectLst/>
        </p:spPr>
      </p:cxnSp>
      <p:grpSp>
        <p:nvGrpSpPr>
          <p:cNvPr id="33" name="Group 32"/>
          <p:cNvGrpSpPr/>
          <p:nvPr/>
        </p:nvGrpSpPr>
        <p:grpSpPr>
          <a:xfrm>
            <a:off x="10366808" y="1731805"/>
            <a:ext cx="2696124" cy="1836796"/>
            <a:chOff x="7300747" y="1055750"/>
            <a:chExt cx="1898725" cy="1291497"/>
          </a:xfrm>
        </p:grpSpPr>
        <p:cxnSp>
          <p:nvCxnSpPr>
            <p:cNvPr id="34" name="Straight Connector 33"/>
            <p:cNvCxnSpPr/>
            <p:nvPr/>
          </p:nvCxnSpPr>
          <p:spPr>
            <a:xfrm>
              <a:off x="7302580" y="1107693"/>
              <a:ext cx="0" cy="1189579"/>
            </a:xfrm>
            <a:prstGeom prst="line">
              <a:avLst/>
            </a:prstGeom>
            <a:noFill/>
            <a:ln w="6350" cap="rnd" cmpd="sng" algn="ctr">
              <a:solidFill>
                <a:srgbClr val="B9B8BB">
                  <a:lumMod val="50000"/>
                </a:srgbClr>
              </a:solidFill>
              <a:prstDash val="solid"/>
            </a:ln>
            <a:effectLst/>
          </p:spPr>
        </p:cxnSp>
        <p:sp>
          <p:nvSpPr>
            <p:cNvPr id="35" name="TextBox 34"/>
            <p:cNvSpPr txBox="1"/>
            <p:nvPr/>
          </p:nvSpPr>
          <p:spPr>
            <a:xfrm>
              <a:off x="7300747" y="1520353"/>
              <a:ext cx="756365" cy="735778"/>
            </a:xfrm>
            <a:prstGeom prst="rect">
              <a:avLst/>
            </a:prstGeom>
            <a:noFill/>
          </p:spPr>
          <p:txBody>
            <a:bodyPr wrap="none" lIns="0" tIns="0" rIns="0" bIns="0" rtlCol="0" anchor="ctr" anchorCtr="0">
              <a:spAutoFit/>
            </a:bodyPr>
            <a:lstStyle/>
            <a:p>
              <a:pPr algn="ctr" defTabSz="1299088" fontAlgn="auto">
                <a:spcBef>
                  <a:spcPts val="0"/>
                </a:spcBef>
                <a:spcAft>
                  <a:spcPts val="0"/>
                </a:spcAft>
                <a:defRPr/>
              </a:pPr>
              <a:r>
                <a:rPr lang="en-US" sz="6800" kern="0" dirty="0">
                  <a:solidFill>
                    <a:srgbClr val="0096D6"/>
                  </a:solidFill>
                  <a:latin typeface="微软雅黑" pitchFamily="34" charset="-122"/>
                  <a:ea typeface="微软雅黑" pitchFamily="34" charset="-122"/>
                </a:rPr>
                <a:t>35</a:t>
              </a:r>
            </a:p>
          </p:txBody>
        </p:sp>
        <p:sp>
          <p:nvSpPr>
            <p:cNvPr id="36" name="TextBox 35"/>
            <p:cNvSpPr txBox="1"/>
            <p:nvPr/>
          </p:nvSpPr>
          <p:spPr>
            <a:xfrm>
              <a:off x="7554462" y="1055750"/>
              <a:ext cx="1576510" cy="259687"/>
            </a:xfrm>
            <a:prstGeom prst="rect">
              <a:avLst/>
            </a:prstGeom>
            <a:noFill/>
          </p:spPr>
          <p:txBody>
            <a:bodyPr wrap="square" lIns="0" tIns="0" rIns="0" bIns="0" rtlCol="0">
              <a:spAutoFit/>
            </a:bodyPr>
            <a:lstStyle/>
            <a:p>
              <a:pPr defTabSz="611204" fontAlgn="auto">
                <a:spcBef>
                  <a:spcPts val="0"/>
                </a:spcBef>
                <a:spcAft>
                  <a:spcPts val="568"/>
                </a:spcAft>
                <a:buSzPct val="100000"/>
                <a:defRPr/>
              </a:pPr>
              <a:r>
                <a:rPr lang="zh-CN" altLang="en-US" sz="2400" kern="0" dirty="0">
                  <a:solidFill>
                    <a:schemeClr val="accent4">
                      <a:lumMod val="60000"/>
                      <a:lumOff val="40000"/>
                    </a:schemeClr>
                  </a:solidFill>
                  <a:latin typeface="微软雅黑" pitchFamily="34" charset="-122"/>
                  <a:ea typeface="微软雅黑" pitchFamily="34" charset="-122"/>
                </a:rPr>
                <a:t>新产品</a:t>
              </a:r>
              <a:endParaRPr lang="en-US" sz="2400" kern="0" dirty="0">
                <a:solidFill>
                  <a:schemeClr val="accent4">
                    <a:lumMod val="60000"/>
                    <a:lumOff val="40000"/>
                  </a:schemeClr>
                </a:solidFill>
                <a:latin typeface="微软雅黑" pitchFamily="34" charset="-122"/>
                <a:ea typeface="微软雅黑" pitchFamily="34" charset="-122"/>
              </a:endParaRPr>
            </a:p>
          </p:txBody>
        </p:sp>
        <p:sp>
          <p:nvSpPr>
            <p:cNvPr id="37" name="TextBox 36"/>
            <p:cNvSpPr txBox="1"/>
            <p:nvPr/>
          </p:nvSpPr>
          <p:spPr>
            <a:xfrm>
              <a:off x="8179710" y="1914436"/>
              <a:ext cx="1019762" cy="432811"/>
            </a:xfrm>
            <a:prstGeom prst="rect">
              <a:avLst/>
            </a:prstGeom>
            <a:noFill/>
          </p:spPr>
          <p:txBody>
            <a:bodyPr wrap="square" lIns="0" tIns="0" rIns="0" bIns="0" rtlCol="0" anchor="b" anchorCtr="0">
              <a:spAutoFit/>
            </a:bodyPr>
            <a:lstStyle/>
            <a:p>
              <a:pPr defTabSz="1299088" fontAlgn="auto">
                <a:spcBef>
                  <a:spcPts val="0"/>
                </a:spcBef>
                <a:spcAft>
                  <a:spcPts val="0"/>
                </a:spcAft>
                <a:defRPr/>
              </a:pPr>
              <a:r>
                <a:rPr lang="zh-CN" altLang="en-US" sz="2000" kern="0" dirty="0">
                  <a:solidFill>
                    <a:schemeClr val="accent6">
                      <a:lumMod val="90000"/>
                      <a:lumOff val="10000"/>
                    </a:schemeClr>
                  </a:solidFill>
                  <a:latin typeface="微软雅黑" pitchFamily="34" charset="-122"/>
                  <a:ea typeface="微软雅黑" pitchFamily="34" charset="-122"/>
                </a:rPr>
                <a:t>款新产品在未来</a:t>
              </a:r>
              <a:r>
                <a:rPr lang="en-US" sz="2000" kern="0" dirty="0">
                  <a:solidFill>
                    <a:schemeClr val="accent6">
                      <a:lumMod val="90000"/>
                      <a:lumOff val="10000"/>
                    </a:schemeClr>
                  </a:solidFill>
                  <a:latin typeface="微软雅黑" pitchFamily="34" charset="-122"/>
                  <a:ea typeface="微软雅黑" pitchFamily="34" charset="-122"/>
                </a:rPr>
                <a:t>12</a:t>
              </a:r>
              <a:r>
                <a:rPr lang="zh-CN" altLang="en-US" sz="2000" kern="0" dirty="0">
                  <a:solidFill>
                    <a:schemeClr val="accent6">
                      <a:lumMod val="90000"/>
                      <a:lumOff val="10000"/>
                    </a:schemeClr>
                  </a:solidFill>
                  <a:latin typeface="微软雅黑" pitchFamily="34" charset="-122"/>
                  <a:ea typeface="微软雅黑" pitchFamily="34" charset="-122"/>
                </a:rPr>
                <a:t>个月</a:t>
              </a:r>
              <a:endParaRPr lang="en-US" sz="2800" kern="0" dirty="0">
                <a:solidFill>
                  <a:schemeClr val="accent6">
                    <a:lumMod val="90000"/>
                    <a:lumOff val="10000"/>
                  </a:schemeClr>
                </a:solidFill>
                <a:latin typeface="微软雅黑" pitchFamily="34" charset="-122"/>
                <a:ea typeface="微软雅黑" pitchFamily="34" charset="-122"/>
              </a:endParaRPr>
            </a:p>
          </p:txBody>
        </p:sp>
      </p:grpSp>
      <p:grpSp>
        <p:nvGrpSpPr>
          <p:cNvPr id="38" name="Group 37"/>
          <p:cNvGrpSpPr/>
          <p:nvPr/>
        </p:nvGrpSpPr>
        <p:grpSpPr>
          <a:xfrm>
            <a:off x="30940" y="1688278"/>
            <a:ext cx="3116909" cy="1734982"/>
            <a:chOff x="21789" y="1025145"/>
            <a:chExt cx="2195060" cy="1219909"/>
          </a:xfrm>
        </p:grpSpPr>
        <p:grpSp>
          <p:nvGrpSpPr>
            <p:cNvPr id="39" name="Group 38"/>
            <p:cNvGrpSpPr/>
            <p:nvPr>
              <p:custDataLst>
                <p:tags r:id="rId8"/>
              </p:custDataLst>
            </p:nvPr>
          </p:nvGrpSpPr>
          <p:grpSpPr>
            <a:xfrm>
              <a:off x="21789" y="1025145"/>
              <a:ext cx="2121099" cy="1028396"/>
              <a:chOff x="3465728" y="1110448"/>
              <a:chExt cx="1994448" cy="1028396"/>
            </a:xfrm>
          </p:grpSpPr>
          <p:sp>
            <p:nvSpPr>
              <p:cNvPr id="41" name="TextBox 40"/>
              <p:cNvSpPr txBox="1"/>
              <p:nvPr/>
            </p:nvSpPr>
            <p:spPr>
              <a:xfrm>
                <a:off x="3926314" y="1110448"/>
                <a:ext cx="1177200" cy="259686"/>
              </a:xfrm>
              <a:prstGeom prst="rect">
                <a:avLst/>
              </a:prstGeom>
              <a:noFill/>
            </p:spPr>
            <p:txBody>
              <a:bodyPr wrap="none" lIns="0" tIns="0" rIns="0" bIns="0" rtlCol="0">
                <a:spAutoFit/>
              </a:bodyPr>
              <a:lstStyle/>
              <a:p>
                <a:pPr algn="ctr" defTabSz="1299088" fontAlgn="auto">
                  <a:spcBef>
                    <a:spcPts val="0"/>
                  </a:spcBef>
                  <a:spcAft>
                    <a:spcPts val="0"/>
                  </a:spcAft>
                  <a:buSzPct val="100000"/>
                  <a:defRPr/>
                </a:pPr>
                <a:r>
                  <a:rPr lang="en-US" sz="2400" kern="0" dirty="0">
                    <a:solidFill>
                      <a:schemeClr val="accent4">
                        <a:lumMod val="60000"/>
                        <a:lumOff val="40000"/>
                      </a:schemeClr>
                    </a:solidFill>
                    <a:latin typeface="微软雅黑" pitchFamily="34" charset="-122"/>
                    <a:ea typeface="微软雅黑" pitchFamily="34" charset="-122"/>
                  </a:rPr>
                  <a:t>HP </a:t>
                </a:r>
                <a:r>
                  <a:rPr lang="zh-CN" altLang="en-US" sz="2400" kern="0" dirty="0">
                    <a:solidFill>
                      <a:schemeClr val="accent4">
                        <a:lumMod val="60000"/>
                        <a:lumOff val="40000"/>
                      </a:schemeClr>
                    </a:solidFill>
                    <a:latin typeface="微软雅黑" pitchFamily="34" charset="-122"/>
                    <a:ea typeface="微软雅黑" pitchFamily="34" charset="-122"/>
                  </a:rPr>
                  <a:t>安全技术</a:t>
                </a:r>
                <a:endParaRPr lang="en-US" sz="2400" kern="0" dirty="0">
                  <a:solidFill>
                    <a:schemeClr val="accent4">
                      <a:lumMod val="60000"/>
                      <a:lumOff val="40000"/>
                    </a:schemeClr>
                  </a:solidFill>
                  <a:latin typeface="微软雅黑" pitchFamily="34" charset="-122"/>
                  <a:ea typeface="微软雅黑" pitchFamily="34" charset="-122"/>
                </a:endParaRPr>
              </a:p>
            </p:txBody>
          </p:sp>
          <p:grpSp>
            <p:nvGrpSpPr>
              <p:cNvPr id="42" name="Group 41"/>
              <p:cNvGrpSpPr/>
              <p:nvPr/>
            </p:nvGrpSpPr>
            <p:grpSpPr>
              <a:xfrm>
                <a:off x="3465728" y="1544775"/>
                <a:ext cx="1994448" cy="594069"/>
                <a:chOff x="3884887" y="2083550"/>
                <a:chExt cx="2100442" cy="625639"/>
              </a:xfrm>
            </p:grpSpPr>
            <p:sp>
              <p:nvSpPr>
                <p:cNvPr id="43" name="TextBox 42"/>
                <p:cNvSpPr txBox="1"/>
                <p:nvPr/>
              </p:nvSpPr>
              <p:spPr>
                <a:xfrm>
                  <a:off x="3884887" y="2083550"/>
                  <a:ext cx="592912" cy="453785"/>
                </a:xfrm>
                <a:prstGeom prst="rect">
                  <a:avLst/>
                </a:prstGeom>
                <a:noFill/>
              </p:spPr>
              <p:txBody>
                <a:bodyPr wrap="square" lIns="0" tIns="0" rIns="0" bIns="0" rtlCol="0" anchor="ctr" anchorCtr="0">
                  <a:spAutoFit/>
                </a:bodyPr>
                <a:lstStyle/>
                <a:p>
                  <a:pPr algn="ctr" defTabSz="1299088" fontAlgn="auto">
                    <a:spcBef>
                      <a:spcPts val="0"/>
                    </a:spcBef>
                    <a:spcAft>
                      <a:spcPts val="0"/>
                    </a:spcAft>
                    <a:defRPr/>
                  </a:pPr>
                  <a:r>
                    <a:rPr lang="en-US" sz="4000" kern="0" dirty="0">
                      <a:solidFill>
                        <a:srgbClr val="0096D6"/>
                      </a:solidFill>
                      <a:latin typeface="微软雅黑" pitchFamily="34" charset="-122"/>
                      <a:ea typeface="微软雅黑" pitchFamily="34" charset="-122"/>
                    </a:rPr>
                    <a:t>#1</a:t>
                  </a:r>
                </a:p>
              </p:txBody>
            </p:sp>
            <p:sp>
              <p:nvSpPr>
                <p:cNvPr id="44" name="TextBox 43"/>
                <p:cNvSpPr txBox="1"/>
                <p:nvPr/>
              </p:nvSpPr>
              <p:spPr>
                <a:xfrm>
                  <a:off x="4511060" y="2481283"/>
                  <a:ext cx="1474269" cy="227906"/>
                </a:xfrm>
                <a:prstGeom prst="rect">
                  <a:avLst/>
                </a:prstGeom>
                <a:noFill/>
              </p:spPr>
              <p:txBody>
                <a:bodyPr wrap="square" lIns="0" tIns="0" rIns="0" bIns="0" rtlCol="0" anchor="b" anchorCtr="0">
                  <a:spAutoFit/>
                </a:bodyPr>
                <a:lstStyle/>
                <a:p>
                  <a:pPr defTabSz="1299088" fontAlgn="auto">
                    <a:spcBef>
                      <a:spcPts val="0"/>
                    </a:spcBef>
                    <a:spcAft>
                      <a:spcPts val="0"/>
                    </a:spcAft>
                    <a:defRPr/>
                  </a:pPr>
                  <a:r>
                    <a:rPr lang="zh-CN" altLang="en-US" sz="2000" kern="0" dirty="0">
                      <a:solidFill>
                        <a:schemeClr val="accent6">
                          <a:lumMod val="90000"/>
                          <a:lumOff val="10000"/>
                        </a:schemeClr>
                      </a:solidFill>
                      <a:latin typeface="微软雅黑" pitchFamily="34" charset="-122"/>
                      <a:ea typeface="微软雅黑" pitchFamily="34" charset="-122"/>
                    </a:rPr>
                    <a:t>在市场上的位置</a:t>
                  </a:r>
                  <a:endParaRPr lang="en-US" sz="2800" kern="0" dirty="0">
                    <a:solidFill>
                      <a:schemeClr val="accent6">
                        <a:lumMod val="90000"/>
                        <a:lumOff val="10000"/>
                      </a:schemeClr>
                    </a:solidFill>
                    <a:latin typeface="微软雅黑" pitchFamily="34" charset="-122"/>
                    <a:ea typeface="微软雅黑" pitchFamily="34" charset="-122"/>
                  </a:endParaRPr>
                </a:p>
              </p:txBody>
            </p:sp>
          </p:grpSp>
        </p:grpSp>
        <p:cxnSp>
          <p:nvCxnSpPr>
            <p:cNvPr id="40" name="Straight Connector 39"/>
            <p:cNvCxnSpPr/>
            <p:nvPr/>
          </p:nvCxnSpPr>
          <p:spPr>
            <a:xfrm flipV="1">
              <a:off x="2216848" y="1148256"/>
              <a:ext cx="1" cy="1096798"/>
            </a:xfrm>
            <a:prstGeom prst="line">
              <a:avLst/>
            </a:prstGeom>
            <a:ln w="317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sp>
        <p:nvSpPr>
          <p:cNvPr id="45" name="TextBox 44"/>
          <p:cNvSpPr txBox="1"/>
          <p:nvPr/>
        </p:nvSpPr>
        <p:spPr>
          <a:xfrm>
            <a:off x="28135" y="2826730"/>
            <a:ext cx="850194" cy="612817"/>
          </a:xfrm>
          <a:prstGeom prst="rect">
            <a:avLst/>
          </a:prstGeom>
          <a:noFill/>
        </p:spPr>
        <p:txBody>
          <a:bodyPr wrap="square" lIns="0" tIns="0" rIns="0" bIns="0" rtlCol="0" anchor="ctr" anchorCtr="0">
            <a:spAutoFit/>
          </a:bodyPr>
          <a:lstStyle/>
          <a:p>
            <a:pPr algn="ctr" defTabSz="1299088" fontAlgn="auto">
              <a:spcBef>
                <a:spcPts val="0"/>
              </a:spcBef>
              <a:spcAft>
                <a:spcPts val="0"/>
              </a:spcAft>
              <a:defRPr/>
            </a:pPr>
            <a:r>
              <a:rPr lang="en-US" sz="4000" kern="0" dirty="0">
                <a:solidFill>
                  <a:srgbClr val="0096D6"/>
                </a:solidFill>
                <a:latin typeface="微软雅黑" pitchFamily="34" charset="-122"/>
                <a:ea typeface="微软雅黑" pitchFamily="34" charset="-122"/>
              </a:rPr>
              <a:t>#2</a:t>
            </a:r>
          </a:p>
        </p:txBody>
      </p:sp>
      <p:sp>
        <p:nvSpPr>
          <p:cNvPr id="46" name="TextBox 45"/>
          <p:cNvSpPr txBox="1"/>
          <p:nvPr/>
        </p:nvSpPr>
        <p:spPr>
          <a:xfrm>
            <a:off x="6885842" y="2220286"/>
            <a:ext cx="1970091" cy="615553"/>
          </a:xfrm>
          <a:prstGeom prst="rect">
            <a:avLst/>
          </a:prstGeom>
          <a:noFill/>
        </p:spPr>
        <p:txBody>
          <a:bodyPr wrap="none" lIns="0" tIns="0" rIns="0" bIns="0" rtlCol="0" anchor="b" anchorCtr="0">
            <a:spAutoFit/>
          </a:bodyPr>
          <a:lstStyle/>
          <a:p>
            <a:pPr algn="ctr" defTabSz="611204" fontAlgn="auto">
              <a:spcBef>
                <a:spcPts val="0"/>
              </a:spcBef>
              <a:spcAft>
                <a:spcPts val="568"/>
              </a:spcAft>
              <a:buSzPct val="100000"/>
              <a:defRPr/>
            </a:pPr>
            <a:r>
              <a:rPr lang="en-US" sz="4000" kern="0" dirty="0">
                <a:solidFill>
                  <a:srgbClr val="0096D6"/>
                </a:solidFill>
                <a:latin typeface="微软雅黑" pitchFamily="34" charset="-122"/>
                <a:ea typeface="微软雅黑" pitchFamily="34" charset="-122"/>
                <a:cs typeface="HP Simplified" pitchFamily="34" charset="0"/>
              </a:rPr>
              <a:t>10000+</a:t>
            </a:r>
            <a:endParaRPr lang="en-US" sz="4000" kern="0" dirty="0">
              <a:solidFill>
                <a:sysClr val="windowText" lastClr="000000"/>
              </a:solidFill>
              <a:latin typeface="微软雅黑" pitchFamily="34" charset="-122"/>
              <a:ea typeface="微软雅黑" pitchFamily="34" charset="-122"/>
            </a:endParaRPr>
          </a:p>
        </p:txBody>
      </p:sp>
      <p:sp>
        <p:nvSpPr>
          <p:cNvPr id="47" name="TextBox 46"/>
          <p:cNvSpPr txBox="1"/>
          <p:nvPr/>
        </p:nvSpPr>
        <p:spPr>
          <a:xfrm>
            <a:off x="9119037" y="3059512"/>
            <a:ext cx="1149486" cy="307777"/>
          </a:xfrm>
          <a:prstGeom prst="rect">
            <a:avLst/>
          </a:prstGeom>
          <a:noFill/>
        </p:spPr>
        <p:txBody>
          <a:bodyPr wrap="square" lIns="0" tIns="0" rIns="0" bIns="0" rtlCol="0">
            <a:spAutoFit/>
          </a:bodyPr>
          <a:lstStyle/>
          <a:p>
            <a:pPr algn="ctr" defTabSz="611204" fontAlgn="auto">
              <a:spcBef>
                <a:spcPts val="0"/>
              </a:spcBef>
              <a:spcAft>
                <a:spcPts val="568"/>
              </a:spcAft>
              <a:buSzPct val="100000"/>
              <a:defRPr/>
            </a:pPr>
            <a:r>
              <a:rPr lang="zh-CN" altLang="en-US" sz="2000" kern="0" dirty="0">
                <a:solidFill>
                  <a:schemeClr val="accent6">
                    <a:lumMod val="90000"/>
                    <a:lumOff val="10000"/>
                  </a:schemeClr>
                </a:solidFill>
                <a:latin typeface="微软雅黑" pitchFamily="34" charset="-122"/>
                <a:ea typeface="微软雅黑" pitchFamily="34" charset="-122"/>
              </a:rPr>
              <a:t>托管客户</a:t>
            </a:r>
            <a:endParaRPr lang="en-US" sz="2000" kern="0" dirty="0">
              <a:solidFill>
                <a:schemeClr val="accent6">
                  <a:lumMod val="90000"/>
                  <a:lumOff val="10000"/>
                </a:schemeClr>
              </a:solidFill>
              <a:latin typeface="微软雅黑" pitchFamily="34" charset="-122"/>
              <a:ea typeface="微软雅黑" pitchFamily="34" charset="-122"/>
            </a:endParaRPr>
          </a:p>
        </p:txBody>
      </p:sp>
      <p:sp>
        <p:nvSpPr>
          <p:cNvPr id="48" name="TextBox 8"/>
          <p:cNvSpPr txBox="1">
            <a:spLocks noChangeArrowheads="1"/>
          </p:cNvSpPr>
          <p:nvPr/>
        </p:nvSpPr>
        <p:spPr bwMode="auto">
          <a:xfrm>
            <a:off x="749635" y="5808648"/>
            <a:ext cx="1186222" cy="353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nchorCtr="0">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defTabSz="1299088" eaLnBrk="1" fontAlgn="auto" hangingPunct="1">
              <a:spcBef>
                <a:spcPts val="2557"/>
              </a:spcBef>
              <a:spcAft>
                <a:spcPts val="0"/>
              </a:spcAft>
              <a:defRPr/>
            </a:pPr>
            <a:r>
              <a:rPr lang="zh-CN" altLang="en-US" sz="2300" kern="0" dirty="0">
                <a:solidFill>
                  <a:srgbClr val="0096D6"/>
                </a:solidFill>
                <a:latin typeface="微软雅黑" pitchFamily="34" charset="-122"/>
                <a:ea typeface="微软雅黑" pitchFamily="34" charset="-122"/>
              </a:rPr>
              <a:t>网络安全</a:t>
            </a:r>
            <a:endParaRPr lang="en-US" sz="900" kern="0" dirty="0">
              <a:solidFill>
                <a:srgbClr val="000000"/>
              </a:solidFill>
              <a:latin typeface="微软雅黑" pitchFamily="34" charset="-122"/>
              <a:ea typeface="微软雅黑" pitchFamily="34" charset="-122"/>
            </a:endParaRPr>
          </a:p>
        </p:txBody>
      </p:sp>
      <p:cxnSp>
        <p:nvCxnSpPr>
          <p:cNvPr id="49" name="Straight Connector 48"/>
          <p:cNvCxnSpPr/>
          <p:nvPr/>
        </p:nvCxnSpPr>
        <p:spPr>
          <a:xfrm>
            <a:off x="2895735" y="5710047"/>
            <a:ext cx="0" cy="734936"/>
          </a:xfrm>
          <a:prstGeom prst="line">
            <a:avLst/>
          </a:prstGeom>
          <a:noFill/>
          <a:ln w="6350" cap="rnd" cmpd="sng" algn="ctr">
            <a:solidFill>
              <a:srgbClr val="B9B8BB">
                <a:lumMod val="50000"/>
              </a:srgbClr>
            </a:solidFill>
            <a:prstDash val="solid"/>
          </a:ln>
          <a:effectLst/>
        </p:spPr>
      </p:cxnSp>
      <p:sp>
        <p:nvSpPr>
          <p:cNvPr id="50" name="TextBox 8"/>
          <p:cNvSpPr txBox="1">
            <a:spLocks noChangeArrowheads="1"/>
          </p:cNvSpPr>
          <p:nvPr/>
        </p:nvSpPr>
        <p:spPr bwMode="auto">
          <a:xfrm>
            <a:off x="3709515" y="5808454"/>
            <a:ext cx="1186222" cy="353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nchorCtr="0">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defTabSz="1299088" eaLnBrk="1" fontAlgn="auto" hangingPunct="1">
              <a:spcBef>
                <a:spcPts val="2557"/>
              </a:spcBef>
              <a:spcAft>
                <a:spcPts val="0"/>
              </a:spcAft>
              <a:defRPr/>
            </a:pPr>
            <a:r>
              <a:rPr lang="zh-CN" altLang="en-US" sz="2300" kern="0" dirty="0">
                <a:solidFill>
                  <a:srgbClr val="0096D6"/>
                </a:solidFill>
                <a:latin typeface="微软雅黑" pitchFamily="34" charset="-122"/>
                <a:ea typeface="微软雅黑" pitchFamily="34" charset="-122"/>
              </a:rPr>
              <a:t>应用安全</a:t>
            </a:r>
            <a:endParaRPr lang="en-US" sz="900" kern="0" dirty="0">
              <a:solidFill>
                <a:srgbClr val="000000"/>
              </a:solidFill>
              <a:latin typeface="微软雅黑" pitchFamily="34" charset="-122"/>
              <a:ea typeface="微软雅黑" pitchFamily="34" charset="-122"/>
            </a:endParaRPr>
          </a:p>
        </p:txBody>
      </p:sp>
      <p:cxnSp>
        <p:nvCxnSpPr>
          <p:cNvPr id="51" name="Straight Connector 50"/>
          <p:cNvCxnSpPr/>
          <p:nvPr/>
        </p:nvCxnSpPr>
        <p:spPr>
          <a:xfrm>
            <a:off x="5922140" y="5691783"/>
            <a:ext cx="0" cy="734936"/>
          </a:xfrm>
          <a:prstGeom prst="line">
            <a:avLst/>
          </a:prstGeom>
          <a:noFill/>
          <a:ln w="6350" cap="rnd" cmpd="sng" algn="ctr">
            <a:solidFill>
              <a:srgbClr val="B9B8BB">
                <a:lumMod val="50000"/>
              </a:srgbClr>
            </a:solidFill>
            <a:prstDash val="solid"/>
          </a:ln>
          <a:effectLst/>
        </p:spPr>
      </p:cxnSp>
      <p:sp>
        <p:nvSpPr>
          <p:cNvPr id="52" name="TextBox 8"/>
          <p:cNvSpPr txBox="1">
            <a:spLocks noChangeArrowheads="1"/>
          </p:cNvSpPr>
          <p:nvPr/>
        </p:nvSpPr>
        <p:spPr bwMode="auto">
          <a:xfrm>
            <a:off x="6817664" y="5780196"/>
            <a:ext cx="1186222" cy="353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nchorCtr="0">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defTabSz="1299088" eaLnBrk="1" fontAlgn="auto" hangingPunct="1">
              <a:spcBef>
                <a:spcPts val="2557"/>
              </a:spcBef>
              <a:spcAft>
                <a:spcPts val="0"/>
              </a:spcAft>
              <a:defRPr/>
            </a:pPr>
            <a:r>
              <a:rPr lang="zh-CN" altLang="en-US" sz="2300" kern="0" dirty="0">
                <a:solidFill>
                  <a:srgbClr val="0096D6"/>
                </a:solidFill>
                <a:latin typeface="微软雅黑" pitchFamily="34" charset="-122"/>
                <a:ea typeface="微软雅黑" pitchFamily="34" charset="-122"/>
              </a:rPr>
              <a:t>信息安全</a:t>
            </a:r>
            <a:endParaRPr lang="en-US" sz="900" kern="0" dirty="0">
              <a:solidFill>
                <a:srgbClr val="000000"/>
              </a:solidFill>
              <a:latin typeface="微软雅黑" pitchFamily="34" charset="-122"/>
              <a:ea typeface="微软雅黑" pitchFamily="34" charset="-122"/>
            </a:endParaRPr>
          </a:p>
        </p:txBody>
      </p:sp>
      <p:cxnSp>
        <p:nvCxnSpPr>
          <p:cNvPr id="53" name="Straight Connector 52"/>
          <p:cNvCxnSpPr/>
          <p:nvPr/>
        </p:nvCxnSpPr>
        <p:spPr>
          <a:xfrm>
            <a:off x="8815500" y="5710047"/>
            <a:ext cx="0" cy="734936"/>
          </a:xfrm>
          <a:prstGeom prst="line">
            <a:avLst/>
          </a:prstGeom>
          <a:noFill/>
          <a:ln w="6350" cap="rnd" cmpd="sng" algn="ctr">
            <a:solidFill>
              <a:srgbClr val="B9B8BB">
                <a:lumMod val="50000"/>
              </a:srgbClr>
            </a:solidFill>
            <a:prstDash val="solid"/>
          </a:ln>
          <a:effectLst/>
        </p:spPr>
      </p:cxnSp>
      <p:sp>
        <p:nvSpPr>
          <p:cNvPr id="54" name="TextBox 8"/>
          <p:cNvSpPr txBox="1">
            <a:spLocks noChangeArrowheads="1"/>
          </p:cNvSpPr>
          <p:nvPr/>
        </p:nvSpPr>
        <p:spPr bwMode="auto">
          <a:xfrm>
            <a:off x="9561626" y="5779230"/>
            <a:ext cx="2075889" cy="353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nchorCtr="0">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defTabSz="1299088" eaLnBrk="1" fontAlgn="auto" hangingPunct="1">
              <a:spcBef>
                <a:spcPts val="852"/>
              </a:spcBef>
              <a:spcAft>
                <a:spcPts val="0"/>
              </a:spcAft>
              <a:defRPr/>
            </a:pPr>
            <a:r>
              <a:rPr lang="zh-CN" altLang="en-US" sz="2300" kern="0" dirty="0">
                <a:solidFill>
                  <a:srgbClr val="0096D6"/>
                </a:solidFill>
                <a:latin typeface="微软雅黑" pitchFamily="34" charset="-122"/>
                <a:ea typeface="微软雅黑" pitchFamily="34" charset="-122"/>
              </a:rPr>
              <a:t>支付和数据通信</a:t>
            </a:r>
            <a:endParaRPr lang="en-US" sz="900" kern="0" dirty="0">
              <a:solidFill>
                <a:srgbClr val="000000"/>
              </a:solidFill>
              <a:latin typeface="微软雅黑" pitchFamily="34" charset="-122"/>
              <a:ea typeface="微软雅黑" pitchFamily="34" charset="-122"/>
            </a:endParaRPr>
          </a:p>
        </p:txBody>
      </p:sp>
    </p:spTree>
    <p:extLst>
      <p:ext uri="{BB962C8B-B14F-4D97-AF65-F5344CB8AC3E}">
        <p14:creationId xmlns:p14="http://schemas.microsoft.com/office/powerpoint/2010/main" val="117354861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childTnLst>
                                </p:cTn>
                              </p:par>
                            </p:childTnLst>
                          </p:cTn>
                        </p:par>
                        <p:par>
                          <p:cTn id="8" fill="hold">
                            <p:stCondLst>
                              <p:cond delay="1000"/>
                            </p:stCondLst>
                            <p:childTnLst>
                              <p:par>
                                <p:cTn id="9" presetID="1" presetClass="entr" presetSubtype="0" fill="hold" grpId="0" nodeType="afterEffect">
                                  <p:stCondLst>
                                    <p:cond delay="0"/>
                                  </p:stCondLst>
                                  <p:childTnLst>
                                    <p:set>
                                      <p:cBhvr>
                                        <p:cTn id="10" dur="1" fill="hold">
                                          <p:stCondLst>
                                            <p:cond delay="0"/>
                                          </p:stCondLst>
                                        </p:cTn>
                                        <p:tgtEl>
                                          <p:spTgt spid="4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10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3"/>
                                        </p:tgtEl>
                                        <p:attrNameLst>
                                          <p:attrName>style.visibility</p:attrName>
                                        </p:attrNameLst>
                                      </p:cBhvr>
                                      <p:to>
                                        <p:strVal val="visible"/>
                                      </p:to>
                                    </p:set>
                                    <p:animEffect transition="in" filter="fade">
                                      <p:cBhvr>
                                        <p:cTn id="22" dur="1000"/>
                                        <p:tgtEl>
                                          <p:spTgt spid="33"/>
                                        </p:tgtEl>
                                      </p:cBhvr>
                                    </p:animEffect>
                                  </p:childTnLst>
                                </p:cTn>
                              </p:par>
                              <p:par>
                                <p:cTn id="23" presetID="10" presetClass="entr" presetSubtype="0" fill="hold" nodeType="withEffect">
                                  <p:stCondLst>
                                    <p:cond delay="0"/>
                                  </p:stCondLst>
                                  <p:childTnLst>
                                    <p:set>
                                      <p:cBhvr>
                                        <p:cTn id="24" dur="1" fill="hold">
                                          <p:stCondLst>
                                            <p:cond delay="0"/>
                                          </p:stCondLst>
                                        </p:cTn>
                                        <p:tgtEl>
                                          <p:spTgt spid="21"/>
                                        </p:tgtEl>
                                        <p:attrNameLst>
                                          <p:attrName>style.visibility</p:attrName>
                                        </p:attrNameLst>
                                      </p:cBhvr>
                                      <p:to>
                                        <p:strVal val="visible"/>
                                      </p:to>
                                    </p:set>
                                    <p:animEffect transition="in" filter="fade">
                                      <p:cBhvr>
                                        <p:cTn id="25" dur="1000"/>
                                        <p:tgtEl>
                                          <p:spTgt spid="21"/>
                                        </p:tgtEl>
                                      </p:cBhvr>
                                    </p:animEffect>
                                  </p:childTnLst>
                                </p:cTn>
                              </p:par>
                              <p:par>
                                <p:cTn id="26" presetID="10" presetClass="entr" presetSubtype="0" fill="hold" nodeType="withEffect">
                                  <p:stCondLst>
                                    <p:cond delay="0"/>
                                  </p:stCondLst>
                                  <p:childTnLst>
                                    <p:set>
                                      <p:cBhvr>
                                        <p:cTn id="27" dur="1" fill="hold">
                                          <p:stCondLst>
                                            <p:cond delay="0"/>
                                          </p:stCondLst>
                                        </p:cTn>
                                        <p:tgtEl>
                                          <p:spTgt spid="26"/>
                                        </p:tgtEl>
                                        <p:attrNameLst>
                                          <p:attrName>style.visibility</p:attrName>
                                        </p:attrNameLst>
                                      </p:cBhvr>
                                      <p:to>
                                        <p:strVal val="visible"/>
                                      </p:to>
                                    </p:set>
                                    <p:animEffect transition="in" filter="fade">
                                      <p:cBhvr>
                                        <p:cTn id="28" dur="1000"/>
                                        <p:tgtEl>
                                          <p:spTgt spid="26"/>
                                        </p:tgtEl>
                                      </p:cBhvr>
                                    </p:animEffect>
                                  </p:childTnLst>
                                </p:cTn>
                              </p:par>
                              <p:par>
                                <p:cTn id="29" presetID="10" presetClass="entr" presetSubtype="0" fill="hold" nodeType="withEffect">
                                  <p:stCondLst>
                                    <p:cond delay="0"/>
                                  </p:stCondLst>
                                  <p:childTnLst>
                                    <p:set>
                                      <p:cBhvr>
                                        <p:cTn id="30" dur="1" fill="hold">
                                          <p:stCondLst>
                                            <p:cond delay="0"/>
                                          </p:stCondLst>
                                        </p:cTn>
                                        <p:tgtEl>
                                          <p:spTgt spid="18"/>
                                        </p:tgtEl>
                                        <p:attrNameLst>
                                          <p:attrName>style.visibility</p:attrName>
                                        </p:attrNameLst>
                                      </p:cBhvr>
                                      <p:to>
                                        <p:strVal val="visible"/>
                                      </p:to>
                                    </p:set>
                                    <p:animEffect transition="in" filter="fade">
                                      <p:cBhvr>
                                        <p:cTn id="31" dur="1000"/>
                                        <p:tgtEl>
                                          <p:spTgt spid="18"/>
                                        </p:tgtEl>
                                      </p:cBhvr>
                                    </p:animEffect>
                                  </p:childTnLst>
                                </p:cTn>
                              </p:par>
                              <p:par>
                                <p:cTn id="32" presetID="10" presetClass="entr" presetSubtype="0" fill="hold" nodeType="withEffect">
                                  <p:stCondLst>
                                    <p:cond delay="0"/>
                                  </p:stCondLst>
                                  <p:childTnLst>
                                    <p:set>
                                      <p:cBhvr>
                                        <p:cTn id="33" dur="1" fill="hold">
                                          <p:stCondLst>
                                            <p:cond delay="0"/>
                                          </p:stCondLst>
                                        </p:cTn>
                                        <p:tgtEl>
                                          <p:spTgt spid="31"/>
                                        </p:tgtEl>
                                        <p:attrNameLst>
                                          <p:attrName>style.visibility</p:attrName>
                                        </p:attrNameLst>
                                      </p:cBhvr>
                                      <p:to>
                                        <p:strVal val="visible"/>
                                      </p:to>
                                    </p:set>
                                    <p:animEffect transition="in" filter="fade">
                                      <p:cBhvr>
                                        <p:cTn id="34" dur="1000"/>
                                        <p:tgtEl>
                                          <p:spTgt spid="31"/>
                                        </p:tgtEl>
                                      </p:cBhvr>
                                    </p:animEffect>
                                  </p:childTnLst>
                                </p:cTn>
                              </p:par>
                              <p:par>
                                <p:cTn id="35" presetID="10" presetClass="entr" presetSubtype="0" fill="hold" nodeType="withEffect">
                                  <p:stCondLst>
                                    <p:cond delay="0"/>
                                  </p:stCondLst>
                                  <p:childTnLst>
                                    <p:set>
                                      <p:cBhvr>
                                        <p:cTn id="36" dur="1" fill="hold">
                                          <p:stCondLst>
                                            <p:cond delay="0"/>
                                          </p:stCondLst>
                                        </p:cTn>
                                        <p:tgtEl>
                                          <p:spTgt spid="32"/>
                                        </p:tgtEl>
                                        <p:attrNameLst>
                                          <p:attrName>style.visibility</p:attrName>
                                        </p:attrNameLst>
                                      </p:cBhvr>
                                      <p:to>
                                        <p:strVal val="visible"/>
                                      </p:to>
                                    </p:set>
                                    <p:animEffect transition="in" filter="fade">
                                      <p:cBhvr>
                                        <p:cTn id="37" dur="1000"/>
                                        <p:tgtEl>
                                          <p:spTgt spid="32"/>
                                        </p:tgtEl>
                                      </p:cBhvr>
                                    </p:animEffect>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grpId="0" nodeType="clickEffect">
                                  <p:stCondLst>
                                    <p:cond delay="0"/>
                                  </p:stCondLst>
                                  <p:childTnLst>
                                    <p:set>
                                      <p:cBhvr>
                                        <p:cTn id="41" dur="1" fill="hold">
                                          <p:stCondLst>
                                            <p:cond delay="0"/>
                                          </p:stCondLst>
                                        </p:cTn>
                                        <p:tgtEl>
                                          <p:spTgt spid="48"/>
                                        </p:tgtEl>
                                        <p:attrNameLst>
                                          <p:attrName>style.visibility</p:attrName>
                                        </p:attrNameLst>
                                      </p:cBhvr>
                                      <p:to>
                                        <p:strVal val="visible"/>
                                      </p:to>
                                    </p:set>
                                    <p:animEffect transition="in" filter="fade">
                                      <p:cBhvr>
                                        <p:cTn id="42" dur="1000"/>
                                        <p:tgtEl>
                                          <p:spTgt spid="48"/>
                                        </p:tgtEl>
                                      </p:cBhvr>
                                    </p:animEffect>
                                    <p:anim calcmode="lin" valueType="num">
                                      <p:cBhvr>
                                        <p:cTn id="43" dur="1000" fill="hold"/>
                                        <p:tgtEl>
                                          <p:spTgt spid="48"/>
                                        </p:tgtEl>
                                        <p:attrNameLst>
                                          <p:attrName>ppt_x</p:attrName>
                                        </p:attrNameLst>
                                      </p:cBhvr>
                                      <p:tavLst>
                                        <p:tav tm="0">
                                          <p:val>
                                            <p:strVal val="#ppt_x"/>
                                          </p:val>
                                        </p:tav>
                                        <p:tav tm="100000">
                                          <p:val>
                                            <p:strVal val="#ppt_x"/>
                                          </p:val>
                                        </p:tav>
                                      </p:tavLst>
                                    </p:anim>
                                    <p:anim calcmode="lin" valueType="num">
                                      <p:cBhvr>
                                        <p:cTn id="44" dur="1000" fill="hold"/>
                                        <p:tgtEl>
                                          <p:spTgt spid="48"/>
                                        </p:tgtEl>
                                        <p:attrNameLst>
                                          <p:attrName>ppt_y</p:attrName>
                                        </p:attrNameLst>
                                      </p:cBhvr>
                                      <p:tavLst>
                                        <p:tav tm="0">
                                          <p:val>
                                            <p:strVal val="#ppt_y+.1"/>
                                          </p:val>
                                        </p:tav>
                                        <p:tav tm="100000">
                                          <p:val>
                                            <p:strVal val="#ppt_y"/>
                                          </p:val>
                                        </p:tav>
                                      </p:tavLst>
                                    </p:anim>
                                  </p:childTnLst>
                                </p:cTn>
                              </p:par>
                              <p:par>
                                <p:cTn id="45" presetID="42" presetClass="entr" presetSubtype="0" fill="hold" nodeType="withEffect">
                                  <p:stCondLst>
                                    <p:cond delay="0"/>
                                  </p:stCondLst>
                                  <p:childTnLst>
                                    <p:set>
                                      <p:cBhvr>
                                        <p:cTn id="46" dur="1" fill="hold">
                                          <p:stCondLst>
                                            <p:cond delay="0"/>
                                          </p:stCondLst>
                                        </p:cTn>
                                        <p:tgtEl>
                                          <p:spTgt spid="49"/>
                                        </p:tgtEl>
                                        <p:attrNameLst>
                                          <p:attrName>style.visibility</p:attrName>
                                        </p:attrNameLst>
                                      </p:cBhvr>
                                      <p:to>
                                        <p:strVal val="visible"/>
                                      </p:to>
                                    </p:set>
                                    <p:animEffect transition="in" filter="fade">
                                      <p:cBhvr>
                                        <p:cTn id="47" dur="1000"/>
                                        <p:tgtEl>
                                          <p:spTgt spid="49"/>
                                        </p:tgtEl>
                                      </p:cBhvr>
                                    </p:animEffect>
                                    <p:anim calcmode="lin" valueType="num">
                                      <p:cBhvr>
                                        <p:cTn id="48" dur="1000" fill="hold"/>
                                        <p:tgtEl>
                                          <p:spTgt spid="49"/>
                                        </p:tgtEl>
                                        <p:attrNameLst>
                                          <p:attrName>ppt_x</p:attrName>
                                        </p:attrNameLst>
                                      </p:cBhvr>
                                      <p:tavLst>
                                        <p:tav tm="0">
                                          <p:val>
                                            <p:strVal val="#ppt_x"/>
                                          </p:val>
                                        </p:tav>
                                        <p:tav tm="100000">
                                          <p:val>
                                            <p:strVal val="#ppt_x"/>
                                          </p:val>
                                        </p:tav>
                                      </p:tavLst>
                                    </p:anim>
                                    <p:anim calcmode="lin" valueType="num">
                                      <p:cBhvr>
                                        <p:cTn id="49" dur="1000" fill="hold"/>
                                        <p:tgtEl>
                                          <p:spTgt spid="49"/>
                                        </p:tgtEl>
                                        <p:attrNameLst>
                                          <p:attrName>ppt_y</p:attrName>
                                        </p:attrNameLst>
                                      </p:cBhvr>
                                      <p:tavLst>
                                        <p:tav tm="0">
                                          <p:val>
                                            <p:strVal val="#ppt_y+.1"/>
                                          </p:val>
                                        </p:tav>
                                        <p:tav tm="100000">
                                          <p:val>
                                            <p:strVal val="#ppt_y"/>
                                          </p:val>
                                        </p:tav>
                                      </p:tavLst>
                                    </p:anim>
                                  </p:childTnLst>
                                </p:cTn>
                              </p:par>
                              <p:par>
                                <p:cTn id="50" presetID="42" presetClass="entr" presetSubtype="0" fill="hold" grpId="0" nodeType="withEffect">
                                  <p:stCondLst>
                                    <p:cond delay="0"/>
                                  </p:stCondLst>
                                  <p:childTnLst>
                                    <p:set>
                                      <p:cBhvr>
                                        <p:cTn id="51" dur="1" fill="hold">
                                          <p:stCondLst>
                                            <p:cond delay="0"/>
                                          </p:stCondLst>
                                        </p:cTn>
                                        <p:tgtEl>
                                          <p:spTgt spid="50"/>
                                        </p:tgtEl>
                                        <p:attrNameLst>
                                          <p:attrName>style.visibility</p:attrName>
                                        </p:attrNameLst>
                                      </p:cBhvr>
                                      <p:to>
                                        <p:strVal val="visible"/>
                                      </p:to>
                                    </p:set>
                                    <p:animEffect transition="in" filter="fade">
                                      <p:cBhvr>
                                        <p:cTn id="52" dur="1000"/>
                                        <p:tgtEl>
                                          <p:spTgt spid="50"/>
                                        </p:tgtEl>
                                      </p:cBhvr>
                                    </p:animEffect>
                                    <p:anim calcmode="lin" valueType="num">
                                      <p:cBhvr>
                                        <p:cTn id="53" dur="1000" fill="hold"/>
                                        <p:tgtEl>
                                          <p:spTgt spid="50"/>
                                        </p:tgtEl>
                                        <p:attrNameLst>
                                          <p:attrName>ppt_x</p:attrName>
                                        </p:attrNameLst>
                                      </p:cBhvr>
                                      <p:tavLst>
                                        <p:tav tm="0">
                                          <p:val>
                                            <p:strVal val="#ppt_x"/>
                                          </p:val>
                                        </p:tav>
                                        <p:tav tm="100000">
                                          <p:val>
                                            <p:strVal val="#ppt_x"/>
                                          </p:val>
                                        </p:tav>
                                      </p:tavLst>
                                    </p:anim>
                                    <p:anim calcmode="lin" valueType="num">
                                      <p:cBhvr>
                                        <p:cTn id="54" dur="1000" fill="hold"/>
                                        <p:tgtEl>
                                          <p:spTgt spid="50"/>
                                        </p:tgtEl>
                                        <p:attrNameLst>
                                          <p:attrName>ppt_y</p:attrName>
                                        </p:attrNameLst>
                                      </p:cBhvr>
                                      <p:tavLst>
                                        <p:tav tm="0">
                                          <p:val>
                                            <p:strVal val="#ppt_y+.1"/>
                                          </p:val>
                                        </p:tav>
                                        <p:tav tm="100000">
                                          <p:val>
                                            <p:strVal val="#ppt_y"/>
                                          </p:val>
                                        </p:tav>
                                      </p:tavLst>
                                    </p:anim>
                                  </p:childTnLst>
                                </p:cTn>
                              </p:par>
                              <p:par>
                                <p:cTn id="55" presetID="42" presetClass="entr" presetSubtype="0" fill="hold" nodeType="withEffect">
                                  <p:stCondLst>
                                    <p:cond delay="0"/>
                                  </p:stCondLst>
                                  <p:childTnLst>
                                    <p:set>
                                      <p:cBhvr>
                                        <p:cTn id="56" dur="1" fill="hold">
                                          <p:stCondLst>
                                            <p:cond delay="0"/>
                                          </p:stCondLst>
                                        </p:cTn>
                                        <p:tgtEl>
                                          <p:spTgt spid="51"/>
                                        </p:tgtEl>
                                        <p:attrNameLst>
                                          <p:attrName>style.visibility</p:attrName>
                                        </p:attrNameLst>
                                      </p:cBhvr>
                                      <p:to>
                                        <p:strVal val="visible"/>
                                      </p:to>
                                    </p:set>
                                    <p:animEffect transition="in" filter="fade">
                                      <p:cBhvr>
                                        <p:cTn id="57" dur="1000"/>
                                        <p:tgtEl>
                                          <p:spTgt spid="51"/>
                                        </p:tgtEl>
                                      </p:cBhvr>
                                    </p:animEffect>
                                    <p:anim calcmode="lin" valueType="num">
                                      <p:cBhvr>
                                        <p:cTn id="58" dur="1000" fill="hold"/>
                                        <p:tgtEl>
                                          <p:spTgt spid="51"/>
                                        </p:tgtEl>
                                        <p:attrNameLst>
                                          <p:attrName>ppt_x</p:attrName>
                                        </p:attrNameLst>
                                      </p:cBhvr>
                                      <p:tavLst>
                                        <p:tav tm="0">
                                          <p:val>
                                            <p:strVal val="#ppt_x"/>
                                          </p:val>
                                        </p:tav>
                                        <p:tav tm="100000">
                                          <p:val>
                                            <p:strVal val="#ppt_x"/>
                                          </p:val>
                                        </p:tav>
                                      </p:tavLst>
                                    </p:anim>
                                    <p:anim calcmode="lin" valueType="num">
                                      <p:cBhvr>
                                        <p:cTn id="59" dur="1000" fill="hold"/>
                                        <p:tgtEl>
                                          <p:spTgt spid="51"/>
                                        </p:tgtEl>
                                        <p:attrNameLst>
                                          <p:attrName>ppt_y</p:attrName>
                                        </p:attrNameLst>
                                      </p:cBhvr>
                                      <p:tavLst>
                                        <p:tav tm="0">
                                          <p:val>
                                            <p:strVal val="#ppt_y+.1"/>
                                          </p:val>
                                        </p:tav>
                                        <p:tav tm="100000">
                                          <p:val>
                                            <p:strVal val="#ppt_y"/>
                                          </p:val>
                                        </p:tav>
                                      </p:tavLst>
                                    </p:anim>
                                  </p:childTnLst>
                                </p:cTn>
                              </p:par>
                              <p:par>
                                <p:cTn id="60" presetID="42" presetClass="entr" presetSubtype="0" fill="hold" grpId="0" nodeType="withEffect">
                                  <p:stCondLst>
                                    <p:cond delay="0"/>
                                  </p:stCondLst>
                                  <p:childTnLst>
                                    <p:set>
                                      <p:cBhvr>
                                        <p:cTn id="61" dur="1" fill="hold">
                                          <p:stCondLst>
                                            <p:cond delay="0"/>
                                          </p:stCondLst>
                                        </p:cTn>
                                        <p:tgtEl>
                                          <p:spTgt spid="52"/>
                                        </p:tgtEl>
                                        <p:attrNameLst>
                                          <p:attrName>style.visibility</p:attrName>
                                        </p:attrNameLst>
                                      </p:cBhvr>
                                      <p:to>
                                        <p:strVal val="visible"/>
                                      </p:to>
                                    </p:set>
                                    <p:animEffect transition="in" filter="fade">
                                      <p:cBhvr>
                                        <p:cTn id="62" dur="1000"/>
                                        <p:tgtEl>
                                          <p:spTgt spid="52"/>
                                        </p:tgtEl>
                                      </p:cBhvr>
                                    </p:animEffect>
                                    <p:anim calcmode="lin" valueType="num">
                                      <p:cBhvr>
                                        <p:cTn id="63" dur="1000" fill="hold"/>
                                        <p:tgtEl>
                                          <p:spTgt spid="52"/>
                                        </p:tgtEl>
                                        <p:attrNameLst>
                                          <p:attrName>ppt_x</p:attrName>
                                        </p:attrNameLst>
                                      </p:cBhvr>
                                      <p:tavLst>
                                        <p:tav tm="0">
                                          <p:val>
                                            <p:strVal val="#ppt_x"/>
                                          </p:val>
                                        </p:tav>
                                        <p:tav tm="100000">
                                          <p:val>
                                            <p:strVal val="#ppt_x"/>
                                          </p:val>
                                        </p:tav>
                                      </p:tavLst>
                                    </p:anim>
                                    <p:anim calcmode="lin" valueType="num">
                                      <p:cBhvr>
                                        <p:cTn id="64" dur="1000" fill="hold"/>
                                        <p:tgtEl>
                                          <p:spTgt spid="52"/>
                                        </p:tgtEl>
                                        <p:attrNameLst>
                                          <p:attrName>ppt_y</p:attrName>
                                        </p:attrNameLst>
                                      </p:cBhvr>
                                      <p:tavLst>
                                        <p:tav tm="0">
                                          <p:val>
                                            <p:strVal val="#ppt_y+.1"/>
                                          </p:val>
                                        </p:tav>
                                        <p:tav tm="100000">
                                          <p:val>
                                            <p:strVal val="#ppt_y"/>
                                          </p:val>
                                        </p:tav>
                                      </p:tavLst>
                                    </p:anim>
                                  </p:childTnLst>
                                </p:cTn>
                              </p:par>
                              <p:par>
                                <p:cTn id="65" presetID="42" presetClass="entr" presetSubtype="0" fill="hold" nodeType="withEffect">
                                  <p:stCondLst>
                                    <p:cond delay="0"/>
                                  </p:stCondLst>
                                  <p:childTnLst>
                                    <p:set>
                                      <p:cBhvr>
                                        <p:cTn id="66" dur="1" fill="hold">
                                          <p:stCondLst>
                                            <p:cond delay="0"/>
                                          </p:stCondLst>
                                        </p:cTn>
                                        <p:tgtEl>
                                          <p:spTgt spid="53"/>
                                        </p:tgtEl>
                                        <p:attrNameLst>
                                          <p:attrName>style.visibility</p:attrName>
                                        </p:attrNameLst>
                                      </p:cBhvr>
                                      <p:to>
                                        <p:strVal val="visible"/>
                                      </p:to>
                                    </p:set>
                                    <p:animEffect transition="in" filter="fade">
                                      <p:cBhvr>
                                        <p:cTn id="67" dur="1000"/>
                                        <p:tgtEl>
                                          <p:spTgt spid="53"/>
                                        </p:tgtEl>
                                      </p:cBhvr>
                                    </p:animEffect>
                                    <p:anim calcmode="lin" valueType="num">
                                      <p:cBhvr>
                                        <p:cTn id="68" dur="1000" fill="hold"/>
                                        <p:tgtEl>
                                          <p:spTgt spid="53"/>
                                        </p:tgtEl>
                                        <p:attrNameLst>
                                          <p:attrName>ppt_x</p:attrName>
                                        </p:attrNameLst>
                                      </p:cBhvr>
                                      <p:tavLst>
                                        <p:tav tm="0">
                                          <p:val>
                                            <p:strVal val="#ppt_x"/>
                                          </p:val>
                                        </p:tav>
                                        <p:tav tm="100000">
                                          <p:val>
                                            <p:strVal val="#ppt_x"/>
                                          </p:val>
                                        </p:tav>
                                      </p:tavLst>
                                    </p:anim>
                                    <p:anim calcmode="lin" valueType="num">
                                      <p:cBhvr>
                                        <p:cTn id="69" dur="1000" fill="hold"/>
                                        <p:tgtEl>
                                          <p:spTgt spid="53"/>
                                        </p:tgtEl>
                                        <p:attrNameLst>
                                          <p:attrName>ppt_y</p:attrName>
                                        </p:attrNameLst>
                                      </p:cBhvr>
                                      <p:tavLst>
                                        <p:tav tm="0">
                                          <p:val>
                                            <p:strVal val="#ppt_y+.1"/>
                                          </p:val>
                                        </p:tav>
                                        <p:tav tm="100000">
                                          <p:val>
                                            <p:strVal val="#ppt_y"/>
                                          </p:val>
                                        </p:tav>
                                      </p:tavLst>
                                    </p:anim>
                                  </p:childTnLst>
                                </p:cTn>
                              </p:par>
                              <p:par>
                                <p:cTn id="70" presetID="42" presetClass="entr" presetSubtype="0" fill="hold" grpId="0" nodeType="withEffect">
                                  <p:stCondLst>
                                    <p:cond delay="0"/>
                                  </p:stCondLst>
                                  <p:childTnLst>
                                    <p:set>
                                      <p:cBhvr>
                                        <p:cTn id="71" dur="1" fill="hold">
                                          <p:stCondLst>
                                            <p:cond delay="0"/>
                                          </p:stCondLst>
                                        </p:cTn>
                                        <p:tgtEl>
                                          <p:spTgt spid="54"/>
                                        </p:tgtEl>
                                        <p:attrNameLst>
                                          <p:attrName>style.visibility</p:attrName>
                                        </p:attrNameLst>
                                      </p:cBhvr>
                                      <p:to>
                                        <p:strVal val="visible"/>
                                      </p:to>
                                    </p:set>
                                    <p:animEffect transition="in" filter="fade">
                                      <p:cBhvr>
                                        <p:cTn id="72" dur="1000"/>
                                        <p:tgtEl>
                                          <p:spTgt spid="54"/>
                                        </p:tgtEl>
                                      </p:cBhvr>
                                    </p:animEffect>
                                    <p:anim calcmode="lin" valueType="num">
                                      <p:cBhvr>
                                        <p:cTn id="73" dur="1000" fill="hold"/>
                                        <p:tgtEl>
                                          <p:spTgt spid="54"/>
                                        </p:tgtEl>
                                        <p:attrNameLst>
                                          <p:attrName>ppt_x</p:attrName>
                                        </p:attrNameLst>
                                      </p:cBhvr>
                                      <p:tavLst>
                                        <p:tav tm="0">
                                          <p:val>
                                            <p:strVal val="#ppt_x"/>
                                          </p:val>
                                        </p:tav>
                                        <p:tav tm="100000">
                                          <p:val>
                                            <p:strVal val="#ppt_x"/>
                                          </p:val>
                                        </p:tav>
                                      </p:tavLst>
                                    </p:anim>
                                    <p:anim calcmode="lin" valueType="num">
                                      <p:cBhvr>
                                        <p:cTn id="74" dur="1000" fill="hold"/>
                                        <p:tgtEl>
                                          <p:spTgt spid="5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p:bldP spid="47" grpId="0"/>
      <p:bldP spid="48" grpId="0"/>
      <p:bldP spid="50" grpId="0"/>
      <p:bldP spid="52" grpId="0"/>
      <p:bldP spid="54"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HP_White_RGB_150_SM.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077109" y="6450381"/>
            <a:ext cx="519332" cy="520158"/>
          </a:xfrm>
          <a:prstGeom prst="rect">
            <a:avLst/>
          </a:prstGeom>
        </p:spPr>
      </p:pic>
      <p:pic>
        <p:nvPicPr>
          <p:cNvPr id="5" name="Picture 4"/>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 y="0"/>
            <a:ext cx="12984162" cy="7315200"/>
          </a:xfrm>
          <a:prstGeom prst="rect">
            <a:avLst/>
          </a:prstGeom>
        </p:spPr>
      </p:pic>
      <p:sp>
        <p:nvSpPr>
          <p:cNvPr id="2" name="TextBox 1"/>
          <p:cNvSpPr txBox="1"/>
          <p:nvPr/>
        </p:nvSpPr>
        <p:spPr>
          <a:xfrm>
            <a:off x="10151255" y="151597"/>
            <a:ext cx="2832909" cy="1517453"/>
          </a:xfrm>
          <a:prstGeom prst="rect">
            <a:avLst/>
          </a:prstGeom>
          <a:noFill/>
        </p:spPr>
        <p:txBody>
          <a:bodyPr wrap="square" lIns="129909" tIns="64954" rIns="129909" bIns="64954" rtlCol="0">
            <a:spAutoFit/>
          </a:bodyPr>
          <a:lstStyle/>
          <a:p>
            <a:pPr defTabSz="611204">
              <a:spcAft>
                <a:spcPts val="568"/>
              </a:spcAft>
              <a:buSzPct val="100000"/>
            </a:pPr>
            <a:r>
              <a:rPr lang="zh-CN" altLang="en-US" sz="2800" dirty="0">
                <a:solidFill>
                  <a:schemeClr val="bg1"/>
                </a:solidFill>
                <a:latin typeface="微软雅黑" pitchFamily="34" charset="-122"/>
                <a:ea typeface="微软雅黑" pitchFamily="34" charset="-122"/>
                <a:cs typeface="HP Simplified" pitchFamily="34" charset="0"/>
              </a:rPr>
              <a:t>不战而屈人之兵，善之善者也</a:t>
            </a:r>
            <a:endParaRPr lang="en-US" altLang="zh-CN" sz="2800" dirty="0">
              <a:solidFill>
                <a:schemeClr val="bg1"/>
              </a:solidFill>
              <a:latin typeface="微软雅黑" pitchFamily="34" charset="-122"/>
              <a:ea typeface="微软雅黑" pitchFamily="34" charset="-122"/>
              <a:cs typeface="HP Simplified" pitchFamily="34" charset="0"/>
            </a:endParaRPr>
          </a:p>
          <a:p>
            <a:pPr defTabSz="611204">
              <a:spcAft>
                <a:spcPts val="568"/>
              </a:spcAft>
              <a:buSzPct val="100000"/>
            </a:pPr>
            <a:r>
              <a:rPr lang="en-US" sz="2800" dirty="0">
                <a:solidFill>
                  <a:schemeClr val="bg1"/>
                </a:solidFill>
                <a:latin typeface="微软雅黑" pitchFamily="34" charset="-122"/>
                <a:ea typeface="微软雅黑" pitchFamily="34" charset="-122"/>
                <a:cs typeface="HP Simplified" pitchFamily="34" charset="0"/>
              </a:rPr>
              <a:t>-</a:t>
            </a:r>
            <a:r>
              <a:rPr lang="zh-CN" altLang="en-US" sz="2800" dirty="0">
                <a:solidFill>
                  <a:schemeClr val="bg1"/>
                </a:solidFill>
                <a:latin typeface="微软雅黑" pitchFamily="34" charset="-122"/>
                <a:ea typeface="微软雅黑" pitchFamily="34" charset="-122"/>
                <a:cs typeface="HP Simplified" pitchFamily="34" charset="0"/>
              </a:rPr>
              <a:t>孙子</a:t>
            </a:r>
            <a:endParaRPr lang="en-US" sz="2800" dirty="0">
              <a:solidFill>
                <a:schemeClr val="bg1"/>
              </a:solidFill>
              <a:latin typeface="微软雅黑" pitchFamily="34" charset="-122"/>
              <a:ea typeface="微软雅黑" pitchFamily="34" charset="-122"/>
              <a:cs typeface="HP Simplified" pitchFamily="34" charset="0"/>
            </a:endParaRPr>
          </a:p>
        </p:txBody>
      </p:sp>
    </p:spTree>
    <p:extLst>
      <p:ext uri="{BB962C8B-B14F-4D97-AF65-F5344CB8AC3E}">
        <p14:creationId xmlns:p14="http://schemas.microsoft.com/office/powerpoint/2010/main" val="3412784873"/>
      </p:ext>
    </p:extLst>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924" y="0"/>
            <a:ext cx="12980316" cy="7315200"/>
          </a:xfrm>
          <a:prstGeom prst="rect">
            <a:avLst/>
          </a:prstGeom>
        </p:spPr>
      </p:pic>
      <p:pic>
        <p:nvPicPr>
          <p:cNvPr id="14" name="Picture 13"/>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890883" y="1660540"/>
            <a:ext cx="1599724" cy="1605049"/>
          </a:xfrm>
          <a:prstGeom prst="rect">
            <a:avLst/>
          </a:prstGeom>
        </p:spPr>
      </p:pic>
      <p:pic>
        <p:nvPicPr>
          <p:cNvPr id="20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34369" y="1403132"/>
            <a:ext cx="4946200" cy="18624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59225222"/>
      </p:ext>
    </p:extLst>
  </p:cSld>
  <p:clrMapOvr>
    <a:masterClrMapping/>
  </p:clrMapOvr>
  <p:transition spd="slow">
    <p:randomBar dir="vert"/>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F8F8F8">
            <a:alpha val="30196"/>
          </a:srgbClr>
        </a:solidFill>
        <a:effectLst/>
      </p:bgPr>
    </p:bg>
    <p:spTree>
      <p:nvGrpSpPr>
        <p:cNvPr id="1" name=""/>
        <p:cNvGrpSpPr/>
        <p:nvPr/>
      </p:nvGrpSpPr>
      <p:grpSpPr>
        <a:xfrm>
          <a:off x="0" y="0"/>
          <a:ext cx="0" cy="0"/>
          <a:chOff x="0" y="0"/>
          <a:chExt cx="0" cy="0"/>
        </a:xfrm>
      </p:grpSpPr>
      <p:sp>
        <p:nvSpPr>
          <p:cNvPr id="7170" name="Title 7"/>
          <p:cNvSpPr txBox="1">
            <a:spLocks/>
          </p:cNvSpPr>
          <p:nvPr/>
        </p:nvSpPr>
        <p:spPr bwMode="auto">
          <a:xfrm>
            <a:off x="741363" y="2630488"/>
            <a:ext cx="11503025"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15989" tIns="57995" rIns="115989" bIns="57995" anchor="ctr"/>
          <a:lstStyle>
            <a:lvl1pPr defTabSz="1160463" eaLnBrk="0" hangingPunct="0">
              <a:defRPr sz="1600" b="1">
                <a:solidFill>
                  <a:schemeClr val="tx1"/>
                </a:solidFill>
                <a:latin typeface="Arial" charset="0"/>
                <a:ea typeface="宋体" pitchFamily="2" charset="-122"/>
              </a:defRPr>
            </a:lvl1pPr>
            <a:lvl2pPr marL="742950" indent="-285750" defTabSz="1160463" eaLnBrk="0" hangingPunct="0">
              <a:defRPr sz="1600" b="1">
                <a:solidFill>
                  <a:schemeClr val="tx1"/>
                </a:solidFill>
                <a:latin typeface="Arial" charset="0"/>
                <a:ea typeface="宋体" pitchFamily="2" charset="-122"/>
              </a:defRPr>
            </a:lvl2pPr>
            <a:lvl3pPr marL="1143000" indent="-228600" defTabSz="1160463" eaLnBrk="0" hangingPunct="0">
              <a:defRPr sz="1600" b="1">
                <a:solidFill>
                  <a:schemeClr val="tx1"/>
                </a:solidFill>
                <a:latin typeface="Arial" charset="0"/>
                <a:ea typeface="宋体" pitchFamily="2" charset="-122"/>
              </a:defRPr>
            </a:lvl3pPr>
            <a:lvl4pPr marL="1600200" indent="-228600" defTabSz="1160463" eaLnBrk="0" hangingPunct="0">
              <a:defRPr sz="1600" b="1">
                <a:solidFill>
                  <a:schemeClr val="tx1"/>
                </a:solidFill>
                <a:latin typeface="Arial" charset="0"/>
                <a:ea typeface="宋体" pitchFamily="2" charset="-122"/>
              </a:defRPr>
            </a:lvl4pPr>
            <a:lvl5pPr marL="2057400" indent="-228600" defTabSz="1160463" eaLnBrk="0" hangingPunct="0">
              <a:defRPr sz="1600" b="1">
                <a:solidFill>
                  <a:schemeClr val="tx1"/>
                </a:solidFill>
                <a:latin typeface="Arial" charset="0"/>
                <a:ea typeface="宋体" pitchFamily="2" charset="-122"/>
              </a:defRPr>
            </a:lvl5pPr>
            <a:lvl6pPr marL="2514600" indent="-228600" defTabSz="1160463" eaLnBrk="0" fontAlgn="base" hangingPunct="0">
              <a:spcBef>
                <a:spcPct val="0"/>
              </a:spcBef>
              <a:spcAft>
                <a:spcPct val="0"/>
              </a:spcAft>
              <a:defRPr sz="1600" b="1">
                <a:solidFill>
                  <a:schemeClr val="tx1"/>
                </a:solidFill>
                <a:latin typeface="Arial" charset="0"/>
                <a:ea typeface="宋体" pitchFamily="2" charset="-122"/>
              </a:defRPr>
            </a:lvl6pPr>
            <a:lvl7pPr marL="2971800" indent="-228600" defTabSz="1160463" eaLnBrk="0" fontAlgn="base" hangingPunct="0">
              <a:spcBef>
                <a:spcPct val="0"/>
              </a:spcBef>
              <a:spcAft>
                <a:spcPct val="0"/>
              </a:spcAft>
              <a:defRPr sz="1600" b="1">
                <a:solidFill>
                  <a:schemeClr val="tx1"/>
                </a:solidFill>
                <a:latin typeface="Arial" charset="0"/>
                <a:ea typeface="宋体" pitchFamily="2" charset="-122"/>
              </a:defRPr>
            </a:lvl7pPr>
            <a:lvl8pPr marL="3429000" indent="-228600" defTabSz="1160463" eaLnBrk="0" fontAlgn="base" hangingPunct="0">
              <a:spcBef>
                <a:spcPct val="0"/>
              </a:spcBef>
              <a:spcAft>
                <a:spcPct val="0"/>
              </a:spcAft>
              <a:defRPr sz="1600" b="1">
                <a:solidFill>
                  <a:schemeClr val="tx1"/>
                </a:solidFill>
                <a:latin typeface="Arial" charset="0"/>
                <a:ea typeface="宋体" pitchFamily="2" charset="-122"/>
              </a:defRPr>
            </a:lvl8pPr>
            <a:lvl9pPr marL="3886200" indent="-228600" defTabSz="1160463" eaLnBrk="0" fontAlgn="base" hangingPunct="0">
              <a:spcBef>
                <a:spcPct val="0"/>
              </a:spcBef>
              <a:spcAft>
                <a:spcPct val="0"/>
              </a:spcAft>
              <a:defRPr sz="1600" b="1">
                <a:solidFill>
                  <a:schemeClr val="tx1"/>
                </a:solidFill>
                <a:latin typeface="Arial" charset="0"/>
                <a:ea typeface="宋体" pitchFamily="2" charset="-122"/>
              </a:defRPr>
            </a:lvl9pPr>
          </a:lstStyle>
          <a:p>
            <a:pPr eaLnBrk="1" hangingPunct="1">
              <a:lnSpc>
                <a:spcPct val="90000"/>
              </a:lnSpc>
            </a:pPr>
            <a:r>
              <a:rPr lang="en-US" altLang="zh-CN" sz="6800" b="0">
                <a:solidFill>
                  <a:schemeClr val="tx2"/>
                </a:solidFill>
              </a:rPr>
              <a:t>Thank You!</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微软雅黑" pitchFamily="34" charset="-122"/>
                <a:ea typeface="微软雅黑" pitchFamily="34" charset="-122"/>
              </a:rPr>
              <a:t> </a:t>
            </a:r>
            <a:endParaRPr lang="en-US" dirty="0">
              <a:latin typeface="微软雅黑" pitchFamily="34" charset="-122"/>
              <a:ea typeface="微软雅黑" pitchFamily="34" charset="-122"/>
            </a:endParaRPr>
          </a:p>
        </p:txBody>
      </p:sp>
      <p:pic>
        <p:nvPicPr>
          <p:cNvPr id="14338" name="Picture 2"/>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0"/>
            <a:ext cx="12981910" cy="7315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631177" y="6768075"/>
            <a:ext cx="11377536" cy="325120"/>
          </a:xfrm>
          <a:prstGeom prst="rect">
            <a:avLst/>
          </a:prstGeom>
          <a:noFill/>
        </p:spPr>
        <p:txBody>
          <a:bodyPr wrap="square" lIns="129909" tIns="64954" rIns="129909" bIns="64954" rtlCol="0">
            <a:noAutofit/>
          </a:bodyPr>
          <a:lstStyle/>
          <a:p>
            <a:pPr defTabSz="649544" fontAlgn="auto">
              <a:spcBef>
                <a:spcPts val="0"/>
              </a:spcBef>
              <a:spcAft>
                <a:spcPts val="0"/>
              </a:spcAft>
              <a:defRPr/>
            </a:pPr>
            <a:r>
              <a:rPr lang="en-US" sz="1000" b="0" dirty="0">
                <a:solidFill>
                  <a:srgbClr val="B9B8BB"/>
                </a:solidFill>
                <a:latin typeface="微软雅黑" pitchFamily="34" charset="-122"/>
                <a:ea typeface="微软雅黑" pitchFamily="34" charset="-122"/>
                <a:cs typeface="HP Simplified"/>
              </a:rPr>
              <a:t>© Copyright 2014 Hewlett-Packard Development Company, L.P.  The information contained herein is subject to change without notice.</a:t>
            </a:r>
          </a:p>
        </p:txBody>
      </p:sp>
    </p:spTree>
    <p:extLst>
      <p:ext uri="{BB962C8B-B14F-4D97-AF65-F5344CB8AC3E}">
        <p14:creationId xmlns:p14="http://schemas.microsoft.com/office/powerpoint/2010/main" val="901669763"/>
      </p:ext>
    </p:extLst>
  </p:cSld>
  <p:clrMapOvr>
    <a:masterClrMapping/>
  </p:clrMapOvr>
  <p:transition spd="slow">
    <p:randomBar dir="vert"/>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16386" name="Picture 2"/>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1846" y="1"/>
            <a:ext cx="13036009" cy="73151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631177" y="6768075"/>
            <a:ext cx="11377536" cy="325120"/>
          </a:xfrm>
          <a:prstGeom prst="rect">
            <a:avLst/>
          </a:prstGeom>
          <a:noFill/>
        </p:spPr>
        <p:txBody>
          <a:bodyPr wrap="square" lIns="129909" tIns="64954" rIns="129909" bIns="64954" rtlCol="0">
            <a:noAutofit/>
          </a:bodyPr>
          <a:lstStyle/>
          <a:p>
            <a:pPr defTabSz="649544" fontAlgn="auto">
              <a:spcBef>
                <a:spcPts val="0"/>
              </a:spcBef>
              <a:spcAft>
                <a:spcPts val="0"/>
              </a:spcAft>
              <a:defRPr/>
            </a:pPr>
            <a:r>
              <a:rPr lang="en-US" sz="1000" b="0" dirty="0">
                <a:solidFill>
                  <a:srgbClr val="B9B8BB"/>
                </a:solidFill>
                <a:latin typeface="HP Simplified"/>
                <a:cs typeface="HP Simplified"/>
              </a:rPr>
              <a:t>© Copyright 2014 Hewlett-Packard Development Company, L.P.  The information contained herein is subject to change without notice.</a:t>
            </a:r>
          </a:p>
        </p:txBody>
      </p:sp>
    </p:spTree>
    <p:extLst>
      <p:ext uri="{BB962C8B-B14F-4D97-AF65-F5344CB8AC3E}">
        <p14:creationId xmlns:p14="http://schemas.microsoft.com/office/powerpoint/2010/main" val="4254622781"/>
      </p:ext>
    </p:extLst>
  </p:cSld>
  <p:clrMapOvr>
    <a:masterClrMapping/>
  </p:clrMapOvr>
  <p:transition spd="slow">
    <p:randomBar dir="vert"/>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17410" name="Picture 2"/>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0" y="0"/>
            <a:ext cx="12984163" cy="7315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631177" y="6768075"/>
            <a:ext cx="11377536" cy="325120"/>
          </a:xfrm>
          <a:prstGeom prst="rect">
            <a:avLst/>
          </a:prstGeom>
          <a:noFill/>
        </p:spPr>
        <p:txBody>
          <a:bodyPr wrap="square" lIns="129909" tIns="64954" rIns="129909" bIns="64954" rtlCol="0">
            <a:noAutofit/>
          </a:bodyPr>
          <a:lstStyle/>
          <a:p>
            <a:pPr defTabSz="649544" fontAlgn="auto">
              <a:spcBef>
                <a:spcPts val="0"/>
              </a:spcBef>
              <a:spcAft>
                <a:spcPts val="0"/>
              </a:spcAft>
              <a:defRPr/>
            </a:pPr>
            <a:r>
              <a:rPr lang="en-US" sz="1000" b="0" dirty="0">
                <a:solidFill>
                  <a:srgbClr val="B9B8BB"/>
                </a:solidFill>
                <a:latin typeface="HP Simplified"/>
                <a:cs typeface="HP Simplified"/>
              </a:rPr>
              <a:t>© Copyright 2014 Hewlett-Packard Development Company, L.P.  The information contained herein is subject to change without notice.</a:t>
            </a:r>
          </a:p>
        </p:txBody>
      </p:sp>
    </p:spTree>
    <p:extLst>
      <p:ext uri="{BB962C8B-B14F-4D97-AF65-F5344CB8AC3E}">
        <p14:creationId xmlns:p14="http://schemas.microsoft.com/office/powerpoint/2010/main" val="1097407815"/>
      </p:ext>
    </p:extLst>
  </p:cSld>
  <p:clrMapOvr>
    <a:masterClrMapping/>
  </p:clrMapOvr>
  <p:transition spd="slow">
    <p:randomBar dir="vert"/>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HP_White_RGB_150_SM.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2077109" y="6450381"/>
            <a:ext cx="519332" cy="520158"/>
          </a:xfrm>
          <a:prstGeom prst="rect">
            <a:avLst/>
          </a:prstGeom>
        </p:spPr>
      </p:pic>
      <p:pic>
        <p:nvPicPr>
          <p:cNvPr id="5" name="Picture 4"/>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 y="0"/>
            <a:ext cx="12984162" cy="7315200"/>
          </a:xfrm>
          <a:prstGeom prst="rect">
            <a:avLst/>
          </a:prstGeom>
        </p:spPr>
      </p:pic>
      <p:sp>
        <p:nvSpPr>
          <p:cNvPr id="3" name="TextBox 2"/>
          <p:cNvSpPr txBox="1"/>
          <p:nvPr/>
        </p:nvSpPr>
        <p:spPr>
          <a:xfrm>
            <a:off x="9968543" y="238421"/>
            <a:ext cx="3015620" cy="1517453"/>
          </a:xfrm>
          <a:prstGeom prst="rect">
            <a:avLst/>
          </a:prstGeom>
          <a:noFill/>
        </p:spPr>
        <p:txBody>
          <a:bodyPr wrap="square" lIns="129909" tIns="64954" rIns="129909" bIns="64954" rtlCol="0">
            <a:spAutoFit/>
          </a:bodyPr>
          <a:lstStyle/>
          <a:p>
            <a:pPr defTabSz="611204">
              <a:spcAft>
                <a:spcPts val="568"/>
              </a:spcAft>
              <a:buSzPct val="100000"/>
            </a:pPr>
            <a:r>
              <a:rPr lang="en-US" sz="2800" dirty="0">
                <a:solidFill>
                  <a:schemeClr val="bg1"/>
                </a:solidFill>
                <a:latin typeface="微软雅黑" pitchFamily="34" charset="-122"/>
                <a:ea typeface="微软雅黑" pitchFamily="34" charset="-122"/>
              </a:rPr>
              <a:t>“</a:t>
            </a:r>
            <a:r>
              <a:rPr lang="zh-CN" altLang="en-US" sz="2800" dirty="0">
                <a:solidFill>
                  <a:schemeClr val="bg1"/>
                </a:solidFill>
                <a:latin typeface="微软雅黑" pitchFamily="34" charset="-122"/>
                <a:ea typeface="微软雅黑" pitchFamily="34" charset="-122"/>
              </a:rPr>
              <a:t>知己知彼，百战百胜</a:t>
            </a:r>
            <a:endParaRPr lang="en-US" sz="2800" dirty="0">
              <a:solidFill>
                <a:schemeClr val="bg1"/>
              </a:solidFill>
              <a:latin typeface="微软雅黑" pitchFamily="34" charset="-122"/>
              <a:ea typeface="微软雅黑" pitchFamily="34" charset="-122"/>
            </a:endParaRPr>
          </a:p>
          <a:p>
            <a:pPr defTabSz="611204">
              <a:spcAft>
                <a:spcPts val="568"/>
              </a:spcAft>
              <a:buSzPct val="100000"/>
            </a:pPr>
            <a:r>
              <a:rPr lang="en-US" sz="2800" dirty="0">
                <a:solidFill>
                  <a:schemeClr val="bg1"/>
                </a:solidFill>
                <a:latin typeface="微软雅黑" pitchFamily="34" charset="-122"/>
                <a:ea typeface="微软雅黑" pitchFamily="34" charset="-122"/>
              </a:rPr>
              <a:t>               - </a:t>
            </a:r>
            <a:r>
              <a:rPr lang="zh-CN" altLang="en-US" sz="2800" dirty="0">
                <a:solidFill>
                  <a:schemeClr val="bg1"/>
                </a:solidFill>
                <a:latin typeface="微软雅黑" pitchFamily="34" charset="-122"/>
                <a:ea typeface="微软雅黑" pitchFamily="34" charset="-122"/>
              </a:rPr>
              <a:t>孙子</a:t>
            </a:r>
            <a:r>
              <a:rPr lang="en-US" sz="2800" dirty="0">
                <a:solidFill>
                  <a:schemeClr val="bg1"/>
                </a:solidFill>
                <a:latin typeface="微软雅黑" pitchFamily="34" charset="-122"/>
                <a:ea typeface="微软雅黑" pitchFamily="34" charset="-122"/>
              </a:rPr>
              <a:t> </a:t>
            </a:r>
            <a:endParaRPr lang="en-US" sz="2800" dirty="0">
              <a:solidFill>
                <a:schemeClr val="bg1"/>
              </a:solidFill>
              <a:latin typeface="微软雅黑" pitchFamily="34" charset="-122"/>
              <a:ea typeface="微软雅黑" pitchFamily="34" charset="-122"/>
              <a:cs typeface="HP Simplified" pitchFamily="34" charset="0"/>
            </a:endParaRPr>
          </a:p>
        </p:txBody>
      </p:sp>
    </p:spTree>
    <p:extLst>
      <p:ext uri="{BB962C8B-B14F-4D97-AF65-F5344CB8AC3E}">
        <p14:creationId xmlns:p14="http://schemas.microsoft.com/office/powerpoint/2010/main" val="2694174698"/>
      </p:ext>
    </p:extLst>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p:cNvSpPr>
            <a:spLocks noGrp="1"/>
          </p:cNvSpPr>
          <p:nvPr>
            <p:ph type="title"/>
          </p:nvPr>
        </p:nvSpPr>
        <p:spPr>
          <a:xfrm>
            <a:off x="467430" y="334314"/>
            <a:ext cx="11526151" cy="612817"/>
          </a:xfrm>
        </p:spPr>
        <p:txBody>
          <a:bodyPr/>
          <a:lstStyle/>
          <a:p>
            <a:r>
              <a:rPr lang="zh-CN" altLang="en-US" dirty="0" smtClean="0"/>
              <a:t>现实的挑战</a:t>
            </a:r>
            <a:endParaRPr lang="en-US" dirty="0"/>
          </a:p>
        </p:txBody>
      </p:sp>
      <p:pic>
        <p:nvPicPr>
          <p:cNvPr id="45058" name="Picture 2" descr="http://catholiclane.com/wp-content/uploads/wolf-in-sheeps-clothing.jp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848643" y="1027379"/>
            <a:ext cx="7019563" cy="5256108"/>
          </a:xfrm>
          <a:prstGeom prst="rect">
            <a:avLst/>
          </a:prstGeom>
          <a:noFill/>
          <a:extLst>
            <a:ext uri="{909E8E84-426E-40DD-AFC4-6F175D3DCCD1}">
              <a14:hiddenFill xmlns:a14="http://schemas.microsoft.com/office/drawing/2010/main">
                <a:solidFill>
                  <a:srgbClr val="FFFFFF"/>
                </a:solidFill>
              </a14:hiddenFill>
            </a:ext>
          </a:extLst>
        </p:spPr>
      </p:pic>
      <p:sp>
        <p:nvSpPr>
          <p:cNvPr id="2" name="Oval 1"/>
          <p:cNvSpPr/>
          <p:nvPr/>
        </p:nvSpPr>
        <p:spPr>
          <a:xfrm>
            <a:off x="6046200" y="2665984"/>
            <a:ext cx="2650933" cy="1853184"/>
          </a:xfrm>
          <a:prstGeom prst="ellipse">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lIns="129909" tIns="64954" rIns="129909" bIns="64954" rtlCol="0" anchor="ctr"/>
          <a:lstStyle/>
          <a:p>
            <a:pPr algn="ctr"/>
            <a:endParaRPr lang="en-US"/>
          </a:p>
        </p:txBody>
      </p:sp>
    </p:spTree>
    <p:extLst>
      <p:ext uri="{BB962C8B-B14F-4D97-AF65-F5344CB8AC3E}">
        <p14:creationId xmlns:p14="http://schemas.microsoft.com/office/powerpoint/2010/main" val="2956296368"/>
      </p:ext>
    </p:extLst>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147676309_EggVice.jpg"/>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0" y="0"/>
            <a:ext cx="12975146" cy="7315200"/>
          </a:xfrm>
          <a:prstGeom prst="rect">
            <a:avLst/>
          </a:prstGeom>
        </p:spPr>
      </p:pic>
      <p:graphicFrame>
        <p:nvGraphicFramePr>
          <p:cNvPr id="14" name="Object 13" hidden="1"/>
          <p:cNvGraphicFramePr>
            <a:graphicFrameLocks noChangeAspect="1"/>
          </p:cNvGraphicFramePr>
          <p:nvPr>
            <p:custDataLst>
              <p:tags r:id="rId2"/>
            </p:custDataLst>
            <p:extLst/>
          </p:nvPr>
        </p:nvGraphicFramePr>
        <p:xfrm>
          <a:off x="2256" y="2259"/>
          <a:ext cx="2253" cy="2257"/>
        </p:xfrm>
        <a:graphic>
          <a:graphicData uri="http://schemas.openxmlformats.org/presentationml/2006/ole">
            <mc:AlternateContent xmlns:mc="http://schemas.openxmlformats.org/markup-compatibility/2006">
              <mc:Choice xmlns:v="urn:schemas-microsoft-com:vml" Requires="v">
                <p:oleObj spid="_x0000_s103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2256" y="2259"/>
                        <a:ext cx="2253" cy="2257"/>
                      </a:xfrm>
                      <a:prstGeom prst="rect">
                        <a:avLst/>
                      </a:prstGeom>
                    </p:spPr>
                  </p:pic>
                </p:oleObj>
              </mc:Fallback>
            </mc:AlternateContent>
          </a:graphicData>
        </a:graphic>
      </p:graphicFrame>
      <p:sp>
        <p:nvSpPr>
          <p:cNvPr id="2" name="Title 1"/>
          <p:cNvSpPr>
            <a:spLocks noGrp="1"/>
          </p:cNvSpPr>
          <p:nvPr>
            <p:ph type="title"/>
          </p:nvPr>
        </p:nvSpPr>
        <p:spPr/>
        <p:txBody>
          <a:bodyPr/>
          <a:lstStyle/>
          <a:p>
            <a:r>
              <a:rPr lang="zh-CN" altLang="en-US" dirty="0">
                <a:solidFill>
                  <a:schemeClr val="bg1"/>
                </a:solidFill>
                <a:latin typeface="微软雅黑" pitchFamily="34" charset="-122"/>
                <a:ea typeface="微软雅黑" pitchFamily="34" charset="-122"/>
              </a:rPr>
              <a:t>对</a:t>
            </a:r>
            <a:r>
              <a:rPr lang="zh-CN" altLang="en-US" dirty="0" smtClean="0">
                <a:solidFill>
                  <a:schemeClr val="bg1"/>
                </a:solidFill>
                <a:latin typeface="微软雅黑" pitchFamily="34" charset="-122"/>
                <a:ea typeface="微软雅黑" pitchFamily="34" charset="-122"/>
              </a:rPr>
              <a:t>于安全</a:t>
            </a:r>
            <a:r>
              <a:rPr lang="zh-CN" altLang="en-US" dirty="0">
                <a:solidFill>
                  <a:schemeClr val="bg1"/>
                </a:solidFill>
                <a:latin typeface="微软雅黑" pitchFamily="34" charset="-122"/>
                <a:ea typeface="微软雅黑" pitchFamily="34" charset="-122"/>
              </a:rPr>
              <a:t>人员</a:t>
            </a:r>
            <a:r>
              <a:rPr lang="zh-CN" altLang="en-US" dirty="0" smtClean="0">
                <a:solidFill>
                  <a:schemeClr val="bg1"/>
                </a:solidFill>
                <a:latin typeface="微软雅黑" pitchFamily="34" charset="-122"/>
                <a:ea typeface="微软雅黑" pitchFamily="34" charset="-122"/>
              </a:rPr>
              <a:t>，压力来自于各个方面</a:t>
            </a:r>
            <a:endParaRPr lang="en-US" dirty="0">
              <a:solidFill>
                <a:schemeClr val="bg1"/>
              </a:solidFill>
              <a:latin typeface="微软雅黑" pitchFamily="34" charset="-122"/>
              <a:ea typeface="微软雅黑" pitchFamily="34" charset="-122"/>
            </a:endParaRPr>
          </a:p>
        </p:txBody>
      </p:sp>
      <p:pic>
        <p:nvPicPr>
          <p:cNvPr id="9" name="Picture 8" descr="HP_White_RGB_150_SM.png"/>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2077109" y="6450381"/>
            <a:ext cx="519332" cy="520158"/>
          </a:xfrm>
          <a:prstGeom prst="rect">
            <a:avLst/>
          </a:prstGeom>
        </p:spPr>
      </p:pic>
    </p:spTree>
    <p:extLst>
      <p:ext uri="{BB962C8B-B14F-4D97-AF65-F5344CB8AC3E}">
        <p14:creationId xmlns:p14="http://schemas.microsoft.com/office/powerpoint/2010/main" val="1892328591"/>
      </p:ext>
    </p:extLst>
  </p:cSld>
  <p:clrMapOvr>
    <a:masterClrMapping/>
  </p:clrMapOvr>
  <p:transition spd="slow">
    <p:randomBar dir="vert"/>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214550" y="4867914"/>
            <a:ext cx="2430485" cy="787908"/>
          </a:xfrm>
        </p:spPr>
        <p:txBody>
          <a:bodyPr wrap="square" anchor="t">
            <a:spAutoFit/>
          </a:bodyPr>
          <a:lstStyle/>
          <a:p>
            <a:pPr algn="ctr"/>
            <a:r>
              <a:rPr lang="zh-CN" altLang="en-US" dirty="0">
                <a:latin typeface="微软雅黑" pitchFamily="34" charset="-122"/>
                <a:ea typeface="微软雅黑" pitchFamily="34" charset="-122"/>
              </a:rPr>
              <a:t>云</a:t>
            </a:r>
            <a:endParaRPr lang="en-US" dirty="0">
              <a:latin typeface="微软雅黑" pitchFamily="34" charset="-122"/>
              <a:ea typeface="微软雅黑" pitchFamily="34" charset="-122"/>
            </a:endParaRPr>
          </a:p>
        </p:txBody>
      </p:sp>
      <p:sp>
        <p:nvSpPr>
          <p:cNvPr id="4" name="Title 1"/>
          <p:cNvSpPr txBox="1">
            <a:spLocks/>
          </p:cNvSpPr>
          <p:nvPr/>
        </p:nvSpPr>
        <p:spPr bwMode="black">
          <a:xfrm>
            <a:off x="4740576" y="4855329"/>
            <a:ext cx="3350678" cy="789447"/>
          </a:xfrm>
          <a:prstGeom prst="rect">
            <a:avLst/>
          </a:prstGeom>
          <a:ln>
            <a:noFill/>
          </a:ln>
        </p:spPr>
        <p:txBody>
          <a:bodyPr vert="horz" wrap="square" lIns="0" tIns="0" rIns="0" bIns="0" rtlCol="0" anchor="t" anchorCtr="0">
            <a:spAutoFit/>
          </a:bodyPr>
          <a:lstStyle>
            <a:lvl1pPr algn="l" defTabSz="457200" rtl="0" eaLnBrk="1" latinLnBrk="0" hangingPunct="1">
              <a:lnSpc>
                <a:spcPct val="90000"/>
              </a:lnSpc>
              <a:spcBef>
                <a:spcPct val="0"/>
              </a:spcBef>
              <a:spcAft>
                <a:spcPts val="0"/>
              </a:spcAft>
              <a:buNone/>
              <a:defRPr lang="en-US" sz="4000" b="1" i="0" kern="1200" spc="-100" noProof="0" dirty="0">
                <a:solidFill>
                  <a:schemeClr val="bg1"/>
                </a:solidFill>
                <a:latin typeface="HP Simplified" pitchFamily="34" charset="0"/>
                <a:ea typeface="+mj-ea"/>
                <a:cs typeface="HP Simplified" pitchFamily="34" charset="0"/>
              </a:defRPr>
            </a:lvl1pPr>
          </a:lstStyle>
          <a:p>
            <a:pPr algn="ctr"/>
            <a:r>
              <a:rPr lang="zh-CN" altLang="en-US" sz="5700" dirty="0" smtClean="0">
                <a:latin typeface="微软雅黑" pitchFamily="34" charset="-122"/>
                <a:ea typeface="微软雅黑" pitchFamily="34" charset="-122"/>
              </a:rPr>
              <a:t>大数据</a:t>
            </a:r>
            <a:endParaRPr lang="en-US" sz="5700" dirty="0">
              <a:latin typeface="微软雅黑" pitchFamily="34" charset="-122"/>
              <a:ea typeface="微软雅黑" pitchFamily="34" charset="-122"/>
            </a:endParaRPr>
          </a:p>
        </p:txBody>
      </p:sp>
      <p:sp>
        <p:nvSpPr>
          <p:cNvPr id="6" name="Rectangle 5"/>
          <p:cNvSpPr/>
          <p:nvPr/>
        </p:nvSpPr>
        <p:spPr>
          <a:xfrm>
            <a:off x="8947416" y="4657716"/>
            <a:ext cx="3740598" cy="1006771"/>
          </a:xfrm>
          <a:prstGeom prst="rect">
            <a:avLst/>
          </a:prstGeom>
        </p:spPr>
        <p:txBody>
          <a:bodyPr wrap="square" lIns="129909" tIns="64954" rIns="129909" bIns="64954" anchor="t">
            <a:spAutoFit/>
          </a:bodyPr>
          <a:lstStyle/>
          <a:p>
            <a:r>
              <a:rPr lang="zh-CN" altLang="en-US" sz="5700" spc="-142" dirty="0">
                <a:solidFill>
                  <a:prstClr val="white"/>
                </a:solidFill>
                <a:latin typeface="微软雅黑" pitchFamily="34" charset="-122"/>
                <a:ea typeface="微软雅黑" pitchFamily="34" charset="-122"/>
              </a:rPr>
              <a:t>移动计算</a:t>
            </a:r>
            <a:endParaRPr lang="en-US" dirty="0">
              <a:latin typeface="微软雅黑" pitchFamily="34" charset="-122"/>
              <a:ea typeface="微软雅黑" pitchFamily="34" charset="-122"/>
            </a:endParaRPr>
          </a:p>
        </p:txBody>
      </p:sp>
      <p:sp>
        <p:nvSpPr>
          <p:cNvPr id="5" name="Freeform 137"/>
          <p:cNvSpPr>
            <a:spLocks/>
          </p:cNvSpPr>
          <p:nvPr/>
        </p:nvSpPr>
        <p:spPr bwMode="auto">
          <a:xfrm>
            <a:off x="885845" y="2967081"/>
            <a:ext cx="2993626" cy="1611241"/>
          </a:xfrm>
          <a:custGeom>
            <a:avLst/>
            <a:gdLst>
              <a:gd name="T0" fmla="*/ 414 w 446"/>
              <a:gd name="T1" fmla="*/ 158 h 240"/>
              <a:gd name="T2" fmla="*/ 394 w 446"/>
              <a:gd name="T3" fmla="*/ 155 h 240"/>
              <a:gd name="T4" fmla="*/ 348 w 446"/>
              <a:gd name="T5" fmla="*/ 91 h 240"/>
              <a:gd name="T6" fmla="*/ 285 w 446"/>
              <a:gd name="T7" fmla="*/ 92 h 240"/>
              <a:gd name="T8" fmla="*/ 228 w 446"/>
              <a:gd name="T9" fmla="*/ 22 h 240"/>
              <a:gd name="T10" fmla="*/ 98 w 446"/>
              <a:gd name="T11" fmla="*/ 73 h 240"/>
              <a:gd name="T12" fmla="*/ 91 w 446"/>
              <a:gd name="T13" fmla="*/ 98 h 240"/>
              <a:gd name="T14" fmla="*/ 16 w 446"/>
              <a:gd name="T15" fmla="*/ 140 h 240"/>
              <a:gd name="T16" fmla="*/ 53 w 446"/>
              <a:gd name="T17" fmla="*/ 234 h 240"/>
              <a:gd name="T18" fmla="*/ 81 w 446"/>
              <a:gd name="T19" fmla="*/ 240 h 240"/>
              <a:gd name="T20" fmla="*/ 402 w 446"/>
              <a:gd name="T21" fmla="*/ 240 h 240"/>
              <a:gd name="T22" fmla="*/ 436 w 446"/>
              <a:gd name="T23" fmla="*/ 214 h 240"/>
              <a:gd name="T24" fmla="*/ 414 w 446"/>
              <a:gd name="T25" fmla="*/ 15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6" h="240">
                <a:moveTo>
                  <a:pt x="414" y="158"/>
                </a:moveTo>
                <a:cubicBezTo>
                  <a:pt x="408" y="155"/>
                  <a:pt x="401" y="154"/>
                  <a:pt x="394" y="155"/>
                </a:cubicBezTo>
                <a:cubicBezTo>
                  <a:pt x="392" y="128"/>
                  <a:pt x="375" y="103"/>
                  <a:pt x="348" y="91"/>
                </a:cubicBezTo>
                <a:cubicBezTo>
                  <a:pt x="327" y="82"/>
                  <a:pt x="304" y="83"/>
                  <a:pt x="285" y="92"/>
                </a:cubicBezTo>
                <a:cubicBezTo>
                  <a:pt x="278" y="61"/>
                  <a:pt x="258" y="35"/>
                  <a:pt x="228" y="22"/>
                </a:cubicBezTo>
                <a:cubicBezTo>
                  <a:pt x="178" y="0"/>
                  <a:pt x="120" y="23"/>
                  <a:pt x="98" y="73"/>
                </a:cubicBezTo>
                <a:cubicBezTo>
                  <a:pt x="94" y="81"/>
                  <a:pt x="92" y="89"/>
                  <a:pt x="91" y="98"/>
                </a:cubicBezTo>
                <a:cubicBezTo>
                  <a:pt x="60" y="94"/>
                  <a:pt x="29" y="110"/>
                  <a:pt x="16" y="140"/>
                </a:cubicBezTo>
                <a:cubicBezTo>
                  <a:pt x="0" y="176"/>
                  <a:pt x="17" y="218"/>
                  <a:pt x="53" y="234"/>
                </a:cubicBezTo>
                <a:cubicBezTo>
                  <a:pt x="62" y="238"/>
                  <a:pt x="72" y="240"/>
                  <a:pt x="81" y="240"/>
                </a:cubicBezTo>
                <a:cubicBezTo>
                  <a:pt x="402" y="240"/>
                  <a:pt x="402" y="240"/>
                  <a:pt x="402" y="240"/>
                </a:cubicBezTo>
                <a:cubicBezTo>
                  <a:pt x="417" y="238"/>
                  <a:pt x="430" y="228"/>
                  <a:pt x="436" y="214"/>
                </a:cubicBezTo>
                <a:cubicBezTo>
                  <a:pt x="446" y="192"/>
                  <a:pt x="436" y="167"/>
                  <a:pt x="414" y="158"/>
                </a:cubicBezTo>
              </a:path>
            </a:pathLst>
          </a:custGeom>
          <a:solidFill>
            <a:srgbClr val="FFFFFF"/>
          </a:solidFill>
          <a:ln>
            <a:noFill/>
          </a:ln>
        </p:spPr>
        <p:txBody>
          <a:bodyPr vert="horz" wrap="square" lIns="129909" tIns="64954" rIns="129909" bIns="64954" numCol="1" anchor="t" anchorCtr="0" compatLnSpc="1">
            <a:prstTxWarp prst="textNoShape">
              <a:avLst/>
            </a:prstTxWarp>
          </a:bodyPr>
          <a:lstStyle/>
          <a:p>
            <a:endParaRPr lang="en-US">
              <a:latin typeface="微软雅黑" pitchFamily="34" charset="-122"/>
              <a:ea typeface="微软雅黑" pitchFamily="34" charset="-122"/>
            </a:endParaRPr>
          </a:p>
        </p:txBody>
      </p:sp>
      <p:grpSp>
        <p:nvGrpSpPr>
          <p:cNvPr id="7" name="Group 6"/>
          <p:cNvGrpSpPr/>
          <p:nvPr/>
        </p:nvGrpSpPr>
        <p:grpSpPr>
          <a:xfrm>
            <a:off x="5079017" y="2447600"/>
            <a:ext cx="2095860" cy="2130722"/>
            <a:chOff x="3832225" y="1820863"/>
            <a:chExt cx="1479551" cy="1501775"/>
          </a:xfrm>
          <a:solidFill>
            <a:srgbClr val="FFFFFF"/>
          </a:solidFill>
        </p:grpSpPr>
        <p:sp>
          <p:nvSpPr>
            <p:cNvPr id="8" name="Freeform 7"/>
            <p:cNvSpPr>
              <a:spLocks/>
            </p:cNvSpPr>
            <p:nvPr/>
          </p:nvSpPr>
          <p:spPr bwMode="auto">
            <a:xfrm>
              <a:off x="4344988" y="1835150"/>
              <a:ext cx="593725" cy="630238"/>
            </a:xfrm>
            <a:custGeom>
              <a:avLst/>
              <a:gdLst>
                <a:gd name="T0" fmla="*/ 62 w 157"/>
                <a:gd name="T1" fmla="*/ 1 h 167"/>
                <a:gd name="T2" fmla="*/ 66 w 157"/>
                <a:gd name="T3" fmla="*/ 7 h 167"/>
                <a:gd name="T4" fmla="*/ 66 w 157"/>
                <a:gd name="T5" fmla="*/ 22 h 167"/>
                <a:gd name="T6" fmla="*/ 129 w 157"/>
                <a:gd name="T7" fmla="*/ 47 h 167"/>
                <a:gd name="T8" fmla="*/ 157 w 157"/>
                <a:gd name="T9" fmla="*/ 116 h 167"/>
                <a:gd name="T10" fmla="*/ 144 w 157"/>
                <a:gd name="T11" fmla="*/ 164 h 167"/>
                <a:gd name="T12" fmla="*/ 138 w 157"/>
                <a:gd name="T13" fmla="*/ 166 h 167"/>
                <a:gd name="T14" fmla="*/ 134 w 157"/>
                <a:gd name="T15" fmla="*/ 160 h 167"/>
                <a:gd name="T16" fmla="*/ 135 w 157"/>
                <a:gd name="T17" fmla="*/ 145 h 167"/>
                <a:gd name="T18" fmla="*/ 66 w 157"/>
                <a:gd name="T19" fmla="*/ 63 h 167"/>
                <a:gd name="T20" fmla="*/ 66 w 157"/>
                <a:gd name="T21" fmla="*/ 77 h 167"/>
                <a:gd name="T22" fmla="*/ 62 w 157"/>
                <a:gd name="T23" fmla="*/ 83 h 167"/>
                <a:gd name="T24" fmla="*/ 55 w 157"/>
                <a:gd name="T25" fmla="*/ 83 h 167"/>
                <a:gd name="T26" fmla="*/ 4 w 157"/>
                <a:gd name="T27" fmla="*/ 48 h 167"/>
                <a:gd name="T28" fmla="*/ 0 w 157"/>
                <a:gd name="T29" fmla="*/ 42 h 167"/>
                <a:gd name="T30" fmla="*/ 4 w 157"/>
                <a:gd name="T31" fmla="*/ 36 h 167"/>
                <a:gd name="T32" fmla="*/ 55 w 157"/>
                <a:gd name="T33" fmla="*/ 1 h 167"/>
                <a:gd name="T34" fmla="*/ 62 w 157"/>
                <a:gd name="T35" fmla="*/ 1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167">
                  <a:moveTo>
                    <a:pt x="62" y="1"/>
                  </a:moveTo>
                  <a:cubicBezTo>
                    <a:pt x="65" y="2"/>
                    <a:pt x="66" y="5"/>
                    <a:pt x="66" y="7"/>
                  </a:cubicBezTo>
                  <a:cubicBezTo>
                    <a:pt x="66" y="22"/>
                    <a:pt x="66" y="22"/>
                    <a:pt x="66" y="22"/>
                  </a:cubicBezTo>
                  <a:cubicBezTo>
                    <a:pt x="91" y="23"/>
                    <a:pt x="113" y="32"/>
                    <a:pt x="129" y="47"/>
                  </a:cubicBezTo>
                  <a:cubicBezTo>
                    <a:pt x="147" y="64"/>
                    <a:pt x="157" y="88"/>
                    <a:pt x="157" y="116"/>
                  </a:cubicBezTo>
                  <a:cubicBezTo>
                    <a:pt x="157" y="133"/>
                    <a:pt x="153" y="150"/>
                    <a:pt x="144" y="164"/>
                  </a:cubicBezTo>
                  <a:cubicBezTo>
                    <a:pt x="143" y="166"/>
                    <a:pt x="140" y="167"/>
                    <a:pt x="138" y="166"/>
                  </a:cubicBezTo>
                  <a:cubicBezTo>
                    <a:pt x="135" y="165"/>
                    <a:pt x="134" y="163"/>
                    <a:pt x="134" y="160"/>
                  </a:cubicBezTo>
                  <a:cubicBezTo>
                    <a:pt x="135" y="155"/>
                    <a:pt x="135" y="150"/>
                    <a:pt x="135" y="145"/>
                  </a:cubicBezTo>
                  <a:cubicBezTo>
                    <a:pt x="135" y="99"/>
                    <a:pt x="105" y="66"/>
                    <a:pt x="66" y="63"/>
                  </a:cubicBezTo>
                  <a:cubicBezTo>
                    <a:pt x="66" y="77"/>
                    <a:pt x="66" y="77"/>
                    <a:pt x="66" y="77"/>
                  </a:cubicBezTo>
                  <a:cubicBezTo>
                    <a:pt x="66" y="79"/>
                    <a:pt x="65" y="82"/>
                    <a:pt x="62" y="83"/>
                  </a:cubicBezTo>
                  <a:cubicBezTo>
                    <a:pt x="60" y="85"/>
                    <a:pt x="57" y="84"/>
                    <a:pt x="55" y="83"/>
                  </a:cubicBezTo>
                  <a:cubicBezTo>
                    <a:pt x="4" y="48"/>
                    <a:pt x="4" y="48"/>
                    <a:pt x="4" y="48"/>
                  </a:cubicBezTo>
                  <a:cubicBezTo>
                    <a:pt x="2" y="47"/>
                    <a:pt x="0" y="44"/>
                    <a:pt x="0" y="42"/>
                  </a:cubicBezTo>
                  <a:cubicBezTo>
                    <a:pt x="0" y="40"/>
                    <a:pt x="2" y="37"/>
                    <a:pt x="4" y="36"/>
                  </a:cubicBezTo>
                  <a:cubicBezTo>
                    <a:pt x="55" y="1"/>
                    <a:pt x="55" y="1"/>
                    <a:pt x="55" y="1"/>
                  </a:cubicBezTo>
                  <a:cubicBezTo>
                    <a:pt x="57" y="0"/>
                    <a:pt x="60" y="0"/>
                    <a:pt x="6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9" name="Freeform 8"/>
            <p:cNvSpPr>
              <a:spLocks noEditPoints="1"/>
            </p:cNvSpPr>
            <p:nvPr/>
          </p:nvSpPr>
          <p:spPr bwMode="auto">
            <a:xfrm>
              <a:off x="4240213" y="2259013"/>
              <a:ext cx="1071563" cy="1063625"/>
            </a:xfrm>
            <a:custGeom>
              <a:avLst/>
              <a:gdLst>
                <a:gd name="T0" fmla="*/ 199 w 284"/>
                <a:gd name="T1" fmla="*/ 27 h 282"/>
                <a:gd name="T2" fmla="*/ 186 w 284"/>
                <a:gd name="T3" fmla="*/ 60 h 282"/>
                <a:gd name="T4" fmla="*/ 168 w 284"/>
                <a:gd name="T5" fmla="*/ 71 h 282"/>
                <a:gd name="T6" fmla="*/ 160 w 284"/>
                <a:gd name="T7" fmla="*/ 69 h 282"/>
                <a:gd name="T8" fmla="*/ 146 w 284"/>
                <a:gd name="T9" fmla="*/ 45 h 282"/>
                <a:gd name="T10" fmla="*/ 147 w 284"/>
                <a:gd name="T11" fmla="*/ 33 h 282"/>
                <a:gd name="T12" fmla="*/ 140 w 284"/>
                <a:gd name="T13" fmla="*/ 0 h 282"/>
                <a:gd name="T14" fmla="*/ 0 w 284"/>
                <a:gd name="T15" fmla="*/ 70 h 282"/>
                <a:gd name="T16" fmla="*/ 0 w 284"/>
                <a:gd name="T17" fmla="*/ 211 h 282"/>
                <a:gd name="T18" fmla="*/ 141 w 284"/>
                <a:gd name="T19" fmla="*/ 282 h 282"/>
                <a:gd name="T20" fmla="*/ 142 w 284"/>
                <a:gd name="T21" fmla="*/ 282 h 282"/>
                <a:gd name="T22" fmla="*/ 142 w 284"/>
                <a:gd name="T23" fmla="*/ 282 h 282"/>
                <a:gd name="T24" fmla="*/ 284 w 284"/>
                <a:gd name="T25" fmla="*/ 211 h 282"/>
                <a:gd name="T26" fmla="*/ 284 w 284"/>
                <a:gd name="T27" fmla="*/ 70 h 282"/>
                <a:gd name="T28" fmla="*/ 284 w 284"/>
                <a:gd name="T29" fmla="*/ 70 h 282"/>
                <a:gd name="T30" fmla="*/ 199 w 284"/>
                <a:gd name="T31" fmla="*/ 27 h 282"/>
                <a:gd name="T32" fmla="*/ 71 w 284"/>
                <a:gd name="T33" fmla="*/ 219 h 282"/>
                <a:gd name="T34" fmla="*/ 25 w 284"/>
                <a:gd name="T35" fmla="*/ 196 h 282"/>
                <a:gd name="T36" fmla="*/ 25 w 284"/>
                <a:gd name="T37" fmla="*/ 152 h 282"/>
                <a:gd name="T38" fmla="*/ 71 w 284"/>
                <a:gd name="T39" fmla="*/ 174 h 282"/>
                <a:gd name="T40" fmla="*/ 71 w 284"/>
                <a:gd name="T41" fmla="*/ 219 h 282"/>
                <a:gd name="T42" fmla="*/ 71 w 284"/>
                <a:gd name="T43" fmla="*/ 156 h 282"/>
                <a:gd name="T44" fmla="*/ 25 w 284"/>
                <a:gd name="T45" fmla="*/ 134 h 282"/>
                <a:gd name="T46" fmla="*/ 25 w 284"/>
                <a:gd name="T47" fmla="*/ 86 h 282"/>
                <a:gd name="T48" fmla="*/ 71 w 284"/>
                <a:gd name="T49" fmla="*/ 107 h 282"/>
                <a:gd name="T50" fmla="*/ 71 w 284"/>
                <a:gd name="T51" fmla="*/ 156 h 282"/>
                <a:gd name="T52" fmla="*/ 142 w 284"/>
                <a:gd name="T53" fmla="*/ 253 h 282"/>
                <a:gd name="T54" fmla="*/ 141 w 284"/>
                <a:gd name="T55" fmla="*/ 254 h 282"/>
                <a:gd name="T56" fmla="*/ 87 w 284"/>
                <a:gd name="T57" fmla="*/ 227 h 282"/>
                <a:gd name="T58" fmla="*/ 87 w 284"/>
                <a:gd name="T59" fmla="*/ 182 h 282"/>
                <a:gd name="T60" fmla="*/ 142 w 284"/>
                <a:gd name="T61" fmla="*/ 208 h 282"/>
                <a:gd name="T62" fmla="*/ 142 w 284"/>
                <a:gd name="T63" fmla="*/ 253 h 282"/>
                <a:gd name="T64" fmla="*/ 196 w 284"/>
                <a:gd name="T65" fmla="*/ 163 h 282"/>
                <a:gd name="T66" fmla="*/ 141 w 284"/>
                <a:gd name="T67" fmla="*/ 137 h 282"/>
                <a:gd name="T68" fmla="*/ 141 w 284"/>
                <a:gd name="T69" fmla="*/ 87 h 282"/>
                <a:gd name="T70" fmla="*/ 196 w 284"/>
                <a:gd name="T71" fmla="*/ 113 h 282"/>
                <a:gd name="T72" fmla="*/ 196 w 284"/>
                <a:gd name="T73" fmla="*/ 163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282">
                  <a:moveTo>
                    <a:pt x="199" y="27"/>
                  </a:moveTo>
                  <a:cubicBezTo>
                    <a:pt x="196" y="39"/>
                    <a:pt x="192" y="50"/>
                    <a:pt x="186" y="60"/>
                  </a:cubicBezTo>
                  <a:cubicBezTo>
                    <a:pt x="182" y="66"/>
                    <a:pt x="175" y="71"/>
                    <a:pt x="168" y="71"/>
                  </a:cubicBezTo>
                  <a:cubicBezTo>
                    <a:pt x="165" y="71"/>
                    <a:pt x="162" y="70"/>
                    <a:pt x="160" y="69"/>
                  </a:cubicBezTo>
                  <a:cubicBezTo>
                    <a:pt x="150" y="66"/>
                    <a:pt x="144" y="55"/>
                    <a:pt x="146" y="45"/>
                  </a:cubicBezTo>
                  <a:cubicBezTo>
                    <a:pt x="147" y="41"/>
                    <a:pt x="147" y="37"/>
                    <a:pt x="147" y="33"/>
                  </a:cubicBezTo>
                  <a:cubicBezTo>
                    <a:pt x="147" y="21"/>
                    <a:pt x="145" y="10"/>
                    <a:pt x="140" y="0"/>
                  </a:cubicBezTo>
                  <a:cubicBezTo>
                    <a:pt x="0" y="70"/>
                    <a:pt x="0" y="70"/>
                    <a:pt x="0" y="70"/>
                  </a:cubicBezTo>
                  <a:cubicBezTo>
                    <a:pt x="0" y="211"/>
                    <a:pt x="0" y="211"/>
                    <a:pt x="0" y="211"/>
                  </a:cubicBezTo>
                  <a:cubicBezTo>
                    <a:pt x="141" y="282"/>
                    <a:pt x="141" y="282"/>
                    <a:pt x="141" y="282"/>
                  </a:cubicBezTo>
                  <a:cubicBezTo>
                    <a:pt x="142" y="282"/>
                    <a:pt x="142" y="282"/>
                    <a:pt x="142" y="282"/>
                  </a:cubicBezTo>
                  <a:cubicBezTo>
                    <a:pt x="142" y="282"/>
                    <a:pt x="142" y="282"/>
                    <a:pt x="142" y="282"/>
                  </a:cubicBezTo>
                  <a:cubicBezTo>
                    <a:pt x="284" y="211"/>
                    <a:pt x="284" y="211"/>
                    <a:pt x="284" y="211"/>
                  </a:cubicBezTo>
                  <a:cubicBezTo>
                    <a:pt x="284" y="70"/>
                    <a:pt x="284" y="70"/>
                    <a:pt x="284" y="70"/>
                  </a:cubicBezTo>
                  <a:cubicBezTo>
                    <a:pt x="284" y="70"/>
                    <a:pt x="284" y="70"/>
                    <a:pt x="284" y="70"/>
                  </a:cubicBezTo>
                  <a:lnTo>
                    <a:pt x="199" y="27"/>
                  </a:lnTo>
                  <a:close/>
                  <a:moveTo>
                    <a:pt x="71" y="219"/>
                  </a:moveTo>
                  <a:cubicBezTo>
                    <a:pt x="25" y="196"/>
                    <a:pt x="25" y="196"/>
                    <a:pt x="25" y="196"/>
                  </a:cubicBezTo>
                  <a:cubicBezTo>
                    <a:pt x="25" y="152"/>
                    <a:pt x="25" y="152"/>
                    <a:pt x="25" y="152"/>
                  </a:cubicBezTo>
                  <a:cubicBezTo>
                    <a:pt x="71" y="174"/>
                    <a:pt x="71" y="174"/>
                    <a:pt x="71" y="174"/>
                  </a:cubicBezTo>
                  <a:lnTo>
                    <a:pt x="71" y="219"/>
                  </a:lnTo>
                  <a:close/>
                  <a:moveTo>
                    <a:pt x="71" y="156"/>
                  </a:moveTo>
                  <a:cubicBezTo>
                    <a:pt x="25" y="134"/>
                    <a:pt x="25" y="134"/>
                    <a:pt x="25" y="134"/>
                  </a:cubicBezTo>
                  <a:cubicBezTo>
                    <a:pt x="25" y="86"/>
                    <a:pt x="25" y="86"/>
                    <a:pt x="25" y="86"/>
                  </a:cubicBezTo>
                  <a:cubicBezTo>
                    <a:pt x="71" y="107"/>
                    <a:pt x="71" y="107"/>
                    <a:pt x="71" y="107"/>
                  </a:cubicBezTo>
                  <a:lnTo>
                    <a:pt x="71" y="156"/>
                  </a:lnTo>
                  <a:close/>
                  <a:moveTo>
                    <a:pt x="142" y="253"/>
                  </a:moveTo>
                  <a:cubicBezTo>
                    <a:pt x="141" y="254"/>
                    <a:pt x="141" y="254"/>
                    <a:pt x="141" y="254"/>
                  </a:cubicBezTo>
                  <a:cubicBezTo>
                    <a:pt x="87" y="227"/>
                    <a:pt x="87" y="227"/>
                    <a:pt x="87" y="227"/>
                  </a:cubicBezTo>
                  <a:cubicBezTo>
                    <a:pt x="87" y="182"/>
                    <a:pt x="87" y="182"/>
                    <a:pt x="87" y="182"/>
                  </a:cubicBezTo>
                  <a:cubicBezTo>
                    <a:pt x="142" y="208"/>
                    <a:pt x="142" y="208"/>
                    <a:pt x="142" y="208"/>
                  </a:cubicBezTo>
                  <a:lnTo>
                    <a:pt x="142" y="253"/>
                  </a:lnTo>
                  <a:close/>
                  <a:moveTo>
                    <a:pt x="196" y="163"/>
                  </a:moveTo>
                  <a:cubicBezTo>
                    <a:pt x="141" y="137"/>
                    <a:pt x="141" y="137"/>
                    <a:pt x="141" y="137"/>
                  </a:cubicBezTo>
                  <a:cubicBezTo>
                    <a:pt x="141" y="87"/>
                    <a:pt x="141" y="87"/>
                    <a:pt x="141" y="87"/>
                  </a:cubicBezTo>
                  <a:cubicBezTo>
                    <a:pt x="196" y="113"/>
                    <a:pt x="196" y="113"/>
                    <a:pt x="196" y="113"/>
                  </a:cubicBezTo>
                  <a:lnTo>
                    <a:pt x="196" y="1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10" name="Freeform 9"/>
            <p:cNvSpPr>
              <a:spLocks noEditPoints="1"/>
            </p:cNvSpPr>
            <p:nvPr/>
          </p:nvSpPr>
          <p:spPr bwMode="auto">
            <a:xfrm>
              <a:off x="3832225" y="1820863"/>
              <a:ext cx="460375" cy="463550"/>
            </a:xfrm>
            <a:custGeom>
              <a:avLst/>
              <a:gdLst>
                <a:gd name="T0" fmla="*/ 147 w 290"/>
                <a:gd name="T1" fmla="*/ 0 h 292"/>
                <a:gd name="T2" fmla="*/ 0 w 290"/>
                <a:gd name="T3" fmla="*/ 74 h 292"/>
                <a:gd name="T4" fmla="*/ 0 w 290"/>
                <a:gd name="T5" fmla="*/ 219 h 292"/>
                <a:gd name="T6" fmla="*/ 145 w 290"/>
                <a:gd name="T7" fmla="*/ 292 h 292"/>
                <a:gd name="T8" fmla="*/ 145 w 290"/>
                <a:gd name="T9" fmla="*/ 292 h 292"/>
                <a:gd name="T10" fmla="*/ 145 w 290"/>
                <a:gd name="T11" fmla="*/ 292 h 292"/>
                <a:gd name="T12" fmla="*/ 290 w 290"/>
                <a:gd name="T13" fmla="*/ 219 h 292"/>
                <a:gd name="T14" fmla="*/ 290 w 290"/>
                <a:gd name="T15" fmla="*/ 74 h 292"/>
                <a:gd name="T16" fmla="*/ 290 w 290"/>
                <a:gd name="T17" fmla="*/ 74 h 292"/>
                <a:gd name="T18" fmla="*/ 147 w 290"/>
                <a:gd name="T19" fmla="*/ 0 h 292"/>
                <a:gd name="T20" fmla="*/ 145 w 290"/>
                <a:gd name="T21" fmla="*/ 145 h 292"/>
                <a:gd name="T22" fmla="*/ 145 w 290"/>
                <a:gd name="T23" fmla="*/ 264 h 292"/>
                <a:gd name="T24" fmla="*/ 145 w 290"/>
                <a:gd name="T25" fmla="*/ 264 h 292"/>
                <a:gd name="T26" fmla="*/ 26 w 290"/>
                <a:gd name="T27" fmla="*/ 202 h 292"/>
                <a:gd name="T28" fmla="*/ 26 w 290"/>
                <a:gd name="T29" fmla="*/ 90 h 292"/>
                <a:gd name="T30" fmla="*/ 145 w 290"/>
                <a:gd name="T31" fmla="*/ 145 h 292"/>
                <a:gd name="T32" fmla="*/ 145 w 290"/>
                <a:gd name="T33" fmla="*/ 145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0" h="292">
                  <a:moveTo>
                    <a:pt x="147" y="0"/>
                  </a:moveTo>
                  <a:lnTo>
                    <a:pt x="0" y="74"/>
                  </a:lnTo>
                  <a:lnTo>
                    <a:pt x="0" y="219"/>
                  </a:lnTo>
                  <a:lnTo>
                    <a:pt x="145" y="292"/>
                  </a:lnTo>
                  <a:lnTo>
                    <a:pt x="145" y="292"/>
                  </a:lnTo>
                  <a:lnTo>
                    <a:pt x="145" y="292"/>
                  </a:lnTo>
                  <a:lnTo>
                    <a:pt x="290" y="219"/>
                  </a:lnTo>
                  <a:lnTo>
                    <a:pt x="290" y="74"/>
                  </a:lnTo>
                  <a:lnTo>
                    <a:pt x="290" y="74"/>
                  </a:lnTo>
                  <a:lnTo>
                    <a:pt x="147" y="0"/>
                  </a:lnTo>
                  <a:close/>
                  <a:moveTo>
                    <a:pt x="145" y="145"/>
                  </a:moveTo>
                  <a:lnTo>
                    <a:pt x="145" y="264"/>
                  </a:lnTo>
                  <a:lnTo>
                    <a:pt x="145" y="264"/>
                  </a:lnTo>
                  <a:lnTo>
                    <a:pt x="26" y="202"/>
                  </a:lnTo>
                  <a:lnTo>
                    <a:pt x="26" y="90"/>
                  </a:lnTo>
                  <a:lnTo>
                    <a:pt x="145" y="145"/>
                  </a:lnTo>
                  <a:lnTo>
                    <a:pt x="145" y="1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nvGrpSpPr>
          <p:cNvPr id="3" name="Group 2"/>
          <p:cNvGrpSpPr/>
          <p:nvPr/>
        </p:nvGrpSpPr>
        <p:grpSpPr>
          <a:xfrm>
            <a:off x="9194648" y="2453162"/>
            <a:ext cx="2187831" cy="2030686"/>
            <a:chOff x="6153658" y="2431387"/>
            <a:chExt cx="1540764" cy="1427826"/>
          </a:xfrm>
        </p:grpSpPr>
        <p:grpSp>
          <p:nvGrpSpPr>
            <p:cNvPr id="11" name="Group 10"/>
            <p:cNvGrpSpPr/>
            <p:nvPr/>
          </p:nvGrpSpPr>
          <p:grpSpPr>
            <a:xfrm>
              <a:off x="7141972" y="2431387"/>
              <a:ext cx="552450" cy="804601"/>
              <a:chOff x="4222751" y="2071688"/>
              <a:chExt cx="692150" cy="1008063"/>
            </a:xfrm>
            <a:solidFill>
              <a:srgbClr val="FFFFFF"/>
            </a:solidFill>
          </p:grpSpPr>
          <p:sp>
            <p:nvSpPr>
              <p:cNvPr id="12" name="Oval 259"/>
              <p:cNvSpPr>
                <a:spLocks noChangeArrowheads="1"/>
              </p:cNvSpPr>
              <p:nvPr/>
            </p:nvSpPr>
            <p:spPr bwMode="auto">
              <a:xfrm>
                <a:off x="4527551" y="2846388"/>
                <a:ext cx="82550" cy="825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13" name="Freeform 260"/>
              <p:cNvSpPr>
                <a:spLocks noEditPoints="1"/>
              </p:cNvSpPr>
              <p:nvPr/>
            </p:nvSpPr>
            <p:spPr bwMode="auto">
              <a:xfrm>
                <a:off x="4222751" y="2071688"/>
                <a:ext cx="692150" cy="1008063"/>
              </a:xfrm>
              <a:custGeom>
                <a:avLst/>
                <a:gdLst>
                  <a:gd name="T0" fmla="*/ 144 w 184"/>
                  <a:gd name="T1" fmla="*/ 0 h 268"/>
                  <a:gd name="T2" fmla="*/ 88 w 184"/>
                  <a:gd name="T3" fmla="*/ 0 h 268"/>
                  <a:gd name="T4" fmla="*/ 0 w 184"/>
                  <a:gd name="T5" fmla="*/ 0 h 268"/>
                  <a:gd name="T6" fmla="*/ 0 w 184"/>
                  <a:gd name="T7" fmla="*/ 79 h 268"/>
                  <a:gd name="T8" fmla="*/ 0 w 184"/>
                  <a:gd name="T9" fmla="*/ 228 h 268"/>
                  <a:gd name="T10" fmla="*/ 40 w 184"/>
                  <a:gd name="T11" fmla="*/ 268 h 268"/>
                  <a:gd name="T12" fmla="*/ 101 w 184"/>
                  <a:gd name="T13" fmla="*/ 268 h 268"/>
                  <a:gd name="T14" fmla="*/ 184 w 184"/>
                  <a:gd name="T15" fmla="*/ 268 h 268"/>
                  <a:gd name="T16" fmla="*/ 184 w 184"/>
                  <a:gd name="T17" fmla="*/ 189 h 268"/>
                  <a:gd name="T18" fmla="*/ 184 w 184"/>
                  <a:gd name="T19" fmla="*/ 40 h 268"/>
                  <a:gd name="T20" fmla="*/ 144 w 184"/>
                  <a:gd name="T21" fmla="*/ 0 h 268"/>
                  <a:gd name="T22" fmla="*/ 44 w 184"/>
                  <a:gd name="T23" fmla="*/ 244 h 268"/>
                  <a:gd name="T24" fmla="*/ 24 w 184"/>
                  <a:gd name="T25" fmla="*/ 224 h 268"/>
                  <a:gd name="T26" fmla="*/ 24 w 184"/>
                  <a:gd name="T27" fmla="*/ 24 h 268"/>
                  <a:gd name="T28" fmla="*/ 140 w 184"/>
                  <a:gd name="T29" fmla="*/ 24 h 268"/>
                  <a:gd name="T30" fmla="*/ 160 w 184"/>
                  <a:gd name="T31" fmla="*/ 44 h 268"/>
                  <a:gd name="T32" fmla="*/ 160 w 184"/>
                  <a:gd name="T33" fmla="*/ 244 h 268"/>
                  <a:gd name="T34" fmla="*/ 44 w 184"/>
                  <a:gd name="T35" fmla="*/ 244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268">
                    <a:moveTo>
                      <a:pt x="144" y="0"/>
                    </a:moveTo>
                    <a:cubicBezTo>
                      <a:pt x="88" y="0"/>
                      <a:pt x="88" y="0"/>
                      <a:pt x="88" y="0"/>
                    </a:cubicBezTo>
                    <a:cubicBezTo>
                      <a:pt x="0" y="0"/>
                      <a:pt x="0" y="0"/>
                      <a:pt x="0" y="0"/>
                    </a:cubicBezTo>
                    <a:cubicBezTo>
                      <a:pt x="0" y="79"/>
                      <a:pt x="0" y="79"/>
                      <a:pt x="0" y="79"/>
                    </a:cubicBezTo>
                    <a:cubicBezTo>
                      <a:pt x="0" y="228"/>
                      <a:pt x="0" y="228"/>
                      <a:pt x="0" y="228"/>
                    </a:cubicBezTo>
                    <a:cubicBezTo>
                      <a:pt x="0" y="252"/>
                      <a:pt x="16" y="268"/>
                      <a:pt x="40" y="268"/>
                    </a:cubicBezTo>
                    <a:cubicBezTo>
                      <a:pt x="101" y="268"/>
                      <a:pt x="101" y="268"/>
                      <a:pt x="101" y="268"/>
                    </a:cubicBezTo>
                    <a:cubicBezTo>
                      <a:pt x="184" y="268"/>
                      <a:pt x="184" y="268"/>
                      <a:pt x="184" y="268"/>
                    </a:cubicBezTo>
                    <a:cubicBezTo>
                      <a:pt x="184" y="189"/>
                      <a:pt x="184" y="189"/>
                      <a:pt x="184" y="189"/>
                    </a:cubicBezTo>
                    <a:cubicBezTo>
                      <a:pt x="184" y="40"/>
                      <a:pt x="184" y="40"/>
                      <a:pt x="184" y="40"/>
                    </a:cubicBezTo>
                    <a:cubicBezTo>
                      <a:pt x="184" y="16"/>
                      <a:pt x="168" y="0"/>
                      <a:pt x="144" y="0"/>
                    </a:cubicBezTo>
                    <a:moveTo>
                      <a:pt x="44" y="244"/>
                    </a:moveTo>
                    <a:cubicBezTo>
                      <a:pt x="32" y="244"/>
                      <a:pt x="24" y="236"/>
                      <a:pt x="24" y="224"/>
                    </a:cubicBezTo>
                    <a:cubicBezTo>
                      <a:pt x="24" y="217"/>
                      <a:pt x="24" y="24"/>
                      <a:pt x="24" y="24"/>
                    </a:cubicBezTo>
                    <a:cubicBezTo>
                      <a:pt x="140" y="24"/>
                      <a:pt x="140" y="24"/>
                      <a:pt x="140" y="24"/>
                    </a:cubicBezTo>
                    <a:cubicBezTo>
                      <a:pt x="152" y="24"/>
                      <a:pt x="160" y="32"/>
                      <a:pt x="160" y="44"/>
                    </a:cubicBezTo>
                    <a:cubicBezTo>
                      <a:pt x="160" y="244"/>
                      <a:pt x="160" y="244"/>
                      <a:pt x="160" y="244"/>
                    </a:cubicBezTo>
                    <a:lnTo>
                      <a:pt x="44" y="2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nvGrpSpPr>
            <p:cNvPr id="14" name="Group 13"/>
            <p:cNvGrpSpPr/>
            <p:nvPr/>
          </p:nvGrpSpPr>
          <p:grpSpPr>
            <a:xfrm>
              <a:off x="6153658" y="3065463"/>
              <a:ext cx="1493838" cy="793750"/>
              <a:chOff x="4371975" y="2203450"/>
              <a:chExt cx="1493838" cy="793750"/>
            </a:xfrm>
            <a:solidFill>
              <a:srgbClr val="FFFFFF"/>
            </a:solidFill>
          </p:grpSpPr>
          <p:sp>
            <p:nvSpPr>
              <p:cNvPr id="15" name="Freeform 55"/>
              <p:cNvSpPr>
                <a:spLocks/>
              </p:cNvSpPr>
              <p:nvPr/>
            </p:nvSpPr>
            <p:spPr bwMode="auto">
              <a:xfrm>
                <a:off x="4552950" y="2203450"/>
                <a:ext cx="1312863" cy="719138"/>
              </a:xfrm>
              <a:custGeom>
                <a:avLst/>
                <a:gdLst>
                  <a:gd name="T0" fmla="*/ 325 w 350"/>
                  <a:gd name="T1" fmla="*/ 113 h 192"/>
                  <a:gd name="T2" fmla="*/ 325 w 350"/>
                  <a:gd name="T3" fmla="*/ 113 h 192"/>
                  <a:gd name="T4" fmla="*/ 325 w 350"/>
                  <a:gd name="T5" fmla="*/ 113 h 192"/>
                  <a:gd name="T6" fmla="*/ 314 w 350"/>
                  <a:gd name="T7" fmla="*/ 110 h 192"/>
                  <a:gd name="T8" fmla="*/ 274 w 350"/>
                  <a:gd name="T9" fmla="*/ 61 h 192"/>
                  <a:gd name="T10" fmla="*/ 247 w 350"/>
                  <a:gd name="T11" fmla="*/ 55 h 192"/>
                  <a:gd name="T12" fmla="*/ 227 w 350"/>
                  <a:gd name="T13" fmla="*/ 58 h 192"/>
                  <a:gd name="T14" fmla="*/ 180 w 350"/>
                  <a:gd name="T15" fmla="*/ 7 h 192"/>
                  <a:gd name="T16" fmla="*/ 147 w 350"/>
                  <a:gd name="T17" fmla="*/ 0 h 192"/>
                  <a:gd name="T18" fmla="*/ 69 w 350"/>
                  <a:gd name="T19" fmla="*/ 51 h 192"/>
                  <a:gd name="T20" fmla="*/ 64 w 350"/>
                  <a:gd name="T21" fmla="*/ 65 h 192"/>
                  <a:gd name="T22" fmla="*/ 63 w 350"/>
                  <a:gd name="T23" fmla="*/ 65 h 192"/>
                  <a:gd name="T24" fmla="*/ 24 w 350"/>
                  <a:gd name="T25" fmla="*/ 78 h 192"/>
                  <a:gd name="T26" fmla="*/ 13 w 350"/>
                  <a:gd name="T27" fmla="*/ 89 h 192"/>
                  <a:gd name="T28" fmla="*/ 13 w 350"/>
                  <a:gd name="T29" fmla="*/ 90 h 192"/>
                  <a:gd name="T30" fmla="*/ 9 w 350"/>
                  <a:gd name="T31" fmla="*/ 95 h 192"/>
                  <a:gd name="T32" fmla="*/ 8 w 350"/>
                  <a:gd name="T33" fmla="*/ 96 h 192"/>
                  <a:gd name="T34" fmla="*/ 5 w 350"/>
                  <a:gd name="T35" fmla="*/ 103 h 192"/>
                  <a:gd name="T36" fmla="*/ 3 w 350"/>
                  <a:gd name="T37" fmla="*/ 109 h 192"/>
                  <a:gd name="T38" fmla="*/ 2 w 350"/>
                  <a:gd name="T39" fmla="*/ 110 h 192"/>
                  <a:gd name="T40" fmla="*/ 2 w 350"/>
                  <a:gd name="T41" fmla="*/ 112 h 192"/>
                  <a:gd name="T42" fmla="*/ 2 w 350"/>
                  <a:gd name="T43" fmla="*/ 126 h 192"/>
                  <a:gd name="T44" fmla="*/ 3 w 350"/>
                  <a:gd name="T45" fmla="*/ 126 h 192"/>
                  <a:gd name="T46" fmla="*/ 3 w 350"/>
                  <a:gd name="T47" fmla="*/ 126 h 192"/>
                  <a:gd name="T48" fmla="*/ 6 w 350"/>
                  <a:gd name="T49" fmla="*/ 131 h 192"/>
                  <a:gd name="T50" fmla="*/ 17 w 350"/>
                  <a:gd name="T51" fmla="*/ 136 h 192"/>
                  <a:gd name="T52" fmla="*/ 16 w 350"/>
                  <a:gd name="T53" fmla="*/ 128 h 192"/>
                  <a:gd name="T54" fmla="*/ 20 w 350"/>
                  <a:gd name="T55" fmla="*/ 110 h 192"/>
                  <a:gd name="T56" fmla="*/ 63 w 350"/>
                  <a:gd name="T57" fmla="*/ 81 h 192"/>
                  <a:gd name="T58" fmla="*/ 70 w 350"/>
                  <a:gd name="T59" fmla="*/ 82 h 192"/>
                  <a:gd name="T60" fmla="*/ 78 w 350"/>
                  <a:gd name="T61" fmla="*/ 83 h 192"/>
                  <a:gd name="T62" fmla="*/ 79 w 350"/>
                  <a:gd name="T63" fmla="*/ 75 h 192"/>
                  <a:gd name="T64" fmla="*/ 84 w 350"/>
                  <a:gd name="T65" fmla="*/ 58 h 192"/>
                  <a:gd name="T66" fmla="*/ 147 w 350"/>
                  <a:gd name="T67" fmla="*/ 16 h 192"/>
                  <a:gd name="T68" fmla="*/ 174 w 350"/>
                  <a:gd name="T69" fmla="*/ 22 h 192"/>
                  <a:gd name="T70" fmla="*/ 213 w 350"/>
                  <a:gd name="T71" fmla="*/ 70 h 192"/>
                  <a:gd name="T72" fmla="*/ 216 w 350"/>
                  <a:gd name="T73" fmla="*/ 80 h 192"/>
                  <a:gd name="T74" fmla="*/ 225 w 350"/>
                  <a:gd name="T75" fmla="*/ 76 h 192"/>
                  <a:gd name="T76" fmla="*/ 247 w 350"/>
                  <a:gd name="T77" fmla="*/ 71 h 192"/>
                  <a:gd name="T78" fmla="*/ 267 w 350"/>
                  <a:gd name="T79" fmla="*/ 76 h 192"/>
                  <a:gd name="T80" fmla="*/ 298 w 350"/>
                  <a:gd name="T81" fmla="*/ 119 h 192"/>
                  <a:gd name="T82" fmla="*/ 299 w 350"/>
                  <a:gd name="T83" fmla="*/ 127 h 192"/>
                  <a:gd name="T84" fmla="*/ 307 w 350"/>
                  <a:gd name="T85" fmla="*/ 126 h 192"/>
                  <a:gd name="T86" fmla="*/ 309 w 350"/>
                  <a:gd name="T87" fmla="*/ 126 h 192"/>
                  <a:gd name="T88" fmla="*/ 319 w 350"/>
                  <a:gd name="T89" fmla="*/ 128 h 192"/>
                  <a:gd name="T90" fmla="*/ 334 w 350"/>
                  <a:gd name="T91" fmla="*/ 151 h 192"/>
                  <a:gd name="T92" fmla="*/ 332 w 350"/>
                  <a:gd name="T93" fmla="*/ 160 h 192"/>
                  <a:gd name="T94" fmla="*/ 312 w 350"/>
                  <a:gd name="T95" fmla="*/ 176 h 192"/>
                  <a:gd name="T96" fmla="*/ 150 w 350"/>
                  <a:gd name="T97" fmla="*/ 176 h 192"/>
                  <a:gd name="T98" fmla="*/ 147 w 350"/>
                  <a:gd name="T99" fmla="*/ 176 h 192"/>
                  <a:gd name="T100" fmla="*/ 145 w 350"/>
                  <a:gd name="T101" fmla="*/ 176 h 192"/>
                  <a:gd name="T102" fmla="*/ 140 w 350"/>
                  <a:gd name="T103" fmla="*/ 176 h 192"/>
                  <a:gd name="T104" fmla="*/ 111 w 350"/>
                  <a:gd name="T105" fmla="*/ 176 h 192"/>
                  <a:gd name="T106" fmla="*/ 77 w 350"/>
                  <a:gd name="T107" fmla="*/ 192 h 192"/>
                  <a:gd name="T108" fmla="*/ 313 w 350"/>
                  <a:gd name="T109" fmla="*/ 192 h 192"/>
                  <a:gd name="T110" fmla="*/ 313 w 350"/>
                  <a:gd name="T111" fmla="*/ 192 h 192"/>
                  <a:gd name="T112" fmla="*/ 347 w 350"/>
                  <a:gd name="T113" fmla="*/ 167 h 192"/>
                  <a:gd name="T114" fmla="*/ 350 w 350"/>
                  <a:gd name="T115" fmla="*/ 151 h 192"/>
                  <a:gd name="T116" fmla="*/ 325 w 350"/>
                  <a:gd name="T117" fmla="*/ 11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50" h="192">
                    <a:moveTo>
                      <a:pt x="325" y="113"/>
                    </a:moveTo>
                    <a:cubicBezTo>
                      <a:pt x="325" y="113"/>
                      <a:pt x="325" y="113"/>
                      <a:pt x="325" y="113"/>
                    </a:cubicBezTo>
                    <a:cubicBezTo>
                      <a:pt x="325" y="113"/>
                      <a:pt x="325" y="113"/>
                      <a:pt x="325" y="113"/>
                    </a:cubicBezTo>
                    <a:cubicBezTo>
                      <a:pt x="322" y="111"/>
                      <a:pt x="318" y="110"/>
                      <a:pt x="314" y="110"/>
                    </a:cubicBezTo>
                    <a:cubicBezTo>
                      <a:pt x="309" y="89"/>
                      <a:pt x="295" y="70"/>
                      <a:pt x="274" y="61"/>
                    </a:cubicBezTo>
                    <a:cubicBezTo>
                      <a:pt x="265" y="57"/>
                      <a:pt x="256" y="55"/>
                      <a:pt x="247" y="55"/>
                    </a:cubicBezTo>
                    <a:cubicBezTo>
                      <a:pt x="240" y="55"/>
                      <a:pt x="233" y="56"/>
                      <a:pt x="227" y="58"/>
                    </a:cubicBezTo>
                    <a:cubicBezTo>
                      <a:pt x="220" y="36"/>
                      <a:pt x="203" y="17"/>
                      <a:pt x="180" y="7"/>
                    </a:cubicBezTo>
                    <a:cubicBezTo>
                      <a:pt x="169" y="2"/>
                      <a:pt x="158" y="0"/>
                      <a:pt x="147" y="0"/>
                    </a:cubicBezTo>
                    <a:cubicBezTo>
                      <a:pt x="114" y="0"/>
                      <a:pt x="82" y="19"/>
                      <a:pt x="69" y="51"/>
                    </a:cubicBezTo>
                    <a:cubicBezTo>
                      <a:pt x="67" y="56"/>
                      <a:pt x="65" y="60"/>
                      <a:pt x="64" y="65"/>
                    </a:cubicBezTo>
                    <a:cubicBezTo>
                      <a:pt x="64" y="65"/>
                      <a:pt x="64" y="65"/>
                      <a:pt x="63" y="65"/>
                    </a:cubicBezTo>
                    <a:cubicBezTo>
                      <a:pt x="49" y="65"/>
                      <a:pt x="35" y="70"/>
                      <a:pt x="24" y="78"/>
                    </a:cubicBezTo>
                    <a:cubicBezTo>
                      <a:pt x="20" y="81"/>
                      <a:pt x="17" y="85"/>
                      <a:pt x="13" y="89"/>
                    </a:cubicBezTo>
                    <a:cubicBezTo>
                      <a:pt x="13" y="89"/>
                      <a:pt x="13" y="89"/>
                      <a:pt x="13" y="90"/>
                    </a:cubicBezTo>
                    <a:cubicBezTo>
                      <a:pt x="11" y="91"/>
                      <a:pt x="10" y="93"/>
                      <a:pt x="9" y="95"/>
                    </a:cubicBezTo>
                    <a:cubicBezTo>
                      <a:pt x="9" y="96"/>
                      <a:pt x="8" y="96"/>
                      <a:pt x="8" y="96"/>
                    </a:cubicBezTo>
                    <a:cubicBezTo>
                      <a:pt x="7" y="99"/>
                      <a:pt x="6" y="101"/>
                      <a:pt x="5" y="103"/>
                    </a:cubicBezTo>
                    <a:cubicBezTo>
                      <a:pt x="4" y="105"/>
                      <a:pt x="3" y="107"/>
                      <a:pt x="3" y="109"/>
                    </a:cubicBezTo>
                    <a:cubicBezTo>
                      <a:pt x="3" y="109"/>
                      <a:pt x="2" y="109"/>
                      <a:pt x="2" y="110"/>
                    </a:cubicBezTo>
                    <a:cubicBezTo>
                      <a:pt x="2" y="110"/>
                      <a:pt x="2" y="111"/>
                      <a:pt x="2" y="112"/>
                    </a:cubicBezTo>
                    <a:cubicBezTo>
                      <a:pt x="0" y="118"/>
                      <a:pt x="1" y="122"/>
                      <a:pt x="2" y="126"/>
                    </a:cubicBezTo>
                    <a:cubicBezTo>
                      <a:pt x="2" y="126"/>
                      <a:pt x="3" y="126"/>
                      <a:pt x="3" y="126"/>
                    </a:cubicBezTo>
                    <a:cubicBezTo>
                      <a:pt x="3" y="126"/>
                      <a:pt x="3" y="126"/>
                      <a:pt x="3" y="126"/>
                    </a:cubicBezTo>
                    <a:cubicBezTo>
                      <a:pt x="4" y="128"/>
                      <a:pt x="5" y="130"/>
                      <a:pt x="6" y="131"/>
                    </a:cubicBezTo>
                    <a:cubicBezTo>
                      <a:pt x="9" y="134"/>
                      <a:pt x="13" y="135"/>
                      <a:pt x="17" y="136"/>
                    </a:cubicBezTo>
                    <a:cubicBezTo>
                      <a:pt x="16" y="133"/>
                      <a:pt x="16" y="131"/>
                      <a:pt x="16" y="128"/>
                    </a:cubicBezTo>
                    <a:cubicBezTo>
                      <a:pt x="16" y="122"/>
                      <a:pt x="17" y="116"/>
                      <a:pt x="20" y="110"/>
                    </a:cubicBezTo>
                    <a:cubicBezTo>
                      <a:pt x="28" y="92"/>
                      <a:pt x="45" y="81"/>
                      <a:pt x="63" y="81"/>
                    </a:cubicBezTo>
                    <a:cubicBezTo>
                      <a:pt x="65" y="81"/>
                      <a:pt x="67" y="81"/>
                      <a:pt x="70" y="82"/>
                    </a:cubicBezTo>
                    <a:cubicBezTo>
                      <a:pt x="78" y="83"/>
                      <a:pt x="78" y="83"/>
                      <a:pt x="78" y="83"/>
                    </a:cubicBezTo>
                    <a:cubicBezTo>
                      <a:pt x="79" y="75"/>
                      <a:pt x="79" y="75"/>
                      <a:pt x="79" y="75"/>
                    </a:cubicBezTo>
                    <a:cubicBezTo>
                      <a:pt x="80" y="69"/>
                      <a:pt x="81" y="63"/>
                      <a:pt x="84" y="58"/>
                    </a:cubicBezTo>
                    <a:cubicBezTo>
                      <a:pt x="95" y="32"/>
                      <a:pt x="120" y="16"/>
                      <a:pt x="147" y="16"/>
                    </a:cubicBezTo>
                    <a:cubicBezTo>
                      <a:pt x="156" y="16"/>
                      <a:pt x="165" y="18"/>
                      <a:pt x="174" y="22"/>
                    </a:cubicBezTo>
                    <a:cubicBezTo>
                      <a:pt x="195" y="31"/>
                      <a:pt x="209" y="49"/>
                      <a:pt x="213" y="70"/>
                    </a:cubicBezTo>
                    <a:cubicBezTo>
                      <a:pt x="216" y="80"/>
                      <a:pt x="216" y="80"/>
                      <a:pt x="216" y="80"/>
                    </a:cubicBezTo>
                    <a:cubicBezTo>
                      <a:pt x="225" y="76"/>
                      <a:pt x="225" y="76"/>
                      <a:pt x="225" y="76"/>
                    </a:cubicBezTo>
                    <a:cubicBezTo>
                      <a:pt x="232" y="73"/>
                      <a:pt x="239" y="71"/>
                      <a:pt x="247" y="71"/>
                    </a:cubicBezTo>
                    <a:cubicBezTo>
                      <a:pt x="253" y="71"/>
                      <a:pt x="260" y="73"/>
                      <a:pt x="267" y="76"/>
                    </a:cubicBezTo>
                    <a:cubicBezTo>
                      <a:pt x="285" y="84"/>
                      <a:pt x="297" y="100"/>
                      <a:pt x="298" y="119"/>
                    </a:cubicBezTo>
                    <a:cubicBezTo>
                      <a:pt x="299" y="127"/>
                      <a:pt x="299" y="127"/>
                      <a:pt x="299" y="127"/>
                    </a:cubicBezTo>
                    <a:cubicBezTo>
                      <a:pt x="307" y="126"/>
                      <a:pt x="307" y="126"/>
                      <a:pt x="307" y="126"/>
                    </a:cubicBezTo>
                    <a:cubicBezTo>
                      <a:pt x="308" y="126"/>
                      <a:pt x="309" y="126"/>
                      <a:pt x="309" y="126"/>
                    </a:cubicBezTo>
                    <a:cubicBezTo>
                      <a:pt x="313" y="126"/>
                      <a:pt x="316" y="127"/>
                      <a:pt x="319" y="128"/>
                    </a:cubicBezTo>
                    <a:cubicBezTo>
                      <a:pt x="328" y="132"/>
                      <a:pt x="334" y="141"/>
                      <a:pt x="334" y="151"/>
                    </a:cubicBezTo>
                    <a:cubicBezTo>
                      <a:pt x="334" y="154"/>
                      <a:pt x="333" y="157"/>
                      <a:pt x="332" y="160"/>
                    </a:cubicBezTo>
                    <a:cubicBezTo>
                      <a:pt x="328" y="169"/>
                      <a:pt x="320" y="175"/>
                      <a:pt x="312" y="176"/>
                    </a:cubicBezTo>
                    <a:cubicBezTo>
                      <a:pt x="150" y="176"/>
                      <a:pt x="150" y="176"/>
                      <a:pt x="150" y="176"/>
                    </a:cubicBezTo>
                    <a:cubicBezTo>
                      <a:pt x="149" y="176"/>
                      <a:pt x="148" y="176"/>
                      <a:pt x="147" y="176"/>
                    </a:cubicBezTo>
                    <a:cubicBezTo>
                      <a:pt x="146" y="176"/>
                      <a:pt x="146" y="176"/>
                      <a:pt x="145" y="176"/>
                    </a:cubicBezTo>
                    <a:cubicBezTo>
                      <a:pt x="144" y="176"/>
                      <a:pt x="142" y="176"/>
                      <a:pt x="140" y="176"/>
                    </a:cubicBezTo>
                    <a:cubicBezTo>
                      <a:pt x="111" y="176"/>
                      <a:pt x="111" y="176"/>
                      <a:pt x="111" y="176"/>
                    </a:cubicBezTo>
                    <a:cubicBezTo>
                      <a:pt x="101" y="182"/>
                      <a:pt x="89" y="188"/>
                      <a:pt x="77" y="192"/>
                    </a:cubicBezTo>
                    <a:cubicBezTo>
                      <a:pt x="313" y="192"/>
                      <a:pt x="313" y="192"/>
                      <a:pt x="313" y="192"/>
                    </a:cubicBezTo>
                    <a:cubicBezTo>
                      <a:pt x="313" y="192"/>
                      <a:pt x="313" y="192"/>
                      <a:pt x="313" y="192"/>
                    </a:cubicBezTo>
                    <a:cubicBezTo>
                      <a:pt x="328" y="191"/>
                      <a:pt x="341" y="181"/>
                      <a:pt x="347" y="167"/>
                    </a:cubicBezTo>
                    <a:cubicBezTo>
                      <a:pt x="349" y="162"/>
                      <a:pt x="350" y="156"/>
                      <a:pt x="350" y="151"/>
                    </a:cubicBezTo>
                    <a:cubicBezTo>
                      <a:pt x="350" y="135"/>
                      <a:pt x="341" y="120"/>
                      <a:pt x="325"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sp>
            <p:nvSpPr>
              <p:cNvPr id="16" name="Freeform 56"/>
              <p:cNvSpPr>
                <a:spLocks/>
              </p:cNvSpPr>
              <p:nvPr/>
            </p:nvSpPr>
            <p:spPr bwMode="auto">
              <a:xfrm>
                <a:off x="4371975" y="2495550"/>
                <a:ext cx="841375" cy="501650"/>
              </a:xfrm>
              <a:custGeom>
                <a:avLst/>
                <a:gdLst>
                  <a:gd name="T0" fmla="*/ 215 w 224"/>
                  <a:gd name="T1" fmla="*/ 5 h 134"/>
                  <a:gd name="T2" fmla="*/ 213 w 224"/>
                  <a:gd name="T3" fmla="*/ 5 h 134"/>
                  <a:gd name="T4" fmla="*/ 150 w 224"/>
                  <a:gd name="T5" fmla="*/ 19 h 134"/>
                  <a:gd name="T6" fmla="*/ 146 w 224"/>
                  <a:gd name="T7" fmla="*/ 33 h 134"/>
                  <a:gd name="T8" fmla="*/ 153 w 224"/>
                  <a:gd name="T9" fmla="*/ 41 h 134"/>
                  <a:gd name="T10" fmla="*/ 44 w 224"/>
                  <a:gd name="T11" fmla="*/ 65 h 134"/>
                  <a:gd name="T12" fmla="*/ 56 w 224"/>
                  <a:gd name="T13" fmla="*/ 0 h 134"/>
                  <a:gd name="T14" fmla="*/ 21 w 224"/>
                  <a:gd name="T15" fmla="*/ 91 h 134"/>
                  <a:gd name="T16" fmla="*/ 176 w 224"/>
                  <a:gd name="T17" fmla="*/ 67 h 134"/>
                  <a:gd name="T18" fmla="*/ 186 w 224"/>
                  <a:gd name="T19" fmla="*/ 78 h 134"/>
                  <a:gd name="T20" fmla="*/ 193 w 224"/>
                  <a:gd name="T21" fmla="*/ 82 h 134"/>
                  <a:gd name="T22" fmla="*/ 200 w 224"/>
                  <a:gd name="T23" fmla="*/ 76 h 134"/>
                  <a:gd name="T24" fmla="*/ 222 w 224"/>
                  <a:gd name="T25" fmla="*/ 16 h 134"/>
                  <a:gd name="T26" fmla="*/ 215 w 224"/>
                  <a:gd name="T27" fmla="*/ 5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4" h="134">
                    <a:moveTo>
                      <a:pt x="215" y="5"/>
                    </a:moveTo>
                    <a:cubicBezTo>
                      <a:pt x="214" y="5"/>
                      <a:pt x="214" y="5"/>
                      <a:pt x="213" y="5"/>
                    </a:cubicBezTo>
                    <a:cubicBezTo>
                      <a:pt x="150" y="19"/>
                      <a:pt x="150" y="19"/>
                      <a:pt x="150" y="19"/>
                    </a:cubicBezTo>
                    <a:cubicBezTo>
                      <a:pt x="142" y="20"/>
                      <a:pt x="141" y="26"/>
                      <a:pt x="146" y="33"/>
                    </a:cubicBezTo>
                    <a:cubicBezTo>
                      <a:pt x="153" y="41"/>
                      <a:pt x="153" y="41"/>
                      <a:pt x="153" y="41"/>
                    </a:cubicBezTo>
                    <a:cubicBezTo>
                      <a:pt x="127" y="63"/>
                      <a:pt x="68" y="87"/>
                      <a:pt x="44" y="65"/>
                    </a:cubicBezTo>
                    <a:cubicBezTo>
                      <a:pt x="26" y="50"/>
                      <a:pt x="31" y="20"/>
                      <a:pt x="56" y="0"/>
                    </a:cubicBezTo>
                    <a:cubicBezTo>
                      <a:pt x="6" y="18"/>
                      <a:pt x="0" y="65"/>
                      <a:pt x="21" y="91"/>
                    </a:cubicBezTo>
                    <a:cubicBezTo>
                      <a:pt x="56" y="134"/>
                      <a:pt x="139" y="97"/>
                      <a:pt x="176" y="67"/>
                    </a:cubicBezTo>
                    <a:cubicBezTo>
                      <a:pt x="186" y="78"/>
                      <a:pt x="186" y="78"/>
                      <a:pt x="186" y="78"/>
                    </a:cubicBezTo>
                    <a:cubicBezTo>
                      <a:pt x="188" y="81"/>
                      <a:pt x="191" y="82"/>
                      <a:pt x="193" y="82"/>
                    </a:cubicBezTo>
                    <a:cubicBezTo>
                      <a:pt x="196" y="82"/>
                      <a:pt x="199" y="80"/>
                      <a:pt x="200" y="76"/>
                    </a:cubicBezTo>
                    <a:cubicBezTo>
                      <a:pt x="222" y="16"/>
                      <a:pt x="222" y="16"/>
                      <a:pt x="222" y="16"/>
                    </a:cubicBezTo>
                    <a:cubicBezTo>
                      <a:pt x="224" y="9"/>
                      <a:pt x="221" y="5"/>
                      <a:pt x="21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grpSp>
      <p:sp>
        <p:nvSpPr>
          <p:cNvPr id="17" name="Title 21"/>
          <p:cNvSpPr txBox="1">
            <a:spLocks/>
          </p:cNvSpPr>
          <p:nvPr/>
        </p:nvSpPr>
        <p:spPr bwMode="black">
          <a:xfrm>
            <a:off x="470679" y="334312"/>
            <a:ext cx="12013056" cy="611226"/>
          </a:xfrm>
          <a:prstGeom prst="rect">
            <a:avLst/>
          </a:prstGeom>
          <a:ln>
            <a:noFill/>
          </a:ln>
        </p:spPr>
        <p:txBody>
          <a:bodyPr vert="horz" wrap="square" lIns="0" tIns="0" rIns="0" bIns="0" rtlCol="0" anchor="t" anchorCtr="0">
            <a:noAutofit/>
          </a:bodyPr>
          <a:lstStyle>
            <a:lvl1pPr algn="l" defTabSz="457200" rtl="0" eaLnBrk="1" latinLnBrk="0" hangingPunct="1">
              <a:lnSpc>
                <a:spcPct val="90000"/>
              </a:lnSpc>
              <a:spcBef>
                <a:spcPct val="0"/>
              </a:spcBef>
              <a:spcAft>
                <a:spcPts val="0"/>
              </a:spcAft>
              <a:buNone/>
              <a:defRPr lang="en-US" sz="4000" b="1" i="0" kern="1200" spc="-100" noProof="0" dirty="0">
                <a:solidFill>
                  <a:schemeClr val="bg1"/>
                </a:solidFill>
                <a:latin typeface="HP Simplified" pitchFamily="34" charset="0"/>
                <a:ea typeface="+mj-ea"/>
                <a:cs typeface="HP Simplified" pitchFamily="34" charset="0"/>
              </a:defRPr>
            </a:lvl1pPr>
          </a:lstStyle>
          <a:p>
            <a:r>
              <a:rPr lang="en-US" altLang="zh-CN" dirty="0">
                <a:latin typeface="微软雅黑" pitchFamily="34" charset="-122"/>
                <a:ea typeface="微软雅黑" pitchFamily="34" charset="-122"/>
              </a:rPr>
              <a:t>IT</a:t>
            </a:r>
            <a:r>
              <a:rPr lang="zh-CN" altLang="en-US" dirty="0">
                <a:latin typeface="微软雅黑" pitchFamily="34" charset="-122"/>
                <a:ea typeface="微软雅黑" pitchFamily="34" charset="-122"/>
              </a:rPr>
              <a:t>新变革</a:t>
            </a:r>
            <a:endParaRPr lang="en-US" dirty="0">
              <a:latin typeface="微软雅黑" pitchFamily="34" charset="-122"/>
              <a:ea typeface="微软雅黑" pitchFamily="34" charset="-122"/>
            </a:endParaRPr>
          </a:p>
        </p:txBody>
      </p:sp>
    </p:spTree>
    <p:extLst>
      <p:ext uri="{BB962C8B-B14F-4D97-AF65-F5344CB8AC3E}">
        <p14:creationId xmlns:p14="http://schemas.microsoft.com/office/powerpoint/2010/main" val="3218699511"/>
      </p:ext>
    </p:extLst>
  </p:cSld>
  <p:clrMapOvr>
    <a:masterClrMapping/>
  </p:clrMapOvr>
  <p:transition spd="slow">
    <p:randomBar dir="vert"/>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w3DKfJMNEClqRAAJddmm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1d6fMiBEuESulWL8nYqD.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2zxa19IxgUa95ZF08TnsR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2zxa19IxgUa95ZF08TnsR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mM.eSF6DoE.SLsnRaJKW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V7DQN0hUL0GbAzcl0lq5Y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bAMDPRBIUa8H0S2WetMq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vuS8XrxukSggXHDISqZR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Wo7cOJb2UGl46bjheu2q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XJwaeBastU6r7_RgPdfLL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zxa19IxgUa95ZF08TnsR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5FYPuYr7H0G5F6XsQdp9K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nH4FVDDTM0mkCVHQv5Ssq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H4FVDDTM0mkCVHQv5Ssq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u4fZjC7Z0qAbwl2KcHE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2MEHygrQ0SfXyCSvCv3M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PkRU97PcU6CuVkrmvkKD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yYv4nvy9BUWpUG7zzfMLm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lgm2ToSn0iDkYezQI1N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sSnWyWce0UafX7_0g8Hcq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kt2yGDCu5E2sOVE8t8UV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w3DKfJMNEClqRAAJddmm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iXbJi4bqUqWvuHv3dOg5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kfCVFIZYHEWhsiub1z8VA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gXb5aK8uLE2qg2nmogOS6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OfHjis_7aE2zk_ePp.E2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GrVB.RcekK_wrFGEht.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F8udnnKukK9tVmmO.9GR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87rBUttAEC3f7BzDQwP7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OXo24zawEu5wLzyDbEAE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pxGxNbxPkC693eRbYmD7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iDSIjGF5k27wePucaFnPQ"/>
</p:tagLst>
</file>

<file path=ppt/theme/theme1.xml><?xml version="1.0" encoding="utf-8"?>
<a:theme xmlns:a="http://schemas.openxmlformats.org/drawingml/2006/main" name="2014年CIO高端峰会-PPT模板2-16x9">
  <a:themeElements>
    <a:clrScheme name="Trend Micro">
      <a:dk1>
        <a:srgbClr val="636466"/>
      </a:dk1>
      <a:lt1>
        <a:srgbClr val="FFFFFF"/>
      </a:lt1>
      <a:dk2>
        <a:srgbClr val="D20F30"/>
      </a:dk2>
      <a:lt2>
        <a:srgbClr val="767779"/>
      </a:lt2>
      <a:accent1>
        <a:srgbClr val="1A608A"/>
      </a:accent1>
      <a:accent2>
        <a:srgbClr val="F6AE2F"/>
      </a:accent2>
      <a:accent3>
        <a:srgbClr val="C8CACB"/>
      </a:accent3>
      <a:accent4>
        <a:srgbClr val="671317"/>
      </a:accent4>
      <a:accent5>
        <a:srgbClr val="48894A"/>
      </a:accent5>
      <a:accent6>
        <a:srgbClr val="5A093B"/>
      </a:accent6>
      <a:hlink>
        <a:srgbClr val="CC0000"/>
      </a:hlink>
      <a:folHlink>
        <a:srgbClr val="A0A1A3"/>
      </a:folHlink>
    </a:clrScheme>
    <a:fontScheme name="TM_Corporate_Templa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6350" cap="flat" cmpd="sng" algn="ctr">
          <a:solidFill>
            <a:schemeClr val="tx1"/>
          </a:solid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600" b="1"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6350" cap="flat" cmpd="sng" algn="ctr">
          <a:solidFill>
            <a:schemeClr val="tx1"/>
          </a:solid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600" b="1"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TM_Corporate_Template 1">
        <a:dk1>
          <a:srgbClr val="58595B"/>
        </a:dk1>
        <a:lt1>
          <a:srgbClr val="FFFFFF"/>
        </a:lt1>
        <a:dk2>
          <a:srgbClr val="CC0000"/>
        </a:dk2>
        <a:lt2>
          <a:srgbClr val="7B7C7F"/>
        </a:lt2>
        <a:accent1>
          <a:srgbClr val="5091CD"/>
        </a:accent1>
        <a:accent2>
          <a:srgbClr val="E8AE4A"/>
        </a:accent2>
        <a:accent3>
          <a:srgbClr val="FFFFFF"/>
        </a:accent3>
        <a:accent4>
          <a:srgbClr val="4A4B4C"/>
        </a:accent4>
        <a:accent5>
          <a:srgbClr val="B3C7E3"/>
        </a:accent5>
        <a:accent6>
          <a:srgbClr val="D29D42"/>
        </a:accent6>
        <a:hlink>
          <a:srgbClr val="FF0000"/>
        </a:hlink>
        <a:folHlink>
          <a:srgbClr val="96005B"/>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2014年CIO高端峰会-PPT模板2-16x9</Template>
  <TotalTime>36</TotalTime>
  <Words>1910</Words>
  <Application>Microsoft Office PowerPoint</Application>
  <PresentationFormat>Custom</PresentationFormat>
  <Paragraphs>346</Paragraphs>
  <Slides>29</Slides>
  <Notes>17</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31" baseType="lpstr">
      <vt:lpstr>2014年CIO高端峰会-PPT模板2-16x9</vt:lpstr>
      <vt:lpstr>think-cell Slide</vt:lpstr>
      <vt:lpstr>像黑客一样去思考</vt:lpstr>
      <vt:lpstr>PowerPoint Presentation</vt:lpstr>
      <vt:lpstr> </vt:lpstr>
      <vt:lpstr>PowerPoint Presentation</vt:lpstr>
      <vt:lpstr>PowerPoint Presentation</vt:lpstr>
      <vt:lpstr>PowerPoint Presentation</vt:lpstr>
      <vt:lpstr>现实的挑战</vt:lpstr>
      <vt:lpstr>对于安全人员，压力来自于各个方面</vt:lpstr>
      <vt:lpstr>云</vt:lpstr>
      <vt:lpstr>黑客生态系统</vt:lpstr>
      <vt:lpstr>PowerPoint Presentation</vt:lpstr>
      <vt:lpstr>PowerPoint Presentation</vt:lpstr>
      <vt:lpstr>PowerPoint Presentation</vt:lpstr>
      <vt:lpstr>新型的信息安全攻击</vt:lpstr>
      <vt:lpstr>如何应对新型的信息安全攻击</vt:lpstr>
      <vt:lpstr>惠普安全研究</vt:lpstr>
      <vt:lpstr>如何应对新型的信息安全攻击</vt:lpstr>
      <vt:lpstr>HP Tipping Point 是网络安全的 领导者 </vt:lpstr>
      <vt:lpstr>PowerPoint Presentation</vt:lpstr>
      <vt:lpstr>如何应对新型的信息安全攻击</vt:lpstr>
      <vt:lpstr>信息安全是个复杂的工程, ArcSight 可以帮你….</vt:lpstr>
      <vt:lpstr>如何应对新型的信息安全攻击</vt:lpstr>
      <vt:lpstr>PowerPoint Presentation</vt:lpstr>
      <vt:lpstr>如何应对新型的信息安全攻击</vt:lpstr>
      <vt:lpstr>惠普+趋势科技</vt:lpstr>
      <vt:lpstr>PowerPoint Presentation</vt:lpstr>
      <vt:lpstr>PowerPoint Presentation</vt:lpstr>
      <vt:lpstr>PowerPoint Presentation</vt:lpstr>
      <vt:lpstr>PowerPoint Presentation</vt:lpstr>
    </vt:vector>
  </TitlesOfParts>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像黑客一样去思考</dc:title>
  <dc:creator>Chris Gao (SAL-CN)</dc:creator>
  <cp:lastModifiedBy>Chris Gao (SAL-CN)</cp:lastModifiedBy>
  <cp:revision>6</cp:revision>
  <dcterms:created xsi:type="dcterms:W3CDTF">2014-08-08T02:04:52Z</dcterms:created>
  <dcterms:modified xsi:type="dcterms:W3CDTF">2014-08-12T09:01:59Z</dcterms:modified>
</cp:coreProperties>
</file>